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2.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3.xml" ContentType="application/vnd.openxmlformats-officedocument.theme+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4.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6.xml" ContentType="application/vnd.openxmlformats-officedocument.theme+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7.xml" ContentType="application/vnd.openxmlformats-officedocument.theme+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739" r:id="rId2"/>
    <p:sldMasterId id="2147483844" r:id="rId3"/>
    <p:sldMasterId id="2147483868" r:id="rId4"/>
    <p:sldMasterId id="2147483954" r:id="rId5"/>
    <p:sldMasterId id="2147483984" r:id="rId6"/>
    <p:sldMasterId id="2147483996" r:id="rId7"/>
    <p:sldMasterId id="2147484008" r:id="rId8"/>
  </p:sldMasterIdLst>
  <p:notesMasterIdLst>
    <p:notesMasterId r:id="rId38"/>
  </p:notesMasterIdLst>
  <p:handoutMasterIdLst>
    <p:handoutMasterId r:id="rId39"/>
  </p:handoutMasterIdLst>
  <p:sldIdLst>
    <p:sldId id="259" r:id="rId9"/>
    <p:sldId id="6511" r:id="rId10"/>
    <p:sldId id="6527" r:id="rId11"/>
    <p:sldId id="6541" r:id="rId12"/>
    <p:sldId id="6544" r:id="rId13"/>
    <p:sldId id="6543" r:id="rId14"/>
    <p:sldId id="6518" r:id="rId15"/>
    <p:sldId id="6529" r:id="rId16"/>
    <p:sldId id="6539" r:id="rId17"/>
    <p:sldId id="6528" r:id="rId18"/>
    <p:sldId id="269" r:id="rId19"/>
    <p:sldId id="6521" r:id="rId20"/>
    <p:sldId id="6523" r:id="rId21"/>
    <p:sldId id="6545" r:id="rId22"/>
    <p:sldId id="6537" r:id="rId23"/>
    <p:sldId id="6534" r:id="rId24"/>
    <p:sldId id="6538" r:id="rId25"/>
    <p:sldId id="6536" r:id="rId26"/>
    <p:sldId id="282" r:id="rId27"/>
    <p:sldId id="288" r:id="rId28"/>
    <p:sldId id="6540" r:id="rId29"/>
    <p:sldId id="6535" r:id="rId30"/>
    <p:sldId id="278" r:id="rId31"/>
    <p:sldId id="305" r:id="rId32"/>
    <p:sldId id="6531" r:id="rId33"/>
    <p:sldId id="290" r:id="rId34"/>
    <p:sldId id="300" r:id="rId35"/>
    <p:sldId id="979" r:id="rId36"/>
    <p:sldId id="6526" r:id="rId37"/>
  </p:sldIdLst>
  <p:sldSz cx="9144000" cy="5143500" type="screen16x9"/>
  <p:notesSz cx="6858000" cy="9144000"/>
  <p:defaultTex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ehtinen Eeva" initials="LE" lastIdx="5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a:srgbClr val="EE353B"/>
    <a:srgbClr val="00965E"/>
    <a:srgbClr val="005EB8"/>
    <a:srgbClr val="FFFFFF"/>
    <a:srgbClr val="EF363B"/>
    <a:srgbClr val="FFCD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77E9463-A5D1-4581-A176-232A55A8FD4B}" v="59" dt="2023-11-06T09:52:47.953"/>
  </p1510:revLst>
</p1510:revInfo>
</file>

<file path=ppt/tableStyles.xml><?xml version="1.0" encoding="utf-8"?>
<a:tblStyleLst xmlns:a="http://schemas.openxmlformats.org/drawingml/2006/main" def="{69012ECD-51FC-41F1-AA8D-1B2483CD663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876" autoAdjust="0"/>
    <p:restoredTop sz="94591" autoAdjust="0"/>
  </p:normalViewPr>
  <p:slideViewPr>
    <p:cSldViewPr snapToGrid="0" snapToObjects="1">
      <p:cViewPr>
        <p:scale>
          <a:sx n="140" d="100"/>
          <a:sy n="140" d="100"/>
        </p:scale>
        <p:origin x="6180" y="1632"/>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varScale="1">
        <p:scale>
          <a:sx n="93" d="100"/>
          <a:sy n="93" d="100"/>
        </p:scale>
        <p:origin x="4022" y="9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handoutMaster" Target="handoutMasters/handoutMaster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viewProps" Target="viewProp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8.xml"/><Relationship Id="rId29" Type="http://schemas.openxmlformats.org/officeDocument/2006/relationships/slide" Target="slides/slide2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commentAuthors" Target="commentAuthors.xml"/><Relationship Id="rId45" Type="http://schemas.microsoft.com/office/2016/11/relationships/changesInfo" Target="changesInfos/changesInfo1.xml"/><Relationship Id="rId5"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theme" Target="theme/theme1.xml"/><Relationship Id="rId8" Type="http://schemas.openxmlformats.org/officeDocument/2006/relationships/slideMaster" Target="slideMasters/slideMaster8.xml"/><Relationship Id="rId3" Type="http://schemas.openxmlformats.org/officeDocument/2006/relationships/slideMaster" Target="slideMasters/slideMaster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notesMaster" Target="notesMasters/notesMaster1.xml"/><Relationship Id="rId46" Type="http://schemas.microsoft.com/office/2015/10/relationships/revisionInfo" Target="revisionInfo.xml"/><Relationship Id="rId20" Type="http://schemas.openxmlformats.org/officeDocument/2006/relationships/slide" Target="slides/slide12.xml"/><Relationship Id="rId41"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iittymies Aleksi" userId="00c1d702-9a1a-46cb-9bcd-5368d837961b" providerId="ADAL" clId="{55F54ABC-6D78-49F5-8110-EA7C6AFDD730}"/>
    <pc:docChg chg="undo custSel addSld delSld modSld sldOrd delMainMaster">
      <pc:chgData name="Niittymies Aleksi" userId="00c1d702-9a1a-46cb-9bcd-5368d837961b" providerId="ADAL" clId="{55F54ABC-6D78-49F5-8110-EA7C6AFDD730}" dt="2023-10-29T17:12:07.641" v="3137" actId="20577"/>
      <pc:docMkLst>
        <pc:docMk/>
      </pc:docMkLst>
      <pc:sldChg chg="modSp mod">
        <pc:chgData name="Niittymies Aleksi" userId="00c1d702-9a1a-46cb-9bcd-5368d837961b" providerId="ADAL" clId="{55F54ABC-6D78-49F5-8110-EA7C6AFDD730}" dt="2023-10-26T15:45:03.078" v="1142" actId="20577"/>
        <pc:sldMkLst>
          <pc:docMk/>
          <pc:sldMk cId="4022952943" sldId="259"/>
        </pc:sldMkLst>
        <pc:spChg chg="mod">
          <ac:chgData name="Niittymies Aleksi" userId="00c1d702-9a1a-46cb-9bcd-5368d837961b" providerId="ADAL" clId="{55F54ABC-6D78-49F5-8110-EA7C6AFDD730}" dt="2023-10-26T15:29:53.706" v="1140" actId="20577"/>
          <ac:spMkLst>
            <pc:docMk/>
            <pc:sldMk cId="4022952943" sldId="259"/>
            <ac:spMk id="3" creationId="{8A46F9C8-1964-44D9-B1CD-B6CEC744D5F3}"/>
          </ac:spMkLst>
        </pc:spChg>
        <pc:spChg chg="mod">
          <ac:chgData name="Niittymies Aleksi" userId="00c1d702-9a1a-46cb-9bcd-5368d837961b" providerId="ADAL" clId="{55F54ABC-6D78-49F5-8110-EA7C6AFDD730}" dt="2023-10-26T15:45:03.078" v="1142" actId="20577"/>
          <ac:spMkLst>
            <pc:docMk/>
            <pc:sldMk cId="4022952943" sldId="259"/>
            <ac:spMk id="5" creationId="{14D9E3F0-1051-411B-B4E8-74150CD2A556}"/>
          </ac:spMkLst>
        </pc:spChg>
      </pc:sldChg>
      <pc:sldChg chg="addSp modSp mod ord">
        <pc:chgData name="Niittymies Aleksi" userId="00c1d702-9a1a-46cb-9bcd-5368d837961b" providerId="ADAL" clId="{55F54ABC-6D78-49F5-8110-EA7C6AFDD730}" dt="2023-10-28T15:07:29.827" v="2454" actId="14100"/>
        <pc:sldMkLst>
          <pc:docMk/>
          <pc:sldMk cId="2683116071" sldId="288"/>
        </pc:sldMkLst>
        <pc:spChg chg="add mod">
          <ac:chgData name="Niittymies Aleksi" userId="00c1d702-9a1a-46cb-9bcd-5368d837961b" providerId="ADAL" clId="{55F54ABC-6D78-49F5-8110-EA7C6AFDD730}" dt="2023-10-28T15:07:29.827" v="2454" actId="14100"/>
          <ac:spMkLst>
            <pc:docMk/>
            <pc:sldMk cId="2683116071" sldId="288"/>
            <ac:spMk id="4" creationId="{EDCA9124-3001-DAD2-DCE0-5D3C418432BB}"/>
          </ac:spMkLst>
        </pc:spChg>
      </pc:sldChg>
      <pc:sldChg chg="del">
        <pc:chgData name="Niittymies Aleksi" userId="00c1d702-9a1a-46cb-9bcd-5368d837961b" providerId="ADAL" clId="{55F54ABC-6D78-49F5-8110-EA7C6AFDD730}" dt="2023-10-26T18:09:30.121" v="1917" actId="47"/>
        <pc:sldMkLst>
          <pc:docMk/>
          <pc:sldMk cId="760655846" sldId="317"/>
        </pc:sldMkLst>
      </pc:sldChg>
      <pc:sldChg chg="del">
        <pc:chgData name="Niittymies Aleksi" userId="00c1d702-9a1a-46cb-9bcd-5368d837961b" providerId="ADAL" clId="{55F54ABC-6D78-49F5-8110-EA7C6AFDD730}" dt="2023-10-26T18:09:26.281" v="1914" actId="47"/>
        <pc:sldMkLst>
          <pc:docMk/>
          <pc:sldMk cId="3223935476" sldId="333"/>
        </pc:sldMkLst>
      </pc:sldChg>
      <pc:sldChg chg="del">
        <pc:chgData name="Niittymies Aleksi" userId="00c1d702-9a1a-46cb-9bcd-5368d837961b" providerId="ADAL" clId="{55F54ABC-6D78-49F5-8110-EA7C6AFDD730}" dt="2023-10-26T14:04:00.320" v="220" actId="47"/>
        <pc:sldMkLst>
          <pc:docMk/>
          <pc:sldMk cId="1440832524" sldId="336"/>
        </pc:sldMkLst>
      </pc:sldChg>
      <pc:sldChg chg="del">
        <pc:chgData name="Niittymies Aleksi" userId="00c1d702-9a1a-46cb-9bcd-5368d837961b" providerId="ADAL" clId="{55F54ABC-6D78-49F5-8110-EA7C6AFDD730}" dt="2023-10-28T18:51:07.719" v="2713" actId="47"/>
        <pc:sldMkLst>
          <pc:docMk/>
          <pc:sldMk cId="3323521813" sldId="342"/>
        </pc:sldMkLst>
      </pc:sldChg>
      <pc:sldChg chg="modSp mod modShow">
        <pc:chgData name="Niittymies Aleksi" userId="00c1d702-9a1a-46cb-9bcd-5368d837961b" providerId="ADAL" clId="{55F54ABC-6D78-49F5-8110-EA7C6AFDD730}" dt="2023-10-29T16:59:20.316" v="2841" actId="20577"/>
        <pc:sldMkLst>
          <pc:docMk/>
          <pc:sldMk cId="3727756119" sldId="514"/>
        </pc:sldMkLst>
        <pc:spChg chg="mod">
          <ac:chgData name="Niittymies Aleksi" userId="00c1d702-9a1a-46cb-9bcd-5368d837961b" providerId="ADAL" clId="{55F54ABC-6D78-49F5-8110-EA7C6AFDD730}" dt="2023-10-29T16:59:20.316" v="2841" actId="20577"/>
          <ac:spMkLst>
            <pc:docMk/>
            <pc:sldMk cId="3727756119" sldId="514"/>
            <ac:spMk id="2" creationId="{6BEFAF0B-2161-4AED-A03C-AFD447DC84E5}"/>
          </ac:spMkLst>
        </pc:spChg>
      </pc:sldChg>
      <pc:sldChg chg="modSp mod">
        <pc:chgData name="Niittymies Aleksi" userId="00c1d702-9a1a-46cb-9bcd-5368d837961b" providerId="ADAL" clId="{55F54ABC-6D78-49F5-8110-EA7C6AFDD730}" dt="2023-10-28T18:53:06.841" v="2802" actId="20577"/>
        <pc:sldMkLst>
          <pc:docMk/>
          <pc:sldMk cId="3618287028" sldId="979"/>
        </pc:sldMkLst>
        <pc:spChg chg="mod">
          <ac:chgData name="Niittymies Aleksi" userId="00c1d702-9a1a-46cb-9bcd-5368d837961b" providerId="ADAL" clId="{55F54ABC-6D78-49F5-8110-EA7C6AFDD730}" dt="2023-10-28T18:51:38.234" v="2732" actId="6549"/>
          <ac:spMkLst>
            <pc:docMk/>
            <pc:sldMk cId="3618287028" sldId="979"/>
            <ac:spMk id="2" creationId="{DAF2281E-D9A1-4D78-88F1-D5A2007BE0D9}"/>
          </ac:spMkLst>
        </pc:spChg>
        <pc:spChg chg="mod">
          <ac:chgData name="Niittymies Aleksi" userId="00c1d702-9a1a-46cb-9bcd-5368d837961b" providerId="ADAL" clId="{55F54ABC-6D78-49F5-8110-EA7C6AFDD730}" dt="2023-10-28T18:53:06.841" v="2802" actId="20577"/>
          <ac:spMkLst>
            <pc:docMk/>
            <pc:sldMk cId="3618287028" sldId="979"/>
            <ac:spMk id="3" creationId="{5F669965-2C37-4E46-9B17-C284E9EEEBCD}"/>
          </ac:spMkLst>
        </pc:spChg>
      </pc:sldChg>
      <pc:sldChg chg="del">
        <pc:chgData name="Niittymies Aleksi" userId="00c1d702-9a1a-46cb-9bcd-5368d837961b" providerId="ADAL" clId="{55F54ABC-6D78-49F5-8110-EA7C6AFDD730}" dt="2023-10-26T15:03:21.892" v="310" actId="47"/>
        <pc:sldMkLst>
          <pc:docMk/>
          <pc:sldMk cId="2241582236" sldId="1536"/>
        </pc:sldMkLst>
      </pc:sldChg>
      <pc:sldChg chg="del">
        <pc:chgData name="Niittymies Aleksi" userId="00c1d702-9a1a-46cb-9bcd-5368d837961b" providerId="ADAL" clId="{55F54ABC-6D78-49F5-8110-EA7C6AFDD730}" dt="2023-10-26T15:03:15.209" v="308" actId="47"/>
        <pc:sldMkLst>
          <pc:docMk/>
          <pc:sldMk cId="3312029223" sldId="6464"/>
        </pc:sldMkLst>
      </pc:sldChg>
      <pc:sldChg chg="modSp add del mod">
        <pc:chgData name="Niittymies Aleksi" userId="00c1d702-9a1a-46cb-9bcd-5368d837961b" providerId="ADAL" clId="{55F54ABC-6D78-49F5-8110-EA7C6AFDD730}" dt="2023-10-26T18:03:10.237" v="1693" actId="47"/>
        <pc:sldMkLst>
          <pc:docMk/>
          <pc:sldMk cId="2538672300" sldId="6465"/>
        </pc:sldMkLst>
        <pc:spChg chg="mod">
          <ac:chgData name="Niittymies Aleksi" userId="00c1d702-9a1a-46cb-9bcd-5368d837961b" providerId="ADAL" clId="{55F54ABC-6D78-49F5-8110-EA7C6AFDD730}" dt="2023-10-26T15:16:11.583" v="565" actId="20577"/>
          <ac:spMkLst>
            <pc:docMk/>
            <pc:sldMk cId="2538672300" sldId="6465"/>
            <ac:spMk id="6" creationId="{CA37F30B-0C15-4C20-B203-B86996A28ECF}"/>
          </ac:spMkLst>
        </pc:spChg>
      </pc:sldChg>
      <pc:sldChg chg="del">
        <pc:chgData name="Niittymies Aleksi" userId="00c1d702-9a1a-46cb-9bcd-5368d837961b" providerId="ADAL" clId="{55F54ABC-6D78-49F5-8110-EA7C6AFDD730}" dt="2023-10-26T14:04:05.673" v="226" actId="47"/>
        <pc:sldMkLst>
          <pc:docMk/>
          <pc:sldMk cId="964648724" sldId="6467"/>
        </pc:sldMkLst>
      </pc:sldChg>
      <pc:sldChg chg="del">
        <pc:chgData name="Niittymies Aleksi" userId="00c1d702-9a1a-46cb-9bcd-5368d837961b" providerId="ADAL" clId="{55F54ABC-6D78-49F5-8110-EA7C6AFDD730}" dt="2023-10-26T14:04:03.411" v="223" actId="47"/>
        <pc:sldMkLst>
          <pc:docMk/>
          <pc:sldMk cId="3283465410" sldId="6469"/>
        </pc:sldMkLst>
      </pc:sldChg>
      <pc:sldChg chg="del">
        <pc:chgData name="Niittymies Aleksi" userId="00c1d702-9a1a-46cb-9bcd-5368d837961b" providerId="ADAL" clId="{55F54ABC-6D78-49F5-8110-EA7C6AFDD730}" dt="2023-10-26T14:04:02.346" v="222" actId="47"/>
        <pc:sldMkLst>
          <pc:docMk/>
          <pc:sldMk cId="466566395" sldId="6471"/>
        </pc:sldMkLst>
      </pc:sldChg>
      <pc:sldChg chg="del">
        <pc:chgData name="Niittymies Aleksi" userId="00c1d702-9a1a-46cb-9bcd-5368d837961b" providerId="ADAL" clId="{55F54ABC-6D78-49F5-8110-EA7C6AFDD730}" dt="2023-10-26T14:04:01.130" v="221" actId="47"/>
        <pc:sldMkLst>
          <pc:docMk/>
          <pc:sldMk cId="972921773" sldId="6472"/>
        </pc:sldMkLst>
      </pc:sldChg>
      <pc:sldChg chg="modSp mod">
        <pc:chgData name="Niittymies Aleksi" userId="00c1d702-9a1a-46cb-9bcd-5368d837961b" providerId="ADAL" clId="{55F54ABC-6D78-49F5-8110-EA7C6AFDD730}" dt="2023-10-26T18:10:40.238" v="1983"/>
        <pc:sldMkLst>
          <pc:docMk/>
          <pc:sldMk cId="3567938623" sldId="6477"/>
        </pc:sldMkLst>
        <pc:spChg chg="mod">
          <ac:chgData name="Niittymies Aleksi" userId="00c1d702-9a1a-46cb-9bcd-5368d837961b" providerId="ADAL" clId="{55F54ABC-6D78-49F5-8110-EA7C6AFDD730}" dt="2023-10-26T18:10:40.238" v="1983"/>
          <ac:spMkLst>
            <pc:docMk/>
            <pc:sldMk cId="3567938623" sldId="6477"/>
            <ac:spMk id="3" creationId="{CF3F630B-0F73-483A-838D-6B23394D1B86}"/>
          </ac:spMkLst>
        </pc:spChg>
      </pc:sldChg>
      <pc:sldChg chg="del">
        <pc:chgData name="Niittymies Aleksi" userId="00c1d702-9a1a-46cb-9bcd-5368d837961b" providerId="ADAL" clId="{55F54ABC-6D78-49F5-8110-EA7C6AFDD730}" dt="2023-10-26T18:09:39.609" v="1919" actId="47"/>
        <pc:sldMkLst>
          <pc:docMk/>
          <pc:sldMk cId="396421728" sldId="6478"/>
        </pc:sldMkLst>
      </pc:sldChg>
      <pc:sldChg chg="del">
        <pc:chgData name="Niittymies Aleksi" userId="00c1d702-9a1a-46cb-9bcd-5368d837961b" providerId="ADAL" clId="{55F54ABC-6D78-49F5-8110-EA7C6AFDD730}" dt="2023-10-26T18:09:39.609" v="1919" actId="47"/>
        <pc:sldMkLst>
          <pc:docMk/>
          <pc:sldMk cId="1879992390" sldId="6480"/>
        </pc:sldMkLst>
      </pc:sldChg>
      <pc:sldChg chg="del">
        <pc:chgData name="Niittymies Aleksi" userId="00c1d702-9a1a-46cb-9bcd-5368d837961b" providerId="ADAL" clId="{55F54ABC-6D78-49F5-8110-EA7C6AFDD730}" dt="2023-10-26T18:09:29.095" v="1916" actId="47"/>
        <pc:sldMkLst>
          <pc:docMk/>
          <pc:sldMk cId="2587305749" sldId="6481"/>
        </pc:sldMkLst>
      </pc:sldChg>
      <pc:sldChg chg="del">
        <pc:chgData name="Niittymies Aleksi" userId="00c1d702-9a1a-46cb-9bcd-5368d837961b" providerId="ADAL" clId="{55F54ABC-6D78-49F5-8110-EA7C6AFDD730}" dt="2023-10-26T18:09:39.609" v="1919" actId="47"/>
        <pc:sldMkLst>
          <pc:docMk/>
          <pc:sldMk cId="1575237945" sldId="6482"/>
        </pc:sldMkLst>
      </pc:sldChg>
      <pc:sldChg chg="del">
        <pc:chgData name="Niittymies Aleksi" userId="00c1d702-9a1a-46cb-9bcd-5368d837961b" providerId="ADAL" clId="{55F54ABC-6D78-49F5-8110-EA7C6AFDD730}" dt="2023-10-28T18:51:13.757" v="2714" actId="47"/>
        <pc:sldMkLst>
          <pc:docMk/>
          <pc:sldMk cId="2516522154" sldId="6488"/>
        </pc:sldMkLst>
      </pc:sldChg>
      <pc:sldChg chg="del">
        <pc:chgData name="Niittymies Aleksi" userId="00c1d702-9a1a-46cb-9bcd-5368d837961b" providerId="ADAL" clId="{55F54ABC-6D78-49F5-8110-EA7C6AFDD730}" dt="2023-10-26T18:09:14.972" v="1912" actId="47"/>
        <pc:sldMkLst>
          <pc:docMk/>
          <pc:sldMk cId="3439043387" sldId="6489"/>
        </pc:sldMkLst>
      </pc:sldChg>
      <pc:sldChg chg="del">
        <pc:chgData name="Niittymies Aleksi" userId="00c1d702-9a1a-46cb-9bcd-5368d837961b" providerId="ADAL" clId="{55F54ABC-6D78-49F5-8110-EA7C6AFDD730}" dt="2023-10-26T15:03:21.011" v="309" actId="47"/>
        <pc:sldMkLst>
          <pc:docMk/>
          <pc:sldMk cId="3999714898" sldId="6492"/>
        </pc:sldMkLst>
      </pc:sldChg>
      <pc:sldChg chg="del">
        <pc:chgData name="Niittymies Aleksi" userId="00c1d702-9a1a-46cb-9bcd-5368d837961b" providerId="ADAL" clId="{55F54ABC-6D78-49F5-8110-EA7C6AFDD730}" dt="2023-10-26T18:09:53.673" v="1920" actId="47"/>
        <pc:sldMkLst>
          <pc:docMk/>
          <pc:sldMk cId="984379484" sldId="6494"/>
        </pc:sldMkLst>
      </pc:sldChg>
      <pc:sldChg chg="del">
        <pc:chgData name="Niittymies Aleksi" userId="00c1d702-9a1a-46cb-9bcd-5368d837961b" providerId="ADAL" clId="{55F54ABC-6D78-49F5-8110-EA7C6AFDD730}" dt="2023-10-26T18:09:53.673" v="1920" actId="47"/>
        <pc:sldMkLst>
          <pc:docMk/>
          <pc:sldMk cId="3329689310" sldId="6495"/>
        </pc:sldMkLst>
      </pc:sldChg>
      <pc:sldChg chg="del">
        <pc:chgData name="Niittymies Aleksi" userId="00c1d702-9a1a-46cb-9bcd-5368d837961b" providerId="ADAL" clId="{55F54ABC-6D78-49F5-8110-EA7C6AFDD730}" dt="2023-10-26T18:09:39.609" v="1919" actId="47"/>
        <pc:sldMkLst>
          <pc:docMk/>
          <pc:sldMk cId="1916855917" sldId="6496"/>
        </pc:sldMkLst>
      </pc:sldChg>
      <pc:sldChg chg="del">
        <pc:chgData name="Niittymies Aleksi" userId="00c1d702-9a1a-46cb-9bcd-5368d837961b" providerId="ADAL" clId="{55F54ABC-6D78-49F5-8110-EA7C6AFDD730}" dt="2023-10-26T18:09:31.353" v="1918" actId="47"/>
        <pc:sldMkLst>
          <pc:docMk/>
          <pc:sldMk cId="2753825767" sldId="6501"/>
        </pc:sldMkLst>
      </pc:sldChg>
      <pc:sldChg chg="del">
        <pc:chgData name="Niittymies Aleksi" userId="00c1d702-9a1a-46cb-9bcd-5368d837961b" providerId="ADAL" clId="{55F54ABC-6D78-49F5-8110-EA7C6AFDD730}" dt="2023-10-26T14:04:08.540" v="229" actId="47"/>
        <pc:sldMkLst>
          <pc:docMk/>
          <pc:sldMk cId="3404113290" sldId="6502"/>
        </pc:sldMkLst>
      </pc:sldChg>
      <pc:sldChg chg="del">
        <pc:chgData name="Niittymies Aleksi" userId="00c1d702-9a1a-46cb-9bcd-5368d837961b" providerId="ADAL" clId="{55F54ABC-6D78-49F5-8110-EA7C6AFDD730}" dt="2023-10-26T14:04:07.324" v="228" actId="47"/>
        <pc:sldMkLst>
          <pc:docMk/>
          <pc:sldMk cId="2323915524" sldId="6503"/>
        </pc:sldMkLst>
      </pc:sldChg>
      <pc:sldChg chg="del">
        <pc:chgData name="Niittymies Aleksi" userId="00c1d702-9a1a-46cb-9bcd-5368d837961b" providerId="ADAL" clId="{55F54ABC-6D78-49F5-8110-EA7C6AFDD730}" dt="2023-10-26T14:04:06.409" v="227" actId="47"/>
        <pc:sldMkLst>
          <pc:docMk/>
          <pc:sldMk cId="1856887595" sldId="6504"/>
        </pc:sldMkLst>
      </pc:sldChg>
      <pc:sldChg chg="del">
        <pc:chgData name="Niittymies Aleksi" userId="00c1d702-9a1a-46cb-9bcd-5368d837961b" providerId="ADAL" clId="{55F54ABC-6D78-49F5-8110-EA7C6AFDD730}" dt="2023-10-26T14:04:04.107" v="224" actId="47"/>
        <pc:sldMkLst>
          <pc:docMk/>
          <pc:sldMk cId="2273617779" sldId="6506"/>
        </pc:sldMkLst>
      </pc:sldChg>
      <pc:sldChg chg="del">
        <pc:chgData name="Niittymies Aleksi" userId="00c1d702-9a1a-46cb-9bcd-5368d837961b" providerId="ADAL" clId="{55F54ABC-6D78-49F5-8110-EA7C6AFDD730}" dt="2023-10-28T18:51:16.587" v="2715" actId="47"/>
        <pc:sldMkLst>
          <pc:docMk/>
          <pc:sldMk cId="921956387" sldId="6509"/>
        </pc:sldMkLst>
      </pc:sldChg>
      <pc:sldChg chg="del">
        <pc:chgData name="Niittymies Aleksi" userId="00c1d702-9a1a-46cb-9bcd-5368d837961b" providerId="ADAL" clId="{55F54ABC-6D78-49F5-8110-EA7C6AFDD730}" dt="2023-10-26T18:09:53.673" v="1920" actId="47"/>
        <pc:sldMkLst>
          <pc:docMk/>
          <pc:sldMk cId="2515855588" sldId="6510"/>
        </pc:sldMkLst>
      </pc:sldChg>
      <pc:sldChg chg="modSp mod">
        <pc:chgData name="Niittymies Aleksi" userId="00c1d702-9a1a-46cb-9bcd-5368d837961b" providerId="ADAL" clId="{55F54ABC-6D78-49F5-8110-EA7C6AFDD730}" dt="2023-10-26T18:10:32.940" v="1982" actId="20577"/>
        <pc:sldMkLst>
          <pc:docMk/>
          <pc:sldMk cId="2555860637" sldId="6511"/>
        </pc:sldMkLst>
        <pc:spChg chg="mod">
          <ac:chgData name="Niittymies Aleksi" userId="00c1d702-9a1a-46cb-9bcd-5368d837961b" providerId="ADAL" clId="{55F54ABC-6D78-49F5-8110-EA7C6AFDD730}" dt="2023-10-26T18:10:32.940" v="1982" actId="20577"/>
          <ac:spMkLst>
            <pc:docMk/>
            <pc:sldMk cId="2555860637" sldId="6511"/>
            <ac:spMk id="3" creationId="{CF3F630B-0F73-483A-838D-6B23394D1B86}"/>
          </ac:spMkLst>
        </pc:spChg>
      </pc:sldChg>
      <pc:sldChg chg="del">
        <pc:chgData name="Niittymies Aleksi" userId="00c1d702-9a1a-46cb-9bcd-5368d837961b" providerId="ADAL" clId="{55F54ABC-6D78-49F5-8110-EA7C6AFDD730}" dt="2023-10-26T18:09:21.928" v="1913" actId="47"/>
        <pc:sldMkLst>
          <pc:docMk/>
          <pc:sldMk cId="3919083279" sldId="6512"/>
        </pc:sldMkLst>
      </pc:sldChg>
      <pc:sldChg chg="addSp delSp modSp mod">
        <pc:chgData name="Niittymies Aleksi" userId="00c1d702-9a1a-46cb-9bcd-5368d837961b" providerId="ADAL" clId="{55F54ABC-6D78-49F5-8110-EA7C6AFDD730}" dt="2023-10-26T18:12:28.156" v="1998" actId="1076"/>
        <pc:sldMkLst>
          <pc:docMk/>
          <pc:sldMk cId="858044239" sldId="6514"/>
        </pc:sldMkLst>
        <pc:spChg chg="del">
          <ac:chgData name="Niittymies Aleksi" userId="00c1d702-9a1a-46cb-9bcd-5368d837961b" providerId="ADAL" clId="{55F54ABC-6D78-49F5-8110-EA7C6AFDD730}" dt="2023-10-26T13:31:07.467" v="4" actId="478"/>
          <ac:spMkLst>
            <pc:docMk/>
            <pc:sldMk cId="858044239" sldId="6514"/>
            <ac:spMk id="4" creationId="{48C8DD5A-826D-61ED-E8A6-69F598C77030}"/>
          </ac:spMkLst>
        </pc:spChg>
        <pc:spChg chg="mod">
          <ac:chgData name="Niittymies Aleksi" userId="00c1d702-9a1a-46cb-9bcd-5368d837961b" providerId="ADAL" clId="{55F54ABC-6D78-49F5-8110-EA7C6AFDD730}" dt="2023-10-26T16:59:35.322" v="1350" actId="14100"/>
          <ac:spMkLst>
            <pc:docMk/>
            <pc:sldMk cId="858044239" sldId="6514"/>
            <ac:spMk id="5" creationId="{4E79B233-C263-4355-BEE2-6A4CD1ED5B59}"/>
          </ac:spMkLst>
        </pc:spChg>
        <pc:spChg chg="del">
          <ac:chgData name="Niittymies Aleksi" userId="00c1d702-9a1a-46cb-9bcd-5368d837961b" providerId="ADAL" clId="{55F54ABC-6D78-49F5-8110-EA7C6AFDD730}" dt="2023-10-26T13:31:05.804" v="1" actId="478"/>
          <ac:spMkLst>
            <pc:docMk/>
            <pc:sldMk cId="858044239" sldId="6514"/>
            <ac:spMk id="7" creationId="{DD0AA779-BA7E-8E8C-97DD-A073A6DAFC0F}"/>
          </ac:spMkLst>
        </pc:spChg>
        <pc:spChg chg="del">
          <ac:chgData name="Niittymies Aleksi" userId="00c1d702-9a1a-46cb-9bcd-5368d837961b" providerId="ADAL" clId="{55F54ABC-6D78-49F5-8110-EA7C6AFDD730}" dt="2023-10-26T13:31:05.367" v="0" actId="478"/>
          <ac:spMkLst>
            <pc:docMk/>
            <pc:sldMk cId="858044239" sldId="6514"/>
            <ac:spMk id="8" creationId="{3ABF3AD3-D6FA-473C-0585-8F9BC68E85A0}"/>
          </ac:spMkLst>
        </pc:spChg>
        <pc:spChg chg="del">
          <ac:chgData name="Niittymies Aleksi" userId="00c1d702-9a1a-46cb-9bcd-5368d837961b" providerId="ADAL" clId="{55F54ABC-6D78-49F5-8110-EA7C6AFDD730}" dt="2023-10-26T13:31:06.684" v="3" actId="478"/>
          <ac:spMkLst>
            <pc:docMk/>
            <pc:sldMk cId="858044239" sldId="6514"/>
            <ac:spMk id="9" creationId="{58456D8E-260B-C4BE-7082-21D63BBE01EF}"/>
          </ac:spMkLst>
        </pc:spChg>
        <pc:spChg chg="del">
          <ac:chgData name="Niittymies Aleksi" userId="00c1d702-9a1a-46cb-9bcd-5368d837961b" providerId="ADAL" clId="{55F54ABC-6D78-49F5-8110-EA7C6AFDD730}" dt="2023-10-26T13:31:06.298" v="2" actId="478"/>
          <ac:spMkLst>
            <pc:docMk/>
            <pc:sldMk cId="858044239" sldId="6514"/>
            <ac:spMk id="10" creationId="{B09B7AF3-0782-85BF-19E6-C7A39599912A}"/>
          </ac:spMkLst>
        </pc:spChg>
        <pc:spChg chg="del">
          <ac:chgData name="Niittymies Aleksi" userId="00c1d702-9a1a-46cb-9bcd-5368d837961b" providerId="ADAL" clId="{55F54ABC-6D78-49F5-8110-EA7C6AFDD730}" dt="2023-10-26T13:31:09.004" v="5" actId="478"/>
          <ac:spMkLst>
            <pc:docMk/>
            <pc:sldMk cId="858044239" sldId="6514"/>
            <ac:spMk id="11" creationId="{598070D3-77BA-919A-7763-DAAAD97B05B8}"/>
          </ac:spMkLst>
        </pc:spChg>
        <pc:picChg chg="add mod modCrop">
          <ac:chgData name="Niittymies Aleksi" userId="00c1d702-9a1a-46cb-9bcd-5368d837961b" providerId="ADAL" clId="{55F54ABC-6D78-49F5-8110-EA7C6AFDD730}" dt="2023-10-26T18:12:14.150" v="1994" actId="1076"/>
          <ac:picMkLst>
            <pc:docMk/>
            <pc:sldMk cId="858044239" sldId="6514"/>
            <ac:picMk id="3" creationId="{85537C20-FB05-D999-849D-AA33984B21D7}"/>
          </ac:picMkLst>
        </pc:picChg>
        <pc:picChg chg="add mod modCrop">
          <ac:chgData name="Niittymies Aleksi" userId="00c1d702-9a1a-46cb-9bcd-5368d837961b" providerId="ADAL" clId="{55F54ABC-6D78-49F5-8110-EA7C6AFDD730}" dt="2023-10-26T18:12:28.156" v="1998" actId="1076"/>
          <ac:picMkLst>
            <pc:docMk/>
            <pc:sldMk cId="858044239" sldId="6514"/>
            <ac:picMk id="17" creationId="{38404AD4-5459-7BF5-EFD2-3FE63600F4CB}"/>
          </ac:picMkLst>
        </pc:picChg>
        <pc:cxnChg chg="add del mod">
          <ac:chgData name="Niittymies Aleksi" userId="00c1d702-9a1a-46cb-9bcd-5368d837961b" providerId="ADAL" clId="{55F54ABC-6D78-49F5-8110-EA7C6AFDD730}" dt="2023-10-26T18:12:19.838" v="1997" actId="478"/>
          <ac:cxnSpMkLst>
            <pc:docMk/>
            <pc:sldMk cId="858044239" sldId="6514"/>
            <ac:cxnSpMk id="12" creationId="{A5ADD73B-E1D4-FD73-1EA5-7402E90FFA6E}"/>
          </ac:cxnSpMkLst>
        </pc:cxnChg>
        <pc:cxnChg chg="del mod">
          <ac:chgData name="Niittymies Aleksi" userId="00c1d702-9a1a-46cb-9bcd-5368d837961b" providerId="ADAL" clId="{55F54ABC-6D78-49F5-8110-EA7C6AFDD730}" dt="2023-10-26T13:31:09.579" v="6" actId="478"/>
          <ac:cxnSpMkLst>
            <pc:docMk/>
            <pc:sldMk cId="858044239" sldId="6514"/>
            <ac:cxnSpMk id="13" creationId="{D21EE9D0-FE12-EF0A-1EEA-C7DF782DC30E}"/>
          </ac:cxnSpMkLst>
        </pc:cxnChg>
        <pc:cxnChg chg="add del mod">
          <ac:chgData name="Niittymies Aleksi" userId="00c1d702-9a1a-46cb-9bcd-5368d837961b" providerId="ADAL" clId="{55F54ABC-6D78-49F5-8110-EA7C6AFDD730}" dt="2023-10-26T18:12:17.932" v="1996" actId="478"/>
          <ac:cxnSpMkLst>
            <pc:docMk/>
            <pc:sldMk cId="858044239" sldId="6514"/>
            <ac:cxnSpMk id="14" creationId="{417ED823-AF09-5FC5-BC8D-AF38961F0985}"/>
          </ac:cxnSpMkLst>
        </pc:cxnChg>
      </pc:sldChg>
      <pc:sldChg chg="del">
        <pc:chgData name="Niittymies Aleksi" userId="00c1d702-9a1a-46cb-9bcd-5368d837961b" providerId="ADAL" clId="{55F54ABC-6D78-49F5-8110-EA7C6AFDD730}" dt="2023-10-26T14:04:04.938" v="225" actId="47"/>
        <pc:sldMkLst>
          <pc:docMk/>
          <pc:sldMk cId="1404594552" sldId="6515"/>
        </pc:sldMkLst>
      </pc:sldChg>
      <pc:sldChg chg="del">
        <pc:chgData name="Niittymies Aleksi" userId="00c1d702-9a1a-46cb-9bcd-5368d837961b" providerId="ADAL" clId="{55F54ABC-6D78-49F5-8110-EA7C6AFDD730}" dt="2023-10-26T18:09:27.512" v="1915" actId="47"/>
        <pc:sldMkLst>
          <pc:docMk/>
          <pc:sldMk cId="136992191" sldId="6516"/>
        </pc:sldMkLst>
      </pc:sldChg>
      <pc:sldChg chg="modSp mod">
        <pc:chgData name="Niittymies Aleksi" userId="00c1d702-9a1a-46cb-9bcd-5368d837961b" providerId="ADAL" clId="{55F54ABC-6D78-49F5-8110-EA7C6AFDD730}" dt="2023-10-29T17:12:07.641" v="3137" actId="20577"/>
        <pc:sldMkLst>
          <pc:docMk/>
          <pc:sldMk cId="1134950752" sldId="6517"/>
        </pc:sldMkLst>
        <pc:spChg chg="mod">
          <ac:chgData name="Niittymies Aleksi" userId="00c1d702-9a1a-46cb-9bcd-5368d837961b" providerId="ADAL" clId="{55F54ABC-6D78-49F5-8110-EA7C6AFDD730}" dt="2023-10-26T16:43:07.494" v="1263" actId="20577"/>
          <ac:spMkLst>
            <pc:docMk/>
            <pc:sldMk cId="1134950752" sldId="6517"/>
            <ac:spMk id="5" creationId="{4E79B233-C263-4355-BEE2-6A4CD1ED5B59}"/>
          </ac:spMkLst>
        </pc:spChg>
        <pc:spChg chg="mod">
          <ac:chgData name="Niittymies Aleksi" userId="00c1d702-9a1a-46cb-9bcd-5368d837961b" providerId="ADAL" clId="{55F54ABC-6D78-49F5-8110-EA7C6AFDD730}" dt="2023-10-29T17:12:07.641" v="3137" actId="20577"/>
          <ac:spMkLst>
            <pc:docMk/>
            <pc:sldMk cId="1134950752" sldId="6517"/>
            <ac:spMk id="6" creationId="{CA37F30B-0C15-4C20-B203-B86996A28ECF}"/>
          </ac:spMkLst>
        </pc:spChg>
      </pc:sldChg>
      <pc:sldChg chg="addSp delSp modSp add mod ord">
        <pc:chgData name="Niittymies Aleksi" userId="00c1d702-9a1a-46cb-9bcd-5368d837961b" providerId="ADAL" clId="{55F54ABC-6D78-49F5-8110-EA7C6AFDD730}" dt="2023-10-29T17:04:24.662" v="2950" actId="20577"/>
        <pc:sldMkLst>
          <pc:docMk/>
          <pc:sldMk cId="3262308052" sldId="6518"/>
        </pc:sldMkLst>
        <pc:spChg chg="add mod">
          <ac:chgData name="Niittymies Aleksi" userId="00c1d702-9a1a-46cb-9bcd-5368d837961b" providerId="ADAL" clId="{55F54ABC-6D78-49F5-8110-EA7C6AFDD730}" dt="2023-10-29T17:03:08.460" v="2931" actId="313"/>
          <ac:spMkLst>
            <pc:docMk/>
            <pc:sldMk cId="3262308052" sldId="6518"/>
            <ac:spMk id="2" creationId="{7188B95F-4310-569A-83C9-3FA1F947D1D9}"/>
          </ac:spMkLst>
        </pc:spChg>
        <pc:spChg chg="mod">
          <ac:chgData name="Niittymies Aleksi" userId="00c1d702-9a1a-46cb-9bcd-5368d837961b" providerId="ADAL" clId="{55F54ABC-6D78-49F5-8110-EA7C6AFDD730}" dt="2023-10-29T17:04:24.662" v="2950" actId="20577"/>
          <ac:spMkLst>
            <pc:docMk/>
            <pc:sldMk cId="3262308052" sldId="6518"/>
            <ac:spMk id="5" creationId="{4E79B233-C263-4355-BEE2-6A4CD1ED5B59}"/>
          </ac:spMkLst>
        </pc:spChg>
        <pc:spChg chg="mod">
          <ac:chgData name="Niittymies Aleksi" userId="00c1d702-9a1a-46cb-9bcd-5368d837961b" providerId="ADAL" clId="{55F54ABC-6D78-49F5-8110-EA7C6AFDD730}" dt="2023-10-28T15:01:07.980" v="2400"/>
          <ac:spMkLst>
            <pc:docMk/>
            <pc:sldMk cId="3262308052" sldId="6518"/>
            <ac:spMk id="7" creationId="{F5C796E6-302D-1CB0-44A9-3B4B2FC2B650}"/>
          </ac:spMkLst>
        </pc:spChg>
        <pc:spChg chg="mod">
          <ac:chgData name="Niittymies Aleksi" userId="00c1d702-9a1a-46cb-9bcd-5368d837961b" providerId="ADAL" clId="{55F54ABC-6D78-49F5-8110-EA7C6AFDD730}" dt="2023-10-28T15:01:07.980" v="2400"/>
          <ac:spMkLst>
            <pc:docMk/>
            <pc:sldMk cId="3262308052" sldId="6518"/>
            <ac:spMk id="8" creationId="{72A3EE4E-5B28-423E-7F07-664423213575}"/>
          </ac:spMkLst>
        </pc:spChg>
        <pc:spChg chg="mod">
          <ac:chgData name="Niittymies Aleksi" userId="00c1d702-9a1a-46cb-9bcd-5368d837961b" providerId="ADAL" clId="{55F54ABC-6D78-49F5-8110-EA7C6AFDD730}" dt="2023-10-28T15:01:07.980" v="2400"/>
          <ac:spMkLst>
            <pc:docMk/>
            <pc:sldMk cId="3262308052" sldId="6518"/>
            <ac:spMk id="9" creationId="{9C9F75E8-F8C1-A6C7-CC4D-46BCF882271A}"/>
          </ac:spMkLst>
        </pc:spChg>
        <pc:spChg chg="mod">
          <ac:chgData name="Niittymies Aleksi" userId="00c1d702-9a1a-46cb-9bcd-5368d837961b" providerId="ADAL" clId="{55F54ABC-6D78-49F5-8110-EA7C6AFDD730}" dt="2023-10-28T15:01:07.980" v="2400"/>
          <ac:spMkLst>
            <pc:docMk/>
            <pc:sldMk cId="3262308052" sldId="6518"/>
            <ac:spMk id="10" creationId="{25AA06C2-3E33-2B9A-CEEE-D286AABC2AE1}"/>
          </ac:spMkLst>
        </pc:spChg>
        <pc:spChg chg="del mod">
          <ac:chgData name="Niittymies Aleksi" userId="00c1d702-9a1a-46cb-9bcd-5368d837961b" providerId="ADAL" clId="{55F54ABC-6D78-49F5-8110-EA7C6AFDD730}" dt="2023-10-29T17:00:16.981" v="2842" actId="478"/>
          <ac:spMkLst>
            <pc:docMk/>
            <pc:sldMk cId="3262308052" sldId="6518"/>
            <ac:spMk id="11" creationId="{67E8AE2B-1E1E-72E3-FB87-5483C53337AE}"/>
          </ac:spMkLst>
        </pc:spChg>
        <pc:spChg chg="mod">
          <ac:chgData name="Niittymies Aleksi" userId="00c1d702-9a1a-46cb-9bcd-5368d837961b" providerId="ADAL" clId="{55F54ABC-6D78-49F5-8110-EA7C6AFDD730}" dt="2023-10-28T15:01:07.980" v="2400"/>
          <ac:spMkLst>
            <pc:docMk/>
            <pc:sldMk cId="3262308052" sldId="6518"/>
            <ac:spMk id="15" creationId="{833ADBE9-929E-8661-6A99-C398056A9992}"/>
          </ac:spMkLst>
        </pc:spChg>
        <pc:spChg chg="mod">
          <ac:chgData name="Niittymies Aleksi" userId="00c1d702-9a1a-46cb-9bcd-5368d837961b" providerId="ADAL" clId="{55F54ABC-6D78-49F5-8110-EA7C6AFDD730}" dt="2023-10-28T15:01:07.980" v="2400"/>
          <ac:spMkLst>
            <pc:docMk/>
            <pc:sldMk cId="3262308052" sldId="6518"/>
            <ac:spMk id="16" creationId="{515EEAC6-4342-423D-1150-8A72583EA892}"/>
          </ac:spMkLst>
        </pc:spChg>
        <pc:spChg chg="mod">
          <ac:chgData name="Niittymies Aleksi" userId="00c1d702-9a1a-46cb-9bcd-5368d837961b" providerId="ADAL" clId="{55F54ABC-6D78-49F5-8110-EA7C6AFDD730}" dt="2023-10-28T15:01:07.980" v="2400"/>
          <ac:spMkLst>
            <pc:docMk/>
            <pc:sldMk cId="3262308052" sldId="6518"/>
            <ac:spMk id="17" creationId="{CB3A0083-FBC0-B4C9-79E2-5CEAB68818B8}"/>
          </ac:spMkLst>
        </pc:spChg>
        <pc:spChg chg="mod">
          <ac:chgData name="Niittymies Aleksi" userId="00c1d702-9a1a-46cb-9bcd-5368d837961b" providerId="ADAL" clId="{55F54ABC-6D78-49F5-8110-EA7C6AFDD730}" dt="2023-10-28T15:01:07.980" v="2400"/>
          <ac:spMkLst>
            <pc:docMk/>
            <pc:sldMk cId="3262308052" sldId="6518"/>
            <ac:spMk id="18" creationId="{A57E4EF5-00D1-1415-4658-E3F846CACC7C}"/>
          </ac:spMkLst>
        </pc:spChg>
        <pc:spChg chg="mod">
          <ac:chgData name="Niittymies Aleksi" userId="00c1d702-9a1a-46cb-9bcd-5368d837961b" providerId="ADAL" clId="{55F54ABC-6D78-49F5-8110-EA7C6AFDD730}" dt="2023-10-28T15:01:07.980" v="2400"/>
          <ac:spMkLst>
            <pc:docMk/>
            <pc:sldMk cId="3262308052" sldId="6518"/>
            <ac:spMk id="19" creationId="{A289E5B2-65E4-8C7C-3C94-6775EF249E06}"/>
          </ac:spMkLst>
        </pc:spChg>
        <pc:spChg chg="mod">
          <ac:chgData name="Niittymies Aleksi" userId="00c1d702-9a1a-46cb-9bcd-5368d837961b" providerId="ADAL" clId="{55F54ABC-6D78-49F5-8110-EA7C6AFDD730}" dt="2023-10-28T15:01:07.980" v="2400"/>
          <ac:spMkLst>
            <pc:docMk/>
            <pc:sldMk cId="3262308052" sldId="6518"/>
            <ac:spMk id="20" creationId="{77418D12-128F-28EB-FB5D-873B0F5C9AAB}"/>
          </ac:spMkLst>
        </pc:spChg>
        <pc:spChg chg="mod">
          <ac:chgData name="Niittymies Aleksi" userId="00c1d702-9a1a-46cb-9bcd-5368d837961b" providerId="ADAL" clId="{55F54ABC-6D78-49F5-8110-EA7C6AFDD730}" dt="2023-10-28T15:01:07.980" v="2400"/>
          <ac:spMkLst>
            <pc:docMk/>
            <pc:sldMk cId="3262308052" sldId="6518"/>
            <ac:spMk id="21" creationId="{DA9762EB-7E5B-EEA0-5F28-725FC72E93B6}"/>
          </ac:spMkLst>
        </pc:spChg>
        <pc:grpChg chg="add del mod">
          <ac:chgData name="Niittymies Aleksi" userId="00c1d702-9a1a-46cb-9bcd-5368d837961b" providerId="ADAL" clId="{55F54ABC-6D78-49F5-8110-EA7C6AFDD730}" dt="2023-10-29T17:00:20.536" v="2843" actId="478"/>
          <ac:grpSpMkLst>
            <pc:docMk/>
            <pc:sldMk cId="3262308052" sldId="6518"/>
            <ac:grpSpMk id="4" creationId="{B72D808F-983B-5BD5-9942-0BD7EF6C60F3}"/>
          </ac:grpSpMkLst>
        </pc:grpChg>
        <pc:grpChg chg="mod">
          <ac:chgData name="Niittymies Aleksi" userId="00c1d702-9a1a-46cb-9bcd-5368d837961b" providerId="ADAL" clId="{55F54ABC-6D78-49F5-8110-EA7C6AFDD730}" dt="2023-10-28T15:01:07.980" v="2400"/>
          <ac:grpSpMkLst>
            <pc:docMk/>
            <pc:sldMk cId="3262308052" sldId="6518"/>
            <ac:grpSpMk id="6" creationId="{C073FEC7-0DD1-BF1E-3F04-F407C277BC44}"/>
          </ac:grpSpMkLst>
        </pc:grpChg>
        <pc:grpChg chg="mod">
          <ac:chgData name="Niittymies Aleksi" userId="00c1d702-9a1a-46cb-9bcd-5368d837961b" providerId="ADAL" clId="{55F54ABC-6D78-49F5-8110-EA7C6AFDD730}" dt="2023-10-28T15:01:07.980" v="2400"/>
          <ac:grpSpMkLst>
            <pc:docMk/>
            <pc:sldMk cId="3262308052" sldId="6518"/>
            <ac:grpSpMk id="13" creationId="{334EAE2D-5C8E-2A9E-AB30-2FAB86725599}"/>
          </ac:grpSpMkLst>
        </pc:grpChg>
        <pc:picChg chg="del">
          <ac:chgData name="Niittymies Aleksi" userId="00c1d702-9a1a-46cb-9bcd-5368d837961b" providerId="ADAL" clId="{55F54ABC-6D78-49F5-8110-EA7C6AFDD730}" dt="2023-10-26T13:44:28.008" v="123" actId="478"/>
          <ac:picMkLst>
            <pc:docMk/>
            <pc:sldMk cId="3262308052" sldId="6518"/>
            <ac:picMk id="3" creationId="{85537C20-FB05-D999-849D-AA33984B21D7}"/>
          </ac:picMkLst>
        </pc:picChg>
        <pc:cxnChg chg="del">
          <ac:chgData name="Niittymies Aleksi" userId="00c1d702-9a1a-46cb-9bcd-5368d837961b" providerId="ADAL" clId="{55F54ABC-6D78-49F5-8110-EA7C6AFDD730}" dt="2023-10-26T13:44:30.248" v="125" actId="478"/>
          <ac:cxnSpMkLst>
            <pc:docMk/>
            <pc:sldMk cId="3262308052" sldId="6518"/>
            <ac:cxnSpMk id="12" creationId="{A5ADD73B-E1D4-FD73-1EA5-7402E90FFA6E}"/>
          </ac:cxnSpMkLst>
        </pc:cxnChg>
        <pc:cxnChg chg="del">
          <ac:chgData name="Niittymies Aleksi" userId="00c1d702-9a1a-46cb-9bcd-5368d837961b" providerId="ADAL" clId="{55F54ABC-6D78-49F5-8110-EA7C6AFDD730}" dt="2023-10-26T13:44:29.625" v="124" actId="478"/>
          <ac:cxnSpMkLst>
            <pc:docMk/>
            <pc:sldMk cId="3262308052" sldId="6518"/>
            <ac:cxnSpMk id="14" creationId="{417ED823-AF09-5FC5-BC8D-AF38961F0985}"/>
          </ac:cxnSpMkLst>
        </pc:cxnChg>
      </pc:sldChg>
      <pc:sldChg chg="addSp delSp modSp new mod">
        <pc:chgData name="Niittymies Aleksi" userId="00c1d702-9a1a-46cb-9bcd-5368d837961b" providerId="ADAL" clId="{55F54ABC-6D78-49F5-8110-EA7C6AFDD730}" dt="2023-10-28T18:40:44.684" v="2712" actId="20577"/>
        <pc:sldMkLst>
          <pc:docMk/>
          <pc:sldMk cId="2293747233" sldId="6519"/>
        </pc:sldMkLst>
        <pc:spChg chg="mod">
          <ac:chgData name="Niittymies Aleksi" userId="00c1d702-9a1a-46cb-9bcd-5368d837961b" providerId="ADAL" clId="{55F54ABC-6D78-49F5-8110-EA7C6AFDD730}" dt="2023-10-26T14:59:58.753" v="293" actId="20577"/>
          <ac:spMkLst>
            <pc:docMk/>
            <pc:sldMk cId="2293747233" sldId="6519"/>
            <ac:spMk id="2" creationId="{EB9470BD-37F2-F9DF-AEAE-BA866A79DD00}"/>
          </ac:spMkLst>
        </pc:spChg>
        <pc:spChg chg="del">
          <ac:chgData name="Niittymies Aleksi" userId="00c1d702-9a1a-46cb-9bcd-5368d837961b" providerId="ADAL" clId="{55F54ABC-6D78-49F5-8110-EA7C6AFDD730}" dt="2023-10-26T14:59:39.729" v="262" actId="478"/>
          <ac:spMkLst>
            <pc:docMk/>
            <pc:sldMk cId="2293747233" sldId="6519"/>
            <ac:spMk id="3" creationId="{4955E51B-EB34-D6EA-C88B-EDA039474A7F}"/>
          </ac:spMkLst>
        </pc:spChg>
        <pc:spChg chg="add mod">
          <ac:chgData name="Niittymies Aleksi" userId="00c1d702-9a1a-46cb-9bcd-5368d837961b" providerId="ADAL" clId="{55F54ABC-6D78-49F5-8110-EA7C6AFDD730}" dt="2023-10-28T18:40:44.684" v="2712" actId="20577"/>
          <ac:spMkLst>
            <pc:docMk/>
            <pc:sldMk cId="2293747233" sldId="6519"/>
            <ac:spMk id="5" creationId="{E04B41A7-03B6-3F6A-B1CF-627B7D40E920}"/>
          </ac:spMkLst>
        </pc:spChg>
        <pc:graphicFrameChg chg="add mod modGraphic">
          <ac:chgData name="Niittymies Aleksi" userId="00c1d702-9a1a-46cb-9bcd-5368d837961b" providerId="ADAL" clId="{55F54ABC-6D78-49F5-8110-EA7C6AFDD730}" dt="2023-10-26T15:02:36.986" v="301" actId="12385"/>
          <ac:graphicFrameMkLst>
            <pc:docMk/>
            <pc:sldMk cId="2293747233" sldId="6519"/>
            <ac:graphicFrameMk id="4" creationId="{1EF669D7-A6D0-7FEB-630E-7C948D3B785C}"/>
          </ac:graphicFrameMkLst>
        </pc:graphicFrameChg>
      </pc:sldChg>
      <pc:sldChg chg="addSp delSp modSp add mod">
        <pc:chgData name="Niittymies Aleksi" userId="00c1d702-9a1a-46cb-9bcd-5368d837961b" providerId="ADAL" clId="{55F54ABC-6D78-49F5-8110-EA7C6AFDD730}" dt="2023-10-26T15:03:02.327" v="307" actId="14100"/>
        <pc:sldMkLst>
          <pc:docMk/>
          <pc:sldMk cId="2886959941" sldId="6520"/>
        </pc:sldMkLst>
        <pc:graphicFrameChg chg="add del mod">
          <ac:chgData name="Niittymies Aleksi" userId="00c1d702-9a1a-46cb-9bcd-5368d837961b" providerId="ADAL" clId="{55F54ABC-6D78-49F5-8110-EA7C6AFDD730}" dt="2023-10-26T15:02:06.210" v="297"/>
          <ac:graphicFrameMkLst>
            <pc:docMk/>
            <pc:sldMk cId="2886959941" sldId="6520"/>
            <ac:graphicFrameMk id="3" creationId="{64863A86-066D-467F-75A4-F3DB12091EB5}"/>
          </ac:graphicFrameMkLst>
        </pc:graphicFrameChg>
        <pc:graphicFrameChg chg="del">
          <ac:chgData name="Niittymies Aleksi" userId="00c1d702-9a1a-46cb-9bcd-5368d837961b" providerId="ADAL" clId="{55F54ABC-6D78-49F5-8110-EA7C6AFDD730}" dt="2023-10-26T15:01:56.938" v="295" actId="478"/>
          <ac:graphicFrameMkLst>
            <pc:docMk/>
            <pc:sldMk cId="2886959941" sldId="6520"/>
            <ac:graphicFrameMk id="4" creationId="{1EF669D7-A6D0-7FEB-630E-7C948D3B785C}"/>
          </ac:graphicFrameMkLst>
        </pc:graphicFrameChg>
        <pc:graphicFrameChg chg="add mod modGraphic">
          <ac:chgData name="Niittymies Aleksi" userId="00c1d702-9a1a-46cb-9bcd-5368d837961b" providerId="ADAL" clId="{55F54ABC-6D78-49F5-8110-EA7C6AFDD730}" dt="2023-10-26T15:03:02.327" v="307" actId="14100"/>
          <ac:graphicFrameMkLst>
            <pc:docMk/>
            <pc:sldMk cId="2886959941" sldId="6520"/>
            <ac:graphicFrameMk id="5" creationId="{AA2D9C4C-4BDE-971B-DD35-2580EDBF70E6}"/>
          </ac:graphicFrameMkLst>
        </pc:graphicFrameChg>
      </pc:sldChg>
      <pc:sldChg chg="addSp delSp modSp add mod">
        <pc:chgData name="Niittymies Aleksi" userId="00c1d702-9a1a-46cb-9bcd-5368d837961b" providerId="ADAL" clId="{55F54ABC-6D78-49F5-8110-EA7C6AFDD730}" dt="2023-10-26T18:08:30.880" v="1909" actId="20577"/>
        <pc:sldMkLst>
          <pc:docMk/>
          <pc:sldMk cId="4190350582" sldId="6521"/>
        </pc:sldMkLst>
        <pc:spChg chg="mod">
          <ac:chgData name="Niittymies Aleksi" userId="00c1d702-9a1a-46cb-9bcd-5368d837961b" providerId="ADAL" clId="{55F54ABC-6D78-49F5-8110-EA7C6AFDD730}" dt="2023-10-26T15:25:05.132" v="930" actId="20577"/>
          <ac:spMkLst>
            <pc:docMk/>
            <pc:sldMk cId="4190350582" sldId="6521"/>
            <ac:spMk id="2" creationId="{DAF2281E-D9A1-4D78-88F1-D5A2007BE0D9}"/>
          </ac:spMkLst>
        </pc:spChg>
        <pc:spChg chg="mod">
          <ac:chgData name="Niittymies Aleksi" userId="00c1d702-9a1a-46cb-9bcd-5368d837961b" providerId="ADAL" clId="{55F54ABC-6D78-49F5-8110-EA7C6AFDD730}" dt="2023-10-26T16:40:00.449" v="1251" actId="113"/>
          <ac:spMkLst>
            <pc:docMk/>
            <pc:sldMk cId="4190350582" sldId="6521"/>
            <ac:spMk id="3" creationId="{5F669965-2C37-4E46-9B17-C284E9EEEBCD}"/>
          </ac:spMkLst>
        </pc:spChg>
        <pc:spChg chg="add mod">
          <ac:chgData name="Niittymies Aleksi" userId="00c1d702-9a1a-46cb-9bcd-5368d837961b" providerId="ADAL" clId="{55F54ABC-6D78-49F5-8110-EA7C6AFDD730}" dt="2023-10-26T16:39:53.921" v="1248" actId="113"/>
          <ac:spMkLst>
            <pc:docMk/>
            <pc:sldMk cId="4190350582" sldId="6521"/>
            <ac:spMk id="4" creationId="{850F3264-B6C0-78D1-D4D6-A07ADC7DB9CF}"/>
          </ac:spMkLst>
        </pc:spChg>
        <pc:spChg chg="add del mod">
          <ac:chgData name="Niittymies Aleksi" userId="00c1d702-9a1a-46cb-9bcd-5368d837961b" providerId="ADAL" clId="{55F54ABC-6D78-49F5-8110-EA7C6AFDD730}" dt="2023-10-26T15:26:16.941" v="962" actId="11529"/>
          <ac:spMkLst>
            <pc:docMk/>
            <pc:sldMk cId="4190350582" sldId="6521"/>
            <ac:spMk id="5" creationId="{038DF308-4F9C-3571-ED54-0BFC051A39CF}"/>
          </ac:spMkLst>
        </pc:spChg>
        <pc:spChg chg="add mod">
          <ac:chgData name="Niittymies Aleksi" userId="00c1d702-9a1a-46cb-9bcd-5368d837961b" providerId="ADAL" clId="{55F54ABC-6D78-49F5-8110-EA7C6AFDD730}" dt="2023-10-26T15:27:47.466" v="1105" actId="1076"/>
          <ac:spMkLst>
            <pc:docMk/>
            <pc:sldMk cId="4190350582" sldId="6521"/>
            <ac:spMk id="6" creationId="{DC2C7088-4760-0ABB-A126-3F2385D5944B}"/>
          </ac:spMkLst>
        </pc:spChg>
        <pc:spChg chg="add mod">
          <ac:chgData name="Niittymies Aleksi" userId="00c1d702-9a1a-46cb-9bcd-5368d837961b" providerId="ADAL" clId="{55F54ABC-6D78-49F5-8110-EA7C6AFDD730}" dt="2023-10-26T15:27:53.793" v="1106" actId="1076"/>
          <ac:spMkLst>
            <pc:docMk/>
            <pc:sldMk cId="4190350582" sldId="6521"/>
            <ac:spMk id="7" creationId="{26558A34-A39A-F313-3BF7-1D364AF3CEDC}"/>
          </ac:spMkLst>
        </pc:spChg>
        <pc:spChg chg="add mod">
          <ac:chgData name="Niittymies Aleksi" userId="00c1d702-9a1a-46cb-9bcd-5368d837961b" providerId="ADAL" clId="{55F54ABC-6D78-49F5-8110-EA7C6AFDD730}" dt="2023-10-26T18:08:30.880" v="1909" actId="20577"/>
          <ac:spMkLst>
            <pc:docMk/>
            <pc:sldMk cId="4190350582" sldId="6521"/>
            <ac:spMk id="12" creationId="{708E218C-3DBC-09CF-2538-7B7D21AD6CD6}"/>
          </ac:spMkLst>
        </pc:spChg>
        <pc:picChg chg="add mod">
          <ac:chgData name="Niittymies Aleksi" userId="00c1d702-9a1a-46cb-9bcd-5368d837961b" providerId="ADAL" clId="{55F54ABC-6D78-49F5-8110-EA7C6AFDD730}" dt="2023-10-26T16:39:15.928" v="1245" actId="1076"/>
          <ac:picMkLst>
            <pc:docMk/>
            <pc:sldMk cId="4190350582" sldId="6521"/>
            <ac:picMk id="9" creationId="{2E48CDBF-CA1B-CC6F-9C8E-7F5689713863}"/>
          </ac:picMkLst>
        </pc:picChg>
        <pc:picChg chg="add mod">
          <ac:chgData name="Niittymies Aleksi" userId="00c1d702-9a1a-46cb-9bcd-5368d837961b" providerId="ADAL" clId="{55F54ABC-6D78-49F5-8110-EA7C6AFDD730}" dt="2023-10-26T16:39:12.279" v="1244" actId="1076"/>
          <ac:picMkLst>
            <pc:docMk/>
            <pc:sldMk cId="4190350582" sldId="6521"/>
            <ac:picMk id="11" creationId="{A2A365BD-2192-8609-9BA9-86889D4F5BE6}"/>
          </ac:picMkLst>
        </pc:picChg>
      </pc:sldChg>
      <pc:sldChg chg="addSp delSp modSp add del mod">
        <pc:chgData name="Niittymies Aleksi" userId="00c1d702-9a1a-46cb-9bcd-5368d837961b" providerId="ADAL" clId="{55F54ABC-6D78-49F5-8110-EA7C6AFDD730}" dt="2023-10-26T16:38:17.547" v="1239" actId="47"/>
        <pc:sldMkLst>
          <pc:docMk/>
          <pc:sldMk cId="241546159" sldId="6522"/>
        </pc:sldMkLst>
        <pc:spChg chg="mod">
          <ac:chgData name="Niittymies Aleksi" userId="00c1d702-9a1a-46cb-9bcd-5368d837961b" providerId="ADAL" clId="{55F54ABC-6D78-49F5-8110-EA7C6AFDD730}" dt="2023-10-26T15:25:11.819" v="955" actId="20577"/>
          <ac:spMkLst>
            <pc:docMk/>
            <pc:sldMk cId="241546159" sldId="6522"/>
            <ac:spMk id="2" creationId="{DAF2281E-D9A1-4D78-88F1-D5A2007BE0D9}"/>
          </ac:spMkLst>
        </pc:spChg>
        <pc:spChg chg="del">
          <ac:chgData name="Niittymies Aleksi" userId="00c1d702-9a1a-46cb-9bcd-5368d837961b" providerId="ADAL" clId="{55F54ABC-6D78-49F5-8110-EA7C6AFDD730}" dt="2023-10-26T15:21:12.041" v="718" actId="478"/>
          <ac:spMkLst>
            <pc:docMk/>
            <pc:sldMk cId="241546159" sldId="6522"/>
            <ac:spMk id="3" creationId="{5F669965-2C37-4E46-9B17-C284E9EEEBCD}"/>
          </ac:spMkLst>
        </pc:spChg>
        <pc:spChg chg="del">
          <ac:chgData name="Niittymies Aleksi" userId="00c1d702-9a1a-46cb-9bcd-5368d837961b" providerId="ADAL" clId="{55F54ABC-6D78-49F5-8110-EA7C6AFDD730}" dt="2023-10-26T15:21:18.221" v="720" actId="478"/>
          <ac:spMkLst>
            <pc:docMk/>
            <pc:sldMk cId="241546159" sldId="6522"/>
            <ac:spMk id="4" creationId="{850F3264-B6C0-78D1-D4D6-A07ADC7DB9CF}"/>
          </ac:spMkLst>
        </pc:spChg>
        <pc:spChg chg="add del mod">
          <ac:chgData name="Niittymies Aleksi" userId="00c1d702-9a1a-46cb-9bcd-5368d837961b" providerId="ADAL" clId="{55F54ABC-6D78-49F5-8110-EA7C6AFDD730}" dt="2023-10-26T15:21:16.047" v="719" actId="478"/>
          <ac:spMkLst>
            <pc:docMk/>
            <pc:sldMk cId="241546159" sldId="6522"/>
            <ac:spMk id="6" creationId="{2C6B515C-9FDA-6117-C0F7-1AB3FD949996}"/>
          </ac:spMkLst>
        </pc:spChg>
        <pc:spChg chg="add mod">
          <ac:chgData name="Niittymies Aleksi" userId="00c1d702-9a1a-46cb-9bcd-5368d837961b" providerId="ADAL" clId="{55F54ABC-6D78-49F5-8110-EA7C6AFDD730}" dt="2023-10-26T15:28:15.407" v="1107" actId="164"/>
          <ac:spMkLst>
            <pc:docMk/>
            <pc:sldMk cId="241546159" sldId="6522"/>
            <ac:spMk id="7" creationId="{80E3BC81-5A92-4981-8E75-F0B3EC79E449}"/>
          </ac:spMkLst>
        </pc:spChg>
        <pc:spChg chg="add mod">
          <ac:chgData name="Niittymies Aleksi" userId="00c1d702-9a1a-46cb-9bcd-5368d837961b" providerId="ADAL" clId="{55F54ABC-6D78-49F5-8110-EA7C6AFDD730}" dt="2023-10-26T15:28:15.407" v="1107" actId="164"/>
          <ac:spMkLst>
            <pc:docMk/>
            <pc:sldMk cId="241546159" sldId="6522"/>
            <ac:spMk id="8" creationId="{88433223-A26B-3E07-95A9-28967CF67461}"/>
          </ac:spMkLst>
        </pc:spChg>
        <pc:spChg chg="add mod">
          <ac:chgData name="Niittymies Aleksi" userId="00c1d702-9a1a-46cb-9bcd-5368d837961b" providerId="ADAL" clId="{55F54ABC-6D78-49F5-8110-EA7C6AFDD730}" dt="2023-10-26T16:34:11.162" v="1223" actId="20577"/>
          <ac:spMkLst>
            <pc:docMk/>
            <pc:sldMk cId="241546159" sldId="6522"/>
            <ac:spMk id="9" creationId="{6C5DB6F0-67ED-B1D5-EF72-52A520198609}"/>
          </ac:spMkLst>
        </pc:spChg>
        <pc:spChg chg="add mod">
          <ac:chgData name="Niittymies Aleksi" userId="00c1d702-9a1a-46cb-9bcd-5368d837961b" providerId="ADAL" clId="{55F54ABC-6D78-49F5-8110-EA7C6AFDD730}" dt="2023-10-26T15:28:15.407" v="1107" actId="164"/>
          <ac:spMkLst>
            <pc:docMk/>
            <pc:sldMk cId="241546159" sldId="6522"/>
            <ac:spMk id="10" creationId="{E3303E63-C1A6-065A-04DC-B18F4E45E831}"/>
          </ac:spMkLst>
        </pc:spChg>
        <pc:spChg chg="add mod">
          <ac:chgData name="Niittymies Aleksi" userId="00c1d702-9a1a-46cb-9bcd-5368d837961b" providerId="ADAL" clId="{55F54ABC-6D78-49F5-8110-EA7C6AFDD730}" dt="2023-10-26T15:28:15.407" v="1107" actId="164"/>
          <ac:spMkLst>
            <pc:docMk/>
            <pc:sldMk cId="241546159" sldId="6522"/>
            <ac:spMk id="11" creationId="{D115A5F2-85E8-97EE-5709-3AB7905D4C04}"/>
          </ac:spMkLst>
        </pc:spChg>
        <pc:spChg chg="add mod">
          <ac:chgData name="Niittymies Aleksi" userId="00c1d702-9a1a-46cb-9bcd-5368d837961b" providerId="ADAL" clId="{55F54ABC-6D78-49F5-8110-EA7C6AFDD730}" dt="2023-10-26T16:34:08.345" v="1220" actId="20577"/>
          <ac:spMkLst>
            <pc:docMk/>
            <pc:sldMk cId="241546159" sldId="6522"/>
            <ac:spMk id="12" creationId="{BEA91B48-C695-7269-558F-324CFD4C0EC6}"/>
          </ac:spMkLst>
        </pc:spChg>
        <pc:spChg chg="add mod">
          <ac:chgData name="Niittymies Aleksi" userId="00c1d702-9a1a-46cb-9bcd-5368d837961b" providerId="ADAL" clId="{55F54ABC-6D78-49F5-8110-EA7C6AFDD730}" dt="2023-10-26T15:28:15.407" v="1107" actId="164"/>
          <ac:spMkLst>
            <pc:docMk/>
            <pc:sldMk cId="241546159" sldId="6522"/>
            <ac:spMk id="13" creationId="{7633D7C6-A413-8ABA-E776-AA352F6FA433}"/>
          </ac:spMkLst>
        </pc:spChg>
        <pc:spChg chg="add mod ord">
          <ac:chgData name="Niittymies Aleksi" userId="00c1d702-9a1a-46cb-9bcd-5368d837961b" providerId="ADAL" clId="{55F54ABC-6D78-49F5-8110-EA7C6AFDD730}" dt="2023-10-26T15:28:15.407" v="1107" actId="164"/>
          <ac:spMkLst>
            <pc:docMk/>
            <pc:sldMk cId="241546159" sldId="6522"/>
            <ac:spMk id="14" creationId="{4E0E114F-36B9-FD8B-E5D8-B2281F51AA35}"/>
          </ac:spMkLst>
        </pc:spChg>
        <pc:grpChg chg="add mod">
          <ac:chgData name="Niittymies Aleksi" userId="00c1d702-9a1a-46cb-9bcd-5368d837961b" providerId="ADAL" clId="{55F54ABC-6D78-49F5-8110-EA7C6AFDD730}" dt="2023-10-26T15:28:22.698" v="1110" actId="1076"/>
          <ac:grpSpMkLst>
            <pc:docMk/>
            <pc:sldMk cId="241546159" sldId="6522"/>
            <ac:grpSpMk id="15" creationId="{F2A05559-52C3-F152-626B-24B5FB82E86C}"/>
          </ac:grpSpMkLst>
        </pc:grpChg>
      </pc:sldChg>
      <pc:sldChg chg="addSp delSp modSp add mod">
        <pc:chgData name="Niittymies Aleksi" userId="00c1d702-9a1a-46cb-9bcd-5368d837961b" providerId="ADAL" clId="{55F54ABC-6D78-49F5-8110-EA7C6AFDD730}" dt="2023-10-28T14:56:57.017" v="2007" actId="1076"/>
        <pc:sldMkLst>
          <pc:docMk/>
          <pc:sldMk cId="821067728" sldId="6523"/>
        </pc:sldMkLst>
        <pc:spChg chg="add mod ord">
          <ac:chgData name="Niittymies Aleksi" userId="00c1d702-9a1a-46cb-9bcd-5368d837961b" providerId="ADAL" clId="{55F54ABC-6D78-49F5-8110-EA7C6AFDD730}" dt="2023-10-28T14:56:37.049" v="2005" actId="164"/>
          <ac:spMkLst>
            <pc:docMk/>
            <pc:sldMk cId="821067728" sldId="6523"/>
            <ac:spMk id="3" creationId="{FCC2011B-9BDF-36BD-164E-F8A35A2C8275}"/>
          </ac:spMkLst>
        </pc:spChg>
        <pc:spChg chg="add mod ord">
          <ac:chgData name="Niittymies Aleksi" userId="00c1d702-9a1a-46cb-9bcd-5368d837961b" providerId="ADAL" clId="{55F54ABC-6D78-49F5-8110-EA7C6AFDD730}" dt="2023-10-28T14:56:37.049" v="2005" actId="164"/>
          <ac:spMkLst>
            <pc:docMk/>
            <pc:sldMk cId="821067728" sldId="6523"/>
            <ac:spMk id="4" creationId="{5EF99DC9-4B94-24C9-B4CE-20CF6F6FEF02}"/>
          </ac:spMkLst>
        </pc:spChg>
        <pc:spChg chg="add mod">
          <ac:chgData name="Niittymies Aleksi" userId="00c1d702-9a1a-46cb-9bcd-5368d837961b" providerId="ADAL" clId="{55F54ABC-6D78-49F5-8110-EA7C6AFDD730}" dt="2023-10-28T14:56:53.408" v="2006" actId="164"/>
          <ac:spMkLst>
            <pc:docMk/>
            <pc:sldMk cId="821067728" sldId="6523"/>
            <ac:spMk id="5" creationId="{01D91C4C-40ED-C1C8-F74C-CE86DAEF06F5}"/>
          </ac:spMkLst>
        </pc:spChg>
        <pc:spChg chg="add mod ord">
          <ac:chgData name="Niittymies Aleksi" userId="00c1d702-9a1a-46cb-9bcd-5368d837961b" providerId="ADAL" clId="{55F54ABC-6D78-49F5-8110-EA7C6AFDD730}" dt="2023-10-28T14:56:53.408" v="2006" actId="164"/>
          <ac:spMkLst>
            <pc:docMk/>
            <pc:sldMk cId="821067728" sldId="6523"/>
            <ac:spMk id="6" creationId="{66769A14-17C7-F778-2E9A-1F49D4A976A0}"/>
          </ac:spMkLst>
        </pc:spChg>
        <pc:spChg chg="mod">
          <ac:chgData name="Niittymies Aleksi" userId="00c1d702-9a1a-46cb-9bcd-5368d837961b" providerId="ADAL" clId="{55F54ABC-6D78-49F5-8110-EA7C6AFDD730}" dt="2023-10-28T14:56:35.390" v="2004" actId="164"/>
          <ac:spMkLst>
            <pc:docMk/>
            <pc:sldMk cId="821067728" sldId="6523"/>
            <ac:spMk id="7" creationId="{80E3BC81-5A92-4981-8E75-F0B3EC79E449}"/>
          </ac:spMkLst>
        </pc:spChg>
        <pc:spChg chg="mod">
          <ac:chgData name="Niittymies Aleksi" userId="00c1d702-9a1a-46cb-9bcd-5368d837961b" providerId="ADAL" clId="{55F54ABC-6D78-49F5-8110-EA7C6AFDD730}" dt="2023-10-28T14:56:35.390" v="2004" actId="164"/>
          <ac:spMkLst>
            <pc:docMk/>
            <pc:sldMk cId="821067728" sldId="6523"/>
            <ac:spMk id="8" creationId="{88433223-A26B-3E07-95A9-28967CF67461}"/>
          </ac:spMkLst>
        </pc:spChg>
        <pc:spChg chg="del">
          <ac:chgData name="Niittymies Aleksi" userId="00c1d702-9a1a-46cb-9bcd-5368d837961b" providerId="ADAL" clId="{55F54ABC-6D78-49F5-8110-EA7C6AFDD730}" dt="2023-10-26T16:34:54.780" v="1233" actId="478"/>
          <ac:spMkLst>
            <pc:docMk/>
            <pc:sldMk cId="821067728" sldId="6523"/>
            <ac:spMk id="9" creationId="{6C5DB6F0-67ED-B1D5-EF72-52A520198609}"/>
          </ac:spMkLst>
        </pc:spChg>
        <pc:spChg chg="mod">
          <ac:chgData name="Niittymies Aleksi" userId="00c1d702-9a1a-46cb-9bcd-5368d837961b" providerId="ADAL" clId="{55F54ABC-6D78-49F5-8110-EA7C6AFDD730}" dt="2023-10-28T14:56:35.390" v="2004" actId="164"/>
          <ac:spMkLst>
            <pc:docMk/>
            <pc:sldMk cId="821067728" sldId="6523"/>
            <ac:spMk id="10" creationId="{E3303E63-C1A6-065A-04DC-B18F4E45E831}"/>
          </ac:spMkLst>
        </pc:spChg>
        <pc:spChg chg="mod">
          <ac:chgData name="Niittymies Aleksi" userId="00c1d702-9a1a-46cb-9bcd-5368d837961b" providerId="ADAL" clId="{55F54ABC-6D78-49F5-8110-EA7C6AFDD730}" dt="2023-10-28T14:56:35.390" v="2004" actId="164"/>
          <ac:spMkLst>
            <pc:docMk/>
            <pc:sldMk cId="821067728" sldId="6523"/>
            <ac:spMk id="11" creationId="{D115A5F2-85E8-97EE-5709-3AB7905D4C04}"/>
          </ac:spMkLst>
        </pc:spChg>
        <pc:spChg chg="mod">
          <ac:chgData name="Niittymies Aleksi" userId="00c1d702-9a1a-46cb-9bcd-5368d837961b" providerId="ADAL" clId="{55F54ABC-6D78-49F5-8110-EA7C6AFDD730}" dt="2023-10-28T14:56:35.390" v="2004" actId="164"/>
          <ac:spMkLst>
            <pc:docMk/>
            <pc:sldMk cId="821067728" sldId="6523"/>
            <ac:spMk id="12" creationId="{BEA91B48-C695-7269-558F-324CFD4C0EC6}"/>
          </ac:spMkLst>
        </pc:spChg>
        <pc:spChg chg="mod">
          <ac:chgData name="Niittymies Aleksi" userId="00c1d702-9a1a-46cb-9bcd-5368d837961b" providerId="ADAL" clId="{55F54ABC-6D78-49F5-8110-EA7C6AFDD730}" dt="2023-10-28T14:56:35.390" v="2004" actId="164"/>
          <ac:spMkLst>
            <pc:docMk/>
            <pc:sldMk cId="821067728" sldId="6523"/>
            <ac:spMk id="13" creationId="{7633D7C6-A413-8ABA-E776-AA352F6FA433}"/>
          </ac:spMkLst>
        </pc:spChg>
        <pc:spChg chg="mod">
          <ac:chgData name="Niittymies Aleksi" userId="00c1d702-9a1a-46cb-9bcd-5368d837961b" providerId="ADAL" clId="{55F54ABC-6D78-49F5-8110-EA7C6AFDD730}" dt="2023-10-28T14:56:35.390" v="2004" actId="164"/>
          <ac:spMkLst>
            <pc:docMk/>
            <pc:sldMk cId="821067728" sldId="6523"/>
            <ac:spMk id="14" creationId="{4E0E114F-36B9-FD8B-E5D8-B2281F51AA35}"/>
          </ac:spMkLst>
        </pc:spChg>
        <pc:spChg chg="add mod">
          <ac:chgData name="Niittymies Aleksi" userId="00c1d702-9a1a-46cb-9bcd-5368d837961b" providerId="ADAL" clId="{55F54ABC-6D78-49F5-8110-EA7C6AFDD730}" dt="2023-10-28T14:56:53.408" v="2006" actId="164"/>
          <ac:spMkLst>
            <pc:docMk/>
            <pc:sldMk cId="821067728" sldId="6523"/>
            <ac:spMk id="16" creationId="{F1EBD743-1B43-4302-761C-999A80BAE33D}"/>
          </ac:spMkLst>
        </pc:spChg>
        <pc:spChg chg="add del mod">
          <ac:chgData name="Niittymies Aleksi" userId="00c1d702-9a1a-46cb-9bcd-5368d837961b" providerId="ADAL" clId="{55F54ABC-6D78-49F5-8110-EA7C6AFDD730}" dt="2023-10-26T18:08:35.615" v="1910" actId="478"/>
          <ac:spMkLst>
            <pc:docMk/>
            <pc:sldMk cId="821067728" sldId="6523"/>
            <ac:spMk id="17" creationId="{2A5B9633-026C-1504-D72E-94B778F49DD5}"/>
          </ac:spMkLst>
        </pc:spChg>
        <pc:spChg chg="add mod">
          <ac:chgData name="Niittymies Aleksi" userId="00c1d702-9a1a-46cb-9bcd-5368d837961b" providerId="ADAL" clId="{55F54ABC-6D78-49F5-8110-EA7C6AFDD730}" dt="2023-10-26T18:08:36.005" v="1911"/>
          <ac:spMkLst>
            <pc:docMk/>
            <pc:sldMk cId="821067728" sldId="6523"/>
            <ac:spMk id="18" creationId="{CF8A7F8F-E661-31ED-21AF-3C7927C270AC}"/>
          </ac:spMkLst>
        </pc:spChg>
        <pc:grpChg chg="mod">
          <ac:chgData name="Niittymies Aleksi" userId="00c1d702-9a1a-46cb-9bcd-5368d837961b" providerId="ADAL" clId="{55F54ABC-6D78-49F5-8110-EA7C6AFDD730}" dt="2023-10-28T14:56:37.049" v="2005" actId="164"/>
          <ac:grpSpMkLst>
            <pc:docMk/>
            <pc:sldMk cId="821067728" sldId="6523"/>
            <ac:grpSpMk id="15" creationId="{F2A05559-52C3-F152-626B-24B5FB82E86C}"/>
          </ac:grpSpMkLst>
        </pc:grpChg>
        <pc:grpChg chg="add mod">
          <ac:chgData name="Niittymies Aleksi" userId="00c1d702-9a1a-46cb-9bcd-5368d837961b" providerId="ADAL" clId="{55F54ABC-6D78-49F5-8110-EA7C6AFDD730}" dt="2023-10-28T14:56:53.408" v="2006" actId="164"/>
          <ac:grpSpMkLst>
            <pc:docMk/>
            <pc:sldMk cId="821067728" sldId="6523"/>
            <ac:grpSpMk id="19" creationId="{8FE3618A-35FC-A417-0813-C0237EA2F6C9}"/>
          </ac:grpSpMkLst>
        </pc:grpChg>
        <pc:grpChg chg="add mod">
          <ac:chgData name="Niittymies Aleksi" userId="00c1d702-9a1a-46cb-9bcd-5368d837961b" providerId="ADAL" clId="{55F54ABC-6D78-49F5-8110-EA7C6AFDD730}" dt="2023-10-28T14:56:57.017" v="2007" actId="1076"/>
          <ac:grpSpMkLst>
            <pc:docMk/>
            <pc:sldMk cId="821067728" sldId="6523"/>
            <ac:grpSpMk id="20" creationId="{40035BE6-4E89-A57A-DDCB-7EC59CDFD65F}"/>
          </ac:grpSpMkLst>
        </pc:grpChg>
      </pc:sldChg>
      <pc:sldChg chg="modSp add del mod">
        <pc:chgData name="Niittymies Aleksi" userId="00c1d702-9a1a-46cb-9bcd-5368d837961b" providerId="ADAL" clId="{55F54ABC-6D78-49F5-8110-EA7C6AFDD730}" dt="2023-10-26T18:00:36.803" v="1459" actId="47"/>
        <pc:sldMkLst>
          <pc:docMk/>
          <pc:sldMk cId="2307450585" sldId="6524"/>
        </pc:sldMkLst>
        <pc:spChg chg="mod">
          <ac:chgData name="Niittymies Aleksi" userId="00c1d702-9a1a-46cb-9bcd-5368d837961b" providerId="ADAL" clId="{55F54ABC-6D78-49F5-8110-EA7C6AFDD730}" dt="2023-10-26T17:55:17.376" v="1387" actId="20577"/>
          <ac:spMkLst>
            <pc:docMk/>
            <pc:sldMk cId="2307450585" sldId="6524"/>
            <ac:spMk id="5" creationId="{4E79B233-C263-4355-BEE2-6A4CD1ED5B59}"/>
          </ac:spMkLst>
        </pc:spChg>
        <pc:spChg chg="mod">
          <ac:chgData name="Niittymies Aleksi" userId="00c1d702-9a1a-46cb-9bcd-5368d837961b" providerId="ADAL" clId="{55F54ABC-6D78-49F5-8110-EA7C6AFDD730}" dt="2023-10-26T17:55:13.217" v="1375" actId="5793"/>
          <ac:spMkLst>
            <pc:docMk/>
            <pc:sldMk cId="2307450585" sldId="6524"/>
            <ac:spMk id="6" creationId="{CA37F30B-0C15-4C20-B203-B86996A28ECF}"/>
          </ac:spMkLst>
        </pc:spChg>
      </pc:sldChg>
      <pc:sldChg chg="modSp add mod">
        <pc:chgData name="Niittymies Aleksi" userId="00c1d702-9a1a-46cb-9bcd-5368d837961b" providerId="ADAL" clId="{55F54ABC-6D78-49F5-8110-EA7C6AFDD730}" dt="2023-10-29T17:11:06.356" v="3110" actId="20577"/>
        <pc:sldMkLst>
          <pc:docMk/>
          <pc:sldMk cId="1627617651" sldId="6525"/>
        </pc:sldMkLst>
        <pc:spChg chg="mod">
          <ac:chgData name="Niittymies Aleksi" userId="00c1d702-9a1a-46cb-9bcd-5368d837961b" providerId="ADAL" clId="{55F54ABC-6D78-49F5-8110-EA7C6AFDD730}" dt="2023-10-26T18:05:09.023" v="1870" actId="20577"/>
          <ac:spMkLst>
            <pc:docMk/>
            <pc:sldMk cId="1627617651" sldId="6525"/>
            <ac:spMk id="5" creationId="{4E79B233-C263-4355-BEE2-6A4CD1ED5B59}"/>
          </ac:spMkLst>
        </pc:spChg>
        <pc:spChg chg="mod">
          <ac:chgData name="Niittymies Aleksi" userId="00c1d702-9a1a-46cb-9bcd-5368d837961b" providerId="ADAL" clId="{55F54ABC-6D78-49F5-8110-EA7C6AFDD730}" dt="2023-10-29T17:11:06.356" v="3110" actId="20577"/>
          <ac:spMkLst>
            <pc:docMk/>
            <pc:sldMk cId="1627617651" sldId="6525"/>
            <ac:spMk id="6" creationId="{CA37F30B-0C15-4C20-B203-B86996A28ECF}"/>
          </ac:spMkLst>
        </pc:spChg>
      </pc:sldChg>
      <pc:sldChg chg="addSp delSp modSp new del mod">
        <pc:chgData name="Niittymies Aleksi" userId="00c1d702-9a1a-46cb-9bcd-5368d837961b" providerId="ADAL" clId="{55F54ABC-6D78-49F5-8110-EA7C6AFDD730}" dt="2023-10-28T15:01:33.898" v="2446" actId="47"/>
        <pc:sldMkLst>
          <pc:docMk/>
          <pc:sldMk cId="2099363372" sldId="6526"/>
        </pc:sldMkLst>
        <pc:spChg chg="mod">
          <ac:chgData name="Niittymies Aleksi" userId="00c1d702-9a1a-46cb-9bcd-5368d837961b" providerId="ADAL" clId="{55F54ABC-6D78-49F5-8110-EA7C6AFDD730}" dt="2023-10-28T14:57:14.906" v="2028" actId="20577"/>
          <ac:spMkLst>
            <pc:docMk/>
            <pc:sldMk cId="2099363372" sldId="6526"/>
            <ac:spMk id="2" creationId="{AED7E183-EA04-9F91-3816-8AC7920E4033}"/>
          </ac:spMkLst>
        </pc:spChg>
        <pc:spChg chg="mod">
          <ac:chgData name="Niittymies Aleksi" userId="00c1d702-9a1a-46cb-9bcd-5368d837961b" providerId="ADAL" clId="{55F54ABC-6D78-49F5-8110-EA7C6AFDD730}" dt="2023-10-28T14:57:05.345" v="2009"/>
          <ac:spMkLst>
            <pc:docMk/>
            <pc:sldMk cId="2099363372" sldId="6526"/>
            <ac:spMk id="6" creationId="{FE815B6C-BB41-8982-891E-4D3BBAA25CA4}"/>
          </ac:spMkLst>
        </pc:spChg>
        <pc:spChg chg="mod">
          <ac:chgData name="Niittymies Aleksi" userId="00c1d702-9a1a-46cb-9bcd-5368d837961b" providerId="ADAL" clId="{55F54ABC-6D78-49F5-8110-EA7C6AFDD730}" dt="2023-10-28T14:57:05.345" v="2009"/>
          <ac:spMkLst>
            <pc:docMk/>
            <pc:sldMk cId="2099363372" sldId="6526"/>
            <ac:spMk id="7" creationId="{D33066AC-45B9-2758-AA89-D1DAA568E0EE}"/>
          </ac:spMkLst>
        </pc:spChg>
        <pc:spChg chg="mod">
          <ac:chgData name="Niittymies Aleksi" userId="00c1d702-9a1a-46cb-9bcd-5368d837961b" providerId="ADAL" clId="{55F54ABC-6D78-49F5-8110-EA7C6AFDD730}" dt="2023-10-28T14:57:05.345" v="2009"/>
          <ac:spMkLst>
            <pc:docMk/>
            <pc:sldMk cId="2099363372" sldId="6526"/>
            <ac:spMk id="8" creationId="{D339819F-11A5-D935-D827-B85E9A186E71}"/>
          </ac:spMkLst>
        </pc:spChg>
        <pc:spChg chg="mod">
          <ac:chgData name="Niittymies Aleksi" userId="00c1d702-9a1a-46cb-9bcd-5368d837961b" providerId="ADAL" clId="{55F54ABC-6D78-49F5-8110-EA7C6AFDD730}" dt="2023-10-28T14:57:05.345" v="2009"/>
          <ac:spMkLst>
            <pc:docMk/>
            <pc:sldMk cId="2099363372" sldId="6526"/>
            <ac:spMk id="9" creationId="{375C6588-3A75-F832-C9EC-5778D295647A}"/>
          </ac:spMkLst>
        </pc:spChg>
        <pc:spChg chg="mod">
          <ac:chgData name="Niittymies Aleksi" userId="00c1d702-9a1a-46cb-9bcd-5368d837961b" providerId="ADAL" clId="{55F54ABC-6D78-49F5-8110-EA7C6AFDD730}" dt="2023-10-28T14:57:05.345" v="2009"/>
          <ac:spMkLst>
            <pc:docMk/>
            <pc:sldMk cId="2099363372" sldId="6526"/>
            <ac:spMk id="10" creationId="{6C41608B-156A-49EC-4981-4F8CC959D320}"/>
          </ac:spMkLst>
        </pc:spChg>
        <pc:spChg chg="mod">
          <ac:chgData name="Niittymies Aleksi" userId="00c1d702-9a1a-46cb-9bcd-5368d837961b" providerId="ADAL" clId="{55F54ABC-6D78-49F5-8110-EA7C6AFDD730}" dt="2023-10-28T14:57:05.345" v="2009"/>
          <ac:spMkLst>
            <pc:docMk/>
            <pc:sldMk cId="2099363372" sldId="6526"/>
            <ac:spMk id="12" creationId="{48971BD7-54F2-320F-8FF6-BF0FA3AAB192}"/>
          </ac:spMkLst>
        </pc:spChg>
        <pc:spChg chg="mod">
          <ac:chgData name="Niittymies Aleksi" userId="00c1d702-9a1a-46cb-9bcd-5368d837961b" providerId="ADAL" clId="{55F54ABC-6D78-49F5-8110-EA7C6AFDD730}" dt="2023-10-28T14:57:05.345" v="2009"/>
          <ac:spMkLst>
            <pc:docMk/>
            <pc:sldMk cId="2099363372" sldId="6526"/>
            <ac:spMk id="13" creationId="{0D4CBB67-E5EA-ADFB-FC94-192019ED207B}"/>
          </ac:spMkLst>
        </pc:spChg>
        <pc:spChg chg="mod">
          <ac:chgData name="Niittymies Aleksi" userId="00c1d702-9a1a-46cb-9bcd-5368d837961b" providerId="ADAL" clId="{55F54ABC-6D78-49F5-8110-EA7C6AFDD730}" dt="2023-10-28T14:57:05.345" v="2009"/>
          <ac:spMkLst>
            <pc:docMk/>
            <pc:sldMk cId="2099363372" sldId="6526"/>
            <ac:spMk id="14" creationId="{A4451B36-8322-FF87-C7E6-94F5A575AECC}"/>
          </ac:spMkLst>
        </pc:spChg>
        <pc:spChg chg="mod">
          <ac:chgData name="Niittymies Aleksi" userId="00c1d702-9a1a-46cb-9bcd-5368d837961b" providerId="ADAL" clId="{55F54ABC-6D78-49F5-8110-EA7C6AFDD730}" dt="2023-10-28T14:57:05.345" v="2009"/>
          <ac:spMkLst>
            <pc:docMk/>
            <pc:sldMk cId="2099363372" sldId="6526"/>
            <ac:spMk id="15" creationId="{3B88E665-2A66-8B04-0FB4-9657BF55675D}"/>
          </ac:spMkLst>
        </pc:spChg>
        <pc:spChg chg="mod">
          <ac:chgData name="Niittymies Aleksi" userId="00c1d702-9a1a-46cb-9bcd-5368d837961b" providerId="ADAL" clId="{55F54ABC-6D78-49F5-8110-EA7C6AFDD730}" dt="2023-10-28T14:57:05.345" v="2009"/>
          <ac:spMkLst>
            <pc:docMk/>
            <pc:sldMk cId="2099363372" sldId="6526"/>
            <ac:spMk id="16" creationId="{2E50DE34-D7E8-1630-8476-E1C84A1D6805}"/>
          </ac:spMkLst>
        </pc:spChg>
        <pc:spChg chg="mod">
          <ac:chgData name="Niittymies Aleksi" userId="00c1d702-9a1a-46cb-9bcd-5368d837961b" providerId="ADAL" clId="{55F54ABC-6D78-49F5-8110-EA7C6AFDD730}" dt="2023-10-28T14:57:05.345" v="2009"/>
          <ac:spMkLst>
            <pc:docMk/>
            <pc:sldMk cId="2099363372" sldId="6526"/>
            <ac:spMk id="17" creationId="{8ACD2B7A-E0FD-2858-5959-04127486BD86}"/>
          </ac:spMkLst>
        </pc:spChg>
        <pc:spChg chg="mod">
          <ac:chgData name="Niittymies Aleksi" userId="00c1d702-9a1a-46cb-9bcd-5368d837961b" providerId="ADAL" clId="{55F54ABC-6D78-49F5-8110-EA7C6AFDD730}" dt="2023-10-28T14:57:05.345" v="2009"/>
          <ac:spMkLst>
            <pc:docMk/>
            <pc:sldMk cId="2099363372" sldId="6526"/>
            <ac:spMk id="18" creationId="{770BCE65-ACD4-CD87-4B60-12677F6935C3}"/>
          </ac:spMkLst>
        </pc:spChg>
        <pc:spChg chg="mod">
          <ac:chgData name="Niittymies Aleksi" userId="00c1d702-9a1a-46cb-9bcd-5368d837961b" providerId="ADAL" clId="{55F54ABC-6D78-49F5-8110-EA7C6AFDD730}" dt="2023-10-28T14:57:17.399" v="2029"/>
          <ac:spMkLst>
            <pc:docMk/>
            <pc:sldMk cId="2099363372" sldId="6526"/>
            <ac:spMk id="21" creationId="{6214A28C-904C-48CC-049A-620FF2615036}"/>
          </ac:spMkLst>
        </pc:spChg>
        <pc:spChg chg="mod">
          <ac:chgData name="Niittymies Aleksi" userId="00c1d702-9a1a-46cb-9bcd-5368d837961b" providerId="ADAL" clId="{55F54ABC-6D78-49F5-8110-EA7C6AFDD730}" dt="2023-10-28T14:57:17.399" v="2029"/>
          <ac:spMkLst>
            <pc:docMk/>
            <pc:sldMk cId="2099363372" sldId="6526"/>
            <ac:spMk id="22" creationId="{8C8773D0-D27E-BDE0-CD45-AE970D2D82C2}"/>
          </ac:spMkLst>
        </pc:spChg>
        <pc:spChg chg="mod">
          <ac:chgData name="Niittymies Aleksi" userId="00c1d702-9a1a-46cb-9bcd-5368d837961b" providerId="ADAL" clId="{55F54ABC-6D78-49F5-8110-EA7C6AFDD730}" dt="2023-10-28T14:57:31.698" v="2032" actId="13822"/>
          <ac:spMkLst>
            <pc:docMk/>
            <pc:sldMk cId="2099363372" sldId="6526"/>
            <ac:spMk id="23" creationId="{91218787-A129-F229-FC21-1F7E43EF15BE}"/>
          </ac:spMkLst>
        </pc:spChg>
        <pc:spChg chg="mod">
          <ac:chgData name="Niittymies Aleksi" userId="00c1d702-9a1a-46cb-9bcd-5368d837961b" providerId="ADAL" clId="{55F54ABC-6D78-49F5-8110-EA7C6AFDD730}" dt="2023-10-28T14:57:17.399" v="2029"/>
          <ac:spMkLst>
            <pc:docMk/>
            <pc:sldMk cId="2099363372" sldId="6526"/>
            <ac:spMk id="24" creationId="{B1E7DC67-F250-DDE3-8276-7BE6070D46D9}"/>
          </ac:spMkLst>
        </pc:spChg>
        <pc:spChg chg="mod">
          <ac:chgData name="Niittymies Aleksi" userId="00c1d702-9a1a-46cb-9bcd-5368d837961b" providerId="ADAL" clId="{55F54ABC-6D78-49F5-8110-EA7C6AFDD730}" dt="2023-10-28T14:57:17.399" v="2029"/>
          <ac:spMkLst>
            <pc:docMk/>
            <pc:sldMk cId="2099363372" sldId="6526"/>
            <ac:spMk id="25" creationId="{C40E32E0-6149-B4E7-2A4A-0865EA607B2D}"/>
          </ac:spMkLst>
        </pc:spChg>
        <pc:spChg chg="mod">
          <ac:chgData name="Niittymies Aleksi" userId="00c1d702-9a1a-46cb-9bcd-5368d837961b" providerId="ADAL" clId="{55F54ABC-6D78-49F5-8110-EA7C6AFDD730}" dt="2023-10-28T14:57:17.399" v="2029"/>
          <ac:spMkLst>
            <pc:docMk/>
            <pc:sldMk cId="2099363372" sldId="6526"/>
            <ac:spMk id="27" creationId="{BC7405DB-20EE-FEED-552D-DC2EF2779A70}"/>
          </ac:spMkLst>
        </pc:spChg>
        <pc:spChg chg="mod">
          <ac:chgData name="Niittymies Aleksi" userId="00c1d702-9a1a-46cb-9bcd-5368d837961b" providerId="ADAL" clId="{55F54ABC-6D78-49F5-8110-EA7C6AFDD730}" dt="2023-10-28T14:57:17.399" v="2029"/>
          <ac:spMkLst>
            <pc:docMk/>
            <pc:sldMk cId="2099363372" sldId="6526"/>
            <ac:spMk id="28" creationId="{A305EE78-5B4F-2B1E-2DDD-B0F3C90D89EF}"/>
          </ac:spMkLst>
        </pc:spChg>
        <pc:spChg chg="mod">
          <ac:chgData name="Niittymies Aleksi" userId="00c1d702-9a1a-46cb-9bcd-5368d837961b" providerId="ADAL" clId="{55F54ABC-6D78-49F5-8110-EA7C6AFDD730}" dt="2023-10-28T14:57:17.399" v="2029"/>
          <ac:spMkLst>
            <pc:docMk/>
            <pc:sldMk cId="2099363372" sldId="6526"/>
            <ac:spMk id="29" creationId="{748A5610-E062-055C-6B1C-DF9D59817B6F}"/>
          </ac:spMkLst>
        </pc:spChg>
        <pc:spChg chg="mod">
          <ac:chgData name="Niittymies Aleksi" userId="00c1d702-9a1a-46cb-9bcd-5368d837961b" providerId="ADAL" clId="{55F54ABC-6D78-49F5-8110-EA7C6AFDD730}" dt="2023-10-28T14:57:17.399" v="2029"/>
          <ac:spMkLst>
            <pc:docMk/>
            <pc:sldMk cId="2099363372" sldId="6526"/>
            <ac:spMk id="30" creationId="{EEDE2F14-8AC5-E00B-91E4-913A6217A09C}"/>
          </ac:spMkLst>
        </pc:spChg>
        <pc:spChg chg="mod">
          <ac:chgData name="Niittymies Aleksi" userId="00c1d702-9a1a-46cb-9bcd-5368d837961b" providerId="ADAL" clId="{55F54ABC-6D78-49F5-8110-EA7C6AFDD730}" dt="2023-10-28T14:57:17.399" v="2029"/>
          <ac:spMkLst>
            <pc:docMk/>
            <pc:sldMk cId="2099363372" sldId="6526"/>
            <ac:spMk id="31" creationId="{E7CB1D6D-8316-FD31-FEA0-28B67CE0CC86}"/>
          </ac:spMkLst>
        </pc:spChg>
        <pc:spChg chg="mod">
          <ac:chgData name="Niittymies Aleksi" userId="00c1d702-9a1a-46cb-9bcd-5368d837961b" providerId="ADAL" clId="{55F54ABC-6D78-49F5-8110-EA7C6AFDD730}" dt="2023-10-28T14:57:27.034" v="2031" actId="13822"/>
          <ac:spMkLst>
            <pc:docMk/>
            <pc:sldMk cId="2099363372" sldId="6526"/>
            <ac:spMk id="32" creationId="{1B6BAC5C-9833-FE3C-EAF6-7A9D4C4AE098}"/>
          </ac:spMkLst>
        </pc:spChg>
        <pc:spChg chg="mod">
          <ac:chgData name="Niittymies Aleksi" userId="00c1d702-9a1a-46cb-9bcd-5368d837961b" providerId="ADAL" clId="{55F54ABC-6D78-49F5-8110-EA7C6AFDD730}" dt="2023-10-28T14:57:17.399" v="2029"/>
          <ac:spMkLst>
            <pc:docMk/>
            <pc:sldMk cId="2099363372" sldId="6526"/>
            <ac:spMk id="33" creationId="{7A95E879-00EB-5F48-929F-C4471391726B}"/>
          </ac:spMkLst>
        </pc:spChg>
        <pc:grpChg chg="add del mod">
          <ac:chgData name="Niittymies Aleksi" userId="00c1d702-9a1a-46cb-9bcd-5368d837961b" providerId="ADAL" clId="{55F54ABC-6D78-49F5-8110-EA7C6AFDD730}" dt="2023-10-28T14:57:07.761" v="2010"/>
          <ac:grpSpMkLst>
            <pc:docMk/>
            <pc:sldMk cId="2099363372" sldId="6526"/>
            <ac:grpSpMk id="4" creationId="{78CBAA9E-FF53-3670-96A6-8FEC9086D5DE}"/>
          </ac:grpSpMkLst>
        </pc:grpChg>
        <pc:grpChg chg="mod">
          <ac:chgData name="Niittymies Aleksi" userId="00c1d702-9a1a-46cb-9bcd-5368d837961b" providerId="ADAL" clId="{55F54ABC-6D78-49F5-8110-EA7C6AFDD730}" dt="2023-10-28T14:57:05.345" v="2009"/>
          <ac:grpSpMkLst>
            <pc:docMk/>
            <pc:sldMk cId="2099363372" sldId="6526"/>
            <ac:grpSpMk id="5" creationId="{B1603EC9-00F3-5ED9-6DB3-4BF9D32ED7E8}"/>
          </ac:grpSpMkLst>
        </pc:grpChg>
        <pc:grpChg chg="mod">
          <ac:chgData name="Niittymies Aleksi" userId="00c1d702-9a1a-46cb-9bcd-5368d837961b" providerId="ADAL" clId="{55F54ABC-6D78-49F5-8110-EA7C6AFDD730}" dt="2023-10-28T14:57:05.345" v="2009"/>
          <ac:grpSpMkLst>
            <pc:docMk/>
            <pc:sldMk cId="2099363372" sldId="6526"/>
            <ac:grpSpMk id="11" creationId="{36F54576-4DF2-0F5D-7746-15EB7DE73499}"/>
          </ac:grpSpMkLst>
        </pc:grpChg>
        <pc:grpChg chg="add del mod">
          <ac:chgData name="Niittymies Aleksi" userId="00c1d702-9a1a-46cb-9bcd-5368d837961b" providerId="ADAL" clId="{55F54ABC-6D78-49F5-8110-EA7C6AFDD730}" dt="2023-10-28T15:00:57.267" v="2399" actId="21"/>
          <ac:grpSpMkLst>
            <pc:docMk/>
            <pc:sldMk cId="2099363372" sldId="6526"/>
            <ac:grpSpMk id="19" creationId="{A3929111-E9CB-0D29-8ED4-F0EE06460890}"/>
          </ac:grpSpMkLst>
        </pc:grpChg>
        <pc:grpChg chg="mod">
          <ac:chgData name="Niittymies Aleksi" userId="00c1d702-9a1a-46cb-9bcd-5368d837961b" providerId="ADAL" clId="{55F54ABC-6D78-49F5-8110-EA7C6AFDD730}" dt="2023-10-28T14:57:17.399" v="2029"/>
          <ac:grpSpMkLst>
            <pc:docMk/>
            <pc:sldMk cId="2099363372" sldId="6526"/>
            <ac:grpSpMk id="20" creationId="{F15BFADD-3A03-A63B-63EE-DDA74831544B}"/>
          </ac:grpSpMkLst>
        </pc:grpChg>
        <pc:grpChg chg="mod">
          <ac:chgData name="Niittymies Aleksi" userId="00c1d702-9a1a-46cb-9bcd-5368d837961b" providerId="ADAL" clId="{55F54ABC-6D78-49F5-8110-EA7C6AFDD730}" dt="2023-10-28T14:57:17.399" v="2029"/>
          <ac:grpSpMkLst>
            <pc:docMk/>
            <pc:sldMk cId="2099363372" sldId="6526"/>
            <ac:grpSpMk id="26" creationId="{6A01854E-BA7F-A626-EEC3-2E23CED7F6BE}"/>
          </ac:grpSpMkLst>
        </pc:grpChg>
      </pc:sldChg>
      <pc:sldChg chg="addSp delSp modSp new mod">
        <pc:chgData name="Niittymies Aleksi" userId="00c1d702-9a1a-46cb-9bcd-5368d837961b" providerId="ADAL" clId="{55F54ABC-6D78-49F5-8110-EA7C6AFDD730}" dt="2023-10-29T17:04:01.316" v="2943" actId="1076"/>
        <pc:sldMkLst>
          <pc:docMk/>
          <pc:sldMk cId="3499027776" sldId="6526"/>
        </pc:sldMkLst>
        <pc:spChg chg="del">
          <ac:chgData name="Niittymies Aleksi" userId="00c1d702-9a1a-46cb-9bcd-5368d837961b" providerId="ADAL" clId="{55F54ABC-6D78-49F5-8110-EA7C6AFDD730}" dt="2023-10-28T15:33:54.339" v="2460" actId="478"/>
          <ac:spMkLst>
            <pc:docMk/>
            <pc:sldMk cId="3499027776" sldId="6526"/>
            <ac:spMk id="2" creationId="{642BB1AF-3861-E97E-A2EC-5D7D76526AF7}"/>
          </ac:spMkLst>
        </pc:spChg>
        <pc:spChg chg="del">
          <ac:chgData name="Niittymies Aleksi" userId="00c1d702-9a1a-46cb-9bcd-5368d837961b" providerId="ADAL" clId="{55F54ABC-6D78-49F5-8110-EA7C6AFDD730}" dt="2023-10-28T15:33:51.074" v="2459" actId="478"/>
          <ac:spMkLst>
            <pc:docMk/>
            <pc:sldMk cId="3499027776" sldId="6526"/>
            <ac:spMk id="3" creationId="{36B647A3-6CC1-8F64-711D-949DA368A4D1}"/>
          </ac:spMkLst>
        </pc:spChg>
        <pc:spChg chg="mod">
          <ac:chgData name="Niittymies Aleksi" userId="00c1d702-9a1a-46cb-9bcd-5368d837961b" providerId="ADAL" clId="{55F54ABC-6D78-49F5-8110-EA7C6AFDD730}" dt="2023-10-28T15:33:54.756" v="2461"/>
          <ac:spMkLst>
            <pc:docMk/>
            <pc:sldMk cId="3499027776" sldId="6526"/>
            <ac:spMk id="6" creationId="{DB30A23C-B29E-E547-EA5B-986B9D0803F7}"/>
          </ac:spMkLst>
        </pc:spChg>
        <pc:spChg chg="mod">
          <ac:chgData name="Niittymies Aleksi" userId="00c1d702-9a1a-46cb-9bcd-5368d837961b" providerId="ADAL" clId="{55F54ABC-6D78-49F5-8110-EA7C6AFDD730}" dt="2023-10-28T15:33:54.756" v="2461"/>
          <ac:spMkLst>
            <pc:docMk/>
            <pc:sldMk cId="3499027776" sldId="6526"/>
            <ac:spMk id="7" creationId="{4BC33DE8-23BA-9311-F8EA-2942C3F1439C}"/>
          </ac:spMkLst>
        </pc:spChg>
        <pc:spChg chg="mod">
          <ac:chgData name="Niittymies Aleksi" userId="00c1d702-9a1a-46cb-9bcd-5368d837961b" providerId="ADAL" clId="{55F54ABC-6D78-49F5-8110-EA7C6AFDD730}" dt="2023-10-28T15:33:54.756" v="2461"/>
          <ac:spMkLst>
            <pc:docMk/>
            <pc:sldMk cId="3499027776" sldId="6526"/>
            <ac:spMk id="8" creationId="{99714653-C617-E1AC-EB52-2266665FD24F}"/>
          </ac:spMkLst>
        </pc:spChg>
        <pc:spChg chg="mod">
          <ac:chgData name="Niittymies Aleksi" userId="00c1d702-9a1a-46cb-9bcd-5368d837961b" providerId="ADAL" clId="{55F54ABC-6D78-49F5-8110-EA7C6AFDD730}" dt="2023-10-28T15:33:54.756" v="2461"/>
          <ac:spMkLst>
            <pc:docMk/>
            <pc:sldMk cId="3499027776" sldId="6526"/>
            <ac:spMk id="9" creationId="{C5211D56-4635-231D-AA17-53F181ADE714}"/>
          </ac:spMkLst>
        </pc:spChg>
        <pc:spChg chg="mod">
          <ac:chgData name="Niittymies Aleksi" userId="00c1d702-9a1a-46cb-9bcd-5368d837961b" providerId="ADAL" clId="{55F54ABC-6D78-49F5-8110-EA7C6AFDD730}" dt="2023-10-28T15:33:54.756" v="2461"/>
          <ac:spMkLst>
            <pc:docMk/>
            <pc:sldMk cId="3499027776" sldId="6526"/>
            <ac:spMk id="10" creationId="{243AD310-23AB-75C7-B269-6CA128DF021C}"/>
          </ac:spMkLst>
        </pc:spChg>
        <pc:spChg chg="mod">
          <ac:chgData name="Niittymies Aleksi" userId="00c1d702-9a1a-46cb-9bcd-5368d837961b" providerId="ADAL" clId="{55F54ABC-6D78-49F5-8110-EA7C6AFDD730}" dt="2023-10-28T15:33:54.756" v="2461"/>
          <ac:spMkLst>
            <pc:docMk/>
            <pc:sldMk cId="3499027776" sldId="6526"/>
            <ac:spMk id="12" creationId="{1BEE033E-7451-D445-6683-9486D0D07B1F}"/>
          </ac:spMkLst>
        </pc:spChg>
        <pc:spChg chg="mod">
          <ac:chgData name="Niittymies Aleksi" userId="00c1d702-9a1a-46cb-9bcd-5368d837961b" providerId="ADAL" clId="{55F54ABC-6D78-49F5-8110-EA7C6AFDD730}" dt="2023-10-28T15:33:54.756" v="2461"/>
          <ac:spMkLst>
            <pc:docMk/>
            <pc:sldMk cId="3499027776" sldId="6526"/>
            <ac:spMk id="13" creationId="{725AF718-AC2F-BA05-26B1-59290D3090D3}"/>
          </ac:spMkLst>
        </pc:spChg>
        <pc:spChg chg="mod">
          <ac:chgData name="Niittymies Aleksi" userId="00c1d702-9a1a-46cb-9bcd-5368d837961b" providerId="ADAL" clId="{55F54ABC-6D78-49F5-8110-EA7C6AFDD730}" dt="2023-10-28T15:33:54.756" v="2461"/>
          <ac:spMkLst>
            <pc:docMk/>
            <pc:sldMk cId="3499027776" sldId="6526"/>
            <ac:spMk id="14" creationId="{DFF41C2A-3C51-1A44-15C3-FAEB89A18E91}"/>
          </ac:spMkLst>
        </pc:spChg>
        <pc:spChg chg="mod">
          <ac:chgData name="Niittymies Aleksi" userId="00c1d702-9a1a-46cb-9bcd-5368d837961b" providerId="ADAL" clId="{55F54ABC-6D78-49F5-8110-EA7C6AFDD730}" dt="2023-10-28T15:33:54.756" v="2461"/>
          <ac:spMkLst>
            <pc:docMk/>
            <pc:sldMk cId="3499027776" sldId="6526"/>
            <ac:spMk id="15" creationId="{135DFE9D-7425-F3C9-8224-E3BBC41AB5AD}"/>
          </ac:spMkLst>
        </pc:spChg>
        <pc:spChg chg="mod">
          <ac:chgData name="Niittymies Aleksi" userId="00c1d702-9a1a-46cb-9bcd-5368d837961b" providerId="ADAL" clId="{55F54ABC-6D78-49F5-8110-EA7C6AFDD730}" dt="2023-10-28T15:33:54.756" v="2461"/>
          <ac:spMkLst>
            <pc:docMk/>
            <pc:sldMk cId="3499027776" sldId="6526"/>
            <ac:spMk id="16" creationId="{3A8FB199-CAC9-E3E2-0FF0-B5DC7191F842}"/>
          </ac:spMkLst>
        </pc:spChg>
        <pc:spChg chg="mod">
          <ac:chgData name="Niittymies Aleksi" userId="00c1d702-9a1a-46cb-9bcd-5368d837961b" providerId="ADAL" clId="{55F54ABC-6D78-49F5-8110-EA7C6AFDD730}" dt="2023-10-28T15:33:54.756" v="2461"/>
          <ac:spMkLst>
            <pc:docMk/>
            <pc:sldMk cId="3499027776" sldId="6526"/>
            <ac:spMk id="17" creationId="{52F1F7E4-7A63-4DE0-944C-3AD0414290E8}"/>
          </ac:spMkLst>
        </pc:spChg>
        <pc:spChg chg="mod">
          <ac:chgData name="Niittymies Aleksi" userId="00c1d702-9a1a-46cb-9bcd-5368d837961b" providerId="ADAL" clId="{55F54ABC-6D78-49F5-8110-EA7C6AFDD730}" dt="2023-10-28T15:33:54.756" v="2461"/>
          <ac:spMkLst>
            <pc:docMk/>
            <pc:sldMk cId="3499027776" sldId="6526"/>
            <ac:spMk id="18" creationId="{AB7B4772-78DB-A524-5A60-F435787DA06B}"/>
          </ac:spMkLst>
        </pc:spChg>
        <pc:spChg chg="add mod ord">
          <ac:chgData name="Niittymies Aleksi" userId="00c1d702-9a1a-46cb-9bcd-5368d837961b" providerId="ADAL" clId="{55F54ABC-6D78-49F5-8110-EA7C6AFDD730}" dt="2023-10-28T15:34:36.983" v="2469" actId="1076"/>
          <ac:spMkLst>
            <pc:docMk/>
            <pc:sldMk cId="3499027776" sldId="6526"/>
            <ac:spMk id="19" creationId="{A429CCA9-84D9-2813-1F95-1C611808DE05}"/>
          </ac:spMkLst>
        </pc:spChg>
        <pc:spChg chg="add mod ord">
          <ac:chgData name="Niittymies Aleksi" userId="00c1d702-9a1a-46cb-9bcd-5368d837961b" providerId="ADAL" clId="{55F54ABC-6D78-49F5-8110-EA7C6AFDD730}" dt="2023-10-28T15:35:28.529" v="2481" actId="1076"/>
          <ac:spMkLst>
            <pc:docMk/>
            <pc:sldMk cId="3499027776" sldId="6526"/>
            <ac:spMk id="20" creationId="{1DA9A5BA-E0B6-E7A5-9EB1-D5618C09A117}"/>
          </ac:spMkLst>
        </pc:spChg>
        <pc:spChg chg="add mod">
          <ac:chgData name="Niittymies Aleksi" userId="00c1d702-9a1a-46cb-9bcd-5368d837961b" providerId="ADAL" clId="{55F54ABC-6D78-49F5-8110-EA7C6AFDD730}" dt="2023-10-28T15:35:41.790" v="2494" actId="14100"/>
          <ac:spMkLst>
            <pc:docMk/>
            <pc:sldMk cId="3499027776" sldId="6526"/>
            <ac:spMk id="21" creationId="{367D7629-36E4-6986-41C5-D16AAFC0F633}"/>
          </ac:spMkLst>
        </pc:spChg>
        <pc:spChg chg="add mod">
          <ac:chgData name="Niittymies Aleksi" userId="00c1d702-9a1a-46cb-9bcd-5368d837961b" providerId="ADAL" clId="{55F54ABC-6D78-49F5-8110-EA7C6AFDD730}" dt="2023-10-29T17:03:58.260" v="2942" actId="1076"/>
          <ac:spMkLst>
            <pc:docMk/>
            <pc:sldMk cId="3499027776" sldId="6526"/>
            <ac:spMk id="22" creationId="{D9A01B98-503E-1CC4-F5A2-6BE5E1A77FB2}"/>
          </ac:spMkLst>
        </pc:spChg>
        <pc:spChg chg="add mod">
          <ac:chgData name="Niittymies Aleksi" userId="00c1d702-9a1a-46cb-9bcd-5368d837961b" providerId="ADAL" clId="{55F54ABC-6D78-49F5-8110-EA7C6AFDD730}" dt="2023-10-28T15:37:10.145" v="2572" actId="20577"/>
          <ac:spMkLst>
            <pc:docMk/>
            <pc:sldMk cId="3499027776" sldId="6526"/>
            <ac:spMk id="23" creationId="{8D5EF873-0A49-F800-ADFC-55145E4DBA95}"/>
          </ac:spMkLst>
        </pc:spChg>
        <pc:spChg chg="add mod">
          <ac:chgData name="Niittymies Aleksi" userId="00c1d702-9a1a-46cb-9bcd-5368d837961b" providerId="ADAL" clId="{55F54ABC-6D78-49F5-8110-EA7C6AFDD730}" dt="2023-10-28T16:31:32.805" v="2669" actId="20577"/>
          <ac:spMkLst>
            <pc:docMk/>
            <pc:sldMk cId="3499027776" sldId="6526"/>
            <ac:spMk id="24" creationId="{A42B2251-BE45-9BC8-F6F4-52117292DA28}"/>
          </ac:spMkLst>
        </pc:spChg>
        <pc:spChg chg="add mod">
          <ac:chgData name="Niittymies Aleksi" userId="00c1d702-9a1a-46cb-9bcd-5368d837961b" providerId="ADAL" clId="{55F54ABC-6D78-49F5-8110-EA7C6AFDD730}" dt="2023-10-28T15:37:02.289" v="2563" actId="14100"/>
          <ac:spMkLst>
            <pc:docMk/>
            <pc:sldMk cId="3499027776" sldId="6526"/>
            <ac:spMk id="25" creationId="{C2F677D7-402E-26BF-B11E-0A0DD0000584}"/>
          </ac:spMkLst>
        </pc:spChg>
        <pc:spChg chg="add mod">
          <ac:chgData name="Niittymies Aleksi" userId="00c1d702-9a1a-46cb-9bcd-5368d837961b" providerId="ADAL" clId="{55F54ABC-6D78-49F5-8110-EA7C6AFDD730}" dt="2023-10-29T17:04:01.316" v="2943" actId="1076"/>
          <ac:spMkLst>
            <pc:docMk/>
            <pc:sldMk cId="3499027776" sldId="6526"/>
            <ac:spMk id="26" creationId="{39E4A097-03DB-BD48-CE3D-A0B28FB774A2}"/>
          </ac:spMkLst>
        </pc:spChg>
        <pc:spChg chg="add mod">
          <ac:chgData name="Niittymies Aleksi" userId="00c1d702-9a1a-46cb-9bcd-5368d837961b" providerId="ADAL" clId="{55F54ABC-6D78-49F5-8110-EA7C6AFDD730}" dt="2023-10-28T15:38:38.622" v="2626" actId="20577"/>
          <ac:spMkLst>
            <pc:docMk/>
            <pc:sldMk cId="3499027776" sldId="6526"/>
            <ac:spMk id="27" creationId="{A695BCCD-716C-2AB6-1638-C06F5517162A}"/>
          </ac:spMkLst>
        </pc:spChg>
        <pc:spChg chg="add mod">
          <ac:chgData name="Niittymies Aleksi" userId="00c1d702-9a1a-46cb-9bcd-5368d837961b" providerId="ADAL" clId="{55F54ABC-6D78-49F5-8110-EA7C6AFDD730}" dt="2023-10-28T15:39:22.274" v="2639" actId="14100"/>
          <ac:spMkLst>
            <pc:docMk/>
            <pc:sldMk cId="3499027776" sldId="6526"/>
            <ac:spMk id="28" creationId="{6CBF46FC-50B4-DDE6-3515-B00C89077B16}"/>
          </ac:spMkLst>
        </pc:spChg>
        <pc:grpChg chg="add mod">
          <ac:chgData name="Niittymies Aleksi" userId="00c1d702-9a1a-46cb-9bcd-5368d837961b" providerId="ADAL" clId="{55F54ABC-6D78-49F5-8110-EA7C6AFDD730}" dt="2023-10-28T15:33:57.759" v="2462" actId="1076"/>
          <ac:grpSpMkLst>
            <pc:docMk/>
            <pc:sldMk cId="3499027776" sldId="6526"/>
            <ac:grpSpMk id="4" creationId="{252F4333-777A-DFAB-9FAB-F5A0441E3AE2}"/>
          </ac:grpSpMkLst>
        </pc:grpChg>
        <pc:grpChg chg="mod">
          <ac:chgData name="Niittymies Aleksi" userId="00c1d702-9a1a-46cb-9bcd-5368d837961b" providerId="ADAL" clId="{55F54ABC-6D78-49F5-8110-EA7C6AFDD730}" dt="2023-10-28T15:33:54.756" v="2461"/>
          <ac:grpSpMkLst>
            <pc:docMk/>
            <pc:sldMk cId="3499027776" sldId="6526"/>
            <ac:grpSpMk id="5" creationId="{6466B41B-D32E-446B-E8D4-53094E332365}"/>
          </ac:grpSpMkLst>
        </pc:grpChg>
        <pc:grpChg chg="mod">
          <ac:chgData name="Niittymies Aleksi" userId="00c1d702-9a1a-46cb-9bcd-5368d837961b" providerId="ADAL" clId="{55F54ABC-6D78-49F5-8110-EA7C6AFDD730}" dt="2023-10-28T15:33:54.756" v="2461"/>
          <ac:grpSpMkLst>
            <pc:docMk/>
            <pc:sldMk cId="3499027776" sldId="6526"/>
            <ac:grpSpMk id="11" creationId="{6C656AB9-0110-C070-4360-1A873DF21863}"/>
          </ac:grpSpMkLst>
        </pc:grpChg>
      </pc:sldChg>
      <pc:sldMasterChg chg="delSldLayout">
        <pc:chgData name="Niittymies Aleksi" userId="00c1d702-9a1a-46cb-9bcd-5368d837961b" providerId="ADAL" clId="{55F54ABC-6D78-49F5-8110-EA7C6AFDD730}" dt="2023-10-26T18:09:30.121" v="1917" actId="47"/>
        <pc:sldMasterMkLst>
          <pc:docMk/>
          <pc:sldMasterMk cId="1833754440" sldId="2147483648"/>
        </pc:sldMasterMkLst>
        <pc:sldLayoutChg chg="del">
          <pc:chgData name="Niittymies Aleksi" userId="00c1d702-9a1a-46cb-9bcd-5368d837961b" providerId="ADAL" clId="{55F54ABC-6D78-49F5-8110-EA7C6AFDD730}" dt="2023-10-26T18:09:30.121" v="1917" actId="47"/>
          <pc:sldLayoutMkLst>
            <pc:docMk/>
            <pc:sldMasterMk cId="1833754440" sldId="2147483648"/>
            <pc:sldLayoutMk cId="3943979170" sldId="2147483937"/>
          </pc:sldLayoutMkLst>
        </pc:sldLayoutChg>
        <pc:sldLayoutChg chg="del">
          <pc:chgData name="Niittymies Aleksi" userId="00c1d702-9a1a-46cb-9bcd-5368d837961b" providerId="ADAL" clId="{55F54ABC-6D78-49F5-8110-EA7C6AFDD730}" dt="2023-10-26T15:03:15.209" v="308" actId="47"/>
          <pc:sldLayoutMkLst>
            <pc:docMk/>
            <pc:sldMasterMk cId="1833754440" sldId="2147483648"/>
            <pc:sldLayoutMk cId="1392058142" sldId="2147483959"/>
          </pc:sldLayoutMkLst>
        </pc:sldLayoutChg>
      </pc:sldMasterChg>
      <pc:sldMasterChg chg="del delSldLayout">
        <pc:chgData name="Niittymies Aleksi" userId="00c1d702-9a1a-46cb-9bcd-5368d837961b" providerId="ADAL" clId="{55F54ABC-6D78-49F5-8110-EA7C6AFDD730}" dt="2023-10-26T15:03:21.892" v="310" actId="47"/>
        <pc:sldMasterMkLst>
          <pc:docMk/>
          <pc:sldMasterMk cId="3065379356" sldId="2147483972"/>
        </pc:sldMasterMkLst>
        <pc:sldLayoutChg chg="del">
          <pc:chgData name="Niittymies Aleksi" userId="00c1d702-9a1a-46cb-9bcd-5368d837961b" providerId="ADAL" clId="{55F54ABC-6D78-49F5-8110-EA7C6AFDD730}" dt="2023-10-26T15:03:21.892" v="310" actId="47"/>
          <pc:sldLayoutMkLst>
            <pc:docMk/>
            <pc:sldMasterMk cId="3065379356" sldId="2147483972"/>
            <pc:sldLayoutMk cId="437584210" sldId="2147483973"/>
          </pc:sldLayoutMkLst>
        </pc:sldLayoutChg>
        <pc:sldLayoutChg chg="del">
          <pc:chgData name="Niittymies Aleksi" userId="00c1d702-9a1a-46cb-9bcd-5368d837961b" providerId="ADAL" clId="{55F54ABC-6D78-49F5-8110-EA7C6AFDD730}" dt="2023-10-26T15:03:21.892" v="310" actId="47"/>
          <pc:sldLayoutMkLst>
            <pc:docMk/>
            <pc:sldMasterMk cId="3065379356" sldId="2147483972"/>
            <pc:sldLayoutMk cId="3472263249" sldId="2147483974"/>
          </pc:sldLayoutMkLst>
        </pc:sldLayoutChg>
        <pc:sldLayoutChg chg="del">
          <pc:chgData name="Niittymies Aleksi" userId="00c1d702-9a1a-46cb-9bcd-5368d837961b" providerId="ADAL" clId="{55F54ABC-6D78-49F5-8110-EA7C6AFDD730}" dt="2023-10-26T15:03:21.892" v="310" actId="47"/>
          <pc:sldLayoutMkLst>
            <pc:docMk/>
            <pc:sldMasterMk cId="3065379356" sldId="2147483972"/>
            <pc:sldLayoutMk cId="4223978128" sldId="2147483975"/>
          </pc:sldLayoutMkLst>
        </pc:sldLayoutChg>
        <pc:sldLayoutChg chg="del">
          <pc:chgData name="Niittymies Aleksi" userId="00c1d702-9a1a-46cb-9bcd-5368d837961b" providerId="ADAL" clId="{55F54ABC-6D78-49F5-8110-EA7C6AFDD730}" dt="2023-10-26T15:03:21.892" v="310" actId="47"/>
          <pc:sldLayoutMkLst>
            <pc:docMk/>
            <pc:sldMasterMk cId="3065379356" sldId="2147483972"/>
            <pc:sldLayoutMk cId="2699714057" sldId="2147483976"/>
          </pc:sldLayoutMkLst>
        </pc:sldLayoutChg>
        <pc:sldLayoutChg chg="del">
          <pc:chgData name="Niittymies Aleksi" userId="00c1d702-9a1a-46cb-9bcd-5368d837961b" providerId="ADAL" clId="{55F54ABC-6D78-49F5-8110-EA7C6AFDD730}" dt="2023-10-26T15:03:21.892" v="310" actId="47"/>
          <pc:sldLayoutMkLst>
            <pc:docMk/>
            <pc:sldMasterMk cId="3065379356" sldId="2147483972"/>
            <pc:sldLayoutMk cId="2706481920" sldId="2147483977"/>
          </pc:sldLayoutMkLst>
        </pc:sldLayoutChg>
        <pc:sldLayoutChg chg="del">
          <pc:chgData name="Niittymies Aleksi" userId="00c1d702-9a1a-46cb-9bcd-5368d837961b" providerId="ADAL" clId="{55F54ABC-6D78-49F5-8110-EA7C6AFDD730}" dt="2023-10-26T15:03:21.892" v="310" actId="47"/>
          <pc:sldLayoutMkLst>
            <pc:docMk/>
            <pc:sldMasterMk cId="3065379356" sldId="2147483972"/>
            <pc:sldLayoutMk cId="1738318242" sldId="2147483978"/>
          </pc:sldLayoutMkLst>
        </pc:sldLayoutChg>
        <pc:sldLayoutChg chg="del">
          <pc:chgData name="Niittymies Aleksi" userId="00c1d702-9a1a-46cb-9bcd-5368d837961b" providerId="ADAL" clId="{55F54ABC-6D78-49F5-8110-EA7C6AFDD730}" dt="2023-10-26T15:03:21.892" v="310" actId="47"/>
          <pc:sldLayoutMkLst>
            <pc:docMk/>
            <pc:sldMasterMk cId="3065379356" sldId="2147483972"/>
            <pc:sldLayoutMk cId="1817325455" sldId="2147483979"/>
          </pc:sldLayoutMkLst>
        </pc:sldLayoutChg>
        <pc:sldLayoutChg chg="del">
          <pc:chgData name="Niittymies Aleksi" userId="00c1d702-9a1a-46cb-9bcd-5368d837961b" providerId="ADAL" clId="{55F54ABC-6D78-49F5-8110-EA7C6AFDD730}" dt="2023-10-26T15:03:21.892" v="310" actId="47"/>
          <pc:sldLayoutMkLst>
            <pc:docMk/>
            <pc:sldMasterMk cId="3065379356" sldId="2147483972"/>
            <pc:sldLayoutMk cId="3727589533" sldId="2147483980"/>
          </pc:sldLayoutMkLst>
        </pc:sldLayoutChg>
        <pc:sldLayoutChg chg="del">
          <pc:chgData name="Niittymies Aleksi" userId="00c1d702-9a1a-46cb-9bcd-5368d837961b" providerId="ADAL" clId="{55F54ABC-6D78-49F5-8110-EA7C6AFDD730}" dt="2023-10-26T15:03:21.892" v="310" actId="47"/>
          <pc:sldLayoutMkLst>
            <pc:docMk/>
            <pc:sldMasterMk cId="3065379356" sldId="2147483972"/>
            <pc:sldLayoutMk cId="2725544421" sldId="2147483981"/>
          </pc:sldLayoutMkLst>
        </pc:sldLayoutChg>
        <pc:sldLayoutChg chg="del">
          <pc:chgData name="Niittymies Aleksi" userId="00c1d702-9a1a-46cb-9bcd-5368d837961b" providerId="ADAL" clId="{55F54ABC-6D78-49F5-8110-EA7C6AFDD730}" dt="2023-10-26T15:03:21.892" v="310" actId="47"/>
          <pc:sldLayoutMkLst>
            <pc:docMk/>
            <pc:sldMasterMk cId="3065379356" sldId="2147483972"/>
            <pc:sldLayoutMk cId="3058278807" sldId="2147483982"/>
          </pc:sldLayoutMkLst>
        </pc:sldLayoutChg>
        <pc:sldLayoutChg chg="del">
          <pc:chgData name="Niittymies Aleksi" userId="00c1d702-9a1a-46cb-9bcd-5368d837961b" providerId="ADAL" clId="{55F54ABC-6D78-49F5-8110-EA7C6AFDD730}" dt="2023-10-26T15:03:21.892" v="310" actId="47"/>
          <pc:sldLayoutMkLst>
            <pc:docMk/>
            <pc:sldMasterMk cId="3065379356" sldId="2147483972"/>
            <pc:sldLayoutMk cId="3992361904" sldId="2147483983"/>
          </pc:sldLayoutMkLst>
        </pc:sldLayoutChg>
      </pc:sldMasterChg>
    </pc:docChg>
  </pc:docChgLst>
  <pc:docChgLst>
    <pc:chgData name="Niittymies Aleksi" userId="00c1d702-9a1a-46cb-9bcd-5368d837961b" providerId="ADAL" clId="{777E9463-A5D1-4581-A176-232A55A8FD4B}"/>
    <pc:docChg chg="undo custSel addSld delSld modSld sldOrd">
      <pc:chgData name="Niittymies Aleksi" userId="00c1d702-9a1a-46cb-9bcd-5368d837961b" providerId="ADAL" clId="{777E9463-A5D1-4581-A176-232A55A8FD4B}" dt="2023-11-06T10:14:22.797" v="1978"/>
      <pc:docMkLst>
        <pc:docMk/>
      </pc:docMkLst>
      <pc:sldChg chg="modSp mod">
        <pc:chgData name="Niittymies Aleksi" userId="00c1d702-9a1a-46cb-9bcd-5368d837961b" providerId="ADAL" clId="{777E9463-A5D1-4581-A176-232A55A8FD4B}" dt="2023-11-03T15:20:32.995" v="5" actId="20577"/>
        <pc:sldMkLst>
          <pc:docMk/>
          <pc:sldMk cId="4022952943" sldId="259"/>
        </pc:sldMkLst>
        <pc:spChg chg="mod">
          <ac:chgData name="Niittymies Aleksi" userId="00c1d702-9a1a-46cb-9bcd-5368d837961b" providerId="ADAL" clId="{777E9463-A5D1-4581-A176-232A55A8FD4B}" dt="2023-11-03T15:20:29.311" v="3" actId="20577"/>
          <ac:spMkLst>
            <pc:docMk/>
            <pc:sldMk cId="4022952943" sldId="259"/>
            <ac:spMk id="3" creationId="{8A46F9C8-1964-44D9-B1CD-B6CEC744D5F3}"/>
          </ac:spMkLst>
        </pc:spChg>
        <pc:spChg chg="mod">
          <ac:chgData name="Niittymies Aleksi" userId="00c1d702-9a1a-46cb-9bcd-5368d837961b" providerId="ADAL" clId="{777E9463-A5D1-4581-A176-232A55A8FD4B}" dt="2023-11-03T15:20:32.995" v="5" actId="20577"/>
          <ac:spMkLst>
            <pc:docMk/>
            <pc:sldMk cId="4022952943" sldId="259"/>
            <ac:spMk id="5" creationId="{14D9E3F0-1051-411B-B4E8-74150CD2A556}"/>
          </ac:spMkLst>
        </pc:spChg>
      </pc:sldChg>
      <pc:sldChg chg="del">
        <pc:chgData name="Niittymies Aleksi" userId="00c1d702-9a1a-46cb-9bcd-5368d837961b" providerId="ADAL" clId="{777E9463-A5D1-4581-A176-232A55A8FD4B}" dt="2023-11-05T11:53:17.334" v="1551" actId="47"/>
        <pc:sldMkLst>
          <pc:docMk/>
          <pc:sldMk cId="1957632854" sldId="262"/>
        </pc:sldMkLst>
      </pc:sldChg>
      <pc:sldChg chg="addSp del delDesignElem">
        <pc:chgData name="Niittymies Aleksi" userId="00c1d702-9a1a-46cb-9bcd-5368d837961b" providerId="ADAL" clId="{777E9463-A5D1-4581-A176-232A55A8FD4B}" dt="2023-11-03T15:33:50.698" v="260"/>
        <pc:sldMkLst>
          <pc:docMk/>
          <pc:sldMk cId="2555137741" sldId="269"/>
        </pc:sldMkLst>
        <pc:spChg chg="add">
          <ac:chgData name="Niittymies Aleksi" userId="00c1d702-9a1a-46cb-9bcd-5368d837961b" providerId="ADAL" clId="{777E9463-A5D1-4581-A176-232A55A8FD4B}" dt="2023-11-03T15:33:50.698" v="260"/>
          <ac:spMkLst>
            <pc:docMk/>
            <pc:sldMk cId="2555137741" sldId="269"/>
            <ac:spMk id="10" creationId="{32BC26D8-82FB-445E-AA49-62A77D7C1EE0}"/>
          </ac:spMkLst>
        </pc:spChg>
        <pc:spChg chg="add">
          <ac:chgData name="Niittymies Aleksi" userId="00c1d702-9a1a-46cb-9bcd-5368d837961b" providerId="ADAL" clId="{777E9463-A5D1-4581-A176-232A55A8FD4B}" dt="2023-11-03T15:33:50.698" v="260"/>
          <ac:spMkLst>
            <pc:docMk/>
            <pc:sldMk cId="2555137741" sldId="269"/>
            <ac:spMk id="12" creationId="{CB44330D-EA18-4254-AA95-EB49948539B8}"/>
          </ac:spMkLst>
        </pc:spChg>
      </pc:sldChg>
      <pc:sldChg chg="del">
        <pc:chgData name="Niittymies Aleksi" userId="00c1d702-9a1a-46cb-9bcd-5368d837961b" providerId="ADAL" clId="{777E9463-A5D1-4581-A176-232A55A8FD4B}" dt="2023-11-03T16:18:15.306" v="857" actId="47"/>
        <pc:sldMkLst>
          <pc:docMk/>
          <pc:sldMk cId="2377531744" sldId="277"/>
        </pc:sldMkLst>
      </pc:sldChg>
      <pc:sldChg chg="addSp modSp mod">
        <pc:chgData name="Niittymies Aleksi" userId="00c1d702-9a1a-46cb-9bcd-5368d837961b" providerId="ADAL" clId="{777E9463-A5D1-4581-A176-232A55A8FD4B}" dt="2023-11-05T19:37:04.033" v="1887" actId="1076"/>
        <pc:sldMkLst>
          <pc:docMk/>
          <pc:sldMk cId="2068996606" sldId="278"/>
        </pc:sldMkLst>
        <pc:spChg chg="add mod">
          <ac:chgData name="Niittymies Aleksi" userId="00c1d702-9a1a-46cb-9bcd-5368d837961b" providerId="ADAL" clId="{777E9463-A5D1-4581-A176-232A55A8FD4B}" dt="2023-11-05T19:37:04.033" v="1887" actId="1076"/>
          <ac:spMkLst>
            <pc:docMk/>
            <pc:sldMk cId="2068996606" sldId="278"/>
            <ac:spMk id="4" creationId="{2C0720E4-9E87-F8B2-061F-65112570ACC6}"/>
          </ac:spMkLst>
        </pc:spChg>
      </pc:sldChg>
      <pc:sldChg chg="addSp delSp modSp mod">
        <pc:chgData name="Niittymies Aleksi" userId="00c1d702-9a1a-46cb-9bcd-5368d837961b" providerId="ADAL" clId="{777E9463-A5D1-4581-A176-232A55A8FD4B}" dt="2023-11-03T16:03:35.295" v="403" actId="113"/>
        <pc:sldMkLst>
          <pc:docMk/>
          <pc:sldMk cId="1237508240" sldId="282"/>
        </pc:sldMkLst>
        <pc:spChg chg="mod">
          <ac:chgData name="Niittymies Aleksi" userId="00c1d702-9a1a-46cb-9bcd-5368d837961b" providerId="ADAL" clId="{777E9463-A5D1-4581-A176-232A55A8FD4B}" dt="2023-11-03T16:03:35.295" v="403" actId="113"/>
          <ac:spMkLst>
            <pc:docMk/>
            <pc:sldMk cId="1237508240" sldId="282"/>
            <ac:spMk id="2" creationId="{12ECB206-0A52-492A-A546-47DCCF02AE0B}"/>
          </ac:spMkLst>
        </pc:spChg>
        <pc:spChg chg="add del">
          <ac:chgData name="Niittymies Aleksi" userId="00c1d702-9a1a-46cb-9bcd-5368d837961b" providerId="ADAL" clId="{777E9463-A5D1-4581-A176-232A55A8FD4B}" dt="2023-11-03T16:02:49.367" v="396" actId="26606"/>
          <ac:spMkLst>
            <pc:docMk/>
            <pc:sldMk cId="1237508240" sldId="282"/>
            <ac:spMk id="51" creationId="{F13C74B1-5B17-4795-BED0-7140497B445A}"/>
          </ac:spMkLst>
        </pc:spChg>
        <pc:spChg chg="add del">
          <ac:chgData name="Niittymies Aleksi" userId="00c1d702-9a1a-46cb-9bcd-5368d837961b" providerId="ADAL" clId="{777E9463-A5D1-4581-A176-232A55A8FD4B}" dt="2023-11-03T16:02:49.367" v="396" actId="26606"/>
          <ac:spMkLst>
            <pc:docMk/>
            <pc:sldMk cId="1237508240" sldId="282"/>
            <ac:spMk id="53" creationId="{D4974D33-8DC5-464E-8C6D-BE58F0669C17}"/>
          </ac:spMkLst>
        </pc:spChg>
        <pc:graphicFrameChg chg="mod ord modGraphic">
          <ac:chgData name="Niittymies Aleksi" userId="00c1d702-9a1a-46cb-9bcd-5368d837961b" providerId="ADAL" clId="{777E9463-A5D1-4581-A176-232A55A8FD4B}" dt="2023-11-03T16:03:08.142" v="398" actId="1076"/>
          <ac:graphicFrameMkLst>
            <pc:docMk/>
            <pc:sldMk cId="1237508240" sldId="282"/>
            <ac:graphicFrameMk id="5" creationId="{7F09E4EF-0634-47BB-8BE0-0C21E5A07A92}"/>
          </ac:graphicFrameMkLst>
        </pc:graphicFrameChg>
        <pc:picChg chg="add del mod">
          <ac:chgData name="Niittymies Aleksi" userId="00c1d702-9a1a-46cb-9bcd-5368d837961b" providerId="ADAL" clId="{777E9463-A5D1-4581-A176-232A55A8FD4B}" dt="2023-11-03T16:03:24.056" v="400" actId="478"/>
          <ac:picMkLst>
            <pc:docMk/>
            <pc:sldMk cId="1237508240" sldId="282"/>
            <ac:picMk id="3" creationId="{F749252F-FEEE-674E-D756-CE8063A04CF4}"/>
          </ac:picMkLst>
        </pc:picChg>
        <pc:picChg chg="add mod">
          <ac:chgData name="Niittymies Aleksi" userId="00c1d702-9a1a-46cb-9bcd-5368d837961b" providerId="ADAL" clId="{777E9463-A5D1-4581-A176-232A55A8FD4B}" dt="2023-11-03T16:03:31.321" v="402" actId="1076"/>
          <ac:picMkLst>
            <pc:docMk/>
            <pc:sldMk cId="1237508240" sldId="282"/>
            <ac:picMk id="4" creationId="{243D1D09-4134-BBA8-4EB9-1B56824014C1}"/>
          </ac:picMkLst>
        </pc:picChg>
        <pc:picChg chg="del">
          <ac:chgData name="Niittymies Aleksi" userId="00c1d702-9a1a-46cb-9bcd-5368d837961b" providerId="ADAL" clId="{777E9463-A5D1-4581-A176-232A55A8FD4B}" dt="2023-11-03T16:02:26.752" v="391" actId="478"/>
          <ac:picMkLst>
            <pc:docMk/>
            <pc:sldMk cId="1237508240" sldId="282"/>
            <ac:picMk id="6" creationId="{76A46F59-5D93-4EFB-8D5C-243D71F9C34F}"/>
          </ac:picMkLst>
        </pc:picChg>
        <pc:picChg chg="add del">
          <ac:chgData name="Niittymies Aleksi" userId="00c1d702-9a1a-46cb-9bcd-5368d837961b" providerId="ADAL" clId="{777E9463-A5D1-4581-A176-232A55A8FD4B}" dt="2023-11-03T16:02:49.367" v="396" actId="26606"/>
          <ac:picMkLst>
            <pc:docMk/>
            <pc:sldMk cId="1237508240" sldId="282"/>
            <ac:picMk id="46" creationId="{54DDEBDD-D8BD-41A6-8A0D-B00E3768B0F9}"/>
          </ac:picMkLst>
        </pc:picChg>
      </pc:sldChg>
      <pc:sldChg chg="mod modShow">
        <pc:chgData name="Niittymies Aleksi" userId="00c1d702-9a1a-46cb-9bcd-5368d837961b" providerId="ADAL" clId="{777E9463-A5D1-4581-A176-232A55A8FD4B}" dt="2023-11-05T11:56:27.586" v="1556" actId="729"/>
        <pc:sldMkLst>
          <pc:docMk/>
          <pc:sldMk cId="760655846" sldId="288"/>
        </pc:sldMkLst>
      </pc:sldChg>
      <pc:sldChg chg="addSp modSp mod">
        <pc:chgData name="Niittymies Aleksi" userId="00c1d702-9a1a-46cb-9bcd-5368d837961b" providerId="ADAL" clId="{777E9463-A5D1-4581-A176-232A55A8FD4B}" dt="2023-11-03T16:26:23.701" v="956" actId="1076"/>
        <pc:sldMkLst>
          <pc:docMk/>
          <pc:sldMk cId="1886639995" sldId="300"/>
        </pc:sldMkLst>
        <pc:spChg chg="add mod">
          <ac:chgData name="Niittymies Aleksi" userId="00c1d702-9a1a-46cb-9bcd-5368d837961b" providerId="ADAL" clId="{777E9463-A5D1-4581-A176-232A55A8FD4B}" dt="2023-11-03T16:26:23.701" v="956" actId="1076"/>
          <ac:spMkLst>
            <pc:docMk/>
            <pc:sldMk cId="1886639995" sldId="300"/>
            <ac:spMk id="5" creationId="{16B5D0FE-1E5D-81CF-220F-1AFD2027155A}"/>
          </ac:spMkLst>
        </pc:spChg>
        <pc:graphicFrameChg chg="mod">
          <ac:chgData name="Niittymies Aleksi" userId="00c1d702-9a1a-46cb-9bcd-5368d837961b" providerId="ADAL" clId="{777E9463-A5D1-4581-A176-232A55A8FD4B}" dt="2023-11-03T16:26:18.092" v="955"/>
          <ac:graphicFrameMkLst>
            <pc:docMk/>
            <pc:sldMk cId="1886639995" sldId="300"/>
            <ac:graphicFrameMk id="9" creationId="{623F34E6-D17B-42C9-A6A5-5461B09D7E29}"/>
          </ac:graphicFrameMkLst>
        </pc:graphicFrameChg>
        <pc:picChg chg="mod">
          <ac:chgData name="Niittymies Aleksi" userId="00c1d702-9a1a-46cb-9bcd-5368d837961b" providerId="ADAL" clId="{777E9463-A5D1-4581-A176-232A55A8FD4B}" dt="2023-11-03T16:25:35.492" v="945" actId="1076"/>
          <ac:picMkLst>
            <pc:docMk/>
            <pc:sldMk cId="1886639995" sldId="300"/>
            <ac:picMk id="4" creationId="{1C2BD351-6476-471B-92AE-43044E984C89}"/>
          </ac:picMkLst>
        </pc:picChg>
      </pc:sldChg>
      <pc:sldChg chg="modSp mod">
        <pc:chgData name="Niittymies Aleksi" userId="00c1d702-9a1a-46cb-9bcd-5368d837961b" providerId="ADAL" clId="{777E9463-A5D1-4581-A176-232A55A8FD4B}" dt="2023-11-03T15:41:30.594" v="266" actId="27636"/>
        <pc:sldMkLst>
          <pc:docMk/>
          <pc:sldMk cId="2737998628" sldId="305"/>
        </pc:sldMkLst>
        <pc:spChg chg="mod">
          <ac:chgData name="Niittymies Aleksi" userId="00c1d702-9a1a-46cb-9bcd-5368d837961b" providerId="ADAL" clId="{777E9463-A5D1-4581-A176-232A55A8FD4B}" dt="2023-11-03T15:41:30.594" v="266" actId="27636"/>
          <ac:spMkLst>
            <pc:docMk/>
            <pc:sldMk cId="2737998628" sldId="305"/>
            <ac:spMk id="2" creationId="{988583B6-8CF7-41A8-9C4A-7CF831058912}"/>
          </ac:spMkLst>
        </pc:spChg>
      </pc:sldChg>
      <pc:sldChg chg="del ord">
        <pc:chgData name="Niittymies Aleksi" userId="00c1d702-9a1a-46cb-9bcd-5368d837961b" providerId="ADAL" clId="{777E9463-A5D1-4581-A176-232A55A8FD4B}" dt="2023-11-05T10:32:15.414" v="1268" actId="47"/>
        <pc:sldMkLst>
          <pc:docMk/>
          <pc:sldMk cId="3727756119" sldId="514"/>
        </pc:sldMkLst>
      </pc:sldChg>
      <pc:sldChg chg="modSp mod">
        <pc:chgData name="Niittymies Aleksi" userId="00c1d702-9a1a-46cb-9bcd-5368d837961b" providerId="ADAL" clId="{777E9463-A5D1-4581-A176-232A55A8FD4B}" dt="2023-11-03T16:35:33.775" v="1185" actId="20577"/>
        <pc:sldMkLst>
          <pc:docMk/>
          <pc:sldMk cId="3618287028" sldId="979"/>
        </pc:sldMkLst>
        <pc:spChg chg="mod">
          <ac:chgData name="Niittymies Aleksi" userId="00c1d702-9a1a-46cb-9bcd-5368d837961b" providerId="ADAL" clId="{777E9463-A5D1-4581-A176-232A55A8FD4B}" dt="2023-11-03T16:34:25.599" v="1175" actId="20577"/>
          <ac:spMkLst>
            <pc:docMk/>
            <pc:sldMk cId="3618287028" sldId="979"/>
            <ac:spMk id="2" creationId="{DAF2281E-D9A1-4D78-88F1-D5A2007BE0D9}"/>
          </ac:spMkLst>
        </pc:spChg>
        <pc:spChg chg="mod">
          <ac:chgData name="Niittymies Aleksi" userId="00c1d702-9a1a-46cb-9bcd-5368d837961b" providerId="ADAL" clId="{777E9463-A5D1-4581-A176-232A55A8FD4B}" dt="2023-11-03T16:35:33.775" v="1185" actId="20577"/>
          <ac:spMkLst>
            <pc:docMk/>
            <pc:sldMk cId="3618287028" sldId="979"/>
            <ac:spMk id="3" creationId="{5F669965-2C37-4E46-9B17-C284E9EEEBCD}"/>
          </ac:spMkLst>
        </pc:spChg>
      </pc:sldChg>
      <pc:sldChg chg="del">
        <pc:chgData name="Niittymies Aleksi" userId="00c1d702-9a1a-46cb-9bcd-5368d837961b" providerId="ADAL" clId="{777E9463-A5D1-4581-A176-232A55A8FD4B}" dt="2023-11-03T15:34:05.973" v="261" actId="47"/>
        <pc:sldMkLst>
          <pc:docMk/>
          <pc:sldMk cId="3567938623" sldId="6477"/>
        </pc:sldMkLst>
      </pc:sldChg>
      <pc:sldChg chg="modSp mod">
        <pc:chgData name="Niittymies Aleksi" userId="00c1d702-9a1a-46cb-9bcd-5368d837961b" providerId="ADAL" clId="{777E9463-A5D1-4581-A176-232A55A8FD4B}" dt="2023-11-03T15:21:29.859" v="79" actId="20577"/>
        <pc:sldMkLst>
          <pc:docMk/>
          <pc:sldMk cId="2555860637" sldId="6511"/>
        </pc:sldMkLst>
        <pc:spChg chg="mod">
          <ac:chgData name="Niittymies Aleksi" userId="00c1d702-9a1a-46cb-9bcd-5368d837961b" providerId="ADAL" clId="{777E9463-A5D1-4581-A176-232A55A8FD4B}" dt="2023-11-03T15:21:29.859" v="79" actId="20577"/>
          <ac:spMkLst>
            <pc:docMk/>
            <pc:sldMk cId="2555860637" sldId="6511"/>
            <ac:spMk id="3" creationId="{CF3F630B-0F73-483A-838D-6B23394D1B86}"/>
          </ac:spMkLst>
        </pc:spChg>
      </pc:sldChg>
      <pc:sldChg chg="modSp mod ord">
        <pc:chgData name="Niittymies Aleksi" userId="00c1d702-9a1a-46cb-9bcd-5368d837961b" providerId="ADAL" clId="{777E9463-A5D1-4581-A176-232A55A8FD4B}" dt="2023-11-05T10:33:18.641" v="1275" actId="20577"/>
        <pc:sldMkLst>
          <pc:docMk/>
          <pc:sldMk cId="3262308052" sldId="6518"/>
        </pc:sldMkLst>
        <pc:spChg chg="mod">
          <ac:chgData name="Niittymies Aleksi" userId="00c1d702-9a1a-46cb-9bcd-5368d837961b" providerId="ADAL" clId="{777E9463-A5D1-4581-A176-232A55A8FD4B}" dt="2023-11-05T10:33:18.641" v="1275" actId="20577"/>
          <ac:spMkLst>
            <pc:docMk/>
            <pc:sldMk cId="3262308052" sldId="6518"/>
            <ac:spMk id="2" creationId="{7188B95F-4310-569A-83C9-3FA1F947D1D9}"/>
          </ac:spMkLst>
        </pc:spChg>
        <pc:spChg chg="mod">
          <ac:chgData name="Niittymies Aleksi" userId="00c1d702-9a1a-46cb-9bcd-5368d837961b" providerId="ADAL" clId="{777E9463-A5D1-4581-A176-232A55A8FD4B}" dt="2023-11-03T15:28:12.037" v="183" actId="14100"/>
          <ac:spMkLst>
            <pc:docMk/>
            <pc:sldMk cId="3262308052" sldId="6518"/>
            <ac:spMk id="5" creationId="{4E79B233-C263-4355-BEE2-6A4CD1ED5B59}"/>
          </ac:spMkLst>
        </pc:spChg>
      </pc:sldChg>
      <pc:sldChg chg="del">
        <pc:chgData name="Niittymies Aleksi" userId="00c1d702-9a1a-46cb-9bcd-5368d837961b" providerId="ADAL" clId="{777E9463-A5D1-4581-A176-232A55A8FD4B}" dt="2023-11-03T15:30:13.151" v="190" actId="47"/>
        <pc:sldMkLst>
          <pc:docMk/>
          <pc:sldMk cId="2293747233" sldId="6519"/>
        </pc:sldMkLst>
      </pc:sldChg>
      <pc:sldChg chg="del">
        <pc:chgData name="Niittymies Aleksi" userId="00c1d702-9a1a-46cb-9bcd-5368d837961b" providerId="ADAL" clId="{777E9463-A5D1-4581-A176-232A55A8FD4B}" dt="2023-11-03T15:30:15.760" v="191" actId="47"/>
        <pc:sldMkLst>
          <pc:docMk/>
          <pc:sldMk cId="2886959941" sldId="6520"/>
        </pc:sldMkLst>
      </pc:sldChg>
      <pc:sldChg chg="ord">
        <pc:chgData name="Niittymies Aleksi" userId="00c1d702-9a1a-46cb-9bcd-5368d837961b" providerId="ADAL" clId="{777E9463-A5D1-4581-A176-232A55A8FD4B}" dt="2023-11-03T15:31:06.174" v="198"/>
        <pc:sldMkLst>
          <pc:docMk/>
          <pc:sldMk cId="4190350582" sldId="6521"/>
        </pc:sldMkLst>
      </pc:sldChg>
      <pc:sldChg chg="ord">
        <pc:chgData name="Niittymies Aleksi" userId="00c1d702-9a1a-46cb-9bcd-5368d837961b" providerId="ADAL" clId="{777E9463-A5D1-4581-A176-232A55A8FD4B}" dt="2023-11-03T15:34:26.182" v="263"/>
        <pc:sldMkLst>
          <pc:docMk/>
          <pc:sldMk cId="821067728" sldId="6523"/>
        </pc:sldMkLst>
      </pc:sldChg>
      <pc:sldChg chg="addSp modSp mod ord">
        <pc:chgData name="Niittymies Aleksi" userId="00c1d702-9a1a-46cb-9bcd-5368d837961b" providerId="ADAL" clId="{777E9463-A5D1-4581-A176-232A55A8FD4B}" dt="2023-11-06T09:54:17.107" v="1974"/>
        <pc:sldMkLst>
          <pc:docMk/>
          <pc:sldMk cId="3499027776" sldId="6526"/>
        </pc:sldMkLst>
        <pc:spChg chg="add mod">
          <ac:chgData name="Niittymies Aleksi" userId="00c1d702-9a1a-46cb-9bcd-5368d837961b" providerId="ADAL" clId="{777E9463-A5D1-4581-A176-232A55A8FD4B}" dt="2023-11-05T19:03:07.631" v="1623" actId="1037"/>
          <ac:spMkLst>
            <pc:docMk/>
            <pc:sldMk cId="3499027776" sldId="6526"/>
            <ac:spMk id="2" creationId="{CE18D152-A48D-4DC1-5A3D-A94C63EF8B42}"/>
          </ac:spMkLst>
        </pc:spChg>
      </pc:sldChg>
      <pc:sldChg chg="modSp add mod">
        <pc:chgData name="Niittymies Aleksi" userId="00c1d702-9a1a-46cb-9bcd-5368d837961b" providerId="ADAL" clId="{777E9463-A5D1-4581-A176-232A55A8FD4B}" dt="2023-11-03T15:25:18.454" v="156" actId="20577"/>
        <pc:sldMkLst>
          <pc:docMk/>
          <pc:sldMk cId="2956272805" sldId="6527"/>
        </pc:sldMkLst>
        <pc:spChg chg="mod">
          <ac:chgData name="Niittymies Aleksi" userId="00c1d702-9a1a-46cb-9bcd-5368d837961b" providerId="ADAL" clId="{777E9463-A5D1-4581-A176-232A55A8FD4B}" dt="2023-11-03T15:25:18.454" v="156" actId="20577"/>
          <ac:spMkLst>
            <pc:docMk/>
            <pc:sldMk cId="2956272805" sldId="6527"/>
            <ac:spMk id="3" creationId="{CF3F630B-0F73-483A-838D-6B23394D1B86}"/>
          </ac:spMkLst>
        </pc:spChg>
      </pc:sldChg>
      <pc:sldChg chg="modSp add mod ord">
        <pc:chgData name="Niittymies Aleksi" userId="00c1d702-9a1a-46cb-9bcd-5368d837961b" providerId="ADAL" clId="{777E9463-A5D1-4581-A176-232A55A8FD4B}" dt="2023-11-05T19:08:26.594" v="1662" actId="20577"/>
        <pc:sldMkLst>
          <pc:docMk/>
          <pc:sldMk cId="864312609" sldId="6528"/>
        </pc:sldMkLst>
        <pc:spChg chg="mod">
          <ac:chgData name="Niittymies Aleksi" userId="00c1d702-9a1a-46cb-9bcd-5368d837961b" providerId="ADAL" clId="{777E9463-A5D1-4581-A176-232A55A8FD4B}" dt="2023-11-05T19:08:26.594" v="1662" actId="20577"/>
          <ac:spMkLst>
            <pc:docMk/>
            <pc:sldMk cId="864312609" sldId="6528"/>
            <ac:spMk id="2" creationId="{7188B95F-4310-569A-83C9-3FA1F947D1D9}"/>
          </ac:spMkLst>
        </pc:spChg>
        <pc:spChg chg="mod">
          <ac:chgData name="Niittymies Aleksi" userId="00c1d702-9a1a-46cb-9bcd-5368d837961b" providerId="ADAL" clId="{777E9463-A5D1-4581-A176-232A55A8FD4B}" dt="2023-11-03T15:33:21.004" v="256" actId="20577"/>
          <ac:spMkLst>
            <pc:docMk/>
            <pc:sldMk cId="864312609" sldId="6528"/>
            <ac:spMk id="5" creationId="{4E79B233-C263-4355-BEE2-6A4CD1ED5B59}"/>
          </ac:spMkLst>
        </pc:spChg>
      </pc:sldChg>
      <pc:sldChg chg="modSp add mod ord">
        <pc:chgData name="Niittymies Aleksi" userId="00c1d702-9a1a-46cb-9bcd-5368d837961b" providerId="ADAL" clId="{777E9463-A5D1-4581-A176-232A55A8FD4B}" dt="2023-11-05T11:39:32.290" v="1450" actId="20577"/>
        <pc:sldMkLst>
          <pc:docMk/>
          <pc:sldMk cId="974837380" sldId="6529"/>
        </pc:sldMkLst>
        <pc:spChg chg="mod">
          <ac:chgData name="Niittymies Aleksi" userId="00c1d702-9a1a-46cb-9bcd-5368d837961b" providerId="ADAL" clId="{777E9463-A5D1-4581-A176-232A55A8FD4B}" dt="2023-11-05T11:39:32.290" v="1450" actId="20577"/>
          <ac:spMkLst>
            <pc:docMk/>
            <pc:sldMk cId="974837380" sldId="6529"/>
            <ac:spMk id="2" creationId="{7188B95F-4310-569A-83C9-3FA1F947D1D9}"/>
          </ac:spMkLst>
        </pc:spChg>
        <pc:spChg chg="mod">
          <ac:chgData name="Niittymies Aleksi" userId="00c1d702-9a1a-46cb-9bcd-5368d837961b" providerId="ADAL" clId="{777E9463-A5D1-4581-A176-232A55A8FD4B}" dt="2023-11-03T16:39:58.106" v="1186" actId="313"/>
          <ac:spMkLst>
            <pc:docMk/>
            <pc:sldMk cId="974837380" sldId="6529"/>
            <ac:spMk id="5" creationId="{4E79B233-C263-4355-BEE2-6A4CD1ED5B59}"/>
          </ac:spMkLst>
        </pc:spChg>
      </pc:sldChg>
      <pc:sldChg chg="add del ord">
        <pc:chgData name="Niittymies Aleksi" userId="00c1d702-9a1a-46cb-9bcd-5368d837961b" providerId="ADAL" clId="{777E9463-A5D1-4581-A176-232A55A8FD4B}" dt="2023-11-06T09:54:19.312" v="1975" actId="47"/>
        <pc:sldMkLst>
          <pc:docMk/>
          <pc:sldMk cId="626119251" sldId="6530"/>
        </pc:sldMkLst>
      </pc:sldChg>
      <pc:sldChg chg="modSp add mod ord">
        <pc:chgData name="Niittymies Aleksi" userId="00c1d702-9a1a-46cb-9bcd-5368d837961b" providerId="ADAL" clId="{777E9463-A5D1-4581-A176-232A55A8FD4B}" dt="2023-11-03T15:42:58.025" v="302"/>
        <pc:sldMkLst>
          <pc:docMk/>
          <pc:sldMk cId="3377242872" sldId="6531"/>
        </pc:sldMkLst>
        <pc:spChg chg="mod">
          <ac:chgData name="Niittymies Aleksi" userId="00c1d702-9a1a-46cb-9bcd-5368d837961b" providerId="ADAL" clId="{777E9463-A5D1-4581-A176-232A55A8FD4B}" dt="2023-11-03T15:42:29.433" v="300" actId="20577"/>
          <ac:spMkLst>
            <pc:docMk/>
            <pc:sldMk cId="3377242872" sldId="6531"/>
            <ac:spMk id="2" creationId="{7188B95F-4310-569A-83C9-3FA1F947D1D9}"/>
          </ac:spMkLst>
        </pc:spChg>
        <pc:spChg chg="mod">
          <ac:chgData name="Niittymies Aleksi" userId="00c1d702-9a1a-46cb-9bcd-5368d837961b" providerId="ADAL" clId="{777E9463-A5D1-4581-A176-232A55A8FD4B}" dt="2023-11-03T15:41:52.056" v="277" actId="20577"/>
          <ac:spMkLst>
            <pc:docMk/>
            <pc:sldMk cId="3377242872" sldId="6531"/>
            <ac:spMk id="5" creationId="{4E79B233-C263-4355-BEE2-6A4CD1ED5B59}"/>
          </ac:spMkLst>
        </pc:spChg>
      </pc:sldChg>
      <pc:sldChg chg="modSp add del mod ord">
        <pc:chgData name="Niittymies Aleksi" userId="00c1d702-9a1a-46cb-9bcd-5368d837961b" providerId="ADAL" clId="{777E9463-A5D1-4581-A176-232A55A8FD4B}" dt="2023-11-03T16:06:34.566" v="442" actId="47"/>
        <pc:sldMkLst>
          <pc:docMk/>
          <pc:sldMk cId="3386708103" sldId="6532"/>
        </pc:sldMkLst>
        <pc:spChg chg="mod">
          <ac:chgData name="Niittymies Aleksi" userId="00c1d702-9a1a-46cb-9bcd-5368d837961b" providerId="ADAL" clId="{777E9463-A5D1-4581-A176-232A55A8FD4B}" dt="2023-11-03T15:45:55.795" v="316" actId="20577"/>
          <ac:spMkLst>
            <pc:docMk/>
            <pc:sldMk cId="3386708103" sldId="6532"/>
            <ac:spMk id="2" creationId="{409DEB83-2527-4B0B-9A61-3B2F1FDF0E89}"/>
          </ac:spMkLst>
        </pc:spChg>
      </pc:sldChg>
      <pc:sldChg chg="modSp add del mod">
        <pc:chgData name="Niittymies Aleksi" userId="00c1d702-9a1a-46cb-9bcd-5368d837961b" providerId="ADAL" clId="{777E9463-A5D1-4581-A176-232A55A8FD4B}" dt="2023-11-03T16:24:09.553" v="887" actId="47"/>
        <pc:sldMkLst>
          <pc:docMk/>
          <pc:sldMk cId="4074907076" sldId="6533"/>
        </pc:sldMkLst>
        <pc:spChg chg="mod">
          <ac:chgData name="Niittymies Aleksi" userId="00c1d702-9a1a-46cb-9bcd-5368d837961b" providerId="ADAL" clId="{777E9463-A5D1-4581-A176-232A55A8FD4B}" dt="2023-11-03T15:45:50.454" v="311" actId="20577"/>
          <ac:spMkLst>
            <pc:docMk/>
            <pc:sldMk cId="4074907076" sldId="6533"/>
            <ac:spMk id="2" creationId="{409DEB83-2527-4B0B-9A61-3B2F1FDF0E89}"/>
          </ac:spMkLst>
        </pc:spChg>
      </pc:sldChg>
      <pc:sldChg chg="modSp add mod ord">
        <pc:chgData name="Niittymies Aleksi" userId="00c1d702-9a1a-46cb-9bcd-5368d837961b" providerId="ADAL" clId="{777E9463-A5D1-4581-A176-232A55A8FD4B}" dt="2023-11-05T19:15:40.635" v="1782" actId="20577"/>
        <pc:sldMkLst>
          <pc:docMk/>
          <pc:sldMk cId="3872872538" sldId="6534"/>
        </pc:sldMkLst>
        <pc:spChg chg="mod">
          <ac:chgData name="Niittymies Aleksi" userId="00c1d702-9a1a-46cb-9bcd-5368d837961b" providerId="ADAL" clId="{777E9463-A5D1-4581-A176-232A55A8FD4B}" dt="2023-11-05T19:15:40.635" v="1782" actId="20577"/>
          <ac:spMkLst>
            <pc:docMk/>
            <pc:sldMk cId="3872872538" sldId="6534"/>
            <ac:spMk id="2" creationId="{7188B95F-4310-569A-83C9-3FA1F947D1D9}"/>
          </ac:spMkLst>
        </pc:spChg>
        <pc:spChg chg="mod">
          <ac:chgData name="Niittymies Aleksi" userId="00c1d702-9a1a-46cb-9bcd-5368d837961b" providerId="ADAL" clId="{777E9463-A5D1-4581-A176-232A55A8FD4B}" dt="2023-11-03T16:08:06.530" v="459" actId="20577"/>
          <ac:spMkLst>
            <pc:docMk/>
            <pc:sldMk cId="3872872538" sldId="6534"/>
            <ac:spMk id="5" creationId="{4E79B233-C263-4355-BEE2-6A4CD1ED5B59}"/>
          </ac:spMkLst>
        </pc:spChg>
      </pc:sldChg>
      <pc:sldChg chg="modSp add mod ord">
        <pc:chgData name="Niittymies Aleksi" userId="00c1d702-9a1a-46cb-9bcd-5368d837961b" providerId="ADAL" clId="{777E9463-A5D1-4581-A176-232A55A8FD4B}" dt="2023-11-05T19:35:51.999" v="1865" actId="20577"/>
        <pc:sldMkLst>
          <pc:docMk/>
          <pc:sldMk cId="662764028" sldId="6535"/>
        </pc:sldMkLst>
        <pc:spChg chg="mod">
          <ac:chgData name="Niittymies Aleksi" userId="00c1d702-9a1a-46cb-9bcd-5368d837961b" providerId="ADAL" clId="{777E9463-A5D1-4581-A176-232A55A8FD4B}" dt="2023-11-05T19:35:51.999" v="1865" actId="20577"/>
          <ac:spMkLst>
            <pc:docMk/>
            <pc:sldMk cId="662764028" sldId="6535"/>
            <ac:spMk id="2" creationId="{7188B95F-4310-569A-83C9-3FA1F947D1D9}"/>
          </ac:spMkLst>
        </pc:spChg>
        <pc:spChg chg="mod">
          <ac:chgData name="Niittymies Aleksi" userId="00c1d702-9a1a-46cb-9bcd-5368d837961b" providerId="ADAL" clId="{777E9463-A5D1-4581-A176-232A55A8FD4B}" dt="2023-11-03T15:52:57.024" v="360" actId="20577"/>
          <ac:spMkLst>
            <pc:docMk/>
            <pc:sldMk cId="662764028" sldId="6535"/>
            <ac:spMk id="5" creationId="{4E79B233-C263-4355-BEE2-6A4CD1ED5B59}"/>
          </ac:spMkLst>
        </pc:spChg>
      </pc:sldChg>
      <pc:sldChg chg="addSp modSp add mod ord">
        <pc:chgData name="Niittymies Aleksi" userId="00c1d702-9a1a-46cb-9bcd-5368d837961b" providerId="ADAL" clId="{777E9463-A5D1-4581-A176-232A55A8FD4B}" dt="2023-11-05T10:30:40.779" v="1267" actId="20577"/>
        <pc:sldMkLst>
          <pc:docMk/>
          <pc:sldMk cId="2639510589" sldId="6536"/>
        </pc:sldMkLst>
        <pc:spChg chg="mod">
          <ac:chgData name="Niittymies Aleksi" userId="00c1d702-9a1a-46cb-9bcd-5368d837961b" providerId="ADAL" clId="{777E9463-A5D1-4581-A176-232A55A8FD4B}" dt="2023-11-05T10:30:40.779" v="1267" actId="20577"/>
          <ac:spMkLst>
            <pc:docMk/>
            <pc:sldMk cId="2639510589" sldId="6536"/>
            <ac:spMk id="2" creationId="{7188B95F-4310-569A-83C9-3FA1F947D1D9}"/>
          </ac:spMkLst>
        </pc:spChg>
        <pc:spChg chg="mod">
          <ac:chgData name="Niittymies Aleksi" userId="00c1d702-9a1a-46cb-9bcd-5368d837961b" providerId="ADAL" clId="{777E9463-A5D1-4581-A176-232A55A8FD4B}" dt="2023-11-03T15:55:36.304" v="379" actId="20577"/>
          <ac:spMkLst>
            <pc:docMk/>
            <pc:sldMk cId="2639510589" sldId="6536"/>
            <ac:spMk id="5" creationId="{4E79B233-C263-4355-BEE2-6A4CD1ED5B59}"/>
          </ac:spMkLst>
        </pc:spChg>
        <pc:picChg chg="add mod">
          <ac:chgData name="Niittymies Aleksi" userId="00c1d702-9a1a-46cb-9bcd-5368d837961b" providerId="ADAL" clId="{777E9463-A5D1-4581-A176-232A55A8FD4B}" dt="2023-11-03T15:58:06.800" v="388" actId="1076"/>
          <ac:picMkLst>
            <pc:docMk/>
            <pc:sldMk cId="2639510589" sldId="6536"/>
            <ac:picMk id="3" creationId="{ADC39B82-916F-04D3-0834-495F91E1C993}"/>
          </ac:picMkLst>
        </pc:picChg>
      </pc:sldChg>
      <pc:sldChg chg="addSp delSp modSp new mod setBg">
        <pc:chgData name="Niittymies Aleksi" userId="00c1d702-9a1a-46cb-9bcd-5368d837961b" providerId="ADAL" clId="{777E9463-A5D1-4581-A176-232A55A8FD4B}" dt="2023-11-03T16:06:25.538" v="441" actId="1036"/>
        <pc:sldMkLst>
          <pc:docMk/>
          <pc:sldMk cId="3441159763" sldId="6537"/>
        </pc:sldMkLst>
        <pc:spChg chg="mod ord">
          <ac:chgData name="Niittymies Aleksi" userId="00c1d702-9a1a-46cb-9bcd-5368d837961b" providerId="ADAL" clId="{777E9463-A5D1-4581-A176-232A55A8FD4B}" dt="2023-11-03T16:05:56.069" v="427" actId="26606"/>
          <ac:spMkLst>
            <pc:docMk/>
            <pc:sldMk cId="3441159763" sldId="6537"/>
            <ac:spMk id="2" creationId="{5D4F6B4A-10F4-FB39-19F5-03C5A669C2B6}"/>
          </ac:spMkLst>
        </pc:spChg>
        <pc:spChg chg="del">
          <ac:chgData name="Niittymies Aleksi" userId="00c1d702-9a1a-46cb-9bcd-5368d837961b" providerId="ADAL" clId="{777E9463-A5D1-4581-A176-232A55A8FD4B}" dt="2023-11-03T16:05:43.740" v="425" actId="26606"/>
          <ac:spMkLst>
            <pc:docMk/>
            <pc:sldMk cId="3441159763" sldId="6537"/>
            <ac:spMk id="3" creationId="{D6639751-5331-9778-DBD0-35D7AF11C245}"/>
          </ac:spMkLst>
        </pc:spChg>
        <pc:spChg chg="add del">
          <ac:chgData name="Niittymies Aleksi" userId="00c1d702-9a1a-46cb-9bcd-5368d837961b" providerId="ADAL" clId="{777E9463-A5D1-4581-A176-232A55A8FD4B}" dt="2023-11-03T16:05:56.069" v="427" actId="26606"/>
          <ac:spMkLst>
            <pc:docMk/>
            <pc:sldMk cId="3441159763" sldId="6537"/>
            <ac:spMk id="9" creationId="{37C89E4B-3C9F-44B9-8B86-D9E3D112D8EC}"/>
          </ac:spMkLst>
        </pc:spChg>
        <pc:grpChg chg="add">
          <ac:chgData name="Niittymies Aleksi" userId="00c1d702-9a1a-46cb-9bcd-5368d837961b" providerId="ADAL" clId="{777E9463-A5D1-4581-A176-232A55A8FD4B}" dt="2023-11-03T16:05:56.069" v="427" actId="26606"/>
          <ac:grpSpMkLst>
            <pc:docMk/>
            <pc:sldMk cId="3441159763" sldId="6537"/>
            <ac:grpSpMk id="18" creationId="{17F72E41-D8D7-F589-0125-D336DE2AF8BC}"/>
          </ac:grpSpMkLst>
        </pc:grpChg>
        <pc:picChg chg="add mod">
          <ac:chgData name="Niittymies Aleksi" userId="00c1d702-9a1a-46cb-9bcd-5368d837961b" providerId="ADAL" clId="{777E9463-A5D1-4581-A176-232A55A8FD4B}" dt="2023-11-03T16:06:25.538" v="441" actId="1036"/>
          <ac:picMkLst>
            <pc:docMk/>
            <pc:sldMk cId="3441159763" sldId="6537"/>
            <ac:picMk id="4" creationId="{8D1CA875-06F5-32FB-74E2-17E774A2A0DB}"/>
          </ac:picMkLst>
        </pc:picChg>
        <pc:cxnChg chg="add del">
          <ac:chgData name="Niittymies Aleksi" userId="00c1d702-9a1a-46cb-9bcd-5368d837961b" providerId="ADAL" clId="{777E9463-A5D1-4581-A176-232A55A8FD4B}" dt="2023-11-03T16:05:56.069" v="427" actId="26606"/>
          <ac:cxnSpMkLst>
            <pc:docMk/>
            <pc:sldMk cId="3441159763" sldId="6537"/>
            <ac:cxnSpMk id="11" creationId="{AA2EAA10-076F-46BD-8F0F-B9A2FB77A85C}"/>
          </ac:cxnSpMkLst>
        </pc:cxnChg>
        <pc:cxnChg chg="add del">
          <ac:chgData name="Niittymies Aleksi" userId="00c1d702-9a1a-46cb-9bcd-5368d837961b" providerId="ADAL" clId="{777E9463-A5D1-4581-A176-232A55A8FD4B}" dt="2023-11-03T16:05:56.069" v="427" actId="26606"/>
          <ac:cxnSpMkLst>
            <pc:docMk/>
            <pc:sldMk cId="3441159763" sldId="6537"/>
            <ac:cxnSpMk id="13" creationId="{D891E407-403B-4764-86C9-33A56D3BCAA3}"/>
          </ac:cxnSpMkLst>
        </pc:cxnChg>
      </pc:sldChg>
      <pc:sldChg chg="addSp modSp add mod">
        <pc:chgData name="Niittymies Aleksi" userId="00c1d702-9a1a-46cb-9bcd-5368d837961b" providerId="ADAL" clId="{777E9463-A5D1-4581-A176-232A55A8FD4B}" dt="2023-11-05T19:24:40.374" v="1858" actId="1076"/>
        <pc:sldMkLst>
          <pc:docMk/>
          <pc:sldMk cId="3837377118" sldId="6538"/>
        </pc:sldMkLst>
        <pc:spChg chg="mod">
          <ac:chgData name="Niittymies Aleksi" userId="00c1d702-9a1a-46cb-9bcd-5368d837961b" providerId="ADAL" clId="{777E9463-A5D1-4581-A176-232A55A8FD4B}" dt="2023-11-05T19:22:49.577" v="1854" actId="404"/>
          <ac:spMkLst>
            <pc:docMk/>
            <pc:sldMk cId="3837377118" sldId="6538"/>
            <ac:spMk id="2" creationId="{7188B95F-4310-569A-83C9-3FA1F947D1D9}"/>
          </ac:spMkLst>
        </pc:spChg>
        <pc:picChg chg="add mod">
          <ac:chgData name="Niittymies Aleksi" userId="00c1d702-9a1a-46cb-9bcd-5368d837961b" providerId="ADAL" clId="{777E9463-A5D1-4581-A176-232A55A8FD4B}" dt="2023-11-05T19:24:40.374" v="1858" actId="1076"/>
          <ac:picMkLst>
            <pc:docMk/>
            <pc:sldMk cId="3837377118" sldId="6538"/>
            <ac:picMk id="3" creationId="{A3CB6154-6E62-73E6-E676-BF591883DED1}"/>
          </ac:picMkLst>
        </pc:picChg>
      </pc:sldChg>
      <pc:sldChg chg="addSp delSp modSp new mod setBg">
        <pc:chgData name="Niittymies Aleksi" userId="00c1d702-9a1a-46cb-9bcd-5368d837961b" providerId="ADAL" clId="{777E9463-A5D1-4581-A176-232A55A8FD4B}" dt="2023-11-05T11:54:51.472" v="1555" actId="20577"/>
        <pc:sldMkLst>
          <pc:docMk/>
          <pc:sldMk cId="1617255748" sldId="6539"/>
        </pc:sldMkLst>
        <pc:spChg chg="mod ord">
          <ac:chgData name="Niittymies Aleksi" userId="00c1d702-9a1a-46cb-9bcd-5368d837961b" providerId="ADAL" clId="{777E9463-A5D1-4581-A176-232A55A8FD4B}" dt="2023-11-05T11:54:51.472" v="1555" actId="20577"/>
          <ac:spMkLst>
            <pc:docMk/>
            <pc:sldMk cId="1617255748" sldId="6539"/>
            <ac:spMk id="2" creationId="{EF1B453D-C787-F812-F2E2-831393BCD34C}"/>
          </ac:spMkLst>
        </pc:spChg>
        <pc:spChg chg="del">
          <ac:chgData name="Niittymies Aleksi" userId="00c1d702-9a1a-46cb-9bcd-5368d837961b" providerId="ADAL" clId="{777E9463-A5D1-4581-A176-232A55A8FD4B}" dt="2023-11-03T16:14:49.930" v="758" actId="478"/>
          <ac:spMkLst>
            <pc:docMk/>
            <pc:sldMk cId="1617255748" sldId="6539"/>
            <ac:spMk id="3" creationId="{F46E37B5-FB6D-638C-6E89-B8DD6CB9E5E7}"/>
          </ac:spMkLst>
        </pc:spChg>
        <pc:spChg chg="add">
          <ac:chgData name="Niittymies Aleksi" userId="00c1d702-9a1a-46cb-9bcd-5368d837961b" providerId="ADAL" clId="{777E9463-A5D1-4581-A176-232A55A8FD4B}" dt="2023-11-03T16:17:31.897" v="851" actId="26606"/>
          <ac:spMkLst>
            <pc:docMk/>
            <pc:sldMk cId="1617255748" sldId="6539"/>
            <ac:spMk id="9" creationId="{C1DD1A8A-57D5-4A81-AD04-532B043C5611}"/>
          </ac:spMkLst>
        </pc:spChg>
        <pc:spChg chg="add">
          <ac:chgData name="Niittymies Aleksi" userId="00c1d702-9a1a-46cb-9bcd-5368d837961b" providerId="ADAL" clId="{777E9463-A5D1-4581-A176-232A55A8FD4B}" dt="2023-11-03T16:17:31.897" v="851" actId="26606"/>
          <ac:spMkLst>
            <pc:docMk/>
            <pc:sldMk cId="1617255748" sldId="6539"/>
            <ac:spMk id="11" creationId="{007891EC-4501-44ED-A8C8-B11B6DB767AB}"/>
          </ac:spMkLst>
        </pc:spChg>
        <pc:picChg chg="add mod">
          <ac:chgData name="Niittymies Aleksi" userId="00c1d702-9a1a-46cb-9bcd-5368d837961b" providerId="ADAL" clId="{777E9463-A5D1-4581-A176-232A55A8FD4B}" dt="2023-11-03T16:17:31.897" v="851" actId="26606"/>
          <ac:picMkLst>
            <pc:docMk/>
            <pc:sldMk cId="1617255748" sldId="6539"/>
            <ac:picMk id="4" creationId="{5F6367C5-9F91-9A99-48BC-2A64687B60E2}"/>
          </ac:picMkLst>
        </pc:picChg>
      </pc:sldChg>
      <pc:sldChg chg="addSp delSp modSp new mod setBg addAnim delAnim">
        <pc:chgData name="Niittymies Aleksi" userId="00c1d702-9a1a-46cb-9bcd-5368d837961b" providerId="ADAL" clId="{777E9463-A5D1-4581-A176-232A55A8FD4B}" dt="2023-11-05T11:31:46.169" v="1414" actId="26606"/>
        <pc:sldMkLst>
          <pc:docMk/>
          <pc:sldMk cId="432294595" sldId="6540"/>
        </pc:sldMkLst>
        <pc:spChg chg="mod ord">
          <ac:chgData name="Niittymies Aleksi" userId="00c1d702-9a1a-46cb-9bcd-5368d837961b" providerId="ADAL" clId="{777E9463-A5D1-4581-A176-232A55A8FD4B}" dt="2023-11-05T11:31:46.169" v="1414" actId="26606"/>
          <ac:spMkLst>
            <pc:docMk/>
            <pc:sldMk cId="432294595" sldId="6540"/>
            <ac:spMk id="2" creationId="{D9BF27C3-D57E-1A97-3592-9D3E9111768F}"/>
          </ac:spMkLst>
        </pc:spChg>
        <pc:spChg chg="del mod">
          <ac:chgData name="Niittymies Aleksi" userId="00c1d702-9a1a-46cb-9bcd-5368d837961b" providerId="ADAL" clId="{777E9463-A5D1-4581-A176-232A55A8FD4B}" dt="2023-11-03T16:22:26.857" v="876" actId="478"/>
          <ac:spMkLst>
            <pc:docMk/>
            <pc:sldMk cId="432294595" sldId="6540"/>
            <ac:spMk id="3" creationId="{AD608E10-DFE8-EBFF-C4FD-BA24C8E1796A}"/>
          </ac:spMkLst>
        </pc:spChg>
        <pc:spChg chg="add del">
          <ac:chgData name="Niittymies Aleksi" userId="00c1d702-9a1a-46cb-9bcd-5368d837961b" providerId="ADAL" clId="{777E9463-A5D1-4581-A176-232A55A8FD4B}" dt="2023-11-03T16:23:45.131" v="885" actId="26606"/>
          <ac:spMkLst>
            <pc:docMk/>
            <pc:sldMk cId="432294595" sldId="6540"/>
            <ac:spMk id="6" creationId="{C1DD1A8A-57D5-4A81-AD04-532B043C5611}"/>
          </ac:spMkLst>
        </pc:spChg>
        <pc:spChg chg="add del">
          <ac:chgData name="Niittymies Aleksi" userId="00c1d702-9a1a-46cb-9bcd-5368d837961b" providerId="ADAL" clId="{777E9463-A5D1-4581-A176-232A55A8FD4B}" dt="2023-11-03T16:23:45.131" v="885" actId="26606"/>
          <ac:spMkLst>
            <pc:docMk/>
            <pc:sldMk cId="432294595" sldId="6540"/>
            <ac:spMk id="7" creationId="{007891EC-4501-44ED-A8C8-B11B6DB767AB}"/>
          </ac:spMkLst>
        </pc:spChg>
        <pc:spChg chg="add del">
          <ac:chgData name="Niittymies Aleksi" userId="00c1d702-9a1a-46cb-9bcd-5368d837961b" providerId="ADAL" clId="{777E9463-A5D1-4581-A176-232A55A8FD4B}" dt="2023-11-03T16:22:16.873" v="875" actId="26606"/>
          <ac:spMkLst>
            <pc:docMk/>
            <pc:sldMk cId="432294595" sldId="6540"/>
            <ac:spMk id="9" creationId="{C0A1ED06-4733-4020-9C60-81D4D801408D}"/>
          </ac:spMkLst>
        </pc:spChg>
        <pc:spChg chg="add del">
          <ac:chgData name="Niittymies Aleksi" userId="00c1d702-9a1a-46cb-9bcd-5368d837961b" providerId="ADAL" clId="{777E9463-A5D1-4581-A176-232A55A8FD4B}" dt="2023-11-05T11:31:46.169" v="1414" actId="26606"/>
          <ac:spMkLst>
            <pc:docMk/>
            <pc:sldMk cId="432294595" sldId="6540"/>
            <ac:spMk id="10" creationId="{ECC07320-C2CA-4E29-8481-9D9E143C7788}"/>
          </ac:spMkLst>
        </pc:spChg>
        <pc:spChg chg="add del">
          <ac:chgData name="Niittymies Aleksi" userId="00c1d702-9a1a-46cb-9bcd-5368d837961b" providerId="ADAL" clId="{777E9463-A5D1-4581-A176-232A55A8FD4B}" dt="2023-11-03T16:22:16.873" v="875" actId="26606"/>
          <ac:spMkLst>
            <pc:docMk/>
            <pc:sldMk cId="432294595" sldId="6540"/>
            <ac:spMk id="11" creationId="{B0CA3509-3AF9-45FE-93ED-57BB5D5E8E07}"/>
          </ac:spMkLst>
        </pc:spChg>
        <pc:spChg chg="add del">
          <ac:chgData name="Niittymies Aleksi" userId="00c1d702-9a1a-46cb-9bcd-5368d837961b" providerId="ADAL" clId="{777E9463-A5D1-4581-A176-232A55A8FD4B}" dt="2023-11-05T11:31:46.169" v="1414" actId="26606"/>
          <ac:spMkLst>
            <pc:docMk/>
            <pc:sldMk cId="432294595" sldId="6540"/>
            <ac:spMk id="12" creationId="{178FB36B-5BFE-42CA-BC60-1115E0D95EEC}"/>
          </ac:spMkLst>
        </pc:spChg>
        <pc:spChg chg="add">
          <ac:chgData name="Niittymies Aleksi" userId="00c1d702-9a1a-46cb-9bcd-5368d837961b" providerId="ADAL" clId="{777E9463-A5D1-4581-A176-232A55A8FD4B}" dt="2023-11-05T11:31:46.169" v="1414" actId="26606"/>
          <ac:spMkLst>
            <pc:docMk/>
            <pc:sldMk cId="432294595" sldId="6540"/>
            <ac:spMk id="17" creationId="{ECC07320-C2CA-4E29-8481-9D9E143C7788}"/>
          </ac:spMkLst>
        </pc:spChg>
        <pc:spChg chg="add">
          <ac:chgData name="Niittymies Aleksi" userId="00c1d702-9a1a-46cb-9bcd-5368d837961b" providerId="ADAL" clId="{777E9463-A5D1-4581-A176-232A55A8FD4B}" dt="2023-11-05T11:31:46.169" v="1414" actId="26606"/>
          <ac:spMkLst>
            <pc:docMk/>
            <pc:sldMk cId="432294595" sldId="6540"/>
            <ac:spMk id="19" creationId="{178FB36B-5BFE-42CA-BC60-1115E0D95EEC}"/>
          </ac:spMkLst>
        </pc:spChg>
        <pc:picChg chg="add del mod ord">
          <ac:chgData name="Niittymies Aleksi" userId="00c1d702-9a1a-46cb-9bcd-5368d837961b" providerId="ADAL" clId="{777E9463-A5D1-4581-A176-232A55A8FD4B}" dt="2023-11-05T11:31:31.523" v="1411" actId="478"/>
          <ac:picMkLst>
            <pc:docMk/>
            <pc:sldMk cId="432294595" sldId="6540"/>
            <ac:picMk id="4" creationId="{AD23C10D-1662-9E4A-1A15-E634C92A5844}"/>
          </ac:picMkLst>
        </pc:picChg>
        <pc:picChg chg="add mod">
          <ac:chgData name="Niittymies Aleksi" userId="00c1d702-9a1a-46cb-9bcd-5368d837961b" providerId="ADAL" clId="{777E9463-A5D1-4581-A176-232A55A8FD4B}" dt="2023-11-05T11:31:46.169" v="1414" actId="26606"/>
          <ac:picMkLst>
            <pc:docMk/>
            <pc:sldMk cId="432294595" sldId="6540"/>
            <ac:picMk id="5" creationId="{196502EF-C525-FD1A-F164-3C2EDA994660}"/>
          </ac:picMkLst>
        </pc:picChg>
      </pc:sldChg>
      <pc:sldChg chg="addSp delSp modSp new mod">
        <pc:chgData name="Niittymies Aleksi" userId="00c1d702-9a1a-46cb-9bcd-5368d837961b" providerId="ADAL" clId="{777E9463-A5D1-4581-A176-232A55A8FD4B}" dt="2023-11-05T18:51:19.202" v="1572" actId="20577"/>
        <pc:sldMkLst>
          <pc:docMk/>
          <pc:sldMk cId="3948031391" sldId="6541"/>
        </pc:sldMkLst>
        <pc:spChg chg="del">
          <ac:chgData name="Niittymies Aleksi" userId="00c1d702-9a1a-46cb-9bcd-5368d837961b" providerId="ADAL" clId="{777E9463-A5D1-4581-A176-232A55A8FD4B}" dt="2023-11-03T16:32:33.962" v="1161"/>
          <ac:spMkLst>
            <pc:docMk/>
            <pc:sldMk cId="3948031391" sldId="6541"/>
            <ac:spMk id="2" creationId="{E2CDD26F-E349-A245-E3D7-454C1C0ABF79}"/>
          </ac:spMkLst>
        </pc:spChg>
        <pc:spChg chg="mod">
          <ac:chgData name="Niittymies Aleksi" userId="00c1d702-9a1a-46cb-9bcd-5368d837961b" providerId="ADAL" clId="{777E9463-A5D1-4581-A176-232A55A8FD4B}" dt="2023-11-05T18:51:19.202" v="1572" actId="20577"/>
          <ac:spMkLst>
            <pc:docMk/>
            <pc:sldMk cId="3948031391" sldId="6541"/>
            <ac:spMk id="3" creationId="{9C07CEBB-720D-44A0-9650-0895DF3B3DFD}"/>
          </ac:spMkLst>
        </pc:spChg>
        <pc:spChg chg="add del mod">
          <ac:chgData name="Niittymies Aleksi" userId="00c1d702-9a1a-46cb-9bcd-5368d837961b" providerId="ADAL" clId="{777E9463-A5D1-4581-A176-232A55A8FD4B}" dt="2023-11-03T16:32:41.002" v="1162" actId="478"/>
          <ac:spMkLst>
            <pc:docMk/>
            <pc:sldMk cId="3948031391" sldId="6541"/>
            <ac:spMk id="4" creationId="{A9EB5FFD-5359-1981-C89D-6AF85978B365}"/>
          </ac:spMkLst>
        </pc:spChg>
        <pc:spChg chg="add del">
          <ac:chgData name="Niittymies Aleksi" userId="00c1d702-9a1a-46cb-9bcd-5368d837961b" providerId="ADAL" clId="{777E9463-A5D1-4581-A176-232A55A8FD4B}" dt="2023-11-03T16:32:43.275" v="1164" actId="478"/>
          <ac:spMkLst>
            <pc:docMk/>
            <pc:sldMk cId="3948031391" sldId="6541"/>
            <ac:spMk id="5" creationId="{2C25FAE3-5F60-A0EF-EE0E-BA080B5437A5}"/>
          </ac:spMkLst>
        </pc:spChg>
        <pc:picChg chg="add mod">
          <ac:chgData name="Niittymies Aleksi" userId="00c1d702-9a1a-46cb-9bcd-5368d837961b" providerId="ADAL" clId="{777E9463-A5D1-4581-A176-232A55A8FD4B}" dt="2023-11-03T16:32:53.028" v="1166" actId="1076"/>
          <ac:picMkLst>
            <pc:docMk/>
            <pc:sldMk cId="3948031391" sldId="6541"/>
            <ac:picMk id="6" creationId="{3539DA3D-6945-6364-D9F4-7CE6C4D620E5}"/>
          </ac:picMkLst>
        </pc:picChg>
      </pc:sldChg>
      <pc:sldChg chg="new del">
        <pc:chgData name="Niittymies Aleksi" userId="00c1d702-9a1a-46cb-9bcd-5368d837961b" providerId="ADAL" clId="{777E9463-A5D1-4581-A176-232A55A8FD4B}" dt="2023-11-05T11:26:23.784" v="1280" actId="680"/>
        <pc:sldMkLst>
          <pc:docMk/>
          <pc:sldMk cId="714269768" sldId="6542"/>
        </pc:sldMkLst>
      </pc:sldChg>
      <pc:sldChg chg="modSp new del mod ord">
        <pc:chgData name="Niittymies Aleksi" userId="00c1d702-9a1a-46cb-9bcd-5368d837961b" providerId="ADAL" clId="{777E9463-A5D1-4581-A176-232A55A8FD4B}" dt="2023-11-05T12:01:38.917" v="1557" actId="47"/>
        <pc:sldMkLst>
          <pc:docMk/>
          <pc:sldMk cId="3197625596" sldId="6542"/>
        </pc:sldMkLst>
        <pc:spChg chg="mod">
          <ac:chgData name="Niittymies Aleksi" userId="00c1d702-9a1a-46cb-9bcd-5368d837961b" providerId="ADAL" clId="{777E9463-A5D1-4581-A176-232A55A8FD4B}" dt="2023-11-05T11:26:31.468" v="1291" actId="20577"/>
          <ac:spMkLst>
            <pc:docMk/>
            <pc:sldMk cId="3197625596" sldId="6542"/>
            <ac:spMk id="2" creationId="{E7011181-3EA1-DC67-42BF-67BF2ECFFEA0}"/>
          </ac:spMkLst>
        </pc:spChg>
        <pc:spChg chg="mod">
          <ac:chgData name="Niittymies Aleksi" userId="00c1d702-9a1a-46cb-9bcd-5368d837961b" providerId="ADAL" clId="{777E9463-A5D1-4581-A176-232A55A8FD4B}" dt="2023-11-05T11:40:56.129" v="1504" actId="20577"/>
          <ac:spMkLst>
            <pc:docMk/>
            <pc:sldMk cId="3197625596" sldId="6542"/>
            <ac:spMk id="3" creationId="{D69BCA97-4E1C-099C-EFC3-A05A797F4B7D}"/>
          </ac:spMkLst>
        </pc:spChg>
      </pc:sldChg>
      <pc:sldChg chg="addSp delSp modSp new mod setBg addAnim delAnim">
        <pc:chgData name="Niittymies Aleksi" userId="00c1d702-9a1a-46cb-9bcd-5368d837961b" providerId="ADAL" clId="{777E9463-A5D1-4581-A176-232A55A8FD4B}" dt="2023-11-05T11:45:09.622" v="1548" actId="1076"/>
        <pc:sldMkLst>
          <pc:docMk/>
          <pc:sldMk cId="3284805987" sldId="6543"/>
        </pc:sldMkLst>
        <pc:spChg chg="mod ord">
          <ac:chgData name="Niittymies Aleksi" userId="00c1d702-9a1a-46cb-9bcd-5368d837961b" providerId="ADAL" clId="{777E9463-A5D1-4581-A176-232A55A8FD4B}" dt="2023-11-05T11:45:09.622" v="1548" actId="1076"/>
          <ac:spMkLst>
            <pc:docMk/>
            <pc:sldMk cId="3284805987" sldId="6543"/>
            <ac:spMk id="2" creationId="{6BA097DD-B7AA-FF4D-B039-0EF55629CB0C}"/>
          </ac:spMkLst>
        </pc:spChg>
        <pc:spChg chg="del">
          <ac:chgData name="Niittymies Aleksi" userId="00c1d702-9a1a-46cb-9bcd-5368d837961b" providerId="ADAL" clId="{777E9463-A5D1-4581-A176-232A55A8FD4B}" dt="2023-11-05T11:44:36.282" v="1536" actId="478"/>
          <ac:spMkLst>
            <pc:docMk/>
            <pc:sldMk cId="3284805987" sldId="6543"/>
            <ac:spMk id="3" creationId="{CD337060-6570-1597-9399-B1027F1BD992}"/>
          </ac:spMkLst>
        </pc:spChg>
        <pc:spChg chg="add del">
          <ac:chgData name="Niittymies Aleksi" userId="00c1d702-9a1a-46cb-9bcd-5368d837961b" providerId="ADAL" clId="{777E9463-A5D1-4581-A176-232A55A8FD4B}" dt="2023-11-05T11:44:46.269" v="1539" actId="26606"/>
          <ac:spMkLst>
            <pc:docMk/>
            <pc:sldMk cId="3284805987" sldId="6543"/>
            <ac:spMk id="9" creationId="{ECC07320-C2CA-4E29-8481-9D9E143C7788}"/>
          </ac:spMkLst>
        </pc:spChg>
        <pc:spChg chg="add del">
          <ac:chgData name="Niittymies Aleksi" userId="00c1d702-9a1a-46cb-9bcd-5368d837961b" providerId="ADAL" clId="{777E9463-A5D1-4581-A176-232A55A8FD4B}" dt="2023-11-05T11:44:46.269" v="1539" actId="26606"/>
          <ac:spMkLst>
            <pc:docMk/>
            <pc:sldMk cId="3284805987" sldId="6543"/>
            <ac:spMk id="11" creationId="{178FB36B-5BFE-42CA-BC60-1115E0D95EEC}"/>
          </ac:spMkLst>
        </pc:spChg>
        <pc:spChg chg="add del">
          <ac:chgData name="Niittymies Aleksi" userId="00c1d702-9a1a-46cb-9bcd-5368d837961b" providerId="ADAL" clId="{777E9463-A5D1-4581-A176-232A55A8FD4B}" dt="2023-11-05T11:44:56.580" v="1543" actId="26606"/>
          <ac:spMkLst>
            <pc:docMk/>
            <pc:sldMk cId="3284805987" sldId="6543"/>
            <ac:spMk id="13" creationId="{06DA9DF9-31F7-4056-B42E-878CC92417B8}"/>
          </ac:spMkLst>
        </pc:spChg>
        <pc:picChg chg="add mod">
          <ac:chgData name="Niittymies Aleksi" userId="00c1d702-9a1a-46cb-9bcd-5368d837961b" providerId="ADAL" clId="{777E9463-A5D1-4581-A176-232A55A8FD4B}" dt="2023-11-05T11:44:58.847" v="1544" actId="1076"/>
          <ac:picMkLst>
            <pc:docMk/>
            <pc:sldMk cId="3284805987" sldId="6543"/>
            <ac:picMk id="4" creationId="{8CF58EDC-D68F-92E3-437B-12CA6380EC2E}"/>
          </ac:picMkLst>
        </pc:picChg>
      </pc:sldChg>
      <pc:sldChg chg="addSp delSp modSp add mod">
        <pc:chgData name="Niittymies Aleksi" userId="00c1d702-9a1a-46cb-9bcd-5368d837961b" providerId="ADAL" clId="{777E9463-A5D1-4581-A176-232A55A8FD4B}" dt="2023-11-06T09:53:36.760" v="1972" actId="20577"/>
        <pc:sldMkLst>
          <pc:docMk/>
          <pc:sldMk cId="1234379086" sldId="6544"/>
        </pc:sldMkLst>
        <pc:spChg chg="add mod ord">
          <ac:chgData name="Niittymies Aleksi" userId="00c1d702-9a1a-46cb-9bcd-5368d837961b" providerId="ADAL" clId="{777E9463-A5D1-4581-A176-232A55A8FD4B}" dt="2023-11-06T09:51:27.813" v="1897" actId="167"/>
          <ac:spMkLst>
            <pc:docMk/>
            <pc:sldMk cId="1234379086" sldId="6544"/>
            <ac:spMk id="3" creationId="{5FE1037E-A25C-2619-1294-C5071D429C6B}"/>
          </ac:spMkLst>
        </pc:spChg>
        <pc:spChg chg="del">
          <ac:chgData name="Niittymies Aleksi" userId="00c1d702-9a1a-46cb-9bcd-5368d837961b" providerId="ADAL" clId="{777E9463-A5D1-4581-A176-232A55A8FD4B}" dt="2023-11-06T09:50:45.995" v="1889" actId="478"/>
          <ac:spMkLst>
            <pc:docMk/>
            <pc:sldMk cId="1234379086" sldId="6544"/>
            <ac:spMk id="19" creationId="{A429CCA9-84D9-2813-1F95-1C611808DE05}"/>
          </ac:spMkLst>
        </pc:spChg>
        <pc:spChg chg="del">
          <ac:chgData name="Niittymies Aleksi" userId="00c1d702-9a1a-46cb-9bcd-5368d837961b" providerId="ADAL" clId="{777E9463-A5D1-4581-A176-232A55A8FD4B}" dt="2023-11-06T09:50:47.540" v="1890" actId="478"/>
          <ac:spMkLst>
            <pc:docMk/>
            <pc:sldMk cId="1234379086" sldId="6544"/>
            <ac:spMk id="20" creationId="{1DA9A5BA-E0B6-E7A5-9EB1-D5618C09A117}"/>
          </ac:spMkLst>
        </pc:spChg>
        <pc:spChg chg="add mod ord">
          <ac:chgData name="Niittymies Aleksi" userId="00c1d702-9a1a-46cb-9bcd-5368d837961b" providerId="ADAL" clId="{777E9463-A5D1-4581-A176-232A55A8FD4B}" dt="2023-11-06T09:51:25.012" v="1896" actId="167"/>
          <ac:spMkLst>
            <pc:docMk/>
            <pc:sldMk cId="1234379086" sldId="6544"/>
            <ac:spMk id="29" creationId="{F4469FBE-59FD-701A-9A8E-EC3ED0215336}"/>
          </ac:spMkLst>
        </pc:spChg>
        <pc:spChg chg="add mod">
          <ac:chgData name="Niittymies Aleksi" userId="00c1d702-9a1a-46cb-9bcd-5368d837961b" providerId="ADAL" clId="{777E9463-A5D1-4581-A176-232A55A8FD4B}" dt="2023-11-06T09:53:36.760" v="1972" actId="20577"/>
          <ac:spMkLst>
            <pc:docMk/>
            <pc:sldMk cId="1234379086" sldId="6544"/>
            <ac:spMk id="30" creationId="{2D12B95E-18BF-57E9-61D9-F4839D414CD1}"/>
          </ac:spMkLst>
        </pc:spChg>
        <pc:spChg chg="add mod">
          <ac:chgData name="Niittymies Aleksi" userId="00c1d702-9a1a-46cb-9bcd-5368d837961b" providerId="ADAL" clId="{777E9463-A5D1-4581-A176-232A55A8FD4B}" dt="2023-11-06T09:53:27.280" v="1961" actId="1076"/>
          <ac:spMkLst>
            <pc:docMk/>
            <pc:sldMk cId="1234379086" sldId="6544"/>
            <ac:spMk id="31" creationId="{9203B274-95FF-5828-7F02-2357C6FF6E65}"/>
          </ac:spMkLst>
        </pc:spChg>
      </pc:sldChg>
      <pc:sldChg chg="add ord">
        <pc:chgData name="Niittymies Aleksi" userId="00c1d702-9a1a-46cb-9bcd-5368d837961b" providerId="ADAL" clId="{777E9463-A5D1-4581-A176-232A55A8FD4B}" dt="2023-11-06T10:14:22.797" v="1978"/>
        <pc:sldMkLst>
          <pc:docMk/>
          <pc:sldMk cId="607334413" sldId="6545"/>
        </pc:sldMkLst>
      </pc:sldChg>
    </pc:docChg>
  </pc:docChgLst>
  <pc:docChgLst>
    <pc:chgData name="Niittymies Aleksi" userId="00c1d702-9a1a-46cb-9bcd-5368d837961b" providerId="ADAL" clId="{A41CC034-EC84-4F05-A9F8-9D0A4747319C}"/>
    <pc:docChg chg="undo redo custSel addSld delSld modSld sldOrd delMainMaster">
      <pc:chgData name="Niittymies Aleksi" userId="00c1d702-9a1a-46cb-9bcd-5368d837961b" providerId="ADAL" clId="{A41CC034-EC84-4F05-A9F8-9D0A4747319C}" dt="2023-10-24T11:33:50.835" v="3662" actId="14100"/>
      <pc:docMkLst>
        <pc:docMk/>
      </pc:docMkLst>
      <pc:sldChg chg="modSp mod">
        <pc:chgData name="Niittymies Aleksi" userId="00c1d702-9a1a-46cb-9bcd-5368d837961b" providerId="ADAL" clId="{A41CC034-EC84-4F05-A9F8-9D0A4747319C}" dt="2023-10-19T12:52:39.480" v="53" actId="20577"/>
        <pc:sldMkLst>
          <pc:docMk/>
          <pc:sldMk cId="4022952943" sldId="259"/>
        </pc:sldMkLst>
        <pc:spChg chg="mod">
          <ac:chgData name="Niittymies Aleksi" userId="00c1d702-9a1a-46cb-9bcd-5368d837961b" providerId="ADAL" clId="{A41CC034-EC84-4F05-A9F8-9D0A4747319C}" dt="2023-10-19T12:51:53.920" v="17" actId="20577"/>
          <ac:spMkLst>
            <pc:docMk/>
            <pc:sldMk cId="4022952943" sldId="259"/>
            <ac:spMk id="4" creationId="{65F52422-E70E-4ECC-A8B5-2921A9E81C26}"/>
          </ac:spMkLst>
        </pc:spChg>
        <pc:spChg chg="mod">
          <ac:chgData name="Niittymies Aleksi" userId="00c1d702-9a1a-46cb-9bcd-5368d837961b" providerId="ADAL" clId="{A41CC034-EC84-4F05-A9F8-9D0A4747319C}" dt="2023-10-19T12:52:39.480" v="53" actId="20577"/>
          <ac:spMkLst>
            <pc:docMk/>
            <pc:sldMk cId="4022952943" sldId="259"/>
            <ac:spMk id="5" creationId="{14D9E3F0-1051-411B-B4E8-74150CD2A556}"/>
          </ac:spMkLst>
        </pc:spChg>
      </pc:sldChg>
      <pc:sldChg chg="modSp del mod">
        <pc:chgData name="Niittymies Aleksi" userId="00c1d702-9a1a-46cb-9bcd-5368d837961b" providerId="ADAL" clId="{A41CC034-EC84-4F05-A9F8-9D0A4747319C}" dt="2023-10-19T13:24:38.589" v="369" actId="47"/>
        <pc:sldMkLst>
          <pc:docMk/>
          <pc:sldMk cId="2834860748" sldId="260"/>
        </pc:sldMkLst>
        <pc:spChg chg="mod">
          <ac:chgData name="Niittymies Aleksi" userId="00c1d702-9a1a-46cb-9bcd-5368d837961b" providerId="ADAL" clId="{A41CC034-EC84-4F05-A9F8-9D0A4747319C}" dt="2023-10-19T13:15:32.780" v="230" actId="20577"/>
          <ac:spMkLst>
            <pc:docMk/>
            <pc:sldMk cId="2834860748" sldId="260"/>
            <ac:spMk id="3" creationId="{73F03C89-B8A4-4CBF-A42B-B831615FB90B}"/>
          </ac:spMkLst>
        </pc:spChg>
      </pc:sldChg>
      <pc:sldChg chg="del">
        <pc:chgData name="Niittymies Aleksi" userId="00c1d702-9a1a-46cb-9bcd-5368d837961b" providerId="ADAL" clId="{A41CC034-EC84-4F05-A9F8-9D0A4747319C}" dt="2023-10-20T11:56:59.580" v="1864" actId="47"/>
        <pc:sldMkLst>
          <pc:docMk/>
          <pc:sldMk cId="2555137741" sldId="269"/>
        </pc:sldMkLst>
      </pc:sldChg>
      <pc:sldChg chg="del">
        <pc:chgData name="Niittymies Aleksi" userId="00c1d702-9a1a-46cb-9bcd-5368d837961b" providerId="ADAL" clId="{A41CC034-EC84-4F05-A9F8-9D0A4747319C}" dt="2023-10-20T11:55:15.175" v="1861" actId="47"/>
        <pc:sldMkLst>
          <pc:docMk/>
          <pc:sldMk cId="2758509569" sldId="288"/>
        </pc:sldMkLst>
      </pc:sldChg>
      <pc:sldChg chg="del">
        <pc:chgData name="Niittymies Aleksi" userId="00c1d702-9a1a-46cb-9bcd-5368d837961b" providerId="ADAL" clId="{A41CC034-EC84-4F05-A9F8-9D0A4747319C}" dt="2023-10-19T16:32:08.210" v="1051"/>
        <pc:sldMkLst>
          <pc:docMk/>
          <pc:sldMk cId="3181092800" sldId="300"/>
        </pc:sldMkLst>
      </pc:sldChg>
      <pc:sldChg chg="add ord">
        <pc:chgData name="Niittymies Aleksi" userId="00c1d702-9a1a-46cb-9bcd-5368d837961b" providerId="ADAL" clId="{A41CC034-EC84-4F05-A9F8-9D0A4747319C}" dt="2023-10-19T16:15:21.965" v="658"/>
        <pc:sldMkLst>
          <pc:docMk/>
          <pc:sldMk cId="760655846" sldId="317"/>
        </pc:sldMkLst>
      </pc:sldChg>
      <pc:sldChg chg="delSp add ord setBg delDesignElem">
        <pc:chgData name="Niittymies Aleksi" userId="00c1d702-9a1a-46cb-9bcd-5368d837961b" providerId="ADAL" clId="{A41CC034-EC84-4F05-A9F8-9D0A4747319C}" dt="2023-10-19T16:18:47.276" v="837"/>
        <pc:sldMkLst>
          <pc:docMk/>
          <pc:sldMk cId="3223935476" sldId="333"/>
        </pc:sldMkLst>
        <pc:spChg chg="del">
          <ac:chgData name="Niittymies Aleksi" userId="00c1d702-9a1a-46cb-9bcd-5368d837961b" providerId="ADAL" clId="{A41CC034-EC84-4F05-A9F8-9D0A4747319C}" dt="2023-10-19T16:13:25.238" v="605"/>
          <ac:spMkLst>
            <pc:docMk/>
            <pc:sldMk cId="3223935476" sldId="333"/>
            <ac:spMk id="1031" creationId="{B670DBD5-770C-4383-9F54-5B86E86BD5BB}"/>
          </ac:spMkLst>
        </pc:spChg>
      </pc:sldChg>
      <pc:sldChg chg="modSp mod ord">
        <pc:chgData name="Niittymies Aleksi" userId="00c1d702-9a1a-46cb-9bcd-5368d837961b" providerId="ADAL" clId="{A41CC034-EC84-4F05-A9F8-9D0A4747319C}" dt="2023-10-24T09:59:41.502" v="2599" actId="20577"/>
        <pc:sldMkLst>
          <pc:docMk/>
          <pc:sldMk cId="1440832524" sldId="336"/>
        </pc:sldMkLst>
        <pc:spChg chg="mod">
          <ac:chgData name="Niittymies Aleksi" userId="00c1d702-9a1a-46cb-9bcd-5368d837961b" providerId="ADAL" clId="{A41CC034-EC84-4F05-A9F8-9D0A4747319C}" dt="2023-10-24T09:59:41.502" v="2599" actId="20577"/>
          <ac:spMkLst>
            <pc:docMk/>
            <pc:sldMk cId="1440832524" sldId="336"/>
            <ac:spMk id="2" creationId="{2C35BD01-7C66-4826-8B71-422048450464}"/>
          </ac:spMkLst>
        </pc:spChg>
      </pc:sldChg>
      <pc:sldChg chg="addSp modSp mod ord">
        <pc:chgData name="Niittymies Aleksi" userId="00c1d702-9a1a-46cb-9bcd-5368d837961b" providerId="ADAL" clId="{A41CC034-EC84-4F05-A9F8-9D0A4747319C}" dt="2023-10-24T09:49:31.341" v="2433" actId="1076"/>
        <pc:sldMkLst>
          <pc:docMk/>
          <pc:sldMk cId="3323521813" sldId="342"/>
        </pc:sldMkLst>
        <pc:spChg chg="mod">
          <ac:chgData name="Niittymies Aleksi" userId="00c1d702-9a1a-46cb-9bcd-5368d837961b" providerId="ADAL" clId="{A41CC034-EC84-4F05-A9F8-9D0A4747319C}" dt="2023-10-20T13:22:10.662" v="2020" actId="20577"/>
          <ac:spMkLst>
            <pc:docMk/>
            <pc:sldMk cId="3323521813" sldId="342"/>
            <ac:spMk id="2" creationId="{B653D250-3593-433D-BC0B-4883CB4A6561}"/>
          </ac:spMkLst>
        </pc:spChg>
        <pc:spChg chg="add mod">
          <ac:chgData name="Niittymies Aleksi" userId="00c1d702-9a1a-46cb-9bcd-5368d837961b" providerId="ADAL" clId="{A41CC034-EC84-4F05-A9F8-9D0A4747319C}" dt="2023-10-24T09:49:31.341" v="2433" actId="1076"/>
          <ac:spMkLst>
            <pc:docMk/>
            <pc:sldMk cId="3323521813" sldId="342"/>
            <ac:spMk id="3" creationId="{8AD6F6D3-B529-FEF4-23CF-BB7CAD464E72}"/>
          </ac:spMkLst>
        </pc:spChg>
      </pc:sldChg>
      <pc:sldChg chg="del">
        <pc:chgData name="Niittymies Aleksi" userId="00c1d702-9a1a-46cb-9bcd-5368d837961b" providerId="ADAL" clId="{A41CC034-EC84-4F05-A9F8-9D0A4747319C}" dt="2023-10-20T10:50:23.880" v="1529" actId="47"/>
        <pc:sldMkLst>
          <pc:docMk/>
          <pc:sldMk cId="3505032551" sldId="347"/>
        </pc:sldMkLst>
      </pc:sldChg>
      <pc:sldChg chg="del ord">
        <pc:chgData name="Niittymies Aleksi" userId="00c1d702-9a1a-46cb-9bcd-5368d837961b" providerId="ADAL" clId="{A41CC034-EC84-4F05-A9F8-9D0A4747319C}" dt="2023-10-20T11:57:11.851" v="1867" actId="47"/>
        <pc:sldMkLst>
          <pc:docMk/>
          <pc:sldMk cId="902453314" sldId="405"/>
        </pc:sldMkLst>
      </pc:sldChg>
      <pc:sldChg chg="del">
        <pc:chgData name="Niittymies Aleksi" userId="00c1d702-9a1a-46cb-9bcd-5368d837961b" providerId="ADAL" clId="{A41CC034-EC84-4F05-A9F8-9D0A4747319C}" dt="2023-10-20T11:57:28.364" v="1868" actId="47"/>
        <pc:sldMkLst>
          <pc:docMk/>
          <pc:sldMk cId="2511349021" sldId="406"/>
        </pc:sldMkLst>
      </pc:sldChg>
      <pc:sldChg chg="addSp delSp modSp mod">
        <pc:chgData name="Niittymies Aleksi" userId="00c1d702-9a1a-46cb-9bcd-5368d837961b" providerId="ADAL" clId="{A41CC034-EC84-4F05-A9F8-9D0A4747319C}" dt="2023-10-24T11:09:00.845" v="3342" actId="478"/>
        <pc:sldMkLst>
          <pc:docMk/>
          <pc:sldMk cId="3727756119" sldId="514"/>
        </pc:sldMkLst>
        <pc:spChg chg="mod">
          <ac:chgData name="Niittymies Aleksi" userId="00c1d702-9a1a-46cb-9bcd-5368d837961b" providerId="ADAL" clId="{A41CC034-EC84-4F05-A9F8-9D0A4747319C}" dt="2023-10-24T11:08:53.343" v="3337" actId="14100"/>
          <ac:spMkLst>
            <pc:docMk/>
            <pc:sldMk cId="3727756119" sldId="514"/>
            <ac:spMk id="2" creationId="{6BEFAF0B-2161-4AED-A03C-AFD447DC84E5}"/>
          </ac:spMkLst>
        </pc:spChg>
        <pc:spChg chg="del">
          <ac:chgData name="Niittymies Aleksi" userId="00c1d702-9a1a-46cb-9bcd-5368d837961b" providerId="ADAL" clId="{A41CC034-EC84-4F05-A9F8-9D0A4747319C}" dt="2023-10-24T11:09:00.845" v="3342" actId="478"/>
          <ac:spMkLst>
            <pc:docMk/>
            <pc:sldMk cId="3727756119" sldId="514"/>
            <ac:spMk id="8" creationId="{24F4BE29-EE39-4384-A112-8C0C46BC6914}"/>
          </ac:spMkLst>
        </pc:spChg>
        <pc:picChg chg="add del mod">
          <ac:chgData name="Niittymies Aleksi" userId="00c1d702-9a1a-46cb-9bcd-5368d837961b" providerId="ADAL" clId="{A41CC034-EC84-4F05-A9F8-9D0A4747319C}" dt="2023-10-24T11:08:54.258" v="3338"/>
          <ac:picMkLst>
            <pc:docMk/>
            <pc:sldMk cId="3727756119" sldId="514"/>
            <ac:picMk id="3" creationId="{5A40C6FF-43A5-84A1-7DBF-1BBA70A87CA0}"/>
          </ac:picMkLst>
        </pc:picChg>
        <pc:picChg chg="del">
          <ac:chgData name="Niittymies Aleksi" userId="00c1d702-9a1a-46cb-9bcd-5368d837961b" providerId="ADAL" clId="{A41CC034-EC84-4F05-A9F8-9D0A4747319C}" dt="2023-10-24T11:07:58.108" v="3334" actId="478"/>
          <ac:picMkLst>
            <pc:docMk/>
            <pc:sldMk cId="3727756119" sldId="514"/>
            <ac:picMk id="1026" creationId="{7FA47CF7-0036-4406-A4ED-F91FD618180A}"/>
          </ac:picMkLst>
        </pc:picChg>
        <pc:picChg chg="add mod">
          <ac:chgData name="Niittymies Aleksi" userId="00c1d702-9a1a-46cb-9bcd-5368d837961b" providerId="ADAL" clId="{A41CC034-EC84-4F05-A9F8-9D0A4747319C}" dt="2023-10-24T11:08:58.850" v="3341" actId="1076"/>
          <ac:picMkLst>
            <pc:docMk/>
            <pc:sldMk cId="3727756119" sldId="514"/>
            <ac:picMk id="1028" creationId="{492D90D8-8520-85F7-3D35-A0921FAC62D0}"/>
          </ac:picMkLst>
        </pc:picChg>
      </pc:sldChg>
      <pc:sldChg chg="del">
        <pc:chgData name="Niittymies Aleksi" userId="00c1d702-9a1a-46cb-9bcd-5368d837961b" providerId="ADAL" clId="{A41CC034-EC84-4F05-A9F8-9D0A4747319C}" dt="2023-10-20T11:13:49.395" v="1657" actId="47"/>
        <pc:sldMkLst>
          <pc:docMk/>
          <pc:sldMk cId="3951778657" sldId="576"/>
        </pc:sldMkLst>
      </pc:sldChg>
      <pc:sldChg chg="del">
        <pc:chgData name="Niittymies Aleksi" userId="00c1d702-9a1a-46cb-9bcd-5368d837961b" providerId="ADAL" clId="{A41CC034-EC84-4F05-A9F8-9D0A4747319C}" dt="2023-10-20T11:57:05.977" v="1866" actId="47"/>
        <pc:sldMkLst>
          <pc:docMk/>
          <pc:sldMk cId="3136758042" sldId="578"/>
        </pc:sldMkLst>
      </pc:sldChg>
      <pc:sldChg chg="del">
        <pc:chgData name="Niittymies Aleksi" userId="00c1d702-9a1a-46cb-9bcd-5368d837961b" providerId="ADAL" clId="{A41CC034-EC84-4F05-A9F8-9D0A4747319C}" dt="2023-10-19T13:35:00.837" v="515" actId="47"/>
        <pc:sldMkLst>
          <pc:docMk/>
          <pc:sldMk cId="3420379797" sldId="580"/>
        </pc:sldMkLst>
      </pc:sldChg>
      <pc:sldChg chg="del ord">
        <pc:chgData name="Niittymies Aleksi" userId="00c1d702-9a1a-46cb-9bcd-5368d837961b" providerId="ADAL" clId="{A41CC034-EC84-4F05-A9F8-9D0A4747319C}" dt="2023-10-20T11:58:43.781" v="1873" actId="47"/>
        <pc:sldMkLst>
          <pc:docMk/>
          <pc:sldMk cId="2614433942" sldId="641"/>
        </pc:sldMkLst>
      </pc:sldChg>
      <pc:sldChg chg="del">
        <pc:chgData name="Niittymies Aleksi" userId="00c1d702-9a1a-46cb-9bcd-5368d837961b" providerId="ADAL" clId="{A41CC034-EC84-4F05-A9F8-9D0A4747319C}" dt="2023-10-20T11:56:43.814" v="1862" actId="47"/>
        <pc:sldMkLst>
          <pc:docMk/>
          <pc:sldMk cId="0" sldId="737"/>
        </pc:sldMkLst>
      </pc:sldChg>
      <pc:sldChg chg="add del">
        <pc:chgData name="Niittymies Aleksi" userId="00c1d702-9a1a-46cb-9bcd-5368d837961b" providerId="ADAL" clId="{A41CC034-EC84-4F05-A9F8-9D0A4747319C}" dt="2023-10-20T11:27:38.677" v="1683" actId="47"/>
        <pc:sldMkLst>
          <pc:docMk/>
          <pc:sldMk cId="1558981461" sldId="940"/>
        </pc:sldMkLst>
      </pc:sldChg>
      <pc:sldChg chg="add del">
        <pc:chgData name="Niittymies Aleksi" userId="00c1d702-9a1a-46cb-9bcd-5368d837961b" providerId="ADAL" clId="{A41CC034-EC84-4F05-A9F8-9D0A4747319C}" dt="2023-10-19T13:32:25.527" v="421" actId="47"/>
        <pc:sldMkLst>
          <pc:docMk/>
          <pc:sldMk cId="0" sldId="960"/>
        </pc:sldMkLst>
      </pc:sldChg>
      <pc:sldChg chg="modSp mod ord">
        <pc:chgData name="Niittymies Aleksi" userId="00c1d702-9a1a-46cb-9bcd-5368d837961b" providerId="ADAL" clId="{A41CC034-EC84-4F05-A9F8-9D0A4747319C}" dt="2023-10-20T11:13:43.882" v="1656"/>
        <pc:sldMkLst>
          <pc:docMk/>
          <pc:sldMk cId="3618287028" sldId="979"/>
        </pc:sldMkLst>
        <pc:spChg chg="mod">
          <ac:chgData name="Niittymies Aleksi" userId="00c1d702-9a1a-46cb-9bcd-5368d837961b" providerId="ADAL" clId="{A41CC034-EC84-4F05-A9F8-9D0A4747319C}" dt="2023-10-20T11:04:26.787" v="1633" actId="20577"/>
          <ac:spMkLst>
            <pc:docMk/>
            <pc:sldMk cId="3618287028" sldId="979"/>
            <ac:spMk id="2" creationId="{DAF2281E-D9A1-4D78-88F1-D5A2007BE0D9}"/>
          </ac:spMkLst>
        </pc:spChg>
        <pc:spChg chg="mod">
          <ac:chgData name="Niittymies Aleksi" userId="00c1d702-9a1a-46cb-9bcd-5368d837961b" providerId="ADAL" clId="{A41CC034-EC84-4F05-A9F8-9D0A4747319C}" dt="2023-10-20T11:13:21.386" v="1654" actId="5793"/>
          <ac:spMkLst>
            <pc:docMk/>
            <pc:sldMk cId="3618287028" sldId="979"/>
            <ac:spMk id="3" creationId="{5F669965-2C37-4E46-9B17-C284E9EEEBCD}"/>
          </ac:spMkLst>
        </pc:spChg>
      </pc:sldChg>
      <pc:sldChg chg="del">
        <pc:chgData name="Niittymies Aleksi" userId="00c1d702-9a1a-46cb-9bcd-5368d837961b" providerId="ADAL" clId="{A41CC034-EC84-4F05-A9F8-9D0A4747319C}" dt="2023-10-20T11:56:49.694" v="1863" actId="47"/>
        <pc:sldMkLst>
          <pc:docMk/>
          <pc:sldMk cId="3505721025" sldId="987"/>
        </pc:sldMkLst>
      </pc:sldChg>
      <pc:sldChg chg="add del">
        <pc:chgData name="Niittymies Aleksi" userId="00c1d702-9a1a-46cb-9bcd-5368d837961b" providerId="ADAL" clId="{A41CC034-EC84-4F05-A9F8-9D0A4747319C}" dt="2023-10-19T13:31:28.753" v="419" actId="47"/>
        <pc:sldMkLst>
          <pc:docMk/>
          <pc:sldMk cId="1769202216" sldId="988"/>
        </pc:sldMkLst>
      </pc:sldChg>
      <pc:sldChg chg="add del">
        <pc:chgData name="Niittymies Aleksi" userId="00c1d702-9a1a-46cb-9bcd-5368d837961b" providerId="ADAL" clId="{A41CC034-EC84-4F05-A9F8-9D0A4747319C}" dt="2023-10-19T13:31:14.089" v="417" actId="47"/>
        <pc:sldMkLst>
          <pc:docMk/>
          <pc:sldMk cId="379362770" sldId="994"/>
        </pc:sldMkLst>
      </pc:sldChg>
      <pc:sldChg chg="add del">
        <pc:chgData name="Niittymies Aleksi" userId="00c1d702-9a1a-46cb-9bcd-5368d837961b" providerId="ADAL" clId="{A41CC034-EC84-4F05-A9F8-9D0A4747319C}" dt="2023-10-19T13:31:15.622" v="418" actId="47"/>
        <pc:sldMkLst>
          <pc:docMk/>
          <pc:sldMk cId="3101073822" sldId="995"/>
        </pc:sldMkLst>
      </pc:sldChg>
      <pc:sldChg chg="del">
        <pc:chgData name="Niittymies Aleksi" userId="00c1d702-9a1a-46cb-9bcd-5368d837961b" providerId="ADAL" clId="{A41CC034-EC84-4F05-A9F8-9D0A4747319C}" dt="2023-10-20T11:57:03.827" v="1865" actId="47"/>
        <pc:sldMkLst>
          <pc:docMk/>
          <pc:sldMk cId="2373839418" sldId="1022"/>
        </pc:sldMkLst>
      </pc:sldChg>
      <pc:sldChg chg="ord">
        <pc:chgData name="Niittymies Aleksi" userId="00c1d702-9a1a-46cb-9bcd-5368d837961b" providerId="ADAL" clId="{A41CC034-EC84-4F05-A9F8-9D0A4747319C}" dt="2023-10-24T10:12:15.322" v="2768"/>
        <pc:sldMkLst>
          <pc:docMk/>
          <pc:sldMk cId="2241582236" sldId="1536"/>
        </pc:sldMkLst>
      </pc:sldChg>
      <pc:sldChg chg="modSp del mod">
        <pc:chgData name="Niittymies Aleksi" userId="00c1d702-9a1a-46cb-9bcd-5368d837961b" providerId="ADAL" clId="{A41CC034-EC84-4F05-A9F8-9D0A4747319C}" dt="2023-10-19T13:27:20.562" v="412" actId="47"/>
        <pc:sldMkLst>
          <pc:docMk/>
          <pc:sldMk cId="1859273084" sldId="6453"/>
        </pc:sldMkLst>
        <pc:spChg chg="mod">
          <ac:chgData name="Niittymies Aleksi" userId="00c1d702-9a1a-46cb-9bcd-5368d837961b" providerId="ADAL" clId="{A41CC034-EC84-4F05-A9F8-9D0A4747319C}" dt="2023-10-19T13:25:10.213" v="372"/>
          <ac:spMkLst>
            <pc:docMk/>
            <pc:sldMk cId="1859273084" sldId="6453"/>
            <ac:spMk id="3" creationId="{CF3F630B-0F73-483A-838D-6B23394D1B86}"/>
          </ac:spMkLst>
        </pc:spChg>
      </pc:sldChg>
      <pc:sldChg chg="add del">
        <pc:chgData name="Niittymies Aleksi" userId="00c1d702-9a1a-46cb-9bcd-5368d837961b" providerId="ADAL" clId="{A41CC034-EC84-4F05-A9F8-9D0A4747319C}" dt="2023-10-19T13:27:29.376" v="416" actId="47"/>
        <pc:sldMkLst>
          <pc:docMk/>
          <pc:sldMk cId="1810494324" sldId="6454"/>
        </pc:sldMkLst>
      </pc:sldChg>
      <pc:sldChg chg="modSp add del mod">
        <pc:chgData name="Niittymies Aleksi" userId="00c1d702-9a1a-46cb-9bcd-5368d837961b" providerId="ADAL" clId="{A41CC034-EC84-4F05-A9F8-9D0A4747319C}" dt="2023-10-20T09:40:53.293" v="1381" actId="47"/>
        <pc:sldMkLst>
          <pc:docMk/>
          <pc:sldMk cId="4054584174" sldId="6455"/>
        </pc:sldMkLst>
        <pc:spChg chg="mod">
          <ac:chgData name="Niittymies Aleksi" userId="00c1d702-9a1a-46cb-9bcd-5368d837961b" providerId="ADAL" clId="{A41CC034-EC84-4F05-A9F8-9D0A4747319C}" dt="2023-10-19T13:27:11.274" v="410" actId="20577"/>
          <ac:spMkLst>
            <pc:docMk/>
            <pc:sldMk cId="4054584174" sldId="6455"/>
            <ac:spMk id="3" creationId="{CF3F630B-0F73-483A-838D-6B23394D1B86}"/>
          </ac:spMkLst>
        </pc:spChg>
      </pc:sldChg>
      <pc:sldChg chg="addSp delSp modSp add mod">
        <pc:chgData name="Niittymies Aleksi" userId="00c1d702-9a1a-46cb-9bcd-5368d837961b" providerId="ADAL" clId="{A41CC034-EC84-4F05-A9F8-9D0A4747319C}" dt="2023-10-24T11:18:44.071" v="3402" actId="20577"/>
        <pc:sldMkLst>
          <pc:docMk/>
          <pc:sldMk cId="3312029223" sldId="6464"/>
        </pc:sldMkLst>
        <pc:spChg chg="add mod">
          <ac:chgData name="Niittymies Aleksi" userId="00c1d702-9a1a-46cb-9bcd-5368d837961b" providerId="ADAL" clId="{A41CC034-EC84-4F05-A9F8-9D0A4747319C}" dt="2023-10-24T11:15:54.504" v="3369" actId="20577"/>
          <ac:spMkLst>
            <pc:docMk/>
            <pc:sldMk cId="3312029223" sldId="6464"/>
            <ac:spMk id="14" creationId="{7FDA9236-9F57-D41D-12D7-A21D132B08F4}"/>
          </ac:spMkLst>
        </pc:spChg>
        <pc:spChg chg="add mod">
          <ac:chgData name="Niittymies Aleksi" userId="00c1d702-9a1a-46cb-9bcd-5368d837961b" providerId="ADAL" clId="{A41CC034-EC84-4F05-A9F8-9D0A4747319C}" dt="2023-10-24T11:18:18.778" v="3393" actId="20577"/>
          <ac:spMkLst>
            <pc:docMk/>
            <pc:sldMk cId="3312029223" sldId="6464"/>
            <ac:spMk id="16" creationId="{965848C3-EE9A-DA1F-E9C4-F1F3CC45D75D}"/>
          </ac:spMkLst>
        </pc:spChg>
        <pc:spChg chg="add del mod">
          <ac:chgData name="Niittymies Aleksi" userId="00c1d702-9a1a-46cb-9bcd-5368d837961b" providerId="ADAL" clId="{A41CC034-EC84-4F05-A9F8-9D0A4747319C}" dt="2023-10-24T11:16:59.050" v="3380" actId="478"/>
          <ac:spMkLst>
            <pc:docMk/>
            <pc:sldMk cId="3312029223" sldId="6464"/>
            <ac:spMk id="17" creationId="{6663250D-AF09-727D-BE2E-867DB0D2DFB6}"/>
          </ac:spMkLst>
        </pc:spChg>
        <pc:spChg chg="add mod">
          <ac:chgData name="Niittymies Aleksi" userId="00c1d702-9a1a-46cb-9bcd-5368d837961b" providerId="ADAL" clId="{A41CC034-EC84-4F05-A9F8-9D0A4747319C}" dt="2023-10-24T11:18:44.071" v="3402" actId="20577"/>
          <ac:spMkLst>
            <pc:docMk/>
            <pc:sldMk cId="3312029223" sldId="6464"/>
            <ac:spMk id="18" creationId="{BEC0DE68-B5D2-EC25-66DA-76259BE31351}"/>
          </ac:spMkLst>
        </pc:spChg>
        <pc:cxnChg chg="add del mod">
          <ac:chgData name="Niittymies Aleksi" userId="00c1d702-9a1a-46cb-9bcd-5368d837961b" providerId="ADAL" clId="{A41CC034-EC84-4F05-A9F8-9D0A4747319C}" dt="2023-10-24T11:18:11.912" v="3382" actId="478"/>
          <ac:cxnSpMkLst>
            <pc:docMk/>
            <pc:sldMk cId="3312029223" sldId="6464"/>
            <ac:cxnSpMk id="8" creationId="{78175EB2-5B08-82CC-2F37-7A3F33AA1A7B}"/>
          </ac:cxnSpMkLst>
        </pc:cxnChg>
        <pc:cxnChg chg="add mod">
          <ac:chgData name="Niittymies Aleksi" userId="00c1d702-9a1a-46cb-9bcd-5368d837961b" providerId="ADAL" clId="{A41CC034-EC84-4F05-A9F8-9D0A4747319C}" dt="2023-10-24T11:15:30.215" v="3351" actId="1076"/>
          <ac:cxnSpMkLst>
            <pc:docMk/>
            <pc:sldMk cId="3312029223" sldId="6464"/>
            <ac:cxnSpMk id="11" creationId="{5F101BF5-7111-3521-66C1-B8AA5932142B}"/>
          </ac:cxnSpMkLst>
        </pc:cxnChg>
        <pc:cxnChg chg="add mod">
          <ac:chgData name="Niittymies Aleksi" userId="00c1d702-9a1a-46cb-9bcd-5368d837961b" providerId="ADAL" clId="{A41CC034-EC84-4F05-A9F8-9D0A4747319C}" dt="2023-10-24T11:15:34.831" v="3353" actId="1076"/>
          <ac:cxnSpMkLst>
            <pc:docMk/>
            <pc:sldMk cId="3312029223" sldId="6464"/>
            <ac:cxnSpMk id="12" creationId="{99F9EEB1-E3E4-6D85-74EF-1945540EC0A5}"/>
          </ac:cxnSpMkLst>
        </pc:cxnChg>
        <pc:cxnChg chg="add del mod">
          <ac:chgData name="Niittymies Aleksi" userId="00c1d702-9a1a-46cb-9bcd-5368d837961b" providerId="ADAL" clId="{A41CC034-EC84-4F05-A9F8-9D0A4747319C}" dt="2023-10-24T11:17:02.041" v="3381" actId="478"/>
          <ac:cxnSpMkLst>
            <pc:docMk/>
            <pc:sldMk cId="3312029223" sldId="6464"/>
            <ac:cxnSpMk id="13" creationId="{CCD865D1-4EF6-9A64-F57B-354A06E6AC7B}"/>
          </ac:cxnSpMkLst>
        </pc:cxnChg>
        <pc:cxnChg chg="add del mod">
          <ac:chgData name="Niittymies Aleksi" userId="00c1d702-9a1a-46cb-9bcd-5368d837961b" providerId="ADAL" clId="{A41CC034-EC84-4F05-A9F8-9D0A4747319C}" dt="2023-10-24T11:15:58.127" v="3371"/>
          <ac:cxnSpMkLst>
            <pc:docMk/>
            <pc:sldMk cId="3312029223" sldId="6464"/>
            <ac:cxnSpMk id="15" creationId="{AF1F065C-C517-7CE9-D836-199335E42D4D}"/>
          </ac:cxnSpMkLst>
        </pc:cxnChg>
        <pc:cxnChg chg="add mod">
          <ac:chgData name="Niittymies Aleksi" userId="00c1d702-9a1a-46cb-9bcd-5368d837961b" providerId="ADAL" clId="{A41CC034-EC84-4F05-A9F8-9D0A4747319C}" dt="2023-10-24T11:18:37.070" v="3397" actId="1076"/>
          <ac:cxnSpMkLst>
            <pc:docMk/>
            <pc:sldMk cId="3312029223" sldId="6464"/>
            <ac:cxnSpMk id="19" creationId="{BA60E852-F985-9C04-2364-5FD58D3E63ED}"/>
          </ac:cxnSpMkLst>
        </pc:cxnChg>
      </pc:sldChg>
      <pc:sldChg chg="delSp modSp add mod ord">
        <pc:chgData name="Niittymies Aleksi" userId="00c1d702-9a1a-46cb-9bcd-5368d837961b" providerId="ADAL" clId="{A41CC034-EC84-4F05-A9F8-9D0A4747319C}" dt="2023-10-24T11:33:50.835" v="3662" actId="14100"/>
        <pc:sldMkLst>
          <pc:docMk/>
          <pc:sldMk cId="2538672300" sldId="6465"/>
        </pc:sldMkLst>
        <pc:spChg chg="del">
          <ac:chgData name="Niittymies Aleksi" userId="00c1d702-9a1a-46cb-9bcd-5368d837961b" providerId="ADAL" clId="{A41CC034-EC84-4F05-A9F8-9D0A4747319C}" dt="2023-10-20T11:27:23.510" v="1681" actId="478"/>
          <ac:spMkLst>
            <pc:docMk/>
            <pc:sldMk cId="2538672300" sldId="6465"/>
            <ac:spMk id="4" creationId="{F31A6CDB-1D72-4B61-B018-DC60A248B10B}"/>
          </ac:spMkLst>
        </pc:spChg>
        <pc:spChg chg="mod">
          <ac:chgData name="Niittymies Aleksi" userId="00c1d702-9a1a-46cb-9bcd-5368d837961b" providerId="ADAL" clId="{A41CC034-EC84-4F05-A9F8-9D0A4747319C}" dt="2023-10-24T11:30:45.444" v="3414" actId="20577"/>
          <ac:spMkLst>
            <pc:docMk/>
            <pc:sldMk cId="2538672300" sldId="6465"/>
            <ac:spMk id="5" creationId="{4E79B233-C263-4355-BEE2-6A4CD1ED5B59}"/>
          </ac:spMkLst>
        </pc:spChg>
        <pc:spChg chg="mod">
          <ac:chgData name="Niittymies Aleksi" userId="00c1d702-9a1a-46cb-9bcd-5368d837961b" providerId="ADAL" clId="{A41CC034-EC84-4F05-A9F8-9D0A4747319C}" dt="2023-10-24T11:33:50.835" v="3662" actId="14100"/>
          <ac:spMkLst>
            <pc:docMk/>
            <pc:sldMk cId="2538672300" sldId="6465"/>
            <ac:spMk id="6" creationId="{CA37F30B-0C15-4C20-B203-B86996A28ECF}"/>
          </ac:spMkLst>
        </pc:spChg>
        <pc:spChg chg="del">
          <ac:chgData name="Niittymies Aleksi" userId="00c1d702-9a1a-46cb-9bcd-5368d837961b" providerId="ADAL" clId="{A41CC034-EC84-4F05-A9F8-9D0A4747319C}" dt="2023-10-24T09:52:04.959" v="2434" actId="478"/>
          <ac:spMkLst>
            <pc:docMk/>
            <pc:sldMk cId="2538672300" sldId="6465"/>
            <ac:spMk id="7" creationId="{FAF0FB7D-D11E-4BAC-B5B3-B82EB643D45E}"/>
          </ac:spMkLst>
        </pc:spChg>
        <pc:picChg chg="del">
          <ac:chgData name="Niittymies Aleksi" userId="00c1d702-9a1a-46cb-9bcd-5368d837961b" providerId="ADAL" clId="{A41CC034-EC84-4F05-A9F8-9D0A4747319C}" dt="2023-10-20T11:27:23.510" v="1681" actId="478"/>
          <ac:picMkLst>
            <pc:docMk/>
            <pc:sldMk cId="2538672300" sldId="6465"/>
            <ac:picMk id="3" creationId="{B5A19B2A-FDA4-42C3-9162-B7695D99DA7F}"/>
          </ac:picMkLst>
        </pc:picChg>
      </pc:sldChg>
      <pc:sldChg chg="add del">
        <pc:chgData name="Niittymies Aleksi" userId="00c1d702-9a1a-46cb-9bcd-5368d837961b" providerId="ADAL" clId="{A41CC034-EC84-4F05-A9F8-9D0A4747319C}" dt="2023-10-19T13:31:40.530" v="420" actId="47"/>
        <pc:sldMkLst>
          <pc:docMk/>
          <pc:sldMk cId="672337148" sldId="6466"/>
        </pc:sldMkLst>
      </pc:sldChg>
      <pc:sldChg chg="delSp modSp add mod ord">
        <pc:chgData name="Niittymies Aleksi" userId="00c1d702-9a1a-46cb-9bcd-5368d837961b" providerId="ADAL" clId="{A41CC034-EC84-4F05-A9F8-9D0A4747319C}" dt="2023-10-24T09:57:07.789" v="2546" actId="20577"/>
        <pc:sldMkLst>
          <pc:docMk/>
          <pc:sldMk cId="964648724" sldId="6467"/>
        </pc:sldMkLst>
        <pc:spChg chg="del">
          <ac:chgData name="Niittymies Aleksi" userId="00c1d702-9a1a-46cb-9bcd-5368d837961b" providerId="ADAL" clId="{A41CC034-EC84-4F05-A9F8-9D0A4747319C}" dt="2023-10-20T11:27:25.822" v="1682" actId="478"/>
          <ac:spMkLst>
            <pc:docMk/>
            <pc:sldMk cId="964648724" sldId="6467"/>
            <ac:spMk id="4" creationId="{F31A6CDB-1D72-4B61-B018-DC60A248B10B}"/>
          </ac:spMkLst>
        </pc:spChg>
        <pc:spChg chg="mod">
          <ac:chgData name="Niittymies Aleksi" userId="00c1d702-9a1a-46cb-9bcd-5368d837961b" providerId="ADAL" clId="{A41CC034-EC84-4F05-A9F8-9D0A4747319C}" dt="2023-10-24T09:57:07.789" v="2546" actId="20577"/>
          <ac:spMkLst>
            <pc:docMk/>
            <pc:sldMk cId="964648724" sldId="6467"/>
            <ac:spMk id="6" creationId="{CA37F30B-0C15-4C20-B203-B86996A28ECF}"/>
          </ac:spMkLst>
        </pc:spChg>
        <pc:picChg chg="del">
          <ac:chgData name="Niittymies Aleksi" userId="00c1d702-9a1a-46cb-9bcd-5368d837961b" providerId="ADAL" clId="{A41CC034-EC84-4F05-A9F8-9D0A4747319C}" dt="2023-10-20T11:27:25.822" v="1682" actId="478"/>
          <ac:picMkLst>
            <pc:docMk/>
            <pc:sldMk cId="964648724" sldId="6467"/>
            <ac:picMk id="3" creationId="{B5A19B2A-FDA4-42C3-9162-B7695D99DA7F}"/>
          </ac:picMkLst>
        </pc:picChg>
      </pc:sldChg>
      <pc:sldChg chg="addSp delSp modSp add mod ord">
        <pc:chgData name="Niittymies Aleksi" userId="00c1d702-9a1a-46cb-9bcd-5368d837961b" providerId="ADAL" clId="{A41CC034-EC84-4F05-A9F8-9D0A4747319C}" dt="2023-10-21T17:02:05.526" v="2356"/>
        <pc:sldMkLst>
          <pc:docMk/>
          <pc:sldMk cId="3283465410" sldId="6469"/>
        </pc:sldMkLst>
        <pc:spChg chg="add mod">
          <ac:chgData name="Niittymies Aleksi" userId="00c1d702-9a1a-46cb-9bcd-5368d837961b" providerId="ADAL" clId="{A41CC034-EC84-4F05-A9F8-9D0A4747319C}" dt="2023-10-20T11:17:05.570" v="1663"/>
          <ac:spMkLst>
            <pc:docMk/>
            <pc:sldMk cId="3283465410" sldId="6469"/>
            <ac:spMk id="6" creationId="{C850F37A-B331-6047-0570-4DB49258D7FE}"/>
          </ac:spMkLst>
        </pc:spChg>
        <pc:spChg chg="add mod">
          <ac:chgData name="Niittymies Aleksi" userId="00c1d702-9a1a-46cb-9bcd-5368d837961b" providerId="ADAL" clId="{A41CC034-EC84-4F05-A9F8-9D0A4747319C}" dt="2023-10-20T11:17:21.656" v="1670" actId="20577"/>
          <ac:spMkLst>
            <pc:docMk/>
            <pc:sldMk cId="3283465410" sldId="6469"/>
            <ac:spMk id="7" creationId="{30C2251F-06A2-F1D4-4BF2-C6796175CF10}"/>
          </ac:spMkLst>
        </pc:spChg>
        <pc:spChg chg="add del">
          <ac:chgData name="Niittymies Aleksi" userId="00c1d702-9a1a-46cb-9bcd-5368d837961b" providerId="ADAL" clId="{A41CC034-EC84-4F05-A9F8-9D0A4747319C}" dt="2023-10-20T11:17:17.993" v="1668" actId="22"/>
          <ac:spMkLst>
            <pc:docMk/>
            <pc:sldMk cId="3283465410" sldId="6469"/>
            <ac:spMk id="9" creationId="{98C22BF4-3983-AF43-4A35-370337AF1C29}"/>
          </ac:spMkLst>
        </pc:spChg>
        <pc:spChg chg="add mod">
          <ac:chgData name="Niittymies Aleksi" userId="00c1d702-9a1a-46cb-9bcd-5368d837961b" providerId="ADAL" clId="{A41CC034-EC84-4F05-A9F8-9D0A4747319C}" dt="2023-10-20T11:18:16.572" v="1679" actId="1076"/>
          <ac:spMkLst>
            <pc:docMk/>
            <pc:sldMk cId="3283465410" sldId="6469"/>
            <ac:spMk id="11" creationId="{3FDDAAA6-078F-93EF-66F9-4C761D7EFCB1}"/>
          </ac:spMkLst>
        </pc:spChg>
        <pc:grpChg chg="add mod">
          <ac:chgData name="Niittymies Aleksi" userId="00c1d702-9a1a-46cb-9bcd-5368d837961b" providerId="ADAL" clId="{A41CC034-EC84-4F05-A9F8-9D0A4747319C}" dt="2023-10-20T11:18:16.572" v="1679" actId="1076"/>
          <ac:grpSpMkLst>
            <pc:docMk/>
            <pc:sldMk cId="3283465410" sldId="6469"/>
            <ac:grpSpMk id="2" creationId="{BDD7FA56-DEC5-CECC-5939-20B3C4E7753E}"/>
          </ac:grpSpMkLst>
        </pc:grpChg>
        <pc:graphicFrameChg chg="mod">
          <ac:chgData name="Niittymies Aleksi" userId="00c1d702-9a1a-46cb-9bcd-5368d837961b" providerId="ADAL" clId="{A41CC034-EC84-4F05-A9F8-9D0A4747319C}" dt="2023-10-20T11:16:47.425" v="1661" actId="20577"/>
          <ac:graphicFrameMkLst>
            <pc:docMk/>
            <pc:sldMk cId="3283465410" sldId="6469"/>
            <ac:graphicFrameMk id="3" creationId="{8FB56C4A-B45E-4603-A7F3-1C8B75AA003A}"/>
          </ac:graphicFrameMkLst>
        </pc:graphicFrameChg>
        <pc:graphicFrameChg chg="mod">
          <ac:chgData name="Niittymies Aleksi" userId="00c1d702-9a1a-46cb-9bcd-5368d837961b" providerId="ADAL" clId="{A41CC034-EC84-4F05-A9F8-9D0A4747319C}" dt="2023-10-20T11:17:01.365" v="1662"/>
          <ac:graphicFrameMkLst>
            <pc:docMk/>
            <pc:sldMk cId="3283465410" sldId="6469"/>
            <ac:graphicFrameMk id="4" creationId="{10376EDF-2BDC-4D3F-9089-0D46CDD1A9B4}"/>
          </ac:graphicFrameMkLst>
        </pc:graphicFrameChg>
      </pc:sldChg>
      <pc:sldChg chg="add ord">
        <pc:chgData name="Niittymies Aleksi" userId="00c1d702-9a1a-46cb-9bcd-5368d837961b" providerId="ADAL" clId="{A41CC034-EC84-4F05-A9F8-9D0A4747319C}" dt="2023-10-21T17:02:05.526" v="2356"/>
        <pc:sldMkLst>
          <pc:docMk/>
          <pc:sldMk cId="466566395" sldId="6471"/>
        </pc:sldMkLst>
      </pc:sldChg>
      <pc:sldChg chg="add ord">
        <pc:chgData name="Niittymies Aleksi" userId="00c1d702-9a1a-46cb-9bcd-5368d837961b" providerId="ADAL" clId="{A41CC034-EC84-4F05-A9F8-9D0A4747319C}" dt="2023-10-21T17:02:05.526" v="2356"/>
        <pc:sldMkLst>
          <pc:docMk/>
          <pc:sldMk cId="972921773" sldId="6472"/>
        </pc:sldMkLst>
      </pc:sldChg>
      <pc:sldChg chg="add del">
        <pc:chgData name="Niittymies Aleksi" userId="00c1d702-9a1a-46cb-9bcd-5368d837961b" providerId="ADAL" clId="{A41CC034-EC84-4F05-A9F8-9D0A4747319C}" dt="2023-10-20T09:42:01.068" v="1386" actId="47"/>
        <pc:sldMkLst>
          <pc:docMk/>
          <pc:sldMk cId="2332748697" sldId="6473"/>
        </pc:sldMkLst>
      </pc:sldChg>
      <pc:sldChg chg="add del ord">
        <pc:chgData name="Niittymies Aleksi" userId="00c1d702-9a1a-46cb-9bcd-5368d837961b" providerId="ADAL" clId="{A41CC034-EC84-4F05-A9F8-9D0A4747319C}" dt="2023-10-20T11:51:08.038" v="1842" actId="47"/>
        <pc:sldMkLst>
          <pc:docMk/>
          <pc:sldMk cId="2548102629" sldId="6474"/>
        </pc:sldMkLst>
      </pc:sldChg>
      <pc:sldChg chg="delSp modSp add del mod">
        <pc:chgData name="Niittymies Aleksi" userId="00c1d702-9a1a-46cb-9bcd-5368d837961b" providerId="ADAL" clId="{A41CC034-EC84-4F05-A9F8-9D0A4747319C}" dt="2023-10-20T11:43:20.956" v="1782" actId="47"/>
        <pc:sldMkLst>
          <pc:docMk/>
          <pc:sldMk cId="3051544539" sldId="6475"/>
        </pc:sldMkLst>
        <pc:spChg chg="del">
          <ac:chgData name="Niittymies Aleksi" userId="00c1d702-9a1a-46cb-9bcd-5368d837961b" providerId="ADAL" clId="{A41CC034-EC84-4F05-A9F8-9D0A4747319C}" dt="2023-10-20T11:27:22.005" v="1680" actId="478"/>
          <ac:spMkLst>
            <pc:docMk/>
            <pc:sldMk cId="3051544539" sldId="6475"/>
            <ac:spMk id="4" creationId="{F31A6CDB-1D72-4B61-B018-DC60A248B10B}"/>
          </ac:spMkLst>
        </pc:spChg>
        <pc:spChg chg="mod">
          <ac:chgData name="Niittymies Aleksi" userId="00c1d702-9a1a-46cb-9bcd-5368d837961b" providerId="ADAL" clId="{A41CC034-EC84-4F05-A9F8-9D0A4747319C}" dt="2023-10-19T13:32:52.194" v="452" actId="20577"/>
          <ac:spMkLst>
            <pc:docMk/>
            <pc:sldMk cId="3051544539" sldId="6475"/>
            <ac:spMk id="5" creationId="{4E79B233-C263-4355-BEE2-6A4CD1ED5B59}"/>
          </ac:spMkLst>
        </pc:spChg>
        <pc:spChg chg="mod">
          <ac:chgData name="Niittymies Aleksi" userId="00c1d702-9a1a-46cb-9bcd-5368d837961b" providerId="ADAL" clId="{A41CC034-EC84-4F05-A9F8-9D0A4747319C}" dt="2023-10-19T13:33:05.057" v="514" actId="20577"/>
          <ac:spMkLst>
            <pc:docMk/>
            <pc:sldMk cId="3051544539" sldId="6475"/>
            <ac:spMk id="6" creationId="{CA37F30B-0C15-4C20-B203-B86996A28ECF}"/>
          </ac:spMkLst>
        </pc:spChg>
        <pc:picChg chg="del">
          <ac:chgData name="Niittymies Aleksi" userId="00c1d702-9a1a-46cb-9bcd-5368d837961b" providerId="ADAL" clId="{A41CC034-EC84-4F05-A9F8-9D0A4747319C}" dt="2023-10-20T11:27:22.005" v="1680" actId="478"/>
          <ac:picMkLst>
            <pc:docMk/>
            <pc:sldMk cId="3051544539" sldId="6475"/>
            <ac:picMk id="3" creationId="{B5A19B2A-FDA4-42C3-9162-B7695D99DA7F}"/>
          </ac:picMkLst>
        </pc:picChg>
      </pc:sldChg>
      <pc:sldChg chg="add del">
        <pc:chgData name="Niittymies Aleksi" userId="00c1d702-9a1a-46cb-9bcd-5368d837961b" providerId="ADAL" clId="{A41CC034-EC84-4F05-A9F8-9D0A4747319C}" dt="2023-10-20T11:51:01.002" v="1840" actId="47"/>
        <pc:sldMkLst>
          <pc:docMk/>
          <pc:sldMk cId="1550532965" sldId="6476"/>
        </pc:sldMkLst>
      </pc:sldChg>
      <pc:sldChg chg="modSp add mod">
        <pc:chgData name="Niittymies Aleksi" userId="00c1d702-9a1a-46cb-9bcd-5368d837961b" providerId="ADAL" clId="{A41CC034-EC84-4F05-A9F8-9D0A4747319C}" dt="2023-10-21T17:13:50.993" v="2385" actId="20577"/>
        <pc:sldMkLst>
          <pc:docMk/>
          <pc:sldMk cId="3567938623" sldId="6477"/>
        </pc:sldMkLst>
        <pc:spChg chg="mod">
          <ac:chgData name="Niittymies Aleksi" userId="00c1d702-9a1a-46cb-9bcd-5368d837961b" providerId="ADAL" clId="{A41CC034-EC84-4F05-A9F8-9D0A4747319C}" dt="2023-10-21T17:13:50.993" v="2385" actId="20577"/>
          <ac:spMkLst>
            <pc:docMk/>
            <pc:sldMk cId="3567938623" sldId="6477"/>
            <ac:spMk id="3" creationId="{CF3F630B-0F73-483A-838D-6B23394D1B86}"/>
          </ac:spMkLst>
        </pc:spChg>
      </pc:sldChg>
      <pc:sldChg chg="delSp modSp add mod ord">
        <pc:chgData name="Niittymies Aleksi" userId="00c1d702-9a1a-46cb-9bcd-5368d837961b" providerId="ADAL" clId="{A41CC034-EC84-4F05-A9F8-9D0A4747319C}" dt="2023-10-24T11:20:27.512" v="3405"/>
        <pc:sldMkLst>
          <pc:docMk/>
          <pc:sldMk cId="396421728" sldId="6478"/>
        </pc:sldMkLst>
        <pc:spChg chg="del">
          <ac:chgData name="Niittymies Aleksi" userId="00c1d702-9a1a-46cb-9bcd-5368d837961b" providerId="ADAL" clId="{A41CC034-EC84-4F05-A9F8-9D0A4747319C}" dt="2023-10-19T16:15:37.683" v="664" actId="478"/>
          <ac:spMkLst>
            <pc:docMk/>
            <pc:sldMk cId="396421728" sldId="6478"/>
            <ac:spMk id="4" creationId="{F31A6CDB-1D72-4B61-B018-DC60A248B10B}"/>
          </ac:spMkLst>
        </pc:spChg>
        <pc:spChg chg="mod">
          <ac:chgData name="Niittymies Aleksi" userId="00c1d702-9a1a-46cb-9bcd-5368d837961b" providerId="ADAL" clId="{A41CC034-EC84-4F05-A9F8-9D0A4747319C}" dt="2023-10-21T11:35:01.280" v="2081" actId="20577"/>
          <ac:spMkLst>
            <pc:docMk/>
            <pc:sldMk cId="396421728" sldId="6478"/>
            <ac:spMk id="5" creationId="{4E79B233-C263-4355-BEE2-6A4CD1ED5B59}"/>
          </ac:spMkLst>
        </pc:spChg>
        <pc:spChg chg="mod">
          <ac:chgData name="Niittymies Aleksi" userId="00c1d702-9a1a-46cb-9bcd-5368d837961b" providerId="ADAL" clId="{A41CC034-EC84-4F05-A9F8-9D0A4747319C}" dt="2023-10-21T09:43:07.527" v="2072" actId="14100"/>
          <ac:spMkLst>
            <pc:docMk/>
            <pc:sldMk cId="396421728" sldId="6478"/>
            <ac:spMk id="6" creationId="{CA37F30B-0C15-4C20-B203-B86996A28ECF}"/>
          </ac:spMkLst>
        </pc:spChg>
        <pc:picChg chg="del">
          <ac:chgData name="Niittymies Aleksi" userId="00c1d702-9a1a-46cb-9bcd-5368d837961b" providerId="ADAL" clId="{A41CC034-EC84-4F05-A9F8-9D0A4747319C}" dt="2023-10-19T16:15:37.683" v="664" actId="478"/>
          <ac:picMkLst>
            <pc:docMk/>
            <pc:sldMk cId="396421728" sldId="6478"/>
            <ac:picMk id="3" creationId="{B5A19B2A-FDA4-42C3-9162-B7695D99DA7F}"/>
          </ac:picMkLst>
        </pc:picChg>
      </pc:sldChg>
      <pc:sldChg chg="delSp modSp add del mod ord">
        <pc:chgData name="Niittymies Aleksi" userId="00c1d702-9a1a-46cb-9bcd-5368d837961b" providerId="ADAL" clId="{A41CC034-EC84-4F05-A9F8-9D0A4747319C}" dt="2023-10-24T10:32:26.608" v="3099" actId="47"/>
        <pc:sldMkLst>
          <pc:docMk/>
          <pc:sldMk cId="1919901390" sldId="6479"/>
        </pc:sldMkLst>
        <pc:spChg chg="del">
          <ac:chgData name="Niittymies Aleksi" userId="00c1d702-9a1a-46cb-9bcd-5368d837961b" providerId="ADAL" clId="{A41CC034-EC84-4F05-A9F8-9D0A4747319C}" dt="2023-10-19T16:15:41.475" v="666" actId="478"/>
          <ac:spMkLst>
            <pc:docMk/>
            <pc:sldMk cId="1919901390" sldId="6479"/>
            <ac:spMk id="4" creationId="{F31A6CDB-1D72-4B61-B018-DC60A248B10B}"/>
          </ac:spMkLst>
        </pc:spChg>
        <pc:spChg chg="mod">
          <ac:chgData name="Niittymies Aleksi" userId="00c1d702-9a1a-46cb-9bcd-5368d837961b" providerId="ADAL" clId="{A41CC034-EC84-4F05-A9F8-9D0A4747319C}" dt="2023-10-19T16:15:53.050" v="699" actId="20577"/>
          <ac:spMkLst>
            <pc:docMk/>
            <pc:sldMk cId="1919901390" sldId="6479"/>
            <ac:spMk id="5" creationId="{4E79B233-C263-4355-BEE2-6A4CD1ED5B59}"/>
          </ac:spMkLst>
        </pc:spChg>
        <pc:spChg chg="mod">
          <ac:chgData name="Niittymies Aleksi" userId="00c1d702-9a1a-46cb-9bcd-5368d837961b" providerId="ADAL" clId="{A41CC034-EC84-4F05-A9F8-9D0A4747319C}" dt="2023-10-19T16:23:30.390" v="957" actId="15"/>
          <ac:spMkLst>
            <pc:docMk/>
            <pc:sldMk cId="1919901390" sldId="6479"/>
            <ac:spMk id="6" creationId="{CA37F30B-0C15-4C20-B203-B86996A28ECF}"/>
          </ac:spMkLst>
        </pc:spChg>
        <pc:picChg chg="del">
          <ac:chgData name="Niittymies Aleksi" userId="00c1d702-9a1a-46cb-9bcd-5368d837961b" providerId="ADAL" clId="{A41CC034-EC84-4F05-A9F8-9D0A4747319C}" dt="2023-10-19T16:15:41.475" v="666" actId="478"/>
          <ac:picMkLst>
            <pc:docMk/>
            <pc:sldMk cId="1919901390" sldId="6479"/>
            <ac:picMk id="3" creationId="{B5A19B2A-FDA4-42C3-9162-B7695D99DA7F}"/>
          </ac:picMkLst>
        </pc:picChg>
      </pc:sldChg>
      <pc:sldChg chg="delSp modSp add mod ord">
        <pc:chgData name="Niittymies Aleksi" userId="00c1d702-9a1a-46cb-9bcd-5368d837961b" providerId="ADAL" clId="{A41CC034-EC84-4F05-A9F8-9D0A4747319C}" dt="2023-10-24T11:20:27.512" v="3405"/>
        <pc:sldMkLst>
          <pc:docMk/>
          <pc:sldMk cId="1879992390" sldId="6480"/>
        </pc:sldMkLst>
        <pc:spChg chg="del">
          <ac:chgData name="Niittymies Aleksi" userId="00c1d702-9a1a-46cb-9bcd-5368d837961b" providerId="ADAL" clId="{A41CC034-EC84-4F05-A9F8-9D0A4747319C}" dt="2023-10-19T16:15:39.299" v="665" actId="478"/>
          <ac:spMkLst>
            <pc:docMk/>
            <pc:sldMk cId="1879992390" sldId="6480"/>
            <ac:spMk id="4" creationId="{F31A6CDB-1D72-4B61-B018-DC60A248B10B}"/>
          </ac:spMkLst>
        </pc:spChg>
        <pc:spChg chg="mod">
          <ac:chgData name="Niittymies Aleksi" userId="00c1d702-9a1a-46cb-9bcd-5368d837961b" providerId="ADAL" clId="{A41CC034-EC84-4F05-A9F8-9D0A4747319C}" dt="2023-10-19T16:12:40.875" v="564" actId="20577"/>
          <ac:spMkLst>
            <pc:docMk/>
            <pc:sldMk cId="1879992390" sldId="6480"/>
            <ac:spMk id="5" creationId="{4E79B233-C263-4355-BEE2-6A4CD1ED5B59}"/>
          </ac:spMkLst>
        </pc:spChg>
        <pc:spChg chg="mod">
          <ac:chgData name="Niittymies Aleksi" userId="00c1d702-9a1a-46cb-9bcd-5368d837961b" providerId="ADAL" clId="{A41CC034-EC84-4F05-A9F8-9D0A4747319C}" dt="2023-10-21T16:42:46.186" v="2215" actId="1076"/>
          <ac:spMkLst>
            <pc:docMk/>
            <pc:sldMk cId="1879992390" sldId="6480"/>
            <ac:spMk id="6" creationId="{CA37F30B-0C15-4C20-B203-B86996A28ECF}"/>
          </ac:spMkLst>
        </pc:spChg>
        <pc:picChg chg="del">
          <ac:chgData name="Niittymies Aleksi" userId="00c1d702-9a1a-46cb-9bcd-5368d837961b" providerId="ADAL" clId="{A41CC034-EC84-4F05-A9F8-9D0A4747319C}" dt="2023-10-19T16:15:39.299" v="665" actId="478"/>
          <ac:picMkLst>
            <pc:docMk/>
            <pc:sldMk cId="1879992390" sldId="6480"/>
            <ac:picMk id="3" creationId="{B5A19B2A-FDA4-42C3-9162-B7695D99DA7F}"/>
          </ac:picMkLst>
        </pc:picChg>
      </pc:sldChg>
      <pc:sldChg chg="addSp delSp modSp add mod ord">
        <pc:chgData name="Niittymies Aleksi" userId="00c1d702-9a1a-46cb-9bcd-5368d837961b" providerId="ADAL" clId="{A41CC034-EC84-4F05-A9F8-9D0A4747319C}" dt="2023-10-19T16:15:16.585" v="656" actId="1076"/>
        <pc:sldMkLst>
          <pc:docMk/>
          <pc:sldMk cId="2587305749" sldId="6481"/>
        </pc:sldMkLst>
        <pc:spChg chg="del">
          <ac:chgData name="Niittymies Aleksi" userId="00c1d702-9a1a-46cb-9bcd-5368d837961b" providerId="ADAL" clId="{A41CC034-EC84-4F05-A9F8-9D0A4747319C}" dt="2023-10-19T16:14:51.811" v="647" actId="478"/>
          <ac:spMkLst>
            <pc:docMk/>
            <pc:sldMk cId="2587305749" sldId="6481"/>
            <ac:spMk id="4" creationId="{F31A6CDB-1D72-4B61-B018-DC60A248B10B}"/>
          </ac:spMkLst>
        </pc:spChg>
        <pc:spChg chg="mod">
          <ac:chgData name="Niittymies Aleksi" userId="00c1d702-9a1a-46cb-9bcd-5368d837961b" providerId="ADAL" clId="{A41CC034-EC84-4F05-A9F8-9D0A4747319C}" dt="2023-10-19T16:14:37.258" v="646" actId="20577"/>
          <ac:spMkLst>
            <pc:docMk/>
            <pc:sldMk cId="2587305749" sldId="6481"/>
            <ac:spMk id="5" creationId="{4E79B233-C263-4355-BEE2-6A4CD1ED5B59}"/>
          </ac:spMkLst>
        </pc:spChg>
        <pc:spChg chg="del">
          <ac:chgData name="Niittymies Aleksi" userId="00c1d702-9a1a-46cb-9bcd-5368d837961b" providerId="ADAL" clId="{A41CC034-EC84-4F05-A9F8-9D0A4747319C}" dt="2023-10-19T16:14:54.294" v="648" actId="478"/>
          <ac:spMkLst>
            <pc:docMk/>
            <pc:sldMk cId="2587305749" sldId="6481"/>
            <ac:spMk id="6" creationId="{CA37F30B-0C15-4C20-B203-B86996A28ECF}"/>
          </ac:spMkLst>
        </pc:spChg>
        <pc:spChg chg="add del mod">
          <ac:chgData name="Niittymies Aleksi" userId="00c1d702-9a1a-46cb-9bcd-5368d837961b" providerId="ADAL" clId="{A41CC034-EC84-4F05-A9F8-9D0A4747319C}" dt="2023-10-19T16:14:56.252" v="649" actId="478"/>
          <ac:spMkLst>
            <pc:docMk/>
            <pc:sldMk cId="2587305749" sldId="6481"/>
            <ac:spMk id="7" creationId="{D1DF6B73-D94C-EC3A-6089-869B43418CC2}"/>
          </ac:spMkLst>
        </pc:spChg>
        <pc:spChg chg="add del mod">
          <ac:chgData name="Niittymies Aleksi" userId="00c1d702-9a1a-46cb-9bcd-5368d837961b" providerId="ADAL" clId="{A41CC034-EC84-4F05-A9F8-9D0A4747319C}" dt="2023-10-19T16:15:07.011" v="653"/>
          <ac:spMkLst>
            <pc:docMk/>
            <pc:sldMk cId="2587305749" sldId="6481"/>
            <ac:spMk id="10" creationId="{7A3CD214-921C-82FE-0015-B00E6D6EE3DE}"/>
          </ac:spMkLst>
        </pc:spChg>
        <pc:picChg chg="del">
          <ac:chgData name="Niittymies Aleksi" userId="00c1d702-9a1a-46cb-9bcd-5368d837961b" providerId="ADAL" clId="{A41CC034-EC84-4F05-A9F8-9D0A4747319C}" dt="2023-10-19T16:14:51.811" v="647" actId="478"/>
          <ac:picMkLst>
            <pc:docMk/>
            <pc:sldMk cId="2587305749" sldId="6481"/>
            <ac:picMk id="3" creationId="{B5A19B2A-FDA4-42C3-9162-B7695D99DA7F}"/>
          </ac:picMkLst>
        </pc:picChg>
        <pc:picChg chg="add del mod">
          <ac:chgData name="Niittymies Aleksi" userId="00c1d702-9a1a-46cb-9bcd-5368d837961b" providerId="ADAL" clId="{A41CC034-EC84-4F05-A9F8-9D0A4747319C}" dt="2023-10-19T16:15:07.011" v="653"/>
          <ac:picMkLst>
            <pc:docMk/>
            <pc:sldMk cId="2587305749" sldId="6481"/>
            <ac:picMk id="8" creationId="{6AD09A9C-15E3-2019-3BD4-DF7254B3B58A}"/>
          </ac:picMkLst>
        </pc:picChg>
        <pc:picChg chg="add del mod">
          <ac:chgData name="Niittymies Aleksi" userId="00c1d702-9a1a-46cb-9bcd-5368d837961b" providerId="ADAL" clId="{A41CC034-EC84-4F05-A9F8-9D0A4747319C}" dt="2023-10-19T16:15:07.011" v="653"/>
          <ac:picMkLst>
            <pc:docMk/>
            <pc:sldMk cId="2587305749" sldId="6481"/>
            <ac:picMk id="9" creationId="{ADFA987B-E075-BC4A-AED1-A51A9EB3147D}"/>
          </ac:picMkLst>
        </pc:picChg>
        <pc:picChg chg="add del mod">
          <ac:chgData name="Niittymies Aleksi" userId="00c1d702-9a1a-46cb-9bcd-5368d837961b" providerId="ADAL" clId="{A41CC034-EC84-4F05-A9F8-9D0A4747319C}" dt="2023-10-19T16:15:07.011" v="653"/>
          <ac:picMkLst>
            <pc:docMk/>
            <pc:sldMk cId="2587305749" sldId="6481"/>
            <ac:picMk id="11" creationId="{75726E50-FDB7-9501-DF68-A7E419923DD0}"/>
          </ac:picMkLst>
        </pc:picChg>
        <pc:picChg chg="add mod">
          <ac:chgData name="Niittymies Aleksi" userId="00c1d702-9a1a-46cb-9bcd-5368d837961b" providerId="ADAL" clId="{A41CC034-EC84-4F05-A9F8-9D0A4747319C}" dt="2023-10-19T16:15:16.585" v="656" actId="1076"/>
          <ac:picMkLst>
            <pc:docMk/>
            <pc:sldMk cId="2587305749" sldId="6481"/>
            <ac:picMk id="14" creationId="{B34FD60A-24A9-46B8-7EB5-A97AD39B1703}"/>
          </ac:picMkLst>
        </pc:picChg>
        <pc:cxnChg chg="add del mod">
          <ac:chgData name="Niittymies Aleksi" userId="00c1d702-9a1a-46cb-9bcd-5368d837961b" providerId="ADAL" clId="{A41CC034-EC84-4F05-A9F8-9D0A4747319C}" dt="2023-10-19T16:15:07.011" v="653"/>
          <ac:cxnSpMkLst>
            <pc:docMk/>
            <pc:sldMk cId="2587305749" sldId="6481"/>
            <ac:cxnSpMk id="12" creationId="{3A2A6AD3-2833-A007-A65A-549017997649}"/>
          </ac:cxnSpMkLst>
        </pc:cxnChg>
      </pc:sldChg>
      <pc:sldChg chg="delSp modSp add mod ord">
        <pc:chgData name="Niittymies Aleksi" userId="00c1d702-9a1a-46cb-9bcd-5368d837961b" providerId="ADAL" clId="{A41CC034-EC84-4F05-A9F8-9D0A4747319C}" dt="2023-10-24T11:20:27.512" v="3405"/>
        <pc:sldMkLst>
          <pc:docMk/>
          <pc:sldMk cId="1575237945" sldId="6482"/>
        </pc:sldMkLst>
        <pc:spChg chg="del">
          <ac:chgData name="Niittymies Aleksi" userId="00c1d702-9a1a-46cb-9bcd-5368d837961b" providerId="ADAL" clId="{A41CC034-EC84-4F05-A9F8-9D0A4747319C}" dt="2023-10-19T16:17:41.754" v="752" actId="478"/>
          <ac:spMkLst>
            <pc:docMk/>
            <pc:sldMk cId="1575237945" sldId="6482"/>
            <ac:spMk id="4" creationId="{F31A6CDB-1D72-4B61-B018-DC60A248B10B}"/>
          </ac:spMkLst>
        </pc:spChg>
        <pc:spChg chg="mod">
          <ac:chgData name="Niittymies Aleksi" userId="00c1d702-9a1a-46cb-9bcd-5368d837961b" providerId="ADAL" clId="{A41CC034-EC84-4F05-A9F8-9D0A4747319C}" dt="2023-10-19T16:17:49.274" v="789" actId="20577"/>
          <ac:spMkLst>
            <pc:docMk/>
            <pc:sldMk cId="1575237945" sldId="6482"/>
            <ac:spMk id="5" creationId="{4E79B233-C263-4355-BEE2-6A4CD1ED5B59}"/>
          </ac:spMkLst>
        </pc:spChg>
        <pc:spChg chg="mod">
          <ac:chgData name="Niittymies Aleksi" userId="00c1d702-9a1a-46cb-9bcd-5368d837961b" providerId="ADAL" clId="{A41CC034-EC84-4F05-A9F8-9D0A4747319C}" dt="2023-10-19T16:24:43.536" v="974" actId="15"/>
          <ac:spMkLst>
            <pc:docMk/>
            <pc:sldMk cId="1575237945" sldId="6482"/>
            <ac:spMk id="6" creationId="{CA37F30B-0C15-4C20-B203-B86996A28ECF}"/>
          </ac:spMkLst>
        </pc:spChg>
        <pc:picChg chg="del">
          <ac:chgData name="Niittymies Aleksi" userId="00c1d702-9a1a-46cb-9bcd-5368d837961b" providerId="ADAL" clId="{A41CC034-EC84-4F05-A9F8-9D0A4747319C}" dt="2023-10-19T16:17:41.754" v="752" actId="478"/>
          <ac:picMkLst>
            <pc:docMk/>
            <pc:sldMk cId="1575237945" sldId="6482"/>
            <ac:picMk id="3" creationId="{B5A19B2A-FDA4-42C3-9162-B7695D99DA7F}"/>
          </ac:picMkLst>
        </pc:picChg>
      </pc:sldChg>
      <pc:sldChg chg="delSp add del mod">
        <pc:chgData name="Niittymies Aleksi" userId="00c1d702-9a1a-46cb-9bcd-5368d837961b" providerId="ADAL" clId="{A41CC034-EC84-4F05-A9F8-9D0A4747319C}" dt="2023-10-19T16:19:07.498" v="838" actId="47"/>
        <pc:sldMkLst>
          <pc:docMk/>
          <pc:sldMk cId="3891411893" sldId="6483"/>
        </pc:sldMkLst>
        <pc:spChg chg="del">
          <ac:chgData name="Niittymies Aleksi" userId="00c1d702-9a1a-46cb-9bcd-5368d837961b" providerId="ADAL" clId="{A41CC034-EC84-4F05-A9F8-9D0A4747319C}" dt="2023-10-19T16:15:35.195" v="663" actId="478"/>
          <ac:spMkLst>
            <pc:docMk/>
            <pc:sldMk cId="3891411893" sldId="6483"/>
            <ac:spMk id="4" creationId="{F31A6CDB-1D72-4B61-B018-DC60A248B10B}"/>
          </ac:spMkLst>
        </pc:spChg>
        <pc:picChg chg="del">
          <ac:chgData name="Niittymies Aleksi" userId="00c1d702-9a1a-46cb-9bcd-5368d837961b" providerId="ADAL" clId="{A41CC034-EC84-4F05-A9F8-9D0A4747319C}" dt="2023-10-19T16:15:35.195" v="663" actId="478"/>
          <ac:picMkLst>
            <pc:docMk/>
            <pc:sldMk cId="3891411893" sldId="6483"/>
            <ac:picMk id="3" creationId="{B5A19B2A-FDA4-42C3-9162-B7695D99DA7F}"/>
          </ac:picMkLst>
        </pc:picChg>
      </pc:sldChg>
      <pc:sldChg chg="modSp add del mod ord">
        <pc:chgData name="Niittymies Aleksi" userId="00c1d702-9a1a-46cb-9bcd-5368d837961b" providerId="ADAL" clId="{A41CC034-EC84-4F05-A9F8-9D0A4747319C}" dt="2023-10-24T10:32:24.562" v="3098" actId="47"/>
        <pc:sldMkLst>
          <pc:docMk/>
          <pc:sldMk cId="1223214229" sldId="6484"/>
        </pc:sldMkLst>
        <pc:spChg chg="mod">
          <ac:chgData name="Niittymies Aleksi" userId="00c1d702-9a1a-46cb-9bcd-5368d837961b" providerId="ADAL" clId="{A41CC034-EC84-4F05-A9F8-9D0A4747319C}" dt="2023-10-19T16:16:46.700" v="747" actId="20577"/>
          <ac:spMkLst>
            <pc:docMk/>
            <pc:sldMk cId="1223214229" sldId="6484"/>
            <ac:spMk id="5" creationId="{4E79B233-C263-4355-BEE2-6A4CD1ED5B59}"/>
          </ac:spMkLst>
        </pc:spChg>
        <pc:spChg chg="mod">
          <ac:chgData name="Niittymies Aleksi" userId="00c1d702-9a1a-46cb-9bcd-5368d837961b" providerId="ADAL" clId="{A41CC034-EC84-4F05-A9F8-9D0A4747319C}" dt="2023-10-19T16:23:40.190" v="959" actId="15"/>
          <ac:spMkLst>
            <pc:docMk/>
            <pc:sldMk cId="1223214229" sldId="6484"/>
            <ac:spMk id="6" creationId="{CA37F30B-0C15-4C20-B203-B86996A28ECF}"/>
          </ac:spMkLst>
        </pc:spChg>
      </pc:sldChg>
      <pc:sldChg chg="modSp add del mod ord">
        <pc:chgData name="Niittymies Aleksi" userId="00c1d702-9a1a-46cb-9bcd-5368d837961b" providerId="ADAL" clId="{A41CC034-EC84-4F05-A9F8-9D0A4747319C}" dt="2023-10-21T17:02:22.169" v="2357" actId="47"/>
        <pc:sldMkLst>
          <pc:docMk/>
          <pc:sldMk cId="2141797614" sldId="6485"/>
        </pc:sldMkLst>
        <pc:spChg chg="mod">
          <ac:chgData name="Niittymies Aleksi" userId="00c1d702-9a1a-46cb-9bcd-5368d837961b" providerId="ADAL" clId="{A41CC034-EC84-4F05-A9F8-9D0A4747319C}" dt="2023-10-20T12:36:02.408" v="1888" actId="20577"/>
          <ac:spMkLst>
            <pc:docMk/>
            <pc:sldMk cId="2141797614" sldId="6485"/>
            <ac:spMk id="2" creationId="{91B2AF14-E058-42B4-9EE4-BC811A0FDF14}"/>
          </ac:spMkLst>
        </pc:spChg>
      </pc:sldChg>
      <pc:sldChg chg="modSp add del mod ord">
        <pc:chgData name="Niittymies Aleksi" userId="00c1d702-9a1a-46cb-9bcd-5368d837961b" providerId="ADAL" clId="{A41CC034-EC84-4F05-A9F8-9D0A4747319C}" dt="2023-10-21T16:43:38.943" v="2216" actId="47"/>
        <pc:sldMkLst>
          <pc:docMk/>
          <pc:sldMk cId="522374644" sldId="6486"/>
        </pc:sldMkLst>
        <pc:spChg chg="mod">
          <ac:chgData name="Niittymies Aleksi" userId="00c1d702-9a1a-46cb-9bcd-5368d837961b" providerId="ADAL" clId="{A41CC034-EC84-4F05-A9F8-9D0A4747319C}" dt="2023-10-20T12:35:38.233" v="1884" actId="20577"/>
          <ac:spMkLst>
            <pc:docMk/>
            <pc:sldMk cId="522374644" sldId="6486"/>
            <ac:spMk id="2" creationId="{91B2AF14-E058-42B4-9EE4-BC811A0FDF14}"/>
          </ac:spMkLst>
        </pc:spChg>
      </pc:sldChg>
      <pc:sldChg chg="modSp add del mod ord">
        <pc:chgData name="Niittymies Aleksi" userId="00c1d702-9a1a-46cb-9bcd-5368d837961b" providerId="ADAL" clId="{A41CC034-EC84-4F05-A9F8-9D0A4747319C}" dt="2023-10-20T11:43:24.917" v="1783" actId="47"/>
        <pc:sldMkLst>
          <pc:docMk/>
          <pc:sldMk cId="3688116972" sldId="6487"/>
        </pc:sldMkLst>
        <pc:spChg chg="mod">
          <ac:chgData name="Niittymies Aleksi" userId="00c1d702-9a1a-46cb-9bcd-5368d837961b" providerId="ADAL" clId="{A41CC034-EC84-4F05-A9F8-9D0A4747319C}" dt="2023-10-20T10:53:15.480" v="1564" actId="20577"/>
          <ac:spMkLst>
            <pc:docMk/>
            <pc:sldMk cId="3688116972" sldId="6487"/>
            <ac:spMk id="2" creationId="{91B2AF14-E058-42B4-9EE4-BC811A0FDF14}"/>
          </ac:spMkLst>
        </pc:spChg>
      </pc:sldChg>
      <pc:sldChg chg="addSp modSp add mod ord">
        <pc:chgData name="Niittymies Aleksi" userId="00c1d702-9a1a-46cb-9bcd-5368d837961b" providerId="ADAL" clId="{A41CC034-EC84-4F05-A9F8-9D0A4747319C}" dt="2023-10-20T13:24:17.378" v="2070" actId="1076"/>
        <pc:sldMkLst>
          <pc:docMk/>
          <pc:sldMk cId="2516522154" sldId="6488"/>
        </pc:sldMkLst>
        <pc:spChg chg="mod">
          <ac:chgData name="Niittymies Aleksi" userId="00c1d702-9a1a-46cb-9bcd-5368d837961b" providerId="ADAL" clId="{A41CC034-EC84-4F05-A9F8-9D0A4747319C}" dt="2023-10-19T16:20:19.447" v="891" actId="20577"/>
          <ac:spMkLst>
            <pc:docMk/>
            <pc:sldMk cId="2516522154" sldId="6488"/>
            <ac:spMk id="5" creationId="{4E79B233-C263-4355-BEE2-6A4CD1ED5B59}"/>
          </ac:spMkLst>
        </pc:spChg>
        <pc:spChg chg="mod">
          <ac:chgData name="Niittymies Aleksi" userId="00c1d702-9a1a-46cb-9bcd-5368d837961b" providerId="ADAL" clId="{A41CC034-EC84-4F05-A9F8-9D0A4747319C}" dt="2023-10-20T13:24:17.378" v="2070" actId="1076"/>
          <ac:spMkLst>
            <pc:docMk/>
            <pc:sldMk cId="2516522154" sldId="6488"/>
            <ac:spMk id="6" creationId="{CA37F30B-0C15-4C20-B203-B86996A28ECF}"/>
          </ac:spMkLst>
        </pc:spChg>
        <pc:picChg chg="add mod">
          <ac:chgData name="Niittymies Aleksi" userId="00c1d702-9a1a-46cb-9bcd-5368d837961b" providerId="ADAL" clId="{A41CC034-EC84-4F05-A9F8-9D0A4747319C}" dt="2023-10-20T11:55:09.307" v="1859" actId="1076"/>
          <ac:picMkLst>
            <pc:docMk/>
            <pc:sldMk cId="2516522154" sldId="6488"/>
            <ac:picMk id="2" creationId="{2FFE3E07-AE90-EF6C-0CAE-5215CAC4A812}"/>
          </ac:picMkLst>
        </pc:picChg>
      </pc:sldChg>
      <pc:sldChg chg="modSp add mod ord">
        <pc:chgData name="Niittymies Aleksi" userId="00c1d702-9a1a-46cb-9bcd-5368d837961b" providerId="ADAL" clId="{A41CC034-EC84-4F05-A9F8-9D0A4747319C}" dt="2023-10-24T11:01:23.552" v="3333" actId="20577"/>
        <pc:sldMkLst>
          <pc:docMk/>
          <pc:sldMk cId="3439043387" sldId="6489"/>
        </pc:sldMkLst>
        <pc:spChg chg="mod">
          <ac:chgData name="Niittymies Aleksi" userId="00c1d702-9a1a-46cb-9bcd-5368d837961b" providerId="ADAL" clId="{A41CC034-EC84-4F05-A9F8-9D0A4747319C}" dt="2023-10-19T16:21:00.295" v="942" actId="20577"/>
          <ac:spMkLst>
            <pc:docMk/>
            <pc:sldMk cId="3439043387" sldId="6489"/>
            <ac:spMk id="5" creationId="{4E79B233-C263-4355-BEE2-6A4CD1ED5B59}"/>
          </ac:spMkLst>
        </pc:spChg>
        <pc:spChg chg="mod">
          <ac:chgData name="Niittymies Aleksi" userId="00c1d702-9a1a-46cb-9bcd-5368d837961b" providerId="ADAL" clId="{A41CC034-EC84-4F05-A9F8-9D0A4747319C}" dt="2023-10-24T11:01:23.552" v="3333" actId="20577"/>
          <ac:spMkLst>
            <pc:docMk/>
            <pc:sldMk cId="3439043387" sldId="6489"/>
            <ac:spMk id="6" creationId="{CA37F30B-0C15-4C20-B203-B86996A28ECF}"/>
          </ac:spMkLst>
        </pc:spChg>
      </pc:sldChg>
      <pc:sldChg chg="modSp add del mod">
        <pc:chgData name="Niittymies Aleksi" userId="00c1d702-9a1a-46cb-9bcd-5368d837961b" providerId="ADAL" clId="{A41CC034-EC84-4F05-A9F8-9D0A4747319C}" dt="2023-10-20T12:45:34.141" v="1902" actId="47"/>
        <pc:sldMkLst>
          <pc:docMk/>
          <pc:sldMk cId="2459887620" sldId="6490"/>
        </pc:sldMkLst>
        <pc:spChg chg="mod">
          <ac:chgData name="Niittymies Aleksi" userId="00c1d702-9a1a-46cb-9bcd-5368d837961b" providerId="ADAL" clId="{A41CC034-EC84-4F05-A9F8-9D0A4747319C}" dt="2023-10-19T16:41:40.777" v="1180" actId="20577"/>
          <ac:spMkLst>
            <pc:docMk/>
            <pc:sldMk cId="2459887620" sldId="6490"/>
            <ac:spMk id="5" creationId="{4E79B233-C263-4355-BEE2-6A4CD1ED5B59}"/>
          </ac:spMkLst>
        </pc:spChg>
        <pc:spChg chg="mod">
          <ac:chgData name="Niittymies Aleksi" userId="00c1d702-9a1a-46cb-9bcd-5368d837961b" providerId="ADAL" clId="{A41CC034-EC84-4F05-A9F8-9D0A4747319C}" dt="2023-10-19T16:42:01.519" v="1183"/>
          <ac:spMkLst>
            <pc:docMk/>
            <pc:sldMk cId="2459887620" sldId="6490"/>
            <ac:spMk id="6" creationId="{CA37F30B-0C15-4C20-B203-B86996A28ECF}"/>
          </ac:spMkLst>
        </pc:spChg>
      </pc:sldChg>
      <pc:sldChg chg="addSp delSp modSp add del mod ord">
        <pc:chgData name="Niittymies Aleksi" userId="00c1d702-9a1a-46cb-9bcd-5368d837961b" providerId="ADAL" clId="{A41CC034-EC84-4F05-A9F8-9D0A4747319C}" dt="2023-10-20T11:51:28.837" v="1846" actId="47"/>
        <pc:sldMkLst>
          <pc:docMk/>
          <pc:sldMk cId="3453536883" sldId="6491"/>
        </pc:sldMkLst>
        <pc:spChg chg="add del mod">
          <ac:chgData name="Niittymies Aleksi" userId="00c1d702-9a1a-46cb-9bcd-5368d837961b" providerId="ADAL" clId="{A41CC034-EC84-4F05-A9F8-9D0A4747319C}" dt="2023-10-19T16:34:05.839" v="1062" actId="478"/>
          <ac:spMkLst>
            <pc:docMk/>
            <pc:sldMk cId="3453536883" sldId="6491"/>
            <ac:spMk id="3" creationId="{9052457B-4EFB-1F42-1F60-386087E169ED}"/>
          </ac:spMkLst>
        </pc:spChg>
        <pc:spChg chg="mod">
          <ac:chgData name="Niittymies Aleksi" userId="00c1d702-9a1a-46cb-9bcd-5368d837961b" providerId="ADAL" clId="{A41CC034-EC84-4F05-A9F8-9D0A4747319C}" dt="2023-10-19T16:35:59.900" v="1101" actId="20577"/>
          <ac:spMkLst>
            <pc:docMk/>
            <pc:sldMk cId="3453536883" sldId="6491"/>
            <ac:spMk id="5" creationId="{4E79B233-C263-4355-BEE2-6A4CD1ED5B59}"/>
          </ac:spMkLst>
        </pc:spChg>
        <pc:spChg chg="del">
          <ac:chgData name="Niittymies Aleksi" userId="00c1d702-9a1a-46cb-9bcd-5368d837961b" providerId="ADAL" clId="{A41CC034-EC84-4F05-A9F8-9D0A4747319C}" dt="2023-10-19T16:34:04.536" v="1061" actId="478"/>
          <ac:spMkLst>
            <pc:docMk/>
            <pc:sldMk cId="3453536883" sldId="6491"/>
            <ac:spMk id="6" creationId="{CA37F30B-0C15-4C20-B203-B86996A28ECF}"/>
          </ac:spMkLst>
        </pc:spChg>
        <pc:graphicFrameChg chg="add mod modGraphic">
          <ac:chgData name="Niittymies Aleksi" userId="00c1d702-9a1a-46cb-9bcd-5368d837961b" providerId="ADAL" clId="{A41CC034-EC84-4F05-A9F8-9D0A4747319C}" dt="2023-10-20T09:39:59.066" v="1329" actId="20577"/>
          <ac:graphicFrameMkLst>
            <pc:docMk/>
            <pc:sldMk cId="3453536883" sldId="6491"/>
            <ac:graphicFrameMk id="4" creationId="{1DEFA179-CD3A-0819-4808-62AAB8391FAF}"/>
          </ac:graphicFrameMkLst>
        </pc:graphicFrameChg>
      </pc:sldChg>
      <pc:sldChg chg="addSp delSp modSp add mod ord">
        <pc:chgData name="Niittymies Aleksi" userId="00c1d702-9a1a-46cb-9bcd-5368d837961b" providerId="ADAL" clId="{A41CC034-EC84-4F05-A9F8-9D0A4747319C}" dt="2023-10-24T11:10:27.036" v="3344"/>
        <pc:sldMkLst>
          <pc:docMk/>
          <pc:sldMk cId="3999714898" sldId="6492"/>
        </pc:sldMkLst>
        <pc:spChg chg="add del mod">
          <ac:chgData name="Niittymies Aleksi" userId="00c1d702-9a1a-46cb-9bcd-5368d837961b" providerId="ADAL" clId="{A41CC034-EC84-4F05-A9F8-9D0A4747319C}" dt="2023-10-19T16:49:42.609" v="1234" actId="478"/>
          <ac:spMkLst>
            <pc:docMk/>
            <pc:sldMk cId="3999714898" sldId="6492"/>
            <ac:spMk id="3" creationId="{06FE9051-5568-D0EF-5CD1-9D3151BA70A3}"/>
          </ac:spMkLst>
        </pc:spChg>
        <pc:spChg chg="del">
          <ac:chgData name="Niittymies Aleksi" userId="00c1d702-9a1a-46cb-9bcd-5368d837961b" providerId="ADAL" clId="{A41CC034-EC84-4F05-A9F8-9D0A4747319C}" dt="2023-10-19T16:52:40.095" v="1242" actId="478"/>
          <ac:spMkLst>
            <pc:docMk/>
            <pc:sldMk cId="3999714898" sldId="6492"/>
            <ac:spMk id="5" creationId="{4E79B233-C263-4355-BEE2-6A4CD1ED5B59}"/>
          </ac:spMkLst>
        </pc:spChg>
        <pc:spChg chg="del">
          <ac:chgData name="Niittymies Aleksi" userId="00c1d702-9a1a-46cb-9bcd-5368d837961b" providerId="ADAL" clId="{A41CC034-EC84-4F05-A9F8-9D0A4747319C}" dt="2023-10-19T16:49:38.066" v="1233" actId="478"/>
          <ac:spMkLst>
            <pc:docMk/>
            <pc:sldMk cId="3999714898" sldId="6492"/>
            <ac:spMk id="6" creationId="{CA37F30B-0C15-4C20-B203-B86996A28ECF}"/>
          </ac:spMkLst>
        </pc:spChg>
        <pc:spChg chg="add mod">
          <ac:chgData name="Niittymies Aleksi" userId="00c1d702-9a1a-46cb-9bcd-5368d837961b" providerId="ADAL" clId="{A41CC034-EC84-4F05-A9F8-9D0A4747319C}" dt="2023-10-19T16:52:50.571" v="1247" actId="1076"/>
          <ac:spMkLst>
            <pc:docMk/>
            <pc:sldMk cId="3999714898" sldId="6492"/>
            <ac:spMk id="8" creationId="{9B04551F-97B2-C5A5-7013-2CBFC20CFE10}"/>
          </ac:spMkLst>
        </pc:spChg>
        <pc:spChg chg="add del mod">
          <ac:chgData name="Niittymies Aleksi" userId="00c1d702-9a1a-46cb-9bcd-5368d837961b" providerId="ADAL" clId="{A41CC034-EC84-4F05-A9F8-9D0A4747319C}" dt="2023-10-19T16:52:42.413" v="1243" actId="478"/>
          <ac:spMkLst>
            <pc:docMk/>
            <pc:sldMk cId="3999714898" sldId="6492"/>
            <ac:spMk id="10" creationId="{7BFE58D7-565C-B33F-2C4C-B9B4BF573A23}"/>
          </ac:spMkLst>
        </pc:spChg>
        <pc:picChg chg="add mod">
          <ac:chgData name="Niittymies Aleksi" userId="00c1d702-9a1a-46cb-9bcd-5368d837961b" providerId="ADAL" clId="{A41CC034-EC84-4F05-A9F8-9D0A4747319C}" dt="2023-10-19T16:52:52.779" v="1248" actId="1076"/>
          <ac:picMkLst>
            <pc:docMk/>
            <pc:sldMk cId="3999714898" sldId="6492"/>
            <ac:picMk id="4" creationId="{D2ABA6F9-3A43-2A01-BDA3-C728BD9626CD}"/>
          </ac:picMkLst>
        </pc:picChg>
      </pc:sldChg>
      <pc:sldChg chg="add del">
        <pc:chgData name="Niittymies Aleksi" userId="00c1d702-9a1a-46cb-9bcd-5368d837961b" providerId="ADAL" clId="{A41CC034-EC84-4F05-A9F8-9D0A4747319C}" dt="2023-10-19T16:42:22.644" v="1185"/>
        <pc:sldMkLst>
          <pc:docMk/>
          <pc:sldMk cId="1182876229" sldId="6493"/>
        </pc:sldMkLst>
      </pc:sldChg>
      <pc:sldChg chg="del">
        <pc:chgData name="Niittymies Aleksi" userId="00c1d702-9a1a-46cb-9bcd-5368d837961b" providerId="ADAL" clId="{A41CC034-EC84-4F05-A9F8-9D0A4747319C}" dt="2023-10-19T16:43:54.029" v="1186" actId="47"/>
        <pc:sldMkLst>
          <pc:docMk/>
          <pc:sldMk cId="1367703117" sldId="6493"/>
        </pc:sldMkLst>
      </pc:sldChg>
      <pc:sldChg chg="modSp add del mod ord modShow">
        <pc:chgData name="Niittymies Aleksi" userId="00c1d702-9a1a-46cb-9bcd-5368d837961b" providerId="ADAL" clId="{A41CC034-EC84-4F05-A9F8-9D0A4747319C}" dt="2023-10-24T10:45:17.274" v="3100" actId="47"/>
        <pc:sldMkLst>
          <pc:docMk/>
          <pc:sldMk cId="4226316838" sldId="6493"/>
        </pc:sldMkLst>
        <pc:spChg chg="mod">
          <ac:chgData name="Niittymies Aleksi" userId="00c1d702-9a1a-46cb-9bcd-5368d837961b" providerId="ADAL" clId="{A41CC034-EC84-4F05-A9F8-9D0A4747319C}" dt="2023-10-20T09:44:05.950" v="1416" actId="20577"/>
          <ac:spMkLst>
            <pc:docMk/>
            <pc:sldMk cId="4226316838" sldId="6493"/>
            <ac:spMk id="5" creationId="{4E79B233-C263-4355-BEE2-6A4CD1ED5B59}"/>
          </ac:spMkLst>
        </pc:spChg>
        <pc:spChg chg="mod">
          <ac:chgData name="Niittymies Aleksi" userId="00c1d702-9a1a-46cb-9bcd-5368d837961b" providerId="ADAL" clId="{A41CC034-EC84-4F05-A9F8-9D0A4747319C}" dt="2023-10-20T10:51:14.754" v="1531" actId="15"/>
          <ac:spMkLst>
            <pc:docMk/>
            <pc:sldMk cId="4226316838" sldId="6493"/>
            <ac:spMk id="6" creationId="{CA37F30B-0C15-4C20-B203-B86996A28ECF}"/>
          </ac:spMkLst>
        </pc:spChg>
      </pc:sldChg>
      <pc:sldChg chg="addSp delSp modSp add ord">
        <pc:chgData name="Niittymies Aleksi" userId="00c1d702-9a1a-46cb-9bcd-5368d837961b" providerId="ADAL" clId="{A41CC034-EC84-4F05-A9F8-9D0A4747319C}" dt="2023-10-21T11:36:23.250" v="2085"/>
        <pc:sldMkLst>
          <pc:docMk/>
          <pc:sldMk cId="984379484" sldId="6494"/>
        </pc:sldMkLst>
        <pc:picChg chg="add del mod">
          <ac:chgData name="Niittymies Aleksi" userId="00c1d702-9a1a-46cb-9bcd-5368d837961b" providerId="ADAL" clId="{A41CC034-EC84-4F05-A9F8-9D0A4747319C}" dt="2023-10-20T12:40:24.225" v="1893" actId="478"/>
          <ac:picMkLst>
            <pc:docMk/>
            <pc:sldMk cId="984379484" sldId="6494"/>
            <ac:picMk id="2050" creationId="{A4665D8D-118B-53FF-D1C8-B1CA12E7E4A1}"/>
          </ac:picMkLst>
        </pc:picChg>
        <pc:picChg chg="add mod">
          <ac:chgData name="Niittymies Aleksi" userId="00c1d702-9a1a-46cb-9bcd-5368d837961b" providerId="ADAL" clId="{A41CC034-EC84-4F05-A9F8-9D0A4747319C}" dt="2023-10-20T12:40:36.079" v="1898" actId="1076"/>
          <ac:picMkLst>
            <pc:docMk/>
            <pc:sldMk cId="984379484" sldId="6494"/>
            <ac:picMk id="2052" creationId="{E53BAE7D-1C1F-CE8A-3D13-565813B0A731}"/>
          </ac:picMkLst>
        </pc:picChg>
      </pc:sldChg>
      <pc:sldChg chg="addSp delSp modSp add mod ord">
        <pc:chgData name="Niittymies Aleksi" userId="00c1d702-9a1a-46cb-9bcd-5368d837961b" providerId="ADAL" clId="{A41CC034-EC84-4F05-A9F8-9D0A4747319C}" dt="2023-10-24T10:05:08.281" v="2689" actId="20577"/>
        <pc:sldMkLst>
          <pc:docMk/>
          <pc:sldMk cId="3329689310" sldId="6495"/>
        </pc:sldMkLst>
        <pc:spChg chg="mod">
          <ac:chgData name="Niittymies Aleksi" userId="00c1d702-9a1a-46cb-9bcd-5368d837961b" providerId="ADAL" clId="{A41CC034-EC84-4F05-A9F8-9D0A4747319C}" dt="2023-10-19T16:46:32.703" v="1224" actId="20577"/>
          <ac:spMkLst>
            <pc:docMk/>
            <pc:sldMk cId="3329689310" sldId="6495"/>
            <ac:spMk id="5" creationId="{4E79B233-C263-4355-BEE2-6A4CD1ED5B59}"/>
          </ac:spMkLst>
        </pc:spChg>
        <pc:spChg chg="mod">
          <ac:chgData name="Niittymies Aleksi" userId="00c1d702-9a1a-46cb-9bcd-5368d837961b" providerId="ADAL" clId="{A41CC034-EC84-4F05-A9F8-9D0A4747319C}" dt="2023-10-24T10:05:08.281" v="2689" actId="20577"/>
          <ac:spMkLst>
            <pc:docMk/>
            <pc:sldMk cId="3329689310" sldId="6495"/>
            <ac:spMk id="6" creationId="{CA37F30B-0C15-4C20-B203-B86996A28ECF}"/>
          </ac:spMkLst>
        </pc:spChg>
        <pc:picChg chg="add del mod">
          <ac:chgData name="Niittymies Aleksi" userId="00c1d702-9a1a-46cb-9bcd-5368d837961b" providerId="ADAL" clId="{A41CC034-EC84-4F05-A9F8-9D0A4747319C}" dt="2023-10-20T12:38:04.532" v="1889" actId="478"/>
          <ac:picMkLst>
            <pc:docMk/>
            <pc:sldMk cId="3329689310" sldId="6495"/>
            <ac:picMk id="2" creationId="{9CED31B3-468D-1877-4B9B-FD082FE6D535}"/>
          </ac:picMkLst>
        </pc:picChg>
        <pc:picChg chg="add mod">
          <ac:chgData name="Niittymies Aleksi" userId="00c1d702-9a1a-46cb-9bcd-5368d837961b" providerId="ADAL" clId="{A41CC034-EC84-4F05-A9F8-9D0A4747319C}" dt="2023-10-20T12:38:11.983" v="1892" actId="1076"/>
          <ac:picMkLst>
            <pc:docMk/>
            <pc:sldMk cId="3329689310" sldId="6495"/>
            <ac:picMk id="4098" creationId="{12ACBFA4-B891-7174-7412-685E784FAA7A}"/>
          </ac:picMkLst>
        </pc:picChg>
      </pc:sldChg>
      <pc:sldChg chg="addSp modSp add mod ord">
        <pc:chgData name="Niittymies Aleksi" userId="00c1d702-9a1a-46cb-9bcd-5368d837961b" providerId="ADAL" clId="{A41CC034-EC84-4F05-A9F8-9D0A4747319C}" dt="2023-10-24T10:45:58.145" v="3143" actId="20577"/>
        <pc:sldMkLst>
          <pc:docMk/>
          <pc:sldMk cId="1916855917" sldId="6496"/>
        </pc:sldMkLst>
        <pc:spChg chg="mod">
          <ac:chgData name="Niittymies Aleksi" userId="00c1d702-9a1a-46cb-9bcd-5368d837961b" providerId="ADAL" clId="{A41CC034-EC84-4F05-A9F8-9D0A4747319C}" dt="2023-10-24T10:45:58.145" v="3143" actId="20577"/>
          <ac:spMkLst>
            <pc:docMk/>
            <pc:sldMk cId="1916855917" sldId="6496"/>
            <ac:spMk id="6" creationId="{CA37F30B-0C15-4C20-B203-B86996A28ECF}"/>
          </ac:spMkLst>
        </pc:spChg>
        <pc:picChg chg="add mod">
          <ac:chgData name="Niittymies Aleksi" userId="00c1d702-9a1a-46cb-9bcd-5368d837961b" providerId="ADAL" clId="{A41CC034-EC84-4F05-A9F8-9D0A4747319C}" dt="2023-10-20T10:55:41.663" v="1589" actId="1076"/>
          <ac:picMkLst>
            <pc:docMk/>
            <pc:sldMk cId="1916855917" sldId="6496"/>
            <ac:picMk id="2" creationId="{7755E236-6444-E84D-AA1D-E7A816DFF629}"/>
          </ac:picMkLst>
        </pc:picChg>
      </pc:sldChg>
      <pc:sldChg chg="add del ord">
        <pc:chgData name="Niittymies Aleksi" userId="00c1d702-9a1a-46cb-9bcd-5368d837961b" providerId="ADAL" clId="{A41CC034-EC84-4F05-A9F8-9D0A4747319C}" dt="2023-10-21T17:01:32.250" v="2352" actId="47"/>
        <pc:sldMkLst>
          <pc:docMk/>
          <pc:sldMk cId="1385544904" sldId="6497"/>
        </pc:sldMkLst>
      </pc:sldChg>
      <pc:sldChg chg="add del">
        <pc:chgData name="Niittymies Aleksi" userId="00c1d702-9a1a-46cb-9bcd-5368d837961b" providerId="ADAL" clId="{A41CC034-EC84-4F05-A9F8-9D0A4747319C}" dt="2023-10-19T16:54:46.778" v="1249" actId="47"/>
        <pc:sldMkLst>
          <pc:docMk/>
          <pc:sldMk cId="4177102889" sldId="6497"/>
        </pc:sldMkLst>
      </pc:sldChg>
      <pc:sldChg chg="modSp del mod">
        <pc:chgData name="Niittymies Aleksi" userId="00c1d702-9a1a-46cb-9bcd-5368d837961b" providerId="ADAL" clId="{A41CC034-EC84-4F05-A9F8-9D0A4747319C}" dt="2023-10-21T17:02:48.515" v="2358" actId="47"/>
        <pc:sldMkLst>
          <pc:docMk/>
          <pc:sldMk cId="1501035965" sldId="6498"/>
        </pc:sldMkLst>
        <pc:spChg chg="mod">
          <ac:chgData name="Niittymies Aleksi" userId="00c1d702-9a1a-46cb-9bcd-5368d837961b" providerId="ADAL" clId="{A41CC034-EC84-4F05-A9F8-9D0A4747319C}" dt="2023-10-20T11:51:17.701" v="1844" actId="113"/>
          <ac:spMkLst>
            <pc:docMk/>
            <pc:sldMk cId="1501035965" sldId="6498"/>
            <ac:spMk id="3" creationId="{CF3F630B-0F73-483A-838D-6B23394D1B86}"/>
          </ac:spMkLst>
        </pc:spChg>
      </pc:sldChg>
      <pc:sldChg chg="addSp modSp add del">
        <pc:chgData name="Niittymies Aleksi" userId="00c1d702-9a1a-46cb-9bcd-5368d837961b" providerId="ADAL" clId="{A41CC034-EC84-4F05-A9F8-9D0A4747319C}" dt="2023-10-20T12:41:29.396" v="1901" actId="47"/>
        <pc:sldMkLst>
          <pc:docMk/>
          <pc:sldMk cId="508067728" sldId="6499"/>
        </pc:sldMkLst>
        <pc:picChg chg="add mod">
          <ac:chgData name="Niittymies Aleksi" userId="00c1d702-9a1a-46cb-9bcd-5368d837961b" providerId="ADAL" clId="{A41CC034-EC84-4F05-A9F8-9D0A4747319C}" dt="2023-10-20T12:41:08.424" v="1900" actId="1076"/>
          <ac:picMkLst>
            <pc:docMk/>
            <pc:sldMk cId="508067728" sldId="6499"/>
            <ac:picMk id="2" creationId="{A47C0EB2-B0C1-5593-3805-BCB5F9A6F1A4}"/>
          </ac:picMkLst>
        </pc:picChg>
      </pc:sldChg>
      <pc:sldChg chg="del">
        <pc:chgData name="Niittymies Aleksi" userId="00c1d702-9a1a-46cb-9bcd-5368d837961b" providerId="ADAL" clId="{A41CC034-EC84-4F05-A9F8-9D0A4747319C}" dt="2023-10-20T12:46:24.369" v="1959" actId="47"/>
        <pc:sldMkLst>
          <pc:docMk/>
          <pc:sldMk cId="3295361793" sldId="6500"/>
        </pc:sldMkLst>
      </pc:sldChg>
      <pc:sldChg chg="add">
        <pc:chgData name="Niittymies Aleksi" userId="00c1d702-9a1a-46cb-9bcd-5368d837961b" providerId="ADAL" clId="{A41CC034-EC84-4F05-A9F8-9D0A4747319C}" dt="2023-10-20T10:53:06.111" v="1532" actId="2890"/>
        <pc:sldMkLst>
          <pc:docMk/>
          <pc:sldMk cId="2753825767" sldId="6501"/>
        </pc:sldMkLst>
      </pc:sldChg>
      <pc:sldChg chg="addSp modSp add mod ord">
        <pc:chgData name="Niittymies Aleksi" userId="00c1d702-9a1a-46cb-9bcd-5368d837961b" providerId="ADAL" clId="{A41CC034-EC84-4F05-A9F8-9D0A4747319C}" dt="2023-10-21T17:02:05.526" v="2356"/>
        <pc:sldMkLst>
          <pc:docMk/>
          <pc:sldMk cId="3404113290" sldId="6502"/>
        </pc:sldMkLst>
        <pc:spChg chg="mod">
          <ac:chgData name="Niittymies Aleksi" userId="00c1d702-9a1a-46cb-9bcd-5368d837961b" providerId="ADAL" clId="{A41CC034-EC84-4F05-A9F8-9D0A4747319C}" dt="2023-10-20T11:48:21.343" v="1838" actId="20577"/>
          <ac:spMkLst>
            <pc:docMk/>
            <pc:sldMk cId="3404113290" sldId="6502"/>
            <ac:spMk id="5" creationId="{4E79B233-C263-4355-BEE2-6A4CD1ED5B59}"/>
          </ac:spMkLst>
        </pc:spChg>
        <pc:spChg chg="mod">
          <ac:chgData name="Niittymies Aleksi" userId="00c1d702-9a1a-46cb-9bcd-5368d837961b" providerId="ADAL" clId="{A41CC034-EC84-4F05-A9F8-9D0A4747319C}" dt="2023-10-20T10:53:56.286" v="1575" actId="14100"/>
          <ac:spMkLst>
            <pc:docMk/>
            <pc:sldMk cId="3404113290" sldId="6502"/>
            <ac:spMk id="6" creationId="{CA37F30B-0C15-4C20-B203-B86996A28ECF}"/>
          </ac:spMkLst>
        </pc:spChg>
        <pc:picChg chg="add mod">
          <ac:chgData name="Niittymies Aleksi" userId="00c1d702-9a1a-46cb-9bcd-5368d837961b" providerId="ADAL" clId="{A41CC034-EC84-4F05-A9F8-9D0A4747319C}" dt="2023-10-20T10:54:48.239" v="1579" actId="1076"/>
          <ac:picMkLst>
            <pc:docMk/>
            <pc:sldMk cId="3404113290" sldId="6502"/>
            <ac:picMk id="1026" creationId="{C662B983-3720-D591-354D-2D5660C50325}"/>
          </ac:picMkLst>
        </pc:picChg>
      </pc:sldChg>
      <pc:sldChg chg="modSp add mod ord">
        <pc:chgData name="Niittymies Aleksi" userId="00c1d702-9a1a-46cb-9bcd-5368d837961b" providerId="ADAL" clId="{A41CC034-EC84-4F05-A9F8-9D0A4747319C}" dt="2023-10-21T17:02:05.526" v="2356"/>
        <pc:sldMkLst>
          <pc:docMk/>
          <pc:sldMk cId="2323915524" sldId="6503"/>
        </pc:sldMkLst>
        <pc:spChg chg="mod">
          <ac:chgData name="Niittymies Aleksi" userId="00c1d702-9a1a-46cb-9bcd-5368d837961b" providerId="ADAL" clId="{A41CC034-EC84-4F05-A9F8-9D0A4747319C}" dt="2023-10-21T16:59:17.809" v="2344" actId="14100"/>
          <ac:spMkLst>
            <pc:docMk/>
            <pc:sldMk cId="2323915524" sldId="6503"/>
            <ac:spMk id="5" creationId="{4E79B233-C263-4355-BEE2-6A4CD1ED5B59}"/>
          </ac:spMkLst>
        </pc:spChg>
        <pc:spChg chg="mod">
          <ac:chgData name="Niittymies Aleksi" userId="00c1d702-9a1a-46cb-9bcd-5368d837961b" providerId="ADAL" clId="{A41CC034-EC84-4F05-A9F8-9D0A4747319C}" dt="2023-10-20T10:58:35.804" v="1598" actId="15"/>
          <ac:spMkLst>
            <pc:docMk/>
            <pc:sldMk cId="2323915524" sldId="6503"/>
            <ac:spMk id="6" creationId="{CA37F30B-0C15-4C20-B203-B86996A28ECF}"/>
          </ac:spMkLst>
        </pc:spChg>
      </pc:sldChg>
      <pc:sldChg chg="modSp add mod ord">
        <pc:chgData name="Niittymies Aleksi" userId="00c1d702-9a1a-46cb-9bcd-5368d837961b" providerId="ADAL" clId="{A41CC034-EC84-4F05-A9F8-9D0A4747319C}" dt="2023-10-21T17:02:05.526" v="2356"/>
        <pc:sldMkLst>
          <pc:docMk/>
          <pc:sldMk cId="1856887595" sldId="6504"/>
        </pc:sldMkLst>
        <pc:spChg chg="mod">
          <ac:chgData name="Niittymies Aleksi" userId="00c1d702-9a1a-46cb-9bcd-5368d837961b" providerId="ADAL" clId="{A41CC034-EC84-4F05-A9F8-9D0A4747319C}" dt="2023-10-20T10:58:52.376" v="1600"/>
          <ac:spMkLst>
            <pc:docMk/>
            <pc:sldMk cId="1856887595" sldId="6504"/>
            <ac:spMk id="5" creationId="{4E79B233-C263-4355-BEE2-6A4CD1ED5B59}"/>
          </ac:spMkLst>
        </pc:spChg>
        <pc:spChg chg="mod">
          <ac:chgData name="Niittymies Aleksi" userId="00c1d702-9a1a-46cb-9bcd-5368d837961b" providerId="ADAL" clId="{A41CC034-EC84-4F05-A9F8-9D0A4747319C}" dt="2023-10-20T10:59:03.760" v="1602" actId="1076"/>
          <ac:spMkLst>
            <pc:docMk/>
            <pc:sldMk cId="1856887595" sldId="6504"/>
            <ac:spMk id="6" creationId="{CA37F30B-0C15-4C20-B203-B86996A28ECF}"/>
          </ac:spMkLst>
        </pc:spChg>
      </pc:sldChg>
      <pc:sldChg chg="modSp add del mod ord">
        <pc:chgData name="Niittymies Aleksi" userId="00c1d702-9a1a-46cb-9bcd-5368d837961b" providerId="ADAL" clId="{A41CC034-EC84-4F05-A9F8-9D0A4747319C}" dt="2023-10-20T11:49:47.175" v="1839" actId="47"/>
        <pc:sldMkLst>
          <pc:docMk/>
          <pc:sldMk cId="2506506502" sldId="6505"/>
        </pc:sldMkLst>
        <pc:spChg chg="mod">
          <ac:chgData name="Niittymies Aleksi" userId="00c1d702-9a1a-46cb-9bcd-5368d837961b" providerId="ADAL" clId="{A41CC034-EC84-4F05-A9F8-9D0A4747319C}" dt="2023-10-20T10:59:29.272" v="1620" actId="20577"/>
          <ac:spMkLst>
            <pc:docMk/>
            <pc:sldMk cId="2506506502" sldId="6505"/>
            <ac:spMk id="5" creationId="{4E79B233-C263-4355-BEE2-6A4CD1ED5B59}"/>
          </ac:spMkLst>
        </pc:spChg>
        <pc:spChg chg="mod">
          <ac:chgData name="Niittymies Aleksi" userId="00c1d702-9a1a-46cb-9bcd-5368d837961b" providerId="ADAL" clId="{A41CC034-EC84-4F05-A9F8-9D0A4747319C}" dt="2023-10-20T10:59:45.817" v="1623" actId="15"/>
          <ac:spMkLst>
            <pc:docMk/>
            <pc:sldMk cId="2506506502" sldId="6505"/>
            <ac:spMk id="6" creationId="{CA37F30B-0C15-4C20-B203-B86996A28ECF}"/>
          </ac:spMkLst>
        </pc:spChg>
      </pc:sldChg>
      <pc:sldChg chg="addSp delSp modSp add mod ord">
        <pc:chgData name="Niittymies Aleksi" userId="00c1d702-9a1a-46cb-9bcd-5368d837961b" providerId="ADAL" clId="{A41CC034-EC84-4F05-A9F8-9D0A4747319C}" dt="2023-10-21T17:02:05.526" v="2356"/>
        <pc:sldMkLst>
          <pc:docMk/>
          <pc:sldMk cId="2273617779" sldId="6506"/>
        </pc:sldMkLst>
        <pc:spChg chg="add mod">
          <ac:chgData name="Niittymies Aleksi" userId="00c1d702-9a1a-46cb-9bcd-5368d837961b" providerId="ADAL" clId="{A41CC034-EC84-4F05-A9F8-9D0A4747319C}" dt="2023-10-20T11:32:31.388" v="1772" actId="20577"/>
          <ac:spMkLst>
            <pc:docMk/>
            <pc:sldMk cId="2273617779" sldId="6506"/>
            <ac:spMk id="3" creationId="{FF423F83-62FA-8FAD-E512-7A6C82FD2D10}"/>
          </ac:spMkLst>
        </pc:spChg>
        <pc:spChg chg="mod">
          <ac:chgData name="Niittymies Aleksi" userId="00c1d702-9a1a-46cb-9bcd-5368d837961b" providerId="ADAL" clId="{A41CC034-EC84-4F05-A9F8-9D0A4747319C}" dt="2023-10-20T11:32:01.763" v="1711" actId="20577"/>
          <ac:spMkLst>
            <pc:docMk/>
            <pc:sldMk cId="2273617779" sldId="6506"/>
            <ac:spMk id="5" creationId="{4E79B233-C263-4355-BEE2-6A4CD1ED5B59}"/>
          </ac:spMkLst>
        </pc:spChg>
        <pc:spChg chg="del">
          <ac:chgData name="Niittymies Aleksi" userId="00c1d702-9a1a-46cb-9bcd-5368d837961b" providerId="ADAL" clId="{A41CC034-EC84-4F05-A9F8-9D0A4747319C}" dt="2023-10-20T11:31:35.017" v="1685" actId="478"/>
          <ac:spMkLst>
            <pc:docMk/>
            <pc:sldMk cId="2273617779" sldId="6506"/>
            <ac:spMk id="6" creationId="{CA37F30B-0C15-4C20-B203-B86996A28ECF}"/>
          </ac:spMkLst>
        </pc:spChg>
        <pc:picChg chg="add mod">
          <ac:chgData name="Niittymies Aleksi" userId="00c1d702-9a1a-46cb-9bcd-5368d837961b" providerId="ADAL" clId="{A41CC034-EC84-4F05-A9F8-9D0A4747319C}" dt="2023-10-20T11:38:40.182" v="1775" actId="1076"/>
          <ac:picMkLst>
            <pc:docMk/>
            <pc:sldMk cId="2273617779" sldId="6506"/>
            <ac:picMk id="4" creationId="{5C2C20B1-928B-8216-2B58-386F6D43ABC6}"/>
          </ac:picMkLst>
        </pc:picChg>
      </pc:sldChg>
      <pc:sldChg chg="del">
        <pc:chgData name="Niittymies Aleksi" userId="00c1d702-9a1a-46cb-9bcd-5368d837961b" providerId="ADAL" clId="{A41CC034-EC84-4F05-A9F8-9D0A4747319C}" dt="2023-10-21T16:35:44.538" v="2090" actId="47"/>
        <pc:sldMkLst>
          <pc:docMk/>
          <pc:sldMk cId="2916203252" sldId="6507"/>
        </pc:sldMkLst>
      </pc:sldChg>
      <pc:sldChg chg="modSp add del mod">
        <pc:chgData name="Niittymies Aleksi" userId="00c1d702-9a1a-46cb-9bcd-5368d837961b" providerId="ADAL" clId="{A41CC034-EC84-4F05-A9F8-9D0A4747319C}" dt="2023-10-21T17:02:51.826" v="2359" actId="47"/>
        <pc:sldMkLst>
          <pc:docMk/>
          <pc:sldMk cId="3835154550" sldId="6508"/>
        </pc:sldMkLst>
        <pc:spChg chg="mod">
          <ac:chgData name="Niittymies Aleksi" userId="00c1d702-9a1a-46cb-9bcd-5368d837961b" providerId="ADAL" clId="{A41CC034-EC84-4F05-A9F8-9D0A4747319C}" dt="2023-10-20T11:51:11.021" v="1843" actId="113"/>
          <ac:spMkLst>
            <pc:docMk/>
            <pc:sldMk cId="3835154550" sldId="6508"/>
            <ac:spMk id="3" creationId="{CF3F630B-0F73-483A-838D-6B23394D1B86}"/>
          </ac:spMkLst>
        </pc:spChg>
      </pc:sldChg>
      <pc:sldChg chg="addSp delSp modSp add del mod">
        <pc:chgData name="Niittymies Aleksi" userId="00c1d702-9a1a-46cb-9bcd-5368d837961b" providerId="ADAL" clId="{A41CC034-EC84-4F05-A9F8-9D0A4747319C}" dt="2023-10-20T11:55:13.895" v="1860" actId="47"/>
        <pc:sldMkLst>
          <pc:docMk/>
          <pc:sldMk cId="630532044" sldId="6509"/>
        </pc:sldMkLst>
        <pc:spChg chg="mod">
          <ac:chgData name="Niittymies Aleksi" userId="00c1d702-9a1a-46cb-9bcd-5368d837961b" providerId="ADAL" clId="{A41CC034-EC84-4F05-A9F8-9D0A4747319C}" dt="2023-10-20T11:53:51.052" v="1849" actId="20577"/>
          <ac:spMkLst>
            <pc:docMk/>
            <pc:sldMk cId="630532044" sldId="6509"/>
            <ac:spMk id="6" creationId="{CA37F30B-0C15-4C20-B203-B86996A28ECF}"/>
          </ac:spMkLst>
        </pc:spChg>
        <pc:picChg chg="add del mod">
          <ac:chgData name="Niittymies Aleksi" userId="00c1d702-9a1a-46cb-9bcd-5368d837961b" providerId="ADAL" clId="{A41CC034-EC84-4F05-A9F8-9D0A4747319C}" dt="2023-10-20T11:55:02.083" v="1855" actId="21"/>
          <ac:picMkLst>
            <pc:docMk/>
            <pc:sldMk cId="630532044" sldId="6509"/>
            <ac:picMk id="2" creationId="{0AA295A0-DD40-76C6-F635-9EAC162809E2}"/>
          </ac:picMkLst>
        </pc:picChg>
      </pc:sldChg>
      <pc:sldChg chg="addSp delSp modSp add mod modClrScheme chgLayout">
        <pc:chgData name="Niittymies Aleksi" userId="00c1d702-9a1a-46cb-9bcd-5368d837961b" providerId="ADAL" clId="{A41CC034-EC84-4F05-A9F8-9D0A4747319C}" dt="2023-10-20T12:51:06.900" v="1988" actId="404"/>
        <pc:sldMkLst>
          <pc:docMk/>
          <pc:sldMk cId="921956387" sldId="6509"/>
        </pc:sldMkLst>
        <pc:spChg chg="add del mod">
          <ac:chgData name="Niittymies Aleksi" userId="00c1d702-9a1a-46cb-9bcd-5368d837961b" providerId="ADAL" clId="{A41CC034-EC84-4F05-A9F8-9D0A4747319C}" dt="2023-10-20T12:50:41.896" v="1980" actId="21"/>
          <ac:spMkLst>
            <pc:docMk/>
            <pc:sldMk cId="921956387" sldId="6509"/>
            <ac:spMk id="3" creationId="{BEB826C6-44C1-3F38-AFFC-E4F66C7ABB67}"/>
          </ac:spMkLst>
        </pc:spChg>
        <pc:spChg chg="add del mod">
          <ac:chgData name="Niittymies Aleksi" userId="00c1d702-9a1a-46cb-9bcd-5368d837961b" providerId="ADAL" clId="{A41CC034-EC84-4F05-A9F8-9D0A4747319C}" dt="2023-10-20T12:49:29.637" v="1963"/>
          <ac:spMkLst>
            <pc:docMk/>
            <pc:sldMk cId="921956387" sldId="6509"/>
            <ac:spMk id="4" creationId="{AEA8EA50-E3D2-9438-FDC2-F14CBA39B26F}"/>
          </ac:spMkLst>
        </pc:spChg>
        <pc:spChg chg="del mod">
          <ac:chgData name="Niittymies Aleksi" userId="00c1d702-9a1a-46cb-9bcd-5368d837961b" providerId="ADAL" clId="{A41CC034-EC84-4F05-A9F8-9D0A4747319C}" dt="2023-10-20T12:50:59.254" v="1985" actId="478"/>
          <ac:spMkLst>
            <pc:docMk/>
            <pc:sldMk cId="921956387" sldId="6509"/>
            <ac:spMk id="5" creationId="{4E79B233-C263-4355-BEE2-6A4CD1ED5B59}"/>
          </ac:spMkLst>
        </pc:spChg>
        <pc:spChg chg="add del mod">
          <ac:chgData name="Niittymies Aleksi" userId="00c1d702-9a1a-46cb-9bcd-5368d837961b" providerId="ADAL" clId="{A41CC034-EC84-4F05-A9F8-9D0A4747319C}" dt="2023-10-20T12:50:48.445" v="1981" actId="26606"/>
          <ac:spMkLst>
            <pc:docMk/>
            <pc:sldMk cId="921956387" sldId="6509"/>
            <ac:spMk id="6" creationId="{CA37F30B-0C15-4C20-B203-B86996A28ECF}"/>
          </ac:spMkLst>
        </pc:spChg>
        <pc:spChg chg="add del">
          <ac:chgData name="Niittymies Aleksi" userId="00c1d702-9a1a-46cb-9bcd-5368d837961b" providerId="ADAL" clId="{A41CC034-EC84-4F05-A9F8-9D0A4747319C}" dt="2023-10-20T12:50:38.688" v="1978" actId="22"/>
          <ac:spMkLst>
            <pc:docMk/>
            <pc:sldMk cId="921956387" sldId="6509"/>
            <ac:spMk id="8" creationId="{886F3786-6B8C-60D8-7A32-3E8079CD407B}"/>
          </ac:spMkLst>
        </pc:spChg>
        <pc:spChg chg="add mod">
          <ac:chgData name="Niittymies Aleksi" userId="00c1d702-9a1a-46cb-9bcd-5368d837961b" providerId="ADAL" clId="{A41CC034-EC84-4F05-A9F8-9D0A4747319C}" dt="2023-10-20T12:50:50.321" v="1982"/>
          <ac:spMkLst>
            <pc:docMk/>
            <pc:sldMk cId="921956387" sldId="6509"/>
            <ac:spMk id="9" creationId="{719B780C-B20C-A6D9-B94F-333D0A75A2B9}"/>
          </ac:spMkLst>
        </pc:spChg>
        <pc:spChg chg="mod modVis">
          <ac:chgData name="Niittymies Aleksi" userId="00c1d702-9a1a-46cb-9bcd-5368d837961b" providerId="ADAL" clId="{A41CC034-EC84-4F05-A9F8-9D0A4747319C}" dt="2023-10-20T12:50:48.445" v="1981" actId="26606"/>
          <ac:spMkLst>
            <pc:docMk/>
            <pc:sldMk cId="921956387" sldId="6509"/>
            <ac:spMk id="162818" creationId="{4AF7E206-83A6-4CF2-9358-B1234F00AF45}"/>
          </ac:spMkLst>
        </pc:spChg>
        <pc:spChg chg="add mod">
          <ac:chgData name="Niittymies Aleksi" userId="00c1d702-9a1a-46cb-9bcd-5368d837961b" providerId="ADAL" clId="{A41CC034-EC84-4F05-A9F8-9D0A4747319C}" dt="2023-10-20T12:51:06.900" v="1988" actId="404"/>
          <ac:spMkLst>
            <pc:docMk/>
            <pc:sldMk cId="921956387" sldId="6509"/>
            <ac:spMk id="162823" creationId="{8D49ECDF-864D-1B71-9B43-65FAF541D334}"/>
          </ac:spMkLst>
        </pc:spChg>
        <pc:spChg chg="add del mod">
          <ac:chgData name="Niittymies Aleksi" userId="00c1d702-9a1a-46cb-9bcd-5368d837961b" providerId="ADAL" clId="{A41CC034-EC84-4F05-A9F8-9D0A4747319C}" dt="2023-10-20T12:50:30.232" v="1974" actId="26606"/>
          <ac:spMkLst>
            <pc:docMk/>
            <pc:sldMk cId="921956387" sldId="6509"/>
            <ac:spMk id="162824" creationId="{7647CFC7-18F3-E940-7357-1133355AB249}"/>
          </ac:spMkLst>
        </pc:spChg>
        <pc:graphicFrameChg chg="add del">
          <ac:chgData name="Niittymies Aleksi" userId="00c1d702-9a1a-46cb-9bcd-5368d837961b" providerId="ADAL" clId="{A41CC034-EC84-4F05-A9F8-9D0A4747319C}" dt="2023-10-20T12:49:45.936" v="1968" actId="26606"/>
          <ac:graphicFrameMkLst>
            <pc:docMk/>
            <pc:sldMk cId="921956387" sldId="6509"/>
            <ac:graphicFrameMk id="162820" creationId="{FA9365D7-9FD2-2F2D-941A-F5BD9788AE87}"/>
          </ac:graphicFrameMkLst>
        </pc:graphicFrameChg>
        <pc:graphicFrameChg chg="add del">
          <ac:chgData name="Niittymies Aleksi" userId="00c1d702-9a1a-46cb-9bcd-5368d837961b" providerId="ADAL" clId="{A41CC034-EC84-4F05-A9F8-9D0A4747319C}" dt="2023-10-20T12:50:12.109" v="1970" actId="26606"/>
          <ac:graphicFrameMkLst>
            <pc:docMk/>
            <pc:sldMk cId="921956387" sldId="6509"/>
            <ac:graphicFrameMk id="162821" creationId="{6A0384E1-3575-2C77-C4C8-6688A4576DFD}"/>
          </ac:graphicFrameMkLst>
        </pc:graphicFrameChg>
        <pc:graphicFrameChg chg="add del">
          <ac:chgData name="Niittymies Aleksi" userId="00c1d702-9a1a-46cb-9bcd-5368d837961b" providerId="ADAL" clId="{A41CC034-EC84-4F05-A9F8-9D0A4747319C}" dt="2023-10-20T12:50:30.232" v="1974" actId="26606"/>
          <ac:graphicFrameMkLst>
            <pc:docMk/>
            <pc:sldMk cId="921956387" sldId="6509"/>
            <ac:graphicFrameMk id="162822" creationId="{0363B3FF-AA7D-9BD6-03BD-49670F849A08}"/>
          </ac:graphicFrameMkLst>
        </pc:graphicFrameChg>
        <pc:graphicFrameChg chg="add">
          <ac:chgData name="Niittymies Aleksi" userId="00c1d702-9a1a-46cb-9bcd-5368d837961b" providerId="ADAL" clId="{A41CC034-EC84-4F05-A9F8-9D0A4747319C}" dt="2023-10-20T12:50:48.445" v="1981" actId="26606"/>
          <ac:graphicFrameMkLst>
            <pc:docMk/>
            <pc:sldMk cId="921956387" sldId="6509"/>
            <ac:graphicFrameMk id="162825" creationId="{5FD9EF2F-7345-AE5F-885E-2E3DE927AE81}"/>
          </ac:graphicFrameMkLst>
        </pc:graphicFrameChg>
        <pc:picChg chg="del">
          <ac:chgData name="Niittymies Aleksi" userId="00c1d702-9a1a-46cb-9bcd-5368d837961b" providerId="ADAL" clId="{A41CC034-EC84-4F05-A9F8-9D0A4747319C}" dt="2023-10-20T12:46:08.016" v="1956" actId="478"/>
          <ac:picMkLst>
            <pc:docMk/>
            <pc:sldMk cId="921956387" sldId="6509"/>
            <ac:picMk id="2" creationId="{2FFE3E07-AE90-EF6C-0CAE-5215CAC4A812}"/>
          </ac:picMkLst>
        </pc:picChg>
      </pc:sldChg>
      <pc:sldChg chg="addSp delSp modSp add mod ord">
        <pc:chgData name="Niittymies Aleksi" userId="00c1d702-9a1a-46cb-9bcd-5368d837961b" providerId="ADAL" clId="{A41CC034-EC84-4F05-A9F8-9D0A4747319C}" dt="2023-10-24T10:01:07.146" v="2609" actId="20577"/>
        <pc:sldMkLst>
          <pc:docMk/>
          <pc:sldMk cId="2515855588" sldId="6510"/>
        </pc:sldMkLst>
        <pc:spChg chg="mod">
          <ac:chgData name="Niittymies Aleksi" userId="00c1d702-9a1a-46cb-9bcd-5368d837961b" providerId="ADAL" clId="{A41CC034-EC84-4F05-A9F8-9D0A4747319C}" dt="2023-10-21T16:38:12.405" v="2108" actId="20577"/>
          <ac:spMkLst>
            <pc:docMk/>
            <pc:sldMk cId="2515855588" sldId="6510"/>
            <ac:spMk id="5" creationId="{4E79B233-C263-4355-BEE2-6A4CD1ED5B59}"/>
          </ac:spMkLst>
        </pc:spChg>
        <pc:spChg chg="mod">
          <ac:chgData name="Niittymies Aleksi" userId="00c1d702-9a1a-46cb-9bcd-5368d837961b" providerId="ADAL" clId="{A41CC034-EC84-4F05-A9F8-9D0A4747319C}" dt="2023-10-24T10:01:07.146" v="2609" actId="20577"/>
          <ac:spMkLst>
            <pc:docMk/>
            <pc:sldMk cId="2515855588" sldId="6510"/>
            <ac:spMk id="6" creationId="{CA37F30B-0C15-4C20-B203-B86996A28ECF}"/>
          </ac:spMkLst>
        </pc:spChg>
        <pc:picChg chg="del">
          <ac:chgData name="Niittymies Aleksi" userId="00c1d702-9a1a-46cb-9bcd-5368d837961b" providerId="ADAL" clId="{A41CC034-EC84-4F05-A9F8-9D0A4747319C}" dt="2023-10-21T16:40:50.018" v="2211" actId="478"/>
          <ac:picMkLst>
            <pc:docMk/>
            <pc:sldMk cId="2515855588" sldId="6510"/>
            <ac:picMk id="2052" creationId="{E53BAE7D-1C1F-CE8A-3D13-565813B0A731}"/>
          </ac:picMkLst>
        </pc:picChg>
        <pc:picChg chg="add mod">
          <ac:chgData name="Niittymies Aleksi" userId="00c1d702-9a1a-46cb-9bcd-5368d837961b" providerId="ADAL" clId="{A41CC034-EC84-4F05-A9F8-9D0A4747319C}" dt="2023-10-21T16:40:56.737" v="2214" actId="1076"/>
          <ac:picMkLst>
            <pc:docMk/>
            <pc:sldMk cId="2515855588" sldId="6510"/>
            <ac:picMk id="6146" creationId="{4AB4B213-1ECE-5E4B-11E2-16AD30D9C7E6}"/>
          </ac:picMkLst>
        </pc:picChg>
      </pc:sldChg>
      <pc:sldChg chg="modSp add mod ord">
        <pc:chgData name="Niittymies Aleksi" userId="00c1d702-9a1a-46cb-9bcd-5368d837961b" providerId="ADAL" clId="{A41CC034-EC84-4F05-A9F8-9D0A4747319C}" dt="2023-10-21T17:14:12.708" v="2389" actId="113"/>
        <pc:sldMkLst>
          <pc:docMk/>
          <pc:sldMk cId="2555860637" sldId="6511"/>
        </pc:sldMkLst>
        <pc:spChg chg="mod">
          <ac:chgData name="Niittymies Aleksi" userId="00c1d702-9a1a-46cb-9bcd-5368d837961b" providerId="ADAL" clId="{A41CC034-EC84-4F05-A9F8-9D0A4747319C}" dt="2023-10-21T17:14:12.708" v="2389" actId="113"/>
          <ac:spMkLst>
            <pc:docMk/>
            <pc:sldMk cId="2555860637" sldId="6511"/>
            <ac:spMk id="3" creationId="{CF3F630B-0F73-483A-838D-6B23394D1B86}"/>
          </ac:spMkLst>
        </pc:spChg>
      </pc:sldChg>
      <pc:sldChg chg="modSp mod">
        <pc:chgData name="Niittymies Aleksi" userId="00c1d702-9a1a-46cb-9bcd-5368d837961b" providerId="ADAL" clId="{A41CC034-EC84-4F05-A9F8-9D0A4747319C}" dt="2023-10-21T17:14:08.181" v="2388" actId="113"/>
        <pc:sldMkLst>
          <pc:docMk/>
          <pc:sldMk cId="3919083279" sldId="6512"/>
        </pc:sldMkLst>
        <pc:spChg chg="mod">
          <ac:chgData name="Niittymies Aleksi" userId="00c1d702-9a1a-46cb-9bcd-5368d837961b" providerId="ADAL" clId="{A41CC034-EC84-4F05-A9F8-9D0A4747319C}" dt="2023-10-21T17:14:08.181" v="2388" actId="113"/>
          <ac:spMkLst>
            <pc:docMk/>
            <pc:sldMk cId="3919083279" sldId="6512"/>
            <ac:spMk id="3" creationId="{CF3F630B-0F73-483A-838D-6B23394D1B86}"/>
          </ac:spMkLst>
        </pc:spChg>
      </pc:sldChg>
      <pc:sldChg chg="modSp new del mod ord">
        <pc:chgData name="Niittymies Aleksi" userId="00c1d702-9a1a-46cb-9bcd-5368d837961b" providerId="ADAL" clId="{A41CC034-EC84-4F05-A9F8-9D0A4747319C}" dt="2023-10-24T11:20:13.742" v="3403" actId="47"/>
        <pc:sldMkLst>
          <pc:docMk/>
          <pc:sldMk cId="1967199844" sldId="6513"/>
        </pc:sldMkLst>
        <pc:spChg chg="mod">
          <ac:chgData name="Niittymies Aleksi" userId="00c1d702-9a1a-46cb-9bcd-5368d837961b" providerId="ADAL" clId="{A41CC034-EC84-4F05-A9F8-9D0A4747319C}" dt="2023-10-24T10:56:02.703" v="3267" actId="20577"/>
          <ac:spMkLst>
            <pc:docMk/>
            <pc:sldMk cId="1967199844" sldId="6513"/>
            <ac:spMk id="2" creationId="{9029C6A4-7A8C-6AF4-5F9F-07E4556F4C87}"/>
          </ac:spMkLst>
        </pc:spChg>
        <pc:spChg chg="mod">
          <ac:chgData name="Niittymies Aleksi" userId="00c1d702-9a1a-46cb-9bcd-5368d837961b" providerId="ADAL" clId="{A41CC034-EC84-4F05-A9F8-9D0A4747319C}" dt="2023-10-24T10:46:55.696" v="3247" actId="20577"/>
          <ac:spMkLst>
            <pc:docMk/>
            <pc:sldMk cId="1967199844" sldId="6513"/>
            <ac:spMk id="3" creationId="{C865C307-4642-1086-F418-BAA073798823}"/>
          </ac:spMkLst>
        </pc:spChg>
      </pc:sldChg>
      <pc:sldChg chg="addSp delSp modSp add mod ord">
        <pc:chgData name="Niittymies Aleksi" userId="00c1d702-9a1a-46cb-9bcd-5368d837961b" providerId="ADAL" clId="{A41CC034-EC84-4F05-A9F8-9D0A4747319C}" dt="2023-10-24T09:56:04.337" v="2516" actId="13822"/>
        <pc:sldMkLst>
          <pc:docMk/>
          <pc:sldMk cId="858044239" sldId="6514"/>
        </pc:sldMkLst>
        <pc:spChg chg="add del mod">
          <ac:chgData name="Niittymies Aleksi" userId="00c1d702-9a1a-46cb-9bcd-5368d837961b" providerId="ADAL" clId="{A41CC034-EC84-4F05-A9F8-9D0A4747319C}" dt="2023-10-24T09:53:33.565" v="2439" actId="478"/>
          <ac:spMkLst>
            <pc:docMk/>
            <pc:sldMk cId="858044239" sldId="6514"/>
            <ac:spMk id="3" creationId="{043D56DF-FFF3-4F63-F76A-3E60D5E08B26}"/>
          </ac:spMkLst>
        </pc:spChg>
        <pc:spChg chg="add mod">
          <ac:chgData name="Niittymies Aleksi" userId="00c1d702-9a1a-46cb-9bcd-5368d837961b" providerId="ADAL" clId="{A41CC034-EC84-4F05-A9F8-9D0A4747319C}" dt="2023-10-24T09:54:14.436" v="2469" actId="1076"/>
          <ac:spMkLst>
            <pc:docMk/>
            <pc:sldMk cId="858044239" sldId="6514"/>
            <ac:spMk id="4" creationId="{48C8DD5A-826D-61ED-E8A6-69F598C77030}"/>
          </ac:spMkLst>
        </pc:spChg>
        <pc:spChg chg="mod">
          <ac:chgData name="Niittymies Aleksi" userId="00c1d702-9a1a-46cb-9bcd-5368d837961b" providerId="ADAL" clId="{A41CC034-EC84-4F05-A9F8-9D0A4747319C}" dt="2023-10-24T09:55:51.359" v="2514" actId="20577"/>
          <ac:spMkLst>
            <pc:docMk/>
            <pc:sldMk cId="858044239" sldId="6514"/>
            <ac:spMk id="5" creationId="{4E79B233-C263-4355-BEE2-6A4CD1ED5B59}"/>
          </ac:spMkLst>
        </pc:spChg>
        <pc:spChg chg="del">
          <ac:chgData name="Niittymies Aleksi" userId="00c1d702-9a1a-46cb-9bcd-5368d837961b" providerId="ADAL" clId="{A41CC034-EC84-4F05-A9F8-9D0A4747319C}" dt="2023-10-24T09:53:31.287" v="2438" actId="478"/>
          <ac:spMkLst>
            <pc:docMk/>
            <pc:sldMk cId="858044239" sldId="6514"/>
            <ac:spMk id="6" creationId="{CA37F30B-0C15-4C20-B203-B86996A28ECF}"/>
          </ac:spMkLst>
        </pc:spChg>
        <pc:spChg chg="add mod">
          <ac:chgData name="Niittymies Aleksi" userId="00c1d702-9a1a-46cb-9bcd-5368d837961b" providerId="ADAL" clId="{A41CC034-EC84-4F05-A9F8-9D0A4747319C}" dt="2023-10-24T09:54:17.405" v="2470" actId="1076"/>
          <ac:spMkLst>
            <pc:docMk/>
            <pc:sldMk cId="858044239" sldId="6514"/>
            <ac:spMk id="7" creationId="{DD0AA779-BA7E-8E8C-97DD-A073A6DAFC0F}"/>
          </ac:spMkLst>
        </pc:spChg>
        <pc:spChg chg="add mod">
          <ac:chgData name="Niittymies Aleksi" userId="00c1d702-9a1a-46cb-9bcd-5368d837961b" providerId="ADAL" clId="{A41CC034-EC84-4F05-A9F8-9D0A4747319C}" dt="2023-10-24T09:54:34.124" v="2475" actId="1076"/>
          <ac:spMkLst>
            <pc:docMk/>
            <pc:sldMk cId="858044239" sldId="6514"/>
            <ac:spMk id="8" creationId="{3ABF3AD3-D6FA-473C-0585-8F9BC68E85A0}"/>
          </ac:spMkLst>
        </pc:spChg>
        <pc:spChg chg="add mod">
          <ac:chgData name="Niittymies Aleksi" userId="00c1d702-9a1a-46cb-9bcd-5368d837961b" providerId="ADAL" clId="{A41CC034-EC84-4F05-A9F8-9D0A4747319C}" dt="2023-10-24T09:54:47.493" v="2479" actId="1076"/>
          <ac:spMkLst>
            <pc:docMk/>
            <pc:sldMk cId="858044239" sldId="6514"/>
            <ac:spMk id="9" creationId="{58456D8E-260B-C4BE-7082-21D63BBE01EF}"/>
          </ac:spMkLst>
        </pc:spChg>
        <pc:spChg chg="add mod">
          <ac:chgData name="Niittymies Aleksi" userId="00c1d702-9a1a-46cb-9bcd-5368d837961b" providerId="ADAL" clId="{A41CC034-EC84-4F05-A9F8-9D0A4747319C}" dt="2023-10-24T09:55:17.572" v="2485" actId="1076"/>
          <ac:spMkLst>
            <pc:docMk/>
            <pc:sldMk cId="858044239" sldId="6514"/>
            <ac:spMk id="10" creationId="{B09B7AF3-0782-85BF-19E6-C7A39599912A}"/>
          </ac:spMkLst>
        </pc:spChg>
        <pc:spChg chg="add mod">
          <ac:chgData name="Niittymies Aleksi" userId="00c1d702-9a1a-46cb-9bcd-5368d837961b" providerId="ADAL" clId="{A41CC034-EC84-4F05-A9F8-9D0A4747319C}" dt="2023-10-24T09:55:35.979" v="2498" actId="1076"/>
          <ac:spMkLst>
            <pc:docMk/>
            <pc:sldMk cId="858044239" sldId="6514"/>
            <ac:spMk id="11" creationId="{598070D3-77BA-919A-7763-DAAAD97B05B8}"/>
          </ac:spMkLst>
        </pc:spChg>
        <pc:cxnChg chg="add mod">
          <ac:chgData name="Niittymies Aleksi" userId="00c1d702-9a1a-46cb-9bcd-5368d837961b" providerId="ADAL" clId="{A41CC034-EC84-4F05-A9F8-9D0A4747319C}" dt="2023-10-24T09:56:04.337" v="2516" actId="13822"/>
          <ac:cxnSpMkLst>
            <pc:docMk/>
            <pc:sldMk cId="858044239" sldId="6514"/>
            <ac:cxnSpMk id="13" creationId="{D21EE9D0-FE12-EF0A-1EEA-C7DF782DC30E}"/>
          </ac:cxnSpMkLst>
        </pc:cxnChg>
      </pc:sldChg>
      <pc:sldChg chg="add">
        <pc:chgData name="Niittymies Aleksi" userId="00c1d702-9a1a-46cb-9bcd-5368d837961b" providerId="ADAL" clId="{A41CC034-EC84-4F05-A9F8-9D0A4747319C}" dt="2023-10-24T09:56:55.549" v="2517" actId="2890"/>
        <pc:sldMkLst>
          <pc:docMk/>
          <pc:sldMk cId="1404594552" sldId="6515"/>
        </pc:sldMkLst>
      </pc:sldChg>
      <pc:sldChg chg="modSp mod">
        <pc:chgData name="Niittymies Aleksi" userId="00c1d702-9a1a-46cb-9bcd-5368d837961b" providerId="ADAL" clId="{A41CC034-EC84-4F05-A9F8-9D0A4747319C}" dt="2023-10-24T10:53:43.342" v="3255" actId="20577"/>
        <pc:sldMkLst>
          <pc:docMk/>
          <pc:sldMk cId="136992191" sldId="6516"/>
        </pc:sldMkLst>
        <pc:spChg chg="mod">
          <ac:chgData name="Niittymies Aleksi" userId="00c1d702-9a1a-46cb-9bcd-5368d837961b" providerId="ADAL" clId="{A41CC034-EC84-4F05-A9F8-9D0A4747319C}" dt="2023-10-24T10:53:43.342" v="3255" actId="20577"/>
          <ac:spMkLst>
            <pc:docMk/>
            <pc:sldMk cId="136992191" sldId="6516"/>
            <ac:spMk id="2" creationId="{B653D250-3593-433D-BC0B-4883CB4A6561}"/>
          </ac:spMkLst>
        </pc:spChg>
        <pc:spChg chg="mod">
          <ac:chgData name="Niittymies Aleksi" userId="00c1d702-9a1a-46cb-9bcd-5368d837961b" providerId="ADAL" clId="{A41CC034-EC84-4F05-A9F8-9D0A4747319C}" dt="2023-10-24T10:53:33.121" v="3248" actId="20577"/>
          <ac:spMkLst>
            <pc:docMk/>
            <pc:sldMk cId="136992191" sldId="6516"/>
            <ac:spMk id="3" creationId="{8AD6F6D3-B529-FEF4-23CF-BB7CAD464E72}"/>
          </ac:spMkLst>
        </pc:spChg>
      </pc:sldChg>
      <pc:sldChg chg="add">
        <pc:chgData name="Niittymies Aleksi" userId="00c1d702-9a1a-46cb-9bcd-5368d837961b" providerId="ADAL" clId="{A41CC034-EC84-4F05-A9F8-9D0A4747319C}" dt="2023-10-24T11:30:41.990" v="3406" actId="2890"/>
        <pc:sldMkLst>
          <pc:docMk/>
          <pc:sldMk cId="1134950752" sldId="6517"/>
        </pc:sldMkLst>
      </pc:sldChg>
      <pc:sldChg chg="new del">
        <pc:chgData name="Niittymies Aleksi" userId="00c1d702-9a1a-46cb-9bcd-5368d837961b" providerId="ADAL" clId="{A41CC034-EC84-4F05-A9F8-9D0A4747319C}" dt="2023-10-24T10:46:02.425" v="3145" actId="680"/>
        <pc:sldMkLst>
          <pc:docMk/>
          <pc:sldMk cId="3307148360" sldId="6517"/>
        </pc:sldMkLst>
      </pc:sldChg>
      <pc:sldMasterChg chg="delSldLayout">
        <pc:chgData name="Niittymies Aleksi" userId="00c1d702-9a1a-46cb-9bcd-5368d837961b" providerId="ADAL" clId="{A41CC034-EC84-4F05-A9F8-9D0A4747319C}" dt="2023-10-19T13:31:15.622" v="418" actId="47"/>
        <pc:sldMasterMkLst>
          <pc:docMk/>
          <pc:sldMasterMk cId="1833754440" sldId="2147483648"/>
        </pc:sldMasterMkLst>
        <pc:sldLayoutChg chg="del">
          <pc:chgData name="Niittymies Aleksi" userId="00c1d702-9a1a-46cb-9bcd-5368d837961b" providerId="ADAL" clId="{A41CC034-EC84-4F05-A9F8-9D0A4747319C}" dt="2023-10-19T13:31:15.622" v="418" actId="47"/>
          <pc:sldLayoutMkLst>
            <pc:docMk/>
            <pc:sldMasterMk cId="1833754440" sldId="2147483648"/>
            <pc:sldLayoutMk cId="932657662" sldId="2147483959"/>
          </pc:sldLayoutMkLst>
        </pc:sldLayoutChg>
      </pc:sldMasterChg>
      <pc:sldMasterChg chg="del delSldLayout">
        <pc:chgData name="Niittymies Aleksi" userId="00c1d702-9a1a-46cb-9bcd-5368d837961b" providerId="ADAL" clId="{A41CC034-EC84-4F05-A9F8-9D0A4747319C}" dt="2023-10-20T11:56:59.580" v="1864" actId="47"/>
        <pc:sldMasterMkLst>
          <pc:docMk/>
          <pc:sldMasterMk cId="2128680520" sldId="2147483808"/>
        </pc:sldMasterMkLst>
        <pc:sldLayoutChg chg="del">
          <pc:chgData name="Niittymies Aleksi" userId="00c1d702-9a1a-46cb-9bcd-5368d837961b" providerId="ADAL" clId="{A41CC034-EC84-4F05-A9F8-9D0A4747319C}" dt="2023-10-20T11:56:59.580" v="1864" actId="47"/>
          <pc:sldLayoutMkLst>
            <pc:docMk/>
            <pc:sldMasterMk cId="2128680520" sldId="2147483808"/>
            <pc:sldLayoutMk cId="2773566124" sldId="2147483809"/>
          </pc:sldLayoutMkLst>
        </pc:sldLayoutChg>
        <pc:sldLayoutChg chg="del">
          <pc:chgData name="Niittymies Aleksi" userId="00c1d702-9a1a-46cb-9bcd-5368d837961b" providerId="ADAL" clId="{A41CC034-EC84-4F05-A9F8-9D0A4747319C}" dt="2023-10-20T11:56:59.580" v="1864" actId="47"/>
          <pc:sldLayoutMkLst>
            <pc:docMk/>
            <pc:sldMasterMk cId="2128680520" sldId="2147483808"/>
            <pc:sldLayoutMk cId="3395576264" sldId="2147483810"/>
          </pc:sldLayoutMkLst>
        </pc:sldLayoutChg>
        <pc:sldLayoutChg chg="del">
          <pc:chgData name="Niittymies Aleksi" userId="00c1d702-9a1a-46cb-9bcd-5368d837961b" providerId="ADAL" clId="{A41CC034-EC84-4F05-A9F8-9D0A4747319C}" dt="2023-10-20T11:56:59.580" v="1864" actId="47"/>
          <pc:sldLayoutMkLst>
            <pc:docMk/>
            <pc:sldMasterMk cId="2128680520" sldId="2147483808"/>
            <pc:sldLayoutMk cId="4035902131" sldId="2147483811"/>
          </pc:sldLayoutMkLst>
        </pc:sldLayoutChg>
        <pc:sldLayoutChg chg="del">
          <pc:chgData name="Niittymies Aleksi" userId="00c1d702-9a1a-46cb-9bcd-5368d837961b" providerId="ADAL" clId="{A41CC034-EC84-4F05-A9F8-9D0A4747319C}" dt="2023-10-20T11:56:59.580" v="1864" actId="47"/>
          <pc:sldLayoutMkLst>
            <pc:docMk/>
            <pc:sldMasterMk cId="2128680520" sldId="2147483808"/>
            <pc:sldLayoutMk cId="3543085427" sldId="2147483812"/>
          </pc:sldLayoutMkLst>
        </pc:sldLayoutChg>
        <pc:sldLayoutChg chg="del">
          <pc:chgData name="Niittymies Aleksi" userId="00c1d702-9a1a-46cb-9bcd-5368d837961b" providerId="ADAL" clId="{A41CC034-EC84-4F05-A9F8-9D0A4747319C}" dt="2023-10-20T11:56:59.580" v="1864" actId="47"/>
          <pc:sldLayoutMkLst>
            <pc:docMk/>
            <pc:sldMasterMk cId="2128680520" sldId="2147483808"/>
            <pc:sldLayoutMk cId="1613983384" sldId="2147483813"/>
          </pc:sldLayoutMkLst>
        </pc:sldLayoutChg>
        <pc:sldLayoutChg chg="del">
          <pc:chgData name="Niittymies Aleksi" userId="00c1d702-9a1a-46cb-9bcd-5368d837961b" providerId="ADAL" clId="{A41CC034-EC84-4F05-A9F8-9D0A4747319C}" dt="2023-10-20T11:56:59.580" v="1864" actId="47"/>
          <pc:sldLayoutMkLst>
            <pc:docMk/>
            <pc:sldMasterMk cId="2128680520" sldId="2147483808"/>
            <pc:sldLayoutMk cId="2916986106" sldId="2147483814"/>
          </pc:sldLayoutMkLst>
        </pc:sldLayoutChg>
        <pc:sldLayoutChg chg="del">
          <pc:chgData name="Niittymies Aleksi" userId="00c1d702-9a1a-46cb-9bcd-5368d837961b" providerId="ADAL" clId="{A41CC034-EC84-4F05-A9F8-9D0A4747319C}" dt="2023-10-20T11:56:59.580" v="1864" actId="47"/>
          <pc:sldLayoutMkLst>
            <pc:docMk/>
            <pc:sldMasterMk cId="2128680520" sldId="2147483808"/>
            <pc:sldLayoutMk cId="217317879" sldId="2147483815"/>
          </pc:sldLayoutMkLst>
        </pc:sldLayoutChg>
        <pc:sldLayoutChg chg="del">
          <pc:chgData name="Niittymies Aleksi" userId="00c1d702-9a1a-46cb-9bcd-5368d837961b" providerId="ADAL" clId="{A41CC034-EC84-4F05-A9F8-9D0A4747319C}" dt="2023-10-20T11:56:59.580" v="1864" actId="47"/>
          <pc:sldLayoutMkLst>
            <pc:docMk/>
            <pc:sldMasterMk cId="2128680520" sldId="2147483808"/>
            <pc:sldLayoutMk cId="791165654" sldId="2147483816"/>
          </pc:sldLayoutMkLst>
        </pc:sldLayoutChg>
        <pc:sldLayoutChg chg="del">
          <pc:chgData name="Niittymies Aleksi" userId="00c1d702-9a1a-46cb-9bcd-5368d837961b" providerId="ADAL" clId="{A41CC034-EC84-4F05-A9F8-9D0A4747319C}" dt="2023-10-20T11:56:59.580" v="1864" actId="47"/>
          <pc:sldLayoutMkLst>
            <pc:docMk/>
            <pc:sldMasterMk cId="2128680520" sldId="2147483808"/>
            <pc:sldLayoutMk cId="755247155" sldId="2147483817"/>
          </pc:sldLayoutMkLst>
        </pc:sldLayoutChg>
        <pc:sldLayoutChg chg="del">
          <pc:chgData name="Niittymies Aleksi" userId="00c1d702-9a1a-46cb-9bcd-5368d837961b" providerId="ADAL" clId="{A41CC034-EC84-4F05-A9F8-9D0A4747319C}" dt="2023-10-20T11:56:59.580" v="1864" actId="47"/>
          <pc:sldLayoutMkLst>
            <pc:docMk/>
            <pc:sldMasterMk cId="2128680520" sldId="2147483808"/>
            <pc:sldLayoutMk cId="1335179643" sldId="2147483818"/>
          </pc:sldLayoutMkLst>
        </pc:sldLayoutChg>
        <pc:sldLayoutChg chg="del">
          <pc:chgData name="Niittymies Aleksi" userId="00c1d702-9a1a-46cb-9bcd-5368d837961b" providerId="ADAL" clId="{A41CC034-EC84-4F05-A9F8-9D0A4747319C}" dt="2023-10-20T11:56:59.580" v="1864" actId="47"/>
          <pc:sldLayoutMkLst>
            <pc:docMk/>
            <pc:sldMasterMk cId="2128680520" sldId="2147483808"/>
            <pc:sldLayoutMk cId="3892244798" sldId="2147483819"/>
          </pc:sldLayoutMkLst>
        </pc:sldLayoutChg>
        <pc:sldLayoutChg chg="del">
          <pc:chgData name="Niittymies Aleksi" userId="00c1d702-9a1a-46cb-9bcd-5368d837961b" providerId="ADAL" clId="{A41CC034-EC84-4F05-A9F8-9D0A4747319C}" dt="2023-10-20T11:56:59.580" v="1864" actId="47"/>
          <pc:sldLayoutMkLst>
            <pc:docMk/>
            <pc:sldMasterMk cId="2128680520" sldId="2147483808"/>
            <pc:sldLayoutMk cId="3820901019" sldId="2147483820"/>
          </pc:sldLayoutMkLst>
        </pc:sldLayoutChg>
        <pc:sldLayoutChg chg="del">
          <pc:chgData name="Niittymies Aleksi" userId="00c1d702-9a1a-46cb-9bcd-5368d837961b" providerId="ADAL" clId="{A41CC034-EC84-4F05-A9F8-9D0A4747319C}" dt="2023-10-20T11:56:59.580" v="1864" actId="47"/>
          <pc:sldLayoutMkLst>
            <pc:docMk/>
            <pc:sldMasterMk cId="2128680520" sldId="2147483808"/>
            <pc:sldLayoutMk cId="4122615128" sldId="2147483821"/>
          </pc:sldLayoutMkLst>
        </pc:sldLayoutChg>
        <pc:sldLayoutChg chg="del">
          <pc:chgData name="Niittymies Aleksi" userId="00c1d702-9a1a-46cb-9bcd-5368d837961b" providerId="ADAL" clId="{A41CC034-EC84-4F05-A9F8-9D0A4747319C}" dt="2023-10-20T11:56:59.580" v="1864" actId="47"/>
          <pc:sldLayoutMkLst>
            <pc:docMk/>
            <pc:sldMasterMk cId="2128680520" sldId="2147483808"/>
            <pc:sldLayoutMk cId="1913652274" sldId="2147483822"/>
          </pc:sldLayoutMkLst>
        </pc:sldLayoutChg>
        <pc:sldLayoutChg chg="del">
          <pc:chgData name="Niittymies Aleksi" userId="00c1d702-9a1a-46cb-9bcd-5368d837961b" providerId="ADAL" clId="{A41CC034-EC84-4F05-A9F8-9D0A4747319C}" dt="2023-10-20T11:56:59.580" v="1864" actId="47"/>
          <pc:sldLayoutMkLst>
            <pc:docMk/>
            <pc:sldMasterMk cId="2128680520" sldId="2147483808"/>
            <pc:sldLayoutMk cId="574038118" sldId="2147483823"/>
          </pc:sldLayoutMkLst>
        </pc:sldLayoutChg>
        <pc:sldLayoutChg chg="del">
          <pc:chgData name="Niittymies Aleksi" userId="00c1d702-9a1a-46cb-9bcd-5368d837961b" providerId="ADAL" clId="{A41CC034-EC84-4F05-A9F8-9D0A4747319C}" dt="2023-10-20T11:56:59.580" v="1864" actId="47"/>
          <pc:sldLayoutMkLst>
            <pc:docMk/>
            <pc:sldMasterMk cId="2128680520" sldId="2147483808"/>
            <pc:sldLayoutMk cId="1788517514" sldId="2147483824"/>
          </pc:sldLayoutMkLst>
        </pc:sldLayoutChg>
        <pc:sldLayoutChg chg="del">
          <pc:chgData name="Niittymies Aleksi" userId="00c1d702-9a1a-46cb-9bcd-5368d837961b" providerId="ADAL" clId="{A41CC034-EC84-4F05-A9F8-9D0A4747319C}" dt="2023-10-20T11:56:59.580" v="1864" actId="47"/>
          <pc:sldLayoutMkLst>
            <pc:docMk/>
            <pc:sldMasterMk cId="2128680520" sldId="2147483808"/>
            <pc:sldLayoutMk cId="2549676743" sldId="2147483825"/>
          </pc:sldLayoutMkLst>
        </pc:sldLayoutChg>
      </pc:sldMasterChg>
      <pc:sldMasterChg chg="del delSldLayout">
        <pc:chgData name="Niittymies Aleksi" userId="00c1d702-9a1a-46cb-9bcd-5368d837961b" providerId="ADAL" clId="{A41CC034-EC84-4F05-A9F8-9D0A4747319C}" dt="2023-10-20T10:50:23.880" v="1529" actId="47"/>
        <pc:sldMasterMkLst>
          <pc:docMk/>
          <pc:sldMasterMk cId="601211621" sldId="2147483972"/>
        </pc:sldMasterMkLst>
        <pc:sldLayoutChg chg="del">
          <pc:chgData name="Niittymies Aleksi" userId="00c1d702-9a1a-46cb-9bcd-5368d837961b" providerId="ADAL" clId="{A41CC034-EC84-4F05-A9F8-9D0A4747319C}" dt="2023-10-20T10:50:23.880" v="1529" actId="47"/>
          <pc:sldLayoutMkLst>
            <pc:docMk/>
            <pc:sldMasterMk cId="601211621" sldId="2147483972"/>
            <pc:sldLayoutMk cId="2600915629" sldId="2147483973"/>
          </pc:sldLayoutMkLst>
        </pc:sldLayoutChg>
        <pc:sldLayoutChg chg="del">
          <pc:chgData name="Niittymies Aleksi" userId="00c1d702-9a1a-46cb-9bcd-5368d837961b" providerId="ADAL" clId="{A41CC034-EC84-4F05-A9F8-9D0A4747319C}" dt="2023-10-20T10:50:23.880" v="1529" actId="47"/>
          <pc:sldLayoutMkLst>
            <pc:docMk/>
            <pc:sldMasterMk cId="601211621" sldId="2147483972"/>
            <pc:sldLayoutMk cId="2483642602" sldId="2147483974"/>
          </pc:sldLayoutMkLst>
        </pc:sldLayoutChg>
        <pc:sldLayoutChg chg="del">
          <pc:chgData name="Niittymies Aleksi" userId="00c1d702-9a1a-46cb-9bcd-5368d837961b" providerId="ADAL" clId="{A41CC034-EC84-4F05-A9F8-9D0A4747319C}" dt="2023-10-20T10:50:23.880" v="1529" actId="47"/>
          <pc:sldLayoutMkLst>
            <pc:docMk/>
            <pc:sldMasterMk cId="601211621" sldId="2147483972"/>
            <pc:sldLayoutMk cId="2535448243" sldId="2147483975"/>
          </pc:sldLayoutMkLst>
        </pc:sldLayoutChg>
        <pc:sldLayoutChg chg="del">
          <pc:chgData name="Niittymies Aleksi" userId="00c1d702-9a1a-46cb-9bcd-5368d837961b" providerId="ADAL" clId="{A41CC034-EC84-4F05-A9F8-9D0A4747319C}" dt="2023-10-20T10:50:23.880" v="1529" actId="47"/>
          <pc:sldLayoutMkLst>
            <pc:docMk/>
            <pc:sldMasterMk cId="601211621" sldId="2147483972"/>
            <pc:sldLayoutMk cId="998359787" sldId="2147483976"/>
          </pc:sldLayoutMkLst>
        </pc:sldLayoutChg>
        <pc:sldLayoutChg chg="del">
          <pc:chgData name="Niittymies Aleksi" userId="00c1d702-9a1a-46cb-9bcd-5368d837961b" providerId="ADAL" clId="{A41CC034-EC84-4F05-A9F8-9D0A4747319C}" dt="2023-10-20T10:50:23.880" v="1529" actId="47"/>
          <pc:sldLayoutMkLst>
            <pc:docMk/>
            <pc:sldMasterMk cId="601211621" sldId="2147483972"/>
            <pc:sldLayoutMk cId="3936430377" sldId="2147483977"/>
          </pc:sldLayoutMkLst>
        </pc:sldLayoutChg>
        <pc:sldLayoutChg chg="del">
          <pc:chgData name="Niittymies Aleksi" userId="00c1d702-9a1a-46cb-9bcd-5368d837961b" providerId="ADAL" clId="{A41CC034-EC84-4F05-A9F8-9D0A4747319C}" dt="2023-10-20T10:50:23.880" v="1529" actId="47"/>
          <pc:sldLayoutMkLst>
            <pc:docMk/>
            <pc:sldMasterMk cId="601211621" sldId="2147483972"/>
            <pc:sldLayoutMk cId="1734497244" sldId="2147483978"/>
          </pc:sldLayoutMkLst>
        </pc:sldLayoutChg>
        <pc:sldLayoutChg chg="del">
          <pc:chgData name="Niittymies Aleksi" userId="00c1d702-9a1a-46cb-9bcd-5368d837961b" providerId="ADAL" clId="{A41CC034-EC84-4F05-A9F8-9D0A4747319C}" dt="2023-10-20T10:50:23.880" v="1529" actId="47"/>
          <pc:sldLayoutMkLst>
            <pc:docMk/>
            <pc:sldMasterMk cId="601211621" sldId="2147483972"/>
            <pc:sldLayoutMk cId="2825855443" sldId="2147483979"/>
          </pc:sldLayoutMkLst>
        </pc:sldLayoutChg>
        <pc:sldLayoutChg chg="del">
          <pc:chgData name="Niittymies Aleksi" userId="00c1d702-9a1a-46cb-9bcd-5368d837961b" providerId="ADAL" clId="{A41CC034-EC84-4F05-A9F8-9D0A4747319C}" dt="2023-10-20T10:50:23.880" v="1529" actId="47"/>
          <pc:sldLayoutMkLst>
            <pc:docMk/>
            <pc:sldMasterMk cId="601211621" sldId="2147483972"/>
            <pc:sldLayoutMk cId="3451874781" sldId="2147483980"/>
          </pc:sldLayoutMkLst>
        </pc:sldLayoutChg>
        <pc:sldLayoutChg chg="del">
          <pc:chgData name="Niittymies Aleksi" userId="00c1d702-9a1a-46cb-9bcd-5368d837961b" providerId="ADAL" clId="{A41CC034-EC84-4F05-A9F8-9D0A4747319C}" dt="2023-10-20T10:50:23.880" v="1529" actId="47"/>
          <pc:sldLayoutMkLst>
            <pc:docMk/>
            <pc:sldMasterMk cId="601211621" sldId="2147483972"/>
            <pc:sldLayoutMk cId="2657020543" sldId="2147483981"/>
          </pc:sldLayoutMkLst>
        </pc:sldLayoutChg>
        <pc:sldLayoutChg chg="del">
          <pc:chgData name="Niittymies Aleksi" userId="00c1d702-9a1a-46cb-9bcd-5368d837961b" providerId="ADAL" clId="{A41CC034-EC84-4F05-A9F8-9D0A4747319C}" dt="2023-10-20T10:50:23.880" v="1529" actId="47"/>
          <pc:sldLayoutMkLst>
            <pc:docMk/>
            <pc:sldMasterMk cId="601211621" sldId="2147483972"/>
            <pc:sldLayoutMk cId="3437075183" sldId="2147483982"/>
          </pc:sldLayoutMkLst>
        </pc:sldLayoutChg>
        <pc:sldLayoutChg chg="del">
          <pc:chgData name="Niittymies Aleksi" userId="00c1d702-9a1a-46cb-9bcd-5368d837961b" providerId="ADAL" clId="{A41CC034-EC84-4F05-A9F8-9D0A4747319C}" dt="2023-10-20T10:50:23.880" v="1529" actId="47"/>
          <pc:sldLayoutMkLst>
            <pc:docMk/>
            <pc:sldMasterMk cId="601211621" sldId="2147483972"/>
            <pc:sldLayoutMk cId="3773949815" sldId="2147483983"/>
          </pc:sldLayoutMkLst>
        </pc:sldLayoutChg>
      </pc:sldMasterChg>
    </pc:docChg>
  </pc:docChgLst>
  <pc:docChgLst>
    <pc:chgData name="Niittymies Aleksi" userId="00c1d702-9a1a-46cb-9bcd-5368d837961b" providerId="ADAL" clId="{B5FDD507-75F5-4960-970E-D1799A0CCE37}"/>
    <pc:docChg chg="undo custSel addSld delSld modSld sldOrd delMainMaster">
      <pc:chgData name="Niittymies Aleksi" userId="00c1d702-9a1a-46cb-9bcd-5368d837961b" providerId="ADAL" clId="{B5FDD507-75F5-4960-970E-D1799A0CCE37}" dt="2023-10-30T16:07:55.240" v="98" actId="14734"/>
      <pc:docMkLst>
        <pc:docMk/>
      </pc:docMkLst>
      <pc:sldChg chg="modSp mod">
        <pc:chgData name="Niittymies Aleksi" userId="00c1d702-9a1a-46cb-9bcd-5368d837961b" providerId="ADAL" clId="{B5FDD507-75F5-4960-970E-D1799A0CCE37}" dt="2023-10-30T15:43:13.362" v="34" actId="6549"/>
        <pc:sldMkLst>
          <pc:docMk/>
          <pc:sldMk cId="4022952943" sldId="259"/>
        </pc:sldMkLst>
        <pc:spChg chg="mod">
          <ac:chgData name="Niittymies Aleksi" userId="00c1d702-9a1a-46cb-9bcd-5368d837961b" providerId="ADAL" clId="{B5FDD507-75F5-4960-970E-D1799A0CCE37}" dt="2023-10-30T15:43:05.891" v="21" actId="20577"/>
          <ac:spMkLst>
            <pc:docMk/>
            <pc:sldMk cId="4022952943" sldId="259"/>
            <ac:spMk id="3" creationId="{8A46F9C8-1964-44D9-B1CD-B6CEC744D5F3}"/>
          </ac:spMkLst>
        </pc:spChg>
        <pc:spChg chg="mod">
          <ac:chgData name="Niittymies Aleksi" userId="00c1d702-9a1a-46cb-9bcd-5368d837961b" providerId="ADAL" clId="{B5FDD507-75F5-4960-970E-D1799A0CCE37}" dt="2023-10-30T15:43:13.362" v="34" actId="6549"/>
          <ac:spMkLst>
            <pc:docMk/>
            <pc:sldMk cId="4022952943" sldId="259"/>
            <ac:spMk id="5" creationId="{14D9E3F0-1051-411B-B4E8-74150CD2A556}"/>
          </ac:spMkLst>
        </pc:spChg>
      </pc:sldChg>
      <pc:sldChg chg="del">
        <pc:chgData name="Niittymies Aleksi" userId="00c1d702-9a1a-46cb-9bcd-5368d837961b" providerId="ADAL" clId="{B5FDD507-75F5-4960-970E-D1799A0CCE37}" dt="2023-10-30T15:42:10.341" v="3" actId="47"/>
        <pc:sldMkLst>
          <pc:docMk/>
          <pc:sldMk cId="2683116071" sldId="288"/>
        </pc:sldMkLst>
      </pc:sldChg>
      <pc:sldChg chg="modSp mod">
        <pc:chgData name="Niittymies Aleksi" userId="00c1d702-9a1a-46cb-9bcd-5368d837961b" providerId="ADAL" clId="{B5FDD507-75F5-4960-970E-D1799A0CCE37}" dt="2023-10-30T15:54:31.983" v="56" actId="20577"/>
        <pc:sldMkLst>
          <pc:docMk/>
          <pc:sldMk cId="2555860637" sldId="6511"/>
        </pc:sldMkLst>
        <pc:spChg chg="mod">
          <ac:chgData name="Niittymies Aleksi" userId="00c1d702-9a1a-46cb-9bcd-5368d837961b" providerId="ADAL" clId="{B5FDD507-75F5-4960-970E-D1799A0CCE37}" dt="2023-10-30T15:54:31.983" v="56" actId="20577"/>
          <ac:spMkLst>
            <pc:docMk/>
            <pc:sldMk cId="2555860637" sldId="6511"/>
            <ac:spMk id="3" creationId="{CF3F630B-0F73-483A-838D-6B23394D1B86}"/>
          </ac:spMkLst>
        </pc:spChg>
      </pc:sldChg>
      <pc:sldChg chg="del">
        <pc:chgData name="Niittymies Aleksi" userId="00c1d702-9a1a-46cb-9bcd-5368d837961b" providerId="ADAL" clId="{B5FDD507-75F5-4960-970E-D1799A0CCE37}" dt="2023-10-30T15:41:41.995" v="0" actId="47"/>
        <pc:sldMkLst>
          <pc:docMk/>
          <pc:sldMk cId="858044239" sldId="6514"/>
        </pc:sldMkLst>
      </pc:sldChg>
      <pc:sldChg chg="del">
        <pc:chgData name="Niittymies Aleksi" userId="00c1d702-9a1a-46cb-9bcd-5368d837961b" providerId="ADAL" clId="{B5FDD507-75F5-4960-970E-D1799A0CCE37}" dt="2023-10-30T15:54:17.408" v="38" actId="47"/>
        <pc:sldMkLst>
          <pc:docMk/>
          <pc:sldMk cId="1134950752" sldId="6517"/>
        </pc:sldMkLst>
      </pc:sldChg>
      <pc:sldChg chg="add del">
        <pc:chgData name="Niittymies Aleksi" userId="00c1d702-9a1a-46cb-9bcd-5368d837961b" providerId="ADAL" clId="{B5FDD507-75F5-4960-970E-D1799A0CCE37}" dt="2023-10-30T15:42:06.991" v="2" actId="47"/>
        <pc:sldMkLst>
          <pc:docMk/>
          <pc:sldMk cId="3262308052" sldId="6518"/>
        </pc:sldMkLst>
      </pc:sldChg>
      <pc:sldChg chg="addSp modSp mod ord">
        <pc:chgData name="Niittymies Aleksi" userId="00c1d702-9a1a-46cb-9bcd-5368d837961b" providerId="ADAL" clId="{B5FDD507-75F5-4960-970E-D1799A0CCE37}" dt="2023-10-30T16:07:55.240" v="98" actId="14734"/>
        <pc:sldMkLst>
          <pc:docMk/>
          <pc:sldMk cId="2293747233" sldId="6519"/>
        </pc:sldMkLst>
        <pc:spChg chg="add mod">
          <ac:chgData name="Niittymies Aleksi" userId="00c1d702-9a1a-46cb-9bcd-5368d837961b" providerId="ADAL" clId="{B5FDD507-75F5-4960-970E-D1799A0CCE37}" dt="2023-10-30T16:07:42.328" v="95" actId="20577"/>
          <ac:spMkLst>
            <pc:docMk/>
            <pc:sldMk cId="2293747233" sldId="6519"/>
            <ac:spMk id="3" creationId="{CA06A1E4-446C-4FCC-43C2-A7516D699078}"/>
          </ac:spMkLst>
        </pc:spChg>
        <pc:graphicFrameChg chg="mod modGraphic">
          <ac:chgData name="Niittymies Aleksi" userId="00c1d702-9a1a-46cb-9bcd-5368d837961b" providerId="ADAL" clId="{B5FDD507-75F5-4960-970E-D1799A0CCE37}" dt="2023-10-30T16:07:55.240" v="98" actId="14734"/>
          <ac:graphicFrameMkLst>
            <pc:docMk/>
            <pc:sldMk cId="2293747233" sldId="6519"/>
            <ac:graphicFrameMk id="4" creationId="{1EF669D7-A6D0-7FEB-630E-7C948D3B785C}"/>
          </ac:graphicFrameMkLst>
        </pc:graphicFrameChg>
      </pc:sldChg>
      <pc:sldChg chg="addSp modSp mod ord">
        <pc:chgData name="Niittymies Aleksi" userId="00c1d702-9a1a-46cb-9bcd-5368d837961b" providerId="ADAL" clId="{B5FDD507-75F5-4960-970E-D1799A0CCE37}" dt="2023-10-30T16:07:49.009" v="97" actId="14100"/>
        <pc:sldMkLst>
          <pc:docMk/>
          <pc:sldMk cId="2886959941" sldId="6520"/>
        </pc:sldMkLst>
        <pc:spChg chg="mod">
          <ac:chgData name="Niittymies Aleksi" userId="00c1d702-9a1a-46cb-9bcd-5368d837961b" providerId="ADAL" clId="{B5FDD507-75F5-4960-970E-D1799A0CCE37}" dt="2023-10-30T16:07:27.082" v="88" actId="14100"/>
          <ac:spMkLst>
            <pc:docMk/>
            <pc:sldMk cId="2886959941" sldId="6520"/>
            <ac:spMk id="2" creationId="{EB9470BD-37F2-F9DF-AEAE-BA866A79DD00}"/>
          </ac:spMkLst>
        </pc:spChg>
        <pc:spChg chg="add mod">
          <ac:chgData name="Niittymies Aleksi" userId="00c1d702-9a1a-46cb-9bcd-5368d837961b" providerId="ADAL" clId="{B5FDD507-75F5-4960-970E-D1799A0CCE37}" dt="2023-10-30T16:07:49.009" v="97" actId="14100"/>
          <ac:spMkLst>
            <pc:docMk/>
            <pc:sldMk cId="2886959941" sldId="6520"/>
            <ac:spMk id="3" creationId="{00DF8828-9532-C431-C295-92757778F2E4}"/>
          </ac:spMkLst>
        </pc:spChg>
        <pc:graphicFrameChg chg="mod modGraphic">
          <ac:chgData name="Niittymies Aleksi" userId="00c1d702-9a1a-46cb-9bcd-5368d837961b" providerId="ADAL" clId="{B5FDD507-75F5-4960-970E-D1799A0CCE37}" dt="2023-10-30T16:07:13.064" v="64" actId="1076"/>
          <ac:graphicFrameMkLst>
            <pc:docMk/>
            <pc:sldMk cId="2886959941" sldId="6520"/>
            <ac:graphicFrameMk id="5" creationId="{AA2D9C4C-4BDE-971B-DD35-2580EDBF70E6}"/>
          </ac:graphicFrameMkLst>
        </pc:graphicFrameChg>
      </pc:sldChg>
      <pc:sldChg chg="del">
        <pc:chgData name="Niittymies Aleksi" userId="00c1d702-9a1a-46cb-9bcd-5368d837961b" providerId="ADAL" clId="{B5FDD507-75F5-4960-970E-D1799A0CCE37}" dt="2023-10-30T15:54:15.800" v="37" actId="47"/>
        <pc:sldMkLst>
          <pc:docMk/>
          <pc:sldMk cId="1627617651" sldId="6525"/>
        </pc:sldMkLst>
      </pc:sldChg>
      <pc:sldMasterChg chg="del delSldLayout">
        <pc:chgData name="Niittymies Aleksi" userId="00c1d702-9a1a-46cb-9bcd-5368d837961b" providerId="ADAL" clId="{B5FDD507-75F5-4960-970E-D1799A0CCE37}" dt="2023-10-30T15:42:10.341" v="3" actId="47"/>
        <pc:sldMasterMkLst>
          <pc:docMk/>
          <pc:sldMasterMk cId="3721905321" sldId="2147483960"/>
        </pc:sldMasterMkLst>
        <pc:sldLayoutChg chg="del">
          <pc:chgData name="Niittymies Aleksi" userId="00c1d702-9a1a-46cb-9bcd-5368d837961b" providerId="ADAL" clId="{B5FDD507-75F5-4960-970E-D1799A0CCE37}" dt="2023-10-30T15:42:10.341" v="3" actId="47"/>
          <pc:sldLayoutMkLst>
            <pc:docMk/>
            <pc:sldMasterMk cId="3721905321" sldId="2147483960"/>
            <pc:sldLayoutMk cId="3540152528" sldId="2147483961"/>
          </pc:sldLayoutMkLst>
        </pc:sldLayoutChg>
        <pc:sldLayoutChg chg="del">
          <pc:chgData name="Niittymies Aleksi" userId="00c1d702-9a1a-46cb-9bcd-5368d837961b" providerId="ADAL" clId="{B5FDD507-75F5-4960-970E-D1799A0CCE37}" dt="2023-10-30T15:42:10.341" v="3" actId="47"/>
          <pc:sldLayoutMkLst>
            <pc:docMk/>
            <pc:sldMasterMk cId="3721905321" sldId="2147483960"/>
            <pc:sldLayoutMk cId="208749513" sldId="2147483962"/>
          </pc:sldLayoutMkLst>
        </pc:sldLayoutChg>
        <pc:sldLayoutChg chg="del">
          <pc:chgData name="Niittymies Aleksi" userId="00c1d702-9a1a-46cb-9bcd-5368d837961b" providerId="ADAL" clId="{B5FDD507-75F5-4960-970E-D1799A0CCE37}" dt="2023-10-30T15:42:10.341" v="3" actId="47"/>
          <pc:sldLayoutMkLst>
            <pc:docMk/>
            <pc:sldMasterMk cId="3721905321" sldId="2147483960"/>
            <pc:sldLayoutMk cId="2798429647" sldId="2147483963"/>
          </pc:sldLayoutMkLst>
        </pc:sldLayoutChg>
        <pc:sldLayoutChg chg="del">
          <pc:chgData name="Niittymies Aleksi" userId="00c1d702-9a1a-46cb-9bcd-5368d837961b" providerId="ADAL" clId="{B5FDD507-75F5-4960-970E-D1799A0CCE37}" dt="2023-10-30T15:42:10.341" v="3" actId="47"/>
          <pc:sldLayoutMkLst>
            <pc:docMk/>
            <pc:sldMasterMk cId="3721905321" sldId="2147483960"/>
            <pc:sldLayoutMk cId="678449177" sldId="2147483964"/>
          </pc:sldLayoutMkLst>
        </pc:sldLayoutChg>
        <pc:sldLayoutChg chg="del">
          <pc:chgData name="Niittymies Aleksi" userId="00c1d702-9a1a-46cb-9bcd-5368d837961b" providerId="ADAL" clId="{B5FDD507-75F5-4960-970E-D1799A0CCE37}" dt="2023-10-30T15:42:10.341" v="3" actId="47"/>
          <pc:sldLayoutMkLst>
            <pc:docMk/>
            <pc:sldMasterMk cId="3721905321" sldId="2147483960"/>
            <pc:sldLayoutMk cId="712377576" sldId="2147483965"/>
          </pc:sldLayoutMkLst>
        </pc:sldLayoutChg>
        <pc:sldLayoutChg chg="del">
          <pc:chgData name="Niittymies Aleksi" userId="00c1d702-9a1a-46cb-9bcd-5368d837961b" providerId="ADAL" clId="{B5FDD507-75F5-4960-970E-D1799A0CCE37}" dt="2023-10-30T15:42:10.341" v="3" actId="47"/>
          <pc:sldLayoutMkLst>
            <pc:docMk/>
            <pc:sldMasterMk cId="3721905321" sldId="2147483960"/>
            <pc:sldLayoutMk cId="284365208" sldId="2147483966"/>
          </pc:sldLayoutMkLst>
        </pc:sldLayoutChg>
        <pc:sldLayoutChg chg="del">
          <pc:chgData name="Niittymies Aleksi" userId="00c1d702-9a1a-46cb-9bcd-5368d837961b" providerId="ADAL" clId="{B5FDD507-75F5-4960-970E-D1799A0CCE37}" dt="2023-10-30T15:42:10.341" v="3" actId="47"/>
          <pc:sldLayoutMkLst>
            <pc:docMk/>
            <pc:sldMasterMk cId="3721905321" sldId="2147483960"/>
            <pc:sldLayoutMk cId="49404559" sldId="2147483967"/>
          </pc:sldLayoutMkLst>
        </pc:sldLayoutChg>
        <pc:sldLayoutChg chg="del">
          <pc:chgData name="Niittymies Aleksi" userId="00c1d702-9a1a-46cb-9bcd-5368d837961b" providerId="ADAL" clId="{B5FDD507-75F5-4960-970E-D1799A0CCE37}" dt="2023-10-30T15:42:10.341" v="3" actId="47"/>
          <pc:sldLayoutMkLst>
            <pc:docMk/>
            <pc:sldMasterMk cId="3721905321" sldId="2147483960"/>
            <pc:sldLayoutMk cId="1446203455" sldId="2147483968"/>
          </pc:sldLayoutMkLst>
        </pc:sldLayoutChg>
        <pc:sldLayoutChg chg="del">
          <pc:chgData name="Niittymies Aleksi" userId="00c1d702-9a1a-46cb-9bcd-5368d837961b" providerId="ADAL" clId="{B5FDD507-75F5-4960-970E-D1799A0CCE37}" dt="2023-10-30T15:42:10.341" v="3" actId="47"/>
          <pc:sldLayoutMkLst>
            <pc:docMk/>
            <pc:sldMasterMk cId="3721905321" sldId="2147483960"/>
            <pc:sldLayoutMk cId="4260634382" sldId="2147483969"/>
          </pc:sldLayoutMkLst>
        </pc:sldLayoutChg>
        <pc:sldLayoutChg chg="del">
          <pc:chgData name="Niittymies Aleksi" userId="00c1d702-9a1a-46cb-9bcd-5368d837961b" providerId="ADAL" clId="{B5FDD507-75F5-4960-970E-D1799A0CCE37}" dt="2023-10-30T15:42:10.341" v="3" actId="47"/>
          <pc:sldLayoutMkLst>
            <pc:docMk/>
            <pc:sldMasterMk cId="3721905321" sldId="2147483960"/>
            <pc:sldLayoutMk cId="2226039348" sldId="2147483970"/>
          </pc:sldLayoutMkLst>
        </pc:sldLayoutChg>
        <pc:sldLayoutChg chg="del">
          <pc:chgData name="Niittymies Aleksi" userId="00c1d702-9a1a-46cb-9bcd-5368d837961b" providerId="ADAL" clId="{B5FDD507-75F5-4960-970E-D1799A0CCE37}" dt="2023-10-30T15:42:10.341" v="3" actId="47"/>
          <pc:sldLayoutMkLst>
            <pc:docMk/>
            <pc:sldMasterMk cId="3721905321" sldId="2147483960"/>
            <pc:sldLayoutMk cId="1076916470" sldId="2147483971"/>
          </pc:sldLayoutMkLst>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364B8F4-3BA6-49C8-91E3-C859A964AC3F}" type="doc">
      <dgm:prSet loTypeId="urn:microsoft.com/office/officeart/2005/8/layout/vList5" loCatId="list" qsTypeId="urn:microsoft.com/office/officeart/2005/8/quickstyle/simple5" qsCatId="simple" csTypeId="urn:microsoft.com/office/officeart/2005/8/colors/accent0_3" csCatId="mainScheme" phldr="1"/>
      <dgm:spPr/>
      <dgm:t>
        <a:bodyPr/>
        <a:lstStyle/>
        <a:p>
          <a:endParaRPr lang="en-US"/>
        </a:p>
      </dgm:t>
    </dgm:pt>
    <dgm:pt modelId="{FDDEFC16-2218-4E64-9A81-DDD44BD23325}">
      <dgm:prSet/>
      <dgm:spPr/>
      <dgm:t>
        <a:bodyPr/>
        <a:lstStyle/>
        <a:p>
          <a:r>
            <a:rPr lang="fi-FI" dirty="0"/>
            <a:t>Accumulating knowledge</a:t>
          </a:r>
          <a:endParaRPr lang="en-US" dirty="0"/>
        </a:p>
      </dgm:t>
    </dgm:pt>
    <dgm:pt modelId="{BDE9FFBC-0262-4036-A9C9-D64388D5B29A}" type="parTrans" cxnId="{AE2D5502-D673-4FA0-916C-C3903EE8FB59}">
      <dgm:prSet/>
      <dgm:spPr/>
      <dgm:t>
        <a:bodyPr/>
        <a:lstStyle/>
        <a:p>
          <a:endParaRPr lang="en-US"/>
        </a:p>
      </dgm:t>
    </dgm:pt>
    <dgm:pt modelId="{7534948E-AC3D-4516-BB01-F73611977FB5}" type="sibTrans" cxnId="{AE2D5502-D673-4FA0-916C-C3903EE8FB59}">
      <dgm:prSet/>
      <dgm:spPr/>
      <dgm:t>
        <a:bodyPr/>
        <a:lstStyle/>
        <a:p>
          <a:endParaRPr lang="en-US"/>
        </a:p>
      </dgm:t>
    </dgm:pt>
    <dgm:pt modelId="{747B4884-0D24-4FB8-994F-F5972C84D8FA}">
      <dgm:prSet/>
      <dgm:spPr/>
      <dgm:t>
        <a:bodyPr/>
        <a:lstStyle/>
        <a:p>
          <a:r>
            <a:rPr lang="fi-FI" dirty="0"/>
            <a:t>Case Trainer4You</a:t>
          </a:r>
          <a:endParaRPr lang="en-US" dirty="0"/>
        </a:p>
      </dgm:t>
    </dgm:pt>
    <dgm:pt modelId="{5472D553-B5B8-4618-B0F3-931B883CA757}" type="parTrans" cxnId="{90BDB386-183D-4A9B-9AD1-CBBF2EA248D6}">
      <dgm:prSet/>
      <dgm:spPr/>
      <dgm:t>
        <a:bodyPr/>
        <a:lstStyle/>
        <a:p>
          <a:endParaRPr lang="en-US"/>
        </a:p>
      </dgm:t>
    </dgm:pt>
    <dgm:pt modelId="{4F2347A4-321A-42D7-AA6A-B920664748CC}" type="sibTrans" cxnId="{90BDB386-183D-4A9B-9AD1-CBBF2EA248D6}">
      <dgm:prSet/>
      <dgm:spPr/>
      <dgm:t>
        <a:bodyPr/>
        <a:lstStyle/>
        <a:p>
          <a:endParaRPr lang="en-US"/>
        </a:p>
      </dgm:t>
    </dgm:pt>
    <dgm:pt modelId="{084C178F-6F26-4A86-B851-AD543D6391AD}">
      <dgm:prSet/>
      <dgm:spPr/>
      <dgm:t>
        <a:bodyPr/>
        <a:lstStyle/>
        <a:p>
          <a:r>
            <a:rPr lang="fi-FI"/>
            <a:t>Minimizing need for knowledge</a:t>
          </a:r>
          <a:endParaRPr lang="en-US" dirty="0"/>
        </a:p>
      </dgm:t>
    </dgm:pt>
    <dgm:pt modelId="{FB26ED96-D791-49A7-947D-159A905AF6AC}" type="parTrans" cxnId="{8145BD0B-5773-4893-A158-C37C4A398205}">
      <dgm:prSet/>
      <dgm:spPr/>
      <dgm:t>
        <a:bodyPr/>
        <a:lstStyle/>
        <a:p>
          <a:endParaRPr lang="en-US"/>
        </a:p>
      </dgm:t>
    </dgm:pt>
    <dgm:pt modelId="{47B725CA-7B70-4DD9-9989-3588B7F58272}" type="sibTrans" cxnId="{8145BD0B-5773-4893-A158-C37C4A398205}">
      <dgm:prSet/>
      <dgm:spPr/>
      <dgm:t>
        <a:bodyPr/>
        <a:lstStyle/>
        <a:p>
          <a:endParaRPr lang="en-US"/>
        </a:p>
      </dgm:t>
    </dgm:pt>
    <dgm:pt modelId="{A162F2A0-85C0-4940-9592-959CB8591762}">
      <dgm:prSet/>
      <dgm:spPr/>
      <dgm:t>
        <a:bodyPr/>
        <a:lstStyle/>
        <a:p>
          <a:r>
            <a:rPr lang="fi-FI"/>
            <a:t>Case M-room</a:t>
          </a:r>
          <a:endParaRPr lang="en-US"/>
        </a:p>
      </dgm:t>
    </dgm:pt>
    <dgm:pt modelId="{851C7801-E32F-4072-A777-2E58EF065B32}" type="parTrans" cxnId="{42693403-776D-4AE5-9A29-B591486ACA49}">
      <dgm:prSet/>
      <dgm:spPr/>
      <dgm:t>
        <a:bodyPr/>
        <a:lstStyle/>
        <a:p>
          <a:endParaRPr lang="en-US"/>
        </a:p>
      </dgm:t>
    </dgm:pt>
    <dgm:pt modelId="{9EFC4B14-7F71-40D3-872A-6346AD68A74D}" type="sibTrans" cxnId="{42693403-776D-4AE5-9A29-B591486ACA49}">
      <dgm:prSet/>
      <dgm:spPr/>
      <dgm:t>
        <a:bodyPr/>
        <a:lstStyle/>
        <a:p>
          <a:endParaRPr lang="en-US"/>
        </a:p>
      </dgm:t>
    </dgm:pt>
    <dgm:pt modelId="{EBA5F5B1-F09C-4C53-B3F5-38D2CEB392DE}" type="pres">
      <dgm:prSet presAssocID="{D364B8F4-3BA6-49C8-91E3-C859A964AC3F}" presName="Name0" presStyleCnt="0">
        <dgm:presLayoutVars>
          <dgm:dir/>
          <dgm:animLvl val="lvl"/>
          <dgm:resizeHandles val="exact"/>
        </dgm:presLayoutVars>
      </dgm:prSet>
      <dgm:spPr/>
    </dgm:pt>
    <dgm:pt modelId="{AEA1ABC7-68B5-4F87-BC19-BE2A5C6C6177}" type="pres">
      <dgm:prSet presAssocID="{FDDEFC16-2218-4E64-9A81-DDD44BD23325}" presName="linNode" presStyleCnt="0"/>
      <dgm:spPr/>
    </dgm:pt>
    <dgm:pt modelId="{5780D06E-DDF4-4DA4-92EC-070CAAE071E7}" type="pres">
      <dgm:prSet presAssocID="{FDDEFC16-2218-4E64-9A81-DDD44BD23325}" presName="parentText" presStyleLbl="node1" presStyleIdx="0" presStyleCnt="2">
        <dgm:presLayoutVars>
          <dgm:chMax val="1"/>
          <dgm:bulletEnabled val="1"/>
        </dgm:presLayoutVars>
      </dgm:prSet>
      <dgm:spPr/>
    </dgm:pt>
    <dgm:pt modelId="{F25CEAF1-FBB6-485E-9501-1DE8D700F432}" type="pres">
      <dgm:prSet presAssocID="{FDDEFC16-2218-4E64-9A81-DDD44BD23325}" presName="descendantText" presStyleLbl="alignAccFollowNode1" presStyleIdx="0" presStyleCnt="2">
        <dgm:presLayoutVars>
          <dgm:bulletEnabled val="1"/>
        </dgm:presLayoutVars>
      </dgm:prSet>
      <dgm:spPr/>
    </dgm:pt>
    <dgm:pt modelId="{DCF06406-14FD-48D4-AB0B-7BB185DEE52F}" type="pres">
      <dgm:prSet presAssocID="{7534948E-AC3D-4516-BB01-F73611977FB5}" presName="sp" presStyleCnt="0"/>
      <dgm:spPr/>
    </dgm:pt>
    <dgm:pt modelId="{201DE396-07CA-42B3-80B1-F5163CC8EB70}" type="pres">
      <dgm:prSet presAssocID="{084C178F-6F26-4A86-B851-AD543D6391AD}" presName="linNode" presStyleCnt="0"/>
      <dgm:spPr/>
    </dgm:pt>
    <dgm:pt modelId="{2AB6ACB2-7DB6-4FAA-AAE6-E9FA5199662F}" type="pres">
      <dgm:prSet presAssocID="{084C178F-6F26-4A86-B851-AD543D6391AD}" presName="parentText" presStyleLbl="node1" presStyleIdx="1" presStyleCnt="2">
        <dgm:presLayoutVars>
          <dgm:chMax val="1"/>
          <dgm:bulletEnabled val="1"/>
        </dgm:presLayoutVars>
      </dgm:prSet>
      <dgm:spPr/>
    </dgm:pt>
    <dgm:pt modelId="{9D36D464-687B-41C4-9195-BD8C28D3550F}" type="pres">
      <dgm:prSet presAssocID="{084C178F-6F26-4A86-B851-AD543D6391AD}" presName="descendantText" presStyleLbl="alignAccFollowNode1" presStyleIdx="1" presStyleCnt="2">
        <dgm:presLayoutVars>
          <dgm:bulletEnabled val="1"/>
        </dgm:presLayoutVars>
      </dgm:prSet>
      <dgm:spPr/>
    </dgm:pt>
  </dgm:ptLst>
  <dgm:cxnLst>
    <dgm:cxn modelId="{AE2D5502-D673-4FA0-916C-C3903EE8FB59}" srcId="{D364B8F4-3BA6-49C8-91E3-C859A964AC3F}" destId="{FDDEFC16-2218-4E64-9A81-DDD44BD23325}" srcOrd="0" destOrd="0" parTransId="{BDE9FFBC-0262-4036-A9C9-D64388D5B29A}" sibTransId="{7534948E-AC3D-4516-BB01-F73611977FB5}"/>
    <dgm:cxn modelId="{42693403-776D-4AE5-9A29-B591486ACA49}" srcId="{084C178F-6F26-4A86-B851-AD543D6391AD}" destId="{A162F2A0-85C0-4940-9592-959CB8591762}" srcOrd="0" destOrd="0" parTransId="{851C7801-E32F-4072-A777-2E58EF065B32}" sibTransId="{9EFC4B14-7F71-40D3-872A-6346AD68A74D}"/>
    <dgm:cxn modelId="{8145BD0B-5773-4893-A158-C37C4A398205}" srcId="{D364B8F4-3BA6-49C8-91E3-C859A964AC3F}" destId="{084C178F-6F26-4A86-B851-AD543D6391AD}" srcOrd="1" destOrd="0" parTransId="{FB26ED96-D791-49A7-947D-159A905AF6AC}" sibTransId="{47B725CA-7B70-4DD9-9989-3588B7F58272}"/>
    <dgm:cxn modelId="{99900B0F-C560-40BF-AEEC-04FCF993757F}" type="presOf" srcId="{A162F2A0-85C0-4940-9592-959CB8591762}" destId="{9D36D464-687B-41C4-9195-BD8C28D3550F}" srcOrd="0" destOrd="0" presId="urn:microsoft.com/office/officeart/2005/8/layout/vList5"/>
    <dgm:cxn modelId="{0E773627-EE5E-4316-9B7F-2865857126B9}" type="presOf" srcId="{D364B8F4-3BA6-49C8-91E3-C859A964AC3F}" destId="{EBA5F5B1-F09C-4C53-B3F5-38D2CEB392DE}" srcOrd="0" destOrd="0" presId="urn:microsoft.com/office/officeart/2005/8/layout/vList5"/>
    <dgm:cxn modelId="{10204162-8B0B-41C1-B107-989CB5F2D880}" type="presOf" srcId="{084C178F-6F26-4A86-B851-AD543D6391AD}" destId="{2AB6ACB2-7DB6-4FAA-AAE6-E9FA5199662F}" srcOrd="0" destOrd="0" presId="urn:microsoft.com/office/officeart/2005/8/layout/vList5"/>
    <dgm:cxn modelId="{8914C774-58D4-4B5C-A4B5-BBDEE5A6C2AA}" type="presOf" srcId="{FDDEFC16-2218-4E64-9A81-DDD44BD23325}" destId="{5780D06E-DDF4-4DA4-92EC-070CAAE071E7}" srcOrd="0" destOrd="0" presId="urn:microsoft.com/office/officeart/2005/8/layout/vList5"/>
    <dgm:cxn modelId="{90BDB386-183D-4A9B-9AD1-CBBF2EA248D6}" srcId="{FDDEFC16-2218-4E64-9A81-DDD44BD23325}" destId="{747B4884-0D24-4FB8-994F-F5972C84D8FA}" srcOrd="0" destOrd="0" parTransId="{5472D553-B5B8-4618-B0F3-931B883CA757}" sibTransId="{4F2347A4-321A-42D7-AA6A-B920664748CC}"/>
    <dgm:cxn modelId="{6D348DB2-227A-4D8D-94B1-CA26979A1D87}" type="presOf" srcId="{747B4884-0D24-4FB8-994F-F5972C84D8FA}" destId="{F25CEAF1-FBB6-485E-9501-1DE8D700F432}" srcOrd="0" destOrd="0" presId="urn:microsoft.com/office/officeart/2005/8/layout/vList5"/>
    <dgm:cxn modelId="{9253FFC6-A5CA-4052-BC7F-0385ACC887F0}" type="presParOf" srcId="{EBA5F5B1-F09C-4C53-B3F5-38D2CEB392DE}" destId="{AEA1ABC7-68B5-4F87-BC19-BE2A5C6C6177}" srcOrd="0" destOrd="0" presId="urn:microsoft.com/office/officeart/2005/8/layout/vList5"/>
    <dgm:cxn modelId="{F44005EE-A999-4EA4-8B86-F01752B848CE}" type="presParOf" srcId="{AEA1ABC7-68B5-4F87-BC19-BE2A5C6C6177}" destId="{5780D06E-DDF4-4DA4-92EC-070CAAE071E7}" srcOrd="0" destOrd="0" presId="urn:microsoft.com/office/officeart/2005/8/layout/vList5"/>
    <dgm:cxn modelId="{F6A913ED-CFFF-41C3-A8B9-390045754862}" type="presParOf" srcId="{AEA1ABC7-68B5-4F87-BC19-BE2A5C6C6177}" destId="{F25CEAF1-FBB6-485E-9501-1DE8D700F432}" srcOrd="1" destOrd="0" presId="urn:microsoft.com/office/officeart/2005/8/layout/vList5"/>
    <dgm:cxn modelId="{BC155171-F64B-4E35-B165-86F182F34963}" type="presParOf" srcId="{EBA5F5B1-F09C-4C53-B3F5-38D2CEB392DE}" destId="{DCF06406-14FD-48D4-AB0B-7BB185DEE52F}" srcOrd="1" destOrd="0" presId="urn:microsoft.com/office/officeart/2005/8/layout/vList5"/>
    <dgm:cxn modelId="{9B539C63-01BA-4019-9CD4-14E29297E394}" type="presParOf" srcId="{EBA5F5B1-F09C-4C53-B3F5-38D2CEB392DE}" destId="{201DE396-07CA-42B3-80B1-F5163CC8EB70}" srcOrd="2" destOrd="0" presId="urn:microsoft.com/office/officeart/2005/8/layout/vList5"/>
    <dgm:cxn modelId="{CE481AE0-7A83-4AE2-8526-0A833189C8B4}" type="presParOf" srcId="{201DE396-07CA-42B3-80B1-F5163CC8EB70}" destId="{2AB6ACB2-7DB6-4FAA-AAE6-E9FA5199662F}" srcOrd="0" destOrd="0" presId="urn:microsoft.com/office/officeart/2005/8/layout/vList5"/>
    <dgm:cxn modelId="{CFDA5043-4306-4A37-A71C-FD73EA783340}" type="presParOf" srcId="{201DE396-07CA-42B3-80B1-F5163CC8EB70}" destId="{9D36D464-687B-41C4-9195-BD8C28D3550F}"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9CA126A-1B5C-415E-ADB7-6862C3F95263}" type="doc">
      <dgm:prSet loTypeId="urn:microsoft.com/office/officeart/2005/8/layout/default" loCatId="list" qsTypeId="urn:microsoft.com/office/officeart/2005/8/quickstyle/simple1" qsCatId="simple" csTypeId="urn:microsoft.com/office/officeart/2005/8/colors/colorful2" csCatId="colorful" phldr="1"/>
      <dgm:spPr/>
      <dgm:t>
        <a:bodyPr/>
        <a:lstStyle/>
        <a:p>
          <a:endParaRPr lang="en-US"/>
        </a:p>
      </dgm:t>
    </dgm:pt>
    <dgm:pt modelId="{98117E97-C122-40D7-B224-5CDC27EEAF15}">
      <dgm:prSet/>
      <dgm:spPr/>
      <dgm:t>
        <a:bodyPr/>
        <a:lstStyle/>
        <a:p>
          <a:r>
            <a:rPr lang="fi-FI" dirty="0"/>
            <a:t>Known firms using franchise model?</a:t>
          </a:r>
          <a:endParaRPr lang="en-US" dirty="0"/>
        </a:p>
      </dgm:t>
    </dgm:pt>
    <dgm:pt modelId="{9F1FA11D-1810-403D-BD80-2F6958BAB62B}" type="parTrans" cxnId="{E0B6D021-1828-4317-BC74-5DB95A3CFC91}">
      <dgm:prSet/>
      <dgm:spPr/>
      <dgm:t>
        <a:bodyPr/>
        <a:lstStyle/>
        <a:p>
          <a:endParaRPr lang="en-US"/>
        </a:p>
      </dgm:t>
    </dgm:pt>
    <dgm:pt modelId="{8FAADFE2-2863-4B9D-8E0D-7C5AEFBF7AFE}" type="sibTrans" cxnId="{E0B6D021-1828-4317-BC74-5DB95A3CFC91}">
      <dgm:prSet/>
      <dgm:spPr/>
      <dgm:t>
        <a:bodyPr/>
        <a:lstStyle/>
        <a:p>
          <a:endParaRPr lang="en-US"/>
        </a:p>
      </dgm:t>
    </dgm:pt>
    <dgm:pt modelId="{5F31B43F-FD0F-4057-9D0A-BD82D1DF5AD4}">
      <dgm:prSet/>
      <dgm:spPr/>
      <dgm:t>
        <a:bodyPr/>
        <a:lstStyle/>
        <a:p>
          <a:r>
            <a:rPr lang="fi-FI" dirty="0"/>
            <a:t>Known firms using licensing?</a:t>
          </a:r>
          <a:endParaRPr lang="en-US" dirty="0"/>
        </a:p>
      </dgm:t>
    </dgm:pt>
    <dgm:pt modelId="{3DC6A775-6FA4-4E64-B403-0AFE970FBDD6}" type="parTrans" cxnId="{6B2B51E1-69C4-4CDD-B59F-A61AAABE00DB}">
      <dgm:prSet/>
      <dgm:spPr/>
      <dgm:t>
        <a:bodyPr/>
        <a:lstStyle/>
        <a:p>
          <a:endParaRPr lang="en-US"/>
        </a:p>
      </dgm:t>
    </dgm:pt>
    <dgm:pt modelId="{F83AD610-D8BA-481A-9466-ED4CA19F6F71}" type="sibTrans" cxnId="{6B2B51E1-69C4-4CDD-B59F-A61AAABE00DB}">
      <dgm:prSet/>
      <dgm:spPr/>
      <dgm:t>
        <a:bodyPr/>
        <a:lstStyle/>
        <a:p>
          <a:endParaRPr lang="en-US"/>
        </a:p>
      </dgm:t>
    </dgm:pt>
    <dgm:pt modelId="{F1A9987D-4D78-4C3A-8244-8989977E307C}">
      <dgm:prSet/>
      <dgm:spPr/>
      <dgm:t>
        <a:bodyPr/>
        <a:lstStyle/>
        <a:p>
          <a:r>
            <a:rPr lang="fi-FI" dirty="0"/>
            <a:t>Known firms expansion through partnerships?</a:t>
          </a:r>
          <a:endParaRPr lang="en-US" dirty="0"/>
        </a:p>
      </dgm:t>
    </dgm:pt>
    <dgm:pt modelId="{B7A50452-3F4A-4CBE-9F3B-984C40E76114}" type="parTrans" cxnId="{C968E8E5-12B2-4C0A-829F-EEC4E9526BEE}">
      <dgm:prSet/>
      <dgm:spPr/>
      <dgm:t>
        <a:bodyPr/>
        <a:lstStyle/>
        <a:p>
          <a:endParaRPr lang="en-US"/>
        </a:p>
      </dgm:t>
    </dgm:pt>
    <dgm:pt modelId="{8D284A66-5B91-4EFB-BC17-94EDFDA90B4F}" type="sibTrans" cxnId="{C968E8E5-12B2-4C0A-829F-EEC4E9526BEE}">
      <dgm:prSet/>
      <dgm:spPr/>
      <dgm:t>
        <a:bodyPr/>
        <a:lstStyle/>
        <a:p>
          <a:endParaRPr lang="en-US"/>
        </a:p>
      </dgm:t>
    </dgm:pt>
    <dgm:pt modelId="{EBCA6B63-BE4C-4601-9F74-0E573E32CB26}">
      <dgm:prSet/>
      <dgm:spPr/>
      <dgm:t>
        <a:bodyPr/>
        <a:lstStyle/>
        <a:p>
          <a:r>
            <a:rPr lang="fi-FI" dirty="0"/>
            <a:t>Known firms expanding by establishing manufacturing facilities?</a:t>
          </a:r>
          <a:endParaRPr lang="en-US" dirty="0"/>
        </a:p>
      </dgm:t>
    </dgm:pt>
    <dgm:pt modelId="{9216E48B-393B-498F-B081-1F2F349C5A03}" type="parTrans" cxnId="{C42789CF-27AB-4F62-8113-8DFDBD30729C}">
      <dgm:prSet/>
      <dgm:spPr/>
      <dgm:t>
        <a:bodyPr/>
        <a:lstStyle/>
        <a:p>
          <a:endParaRPr lang="en-US"/>
        </a:p>
      </dgm:t>
    </dgm:pt>
    <dgm:pt modelId="{B717A317-49BE-4F4D-8F0C-39058B61DDC6}" type="sibTrans" cxnId="{C42789CF-27AB-4F62-8113-8DFDBD30729C}">
      <dgm:prSet/>
      <dgm:spPr/>
      <dgm:t>
        <a:bodyPr/>
        <a:lstStyle/>
        <a:p>
          <a:endParaRPr lang="en-US"/>
        </a:p>
      </dgm:t>
    </dgm:pt>
    <dgm:pt modelId="{BB89807E-3474-44C7-B635-2334E34CB757}" type="pres">
      <dgm:prSet presAssocID="{A9CA126A-1B5C-415E-ADB7-6862C3F95263}" presName="diagram" presStyleCnt="0">
        <dgm:presLayoutVars>
          <dgm:dir/>
          <dgm:resizeHandles val="exact"/>
        </dgm:presLayoutVars>
      </dgm:prSet>
      <dgm:spPr/>
    </dgm:pt>
    <dgm:pt modelId="{6A3D8F9A-03A0-4307-A939-8D916F1D1AA7}" type="pres">
      <dgm:prSet presAssocID="{98117E97-C122-40D7-B224-5CDC27EEAF15}" presName="node" presStyleLbl="node1" presStyleIdx="0" presStyleCnt="4">
        <dgm:presLayoutVars>
          <dgm:bulletEnabled val="1"/>
        </dgm:presLayoutVars>
      </dgm:prSet>
      <dgm:spPr/>
    </dgm:pt>
    <dgm:pt modelId="{54487B37-6595-4E07-9B57-31C6BE8C99A0}" type="pres">
      <dgm:prSet presAssocID="{8FAADFE2-2863-4B9D-8E0D-7C5AEFBF7AFE}" presName="sibTrans" presStyleCnt="0"/>
      <dgm:spPr/>
    </dgm:pt>
    <dgm:pt modelId="{80B23109-28E8-4B25-ACE2-AD58E4C63BDE}" type="pres">
      <dgm:prSet presAssocID="{5F31B43F-FD0F-4057-9D0A-BD82D1DF5AD4}" presName="node" presStyleLbl="node1" presStyleIdx="1" presStyleCnt="4">
        <dgm:presLayoutVars>
          <dgm:bulletEnabled val="1"/>
        </dgm:presLayoutVars>
      </dgm:prSet>
      <dgm:spPr/>
    </dgm:pt>
    <dgm:pt modelId="{7540268B-5177-439E-8CE7-ED0CDADBA54F}" type="pres">
      <dgm:prSet presAssocID="{F83AD610-D8BA-481A-9466-ED4CA19F6F71}" presName="sibTrans" presStyleCnt="0"/>
      <dgm:spPr/>
    </dgm:pt>
    <dgm:pt modelId="{6A7BFF90-3799-436E-B853-CD62238AFB32}" type="pres">
      <dgm:prSet presAssocID="{F1A9987D-4D78-4C3A-8244-8989977E307C}" presName="node" presStyleLbl="node1" presStyleIdx="2" presStyleCnt="4">
        <dgm:presLayoutVars>
          <dgm:bulletEnabled val="1"/>
        </dgm:presLayoutVars>
      </dgm:prSet>
      <dgm:spPr/>
    </dgm:pt>
    <dgm:pt modelId="{48A83F61-34FE-4DCE-B611-665129B653FE}" type="pres">
      <dgm:prSet presAssocID="{8D284A66-5B91-4EFB-BC17-94EDFDA90B4F}" presName="sibTrans" presStyleCnt="0"/>
      <dgm:spPr/>
    </dgm:pt>
    <dgm:pt modelId="{87FFCA4B-6977-4CCF-B319-0CDDD110AC6F}" type="pres">
      <dgm:prSet presAssocID="{EBCA6B63-BE4C-4601-9F74-0E573E32CB26}" presName="node" presStyleLbl="node1" presStyleIdx="3" presStyleCnt="4" custLinFactNeighborX="385">
        <dgm:presLayoutVars>
          <dgm:bulletEnabled val="1"/>
        </dgm:presLayoutVars>
      </dgm:prSet>
      <dgm:spPr/>
    </dgm:pt>
  </dgm:ptLst>
  <dgm:cxnLst>
    <dgm:cxn modelId="{00A04A00-8C8C-413C-B812-CA7E48770FD2}" type="presOf" srcId="{A9CA126A-1B5C-415E-ADB7-6862C3F95263}" destId="{BB89807E-3474-44C7-B635-2334E34CB757}" srcOrd="0" destOrd="0" presId="urn:microsoft.com/office/officeart/2005/8/layout/default"/>
    <dgm:cxn modelId="{BA994D1E-26C3-4CBF-B77B-108F4C8B1DAA}" type="presOf" srcId="{98117E97-C122-40D7-B224-5CDC27EEAF15}" destId="{6A3D8F9A-03A0-4307-A939-8D916F1D1AA7}" srcOrd="0" destOrd="0" presId="urn:microsoft.com/office/officeart/2005/8/layout/default"/>
    <dgm:cxn modelId="{E0B6D021-1828-4317-BC74-5DB95A3CFC91}" srcId="{A9CA126A-1B5C-415E-ADB7-6862C3F95263}" destId="{98117E97-C122-40D7-B224-5CDC27EEAF15}" srcOrd="0" destOrd="0" parTransId="{9F1FA11D-1810-403D-BD80-2F6958BAB62B}" sibTransId="{8FAADFE2-2863-4B9D-8E0D-7C5AEFBF7AFE}"/>
    <dgm:cxn modelId="{D959306B-9851-40D5-90EE-E4220A17423D}" type="presOf" srcId="{EBCA6B63-BE4C-4601-9F74-0E573E32CB26}" destId="{87FFCA4B-6977-4CCF-B319-0CDDD110AC6F}" srcOrd="0" destOrd="0" presId="urn:microsoft.com/office/officeart/2005/8/layout/default"/>
    <dgm:cxn modelId="{5675647E-20EE-4CC9-9996-B91B7AE585C1}" type="presOf" srcId="{5F31B43F-FD0F-4057-9D0A-BD82D1DF5AD4}" destId="{80B23109-28E8-4B25-ACE2-AD58E4C63BDE}" srcOrd="0" destOrd="0" presId="urn:microsoft.com/office/officeart/2005/8/layout/default"/>
    <dgm:cxn modelId="{EEECE4AB-432A-4758-9094-7CDE7303D802}" type="presOf" srcId="{F1A9987D-4D78-4C3A-8244-8989977E307C}" destId="{6A7BFF90-3799-436E-B853-CD62238AFB32}" srcOrd="0" destOrd="0" presId="urn:microsoft.com/office/officeart/2005/8/layout/default"/>
    <dgm:cxn modelId="{C42789CF-27AB-4F62-8113-8DFDBD30729C}" srcId="{A9CA126A-1B5C-415E-ADB7-6862C3F95263}" destId="{EBCA6B63-BE4C-4601-9F74-0E573E32CB26}" srcOrd="3" destOrd="0" parTransId="{9216E48B-393B-498F-B081-1F2F349C5A03}" sibTransId="{B717A317-49BE-4F4D-8F0C-39058B61DDC6}"/>
    <dgm:cxn modelId="{6B2B51E1-69C4-4CDD-B59F-A61AAABE00DB}" srcId="{A9CA126A-1B5C-415E-ADB7-6862C3F95263}" destId="{5F31B43F-FD0F-4057-9D0A-BD82D1DF5AD4}" srcOrd="1" destOrd="0" parTransId="{3DC6A775-6FA4-4E64-B403-0AFE970FBDD6}" sibTransId="{F83AD610-D8BA-481A-9466-ED4CA19F6F71}"/>
    <dgm:cxn modelId="{C968E8E5-12B2-4C0A-829F-EEC4E9526BEE}" srcId="{A9CA126A-1B5C-415E-ADB7-6862C3F95263}" destId="{F1A9987D-4D78-4C3A-8244-8989977E307C}" srcOrd="2" destOrd="0" parTransId="{B7A50452-3F4A-4CBE-9F3B-984C40E76114}" sibTransId="{8D284A66-5B91-4EFB-BC17-94EDFDA90B4F}"/>
    <dgm:cxn modelId="{65D180A6-0529-4A41-8B42-9C33E7D9504F}" type="presParOf" srcId="{BB89807E-3474-44C7-B635-2334E34CB757}" destId="{6A3D8F9A-03A0-4307-A939-8D916F1D1AA7}" srcOrd="0" destOrd="0" presId="urn:microsoft.com/office/officeart/2005/8/layout/default"/>
    <dgm:cxn modelId="{F2F7A916-B355-4419-AB82-B8CA27B28C72}" type="presParOf" srcId="{BB89807E-3474-44C7-B635-2334E34CB757}" destId="{54487B37-6595-4E07-9B57-31C6BE8C99A0}" srcOrd="1" destOrd="0" presId="urn:microsoft.com/office/officeart/2005/8/layout/default"/>
    <dgm:cxn modelId="{D7019203-76E0-464C-A689-D387446FC631}" type="presParOf" srcId="{BB89807E-3474-44C7-B635-2334E34CB757}" destId="{80B23109-28E8-4B25-ACE2-AD58E4C63BDE}" srcOrd="2" destOrd="0" presId="urn:microsoft.com/office/officeart/2005/8/layout/default"/>
    <dgm:cxn modelId="{8B6E4738-F585-4655-B34E-357E7BF61B9B}" type="presParOf" srcId="{BB89807E-3474-44C7-B635-2334E34CB757}" destId="{7540268B-5177-439E-8CE7-ED0CDADBA54F}" srcOrd="3" destOrd="0" presId="urn:microsoft.com/office/officeart/2005/8/layout/default"/>
    <dgm:cxn modelId="{C6573743-FF7F-4514-9BA9-8D3E2DAC4CF2}" type="presParOf" srcId="{BB89807E-3474-44C7-B635-2334E34CB757}" destId="{6A7BFF90-3799-436E-B853-CD62238AFB32}" srcOrd="4" destOrd="0" presId="urn:microsoft.com/office/officeart/2005/8/layout/default"/>
    <dgm:cxn modelId="{3E49A485-ED94-473F-A1B2-F256194FC74C}" type="presParOf" srcId="{BB89807E-3474-44C7-B635-2334E34CB757}" destId="{48A83F61-34FE-4DCE-B611-665129B653FE}" srcOrd="5" destOrd="0" presId="urn:microsoft.com/office/officeart/2005/8/layout/default"/>
    <dgm:cxn modelId="{D082DA7D-810D-40D9-AE94-EA3796E0BC36}" type="presParOf" srcId="{BB89807E-3474-44C7-B635-2334E34CB757}" destId="{87FFCA4B-6977-4CCF-B319-0CDDD110AC6F}" srcOrd="6"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5CEAF1-FBB6-485E-9501-1DE8D700F432}">
      <dsp:nvSpPr>
        <dsp:cNvPr id="0" name=""/>
        <dsp:cNvSpPr/>
      </dsp:nvSpPr>
      <dsp:spPr>
        <a:xfrm rot="5400000">
          <a:off x="1846019" y="-436536"/>
          <a:ext cx="1108898" cy="2259265"/>
        </a:xfrm>
        <a:prstGeom prst="round2SameRect">
          <a:avLst/>
        </a:prstGeom>
        <a:solidFill>
          <a:schemeClr val="dk2">
            <a:alpha val="90000"/>
            <a:tint val="40000"/>
            <a:hueOff val="0"/>
            <a:satOff val="0"/>
            <a:lumOff val="0"/>
            <a:alphaOff val="0"/>
          </a:schemeClr>
        </a:solidFill>
        <a:ln w="6350" cap="flat" cmpd="sng" algn="ctr">
          <a:solidFill>
            <a:schemeClr val="dk2">
              <a:alpha val="90000"/>
              <a:tint val="40000"/>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txBody>
        <a:bodyPr spcFirstLastPara="0" vert="horz" wrap="square" lIns="102870" tIns="51435" rIns="102870" bIns="51435" numCol="1" spcCol="1270" anchor="ctr" anchorCtr="0">
          <a:noAutofit/>
        </a:bodyPr>
        <a:lstStyle/>
        <a:p>
          <a:pPr marL="228600" lvl="1" indent="-228600" algn="l" defTabSz="1200150">
            <a:lnSpc>
              <a:spcPct val="90000"/>
            </a:lnSpc>
            <a:spcBef>
              <a:spcPct val="0"/>
            </a:spcBef>
            <a:spcAft>
              <a:spcPct val="15000"/>
            </a:spcAft>
            <a:buChar char="•"/>
          </a:pPr>
          <a:r>
            <a:rPr lang="fi-FI" sz="2700" kern="1200" dirty="0"/>
            <a:t>Case Trainer4You</a:t>
          </a:r>
          <a:endParaRPr lang="en-US" sz="2700" kern="1200" dirty="0"/>
        </a:p>
      </dsp:txBody>
      <dsp:txXfrm rot="-5400000">
        <a:off x="1270836" y="192779"/>
        <a:ext cx="2205133" cy="1000634"/>
      </dsp:txXfrm>
    </dsp:sp>
    <dsp:sp modelId="{5780D06E-DDF4-4DA4-92EC-070CAAE071E7}">
      <dsp:nvSpPr>
        <dsp:cNvPr id="0" name=""/>
        <dsp:cNvSpPr/>
      </dsp:nvSpPr>
      <dsp:spPr>
        <a:xfrm>
          <a:off x="0" y="34"/>
          <a:ext cx="1270836" cy="1386123"/>
        </a:xfrm>
        <a:prstGeom prst="round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53340" tIns="26670" rIns="53340" bIns="26670" numCol="1" spcCol="1270" anchor="ctr" anchorCtr="0">
          <a:noAutofit/>
        </a:bodyPr>
        <a:lstStyle/>
        <a:p>
          <a:pPr marL="0" lvl="0" indent="0" algn="ctr" defTabSz="622300">
            <a:lnSpc>
              <a:spcPct val="90000"/>
            </a:lnSpc>
            <a:spcBef>
              <a:spcPct val="0"/>
            </a:spcBef>
            <a:spcAft>
              <a:spcPct val="35000"/>
            </a:spcAft>
            <a:buNone/>
          </a:pPr>
          <a:r>
            <a:rPr lang="fi-FI" sz="1400" kern="1200" dirty="0"/>
            <a:t>Accumulating knowledge</a:t>
          </a:r>
          <a:endParaRPr lang="en-US" sz="1400" kern="1200" dirty="0"/>
        </a:p>
      </dsp:txBody>
      <dsp:txXfrm>
        <a:off x="62037" y="62071"/>
        <a:ext cx="1146762" cy="1262049"/>
      </dsp:txXfrm>
    </dsp:sp>
    <dsp:sp modelId="{9D36D464-687B-41C4-9195-BD8C28D3550F}">
      <dsp:nvSpPr>
        <dsp:cNvPr id="0" name=""/>
        <dsp:cNvSpPr/>
      </dsp:nvSpPr>
      <dsp:spPr>
        <a:xfrm rot="5400000">
          <a:off x="1846019" y="1018893"/>
          <a:ext cx="1108898" cy="2259265"/>
        </a:xfrm>
        <a:prstGeom prst="round2SameRect">
          <a:avLst/>
        </a:prstGeom>
        <a:solidFill>
          <a:schemeClr val="dk2">
            <a:alpha val="90000"/>
            <a:tint val="40000"/>
            <a:hueOff val="0"/>
            <a:satOff val="0"/>
            <a:lumOff val="0"/>
            <a:alphaOff val="0"/>
          </a:schemeClr>
        </a:solidFill>
        <a:ln w="6350" cap="flat" cmpd="sng" algn="ctr">
          <a:solidFill>
            <a:schemeClr val="dk2">
              <a:alpha val="90000"/>
              <a:tint val="40000"/>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txBody>
        <a:bodyPr spcFirstLastPara="0" vert="horz" wrap="square" lIns="102870" tIns="51435" rIns="102870" bIns="51435" numCol="1" spcCol="1270" anchor="ctr" anchorCtr="0">
          <a:noAutofit/>
        </a:bodyPr>
        <a:lstStyle/>
        <a:p>
          <a:pPr marL="228600" lvl="1" indent="-228600" algn="l" defTabSz="1200150">
            <a:lnSpc>
              <a:spcPct val="90000"/>
            </a:lnSpc>
            <a:spcBef>
              <a:spcPct val="0"/>
            </a:spcBef>
            <a:spcAft>
              <a:spcPct val="15000"/>
            </a:spcAft>
            <a:buChar char="•"/>
          </a:pPr>
          <a:r>
            <a:rPr lang="fi-FI" sz="2700" kern="1200"/>
            <a:t>Case M-room</a:t>
          </a:r>
          <a:endParaRPr lang="en-US" sz="2700" kern="1200"/>
        </a:p>
      </dsp:txBody>
      <dsp:txXfrm rot="-5400000">
        <a:off x="1270836" y="1648208"/>
        <a:ext cx="2205133" cy="1000634"/>
      </dsp:txXfrm>
    </dsp:sp>
    <dsp:sp modelId="{2AB6ACB2-7DB6-4FAA-AAE6-E9FA5199662F}">
      <dsp:nvSpPr>
        <dsp:cNvPr id="0" name=""/>
        <dsp:cNvSpPr/>
      </dsp:nvSpPr>
      <dsp:spPr>
        <a:xfrm>
          <a:off x="0" y="1455464"/>
          <a:ext cx="1270836" cy="1386123"/>
        </a:xfrm>
        <a:prstGeom prst="round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53340" tIns="26670" rIns="53340" bIns="26670" numCol="1" spcCol="1270" anchor="ctr" anchorCtr="0">
          <a:noAutofit/>
        </a:bodyPr>
        <a:lstStyle/>
        <a:p>
          <a:pPr marL="0" lvl="0" indent="0" algn="ctr" defTabSz="622300">
            <a:lnSpc>
              <a:spcPct val="90000"/>
            </a:lnSpc>
            <a:spcBef>
              <a:spcPct val="0"/>
            </a:spcBef>
            <a:spcAft>
              <a:spcPct val="35000"/>
            </a:spcAft>
            <a:buNone/>
          </a:pPr>
          <a:r>
            <a:rPr lang="fi-FI" sz="1400" kern="1200"/>
            <a:t>Minimizing need for knowledge</a:t>
          </a:r>
          <a:endParaRPr lang="en-US" sz="1400" kern="1200" dirty="0"/>
        </a:p>
      </dsp:txBody>
      <dsp:txXfrm>
        <a:off x="62037" y="1517501"/>
        <a:ext cx="1146762" cy="126204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3D8F9A-03A0-4307-A939-8D916F1D1AA7}">
      <dsp:nvSpPr>
        <dsp:cNvPr id="0" name=""/>
        <dsp:cNvSpPr/>
      </dsp:nvSpPr>
      <dsp:spPr>
        <a:xfrm>
          <a:off x="604" y="456864"/>
          <a:ext cx="2357820" cy="1414692"/>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fi-FI" sz="1800" kern="1200" dirty="0"/>
            <a:t>Known firms using franchise model?</a:t>
          </a:r>
          <a:endParaRPr lang="en-US" sz="1800" kern="1200" dirty="0"/>
        </a:p>
      </dsp:txBody>
      <dsp:txXfrm>
        <a:off x="604" y="456864"/>
        <a:ext cx="2357820" cy="1414692"/>
      </dsp:txXfrm>
    </dsp:sp>
    <dsp:sp modelId="{80B23109-28E8-4B25-ACE2-AD58E4C63BDE}">
      <dsp:nvSpPr>
        <dsp:cNvPr id="0" name=""/>
        <dsp:cNvSpPr/>
      </dsp:nvSpPr>
      <dsp:spPr>
        <a:xfrm>
          <a:off x="2594207" y="456864"/>
          <a:ext cx="2357820" cy="1414692"/>
        </a:xfrm>
        <a:prstGeom prst="rect">
          <a:avLst/>
        </a:prstGeom>
        <a:solidFill>
          <a:schemeClr val="accent2">
            <a:hueOff val="-485121"/>
            <a:satOff val="-27976"/>
            <a:lumOff val="287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fi-FI" sz="1800" kern="1200" dirty="0"/>
            <a:t>Known firms using licensing?</a:t>
          </a:r>
          <a:endParaRPr lang="en-US" sz="1800" kern="1200" dirty="0"/>
        </a:p>
      </dsp:txBody>
      <dsp:txXfrm>
        <a:off x="2594207" y="456864"/>
        <a:ext cx="2357820" cy="1414692"/>
      </dsp:txXfrm>
    </dsp:sp>
    <dsp:sp modelId="{6A7BFF90-3799-436E-B853-CD62238AFB32}">
      <dsp:nvSpPr>
        <dsp:cNvPr id="0" name=""/>
        <dsp:cNvSpPr/>
      </dsp:nvSpPr>
      <dsp:spPr>
        <a:xfrm>
          <a:off x="604" y="2107338"/>
          <a:ext cx="2357820" cy="1414692"/>
        </a:xfrm>
        <a:prstGeom prst="rect">
          <a:avLst/>
        </a:prstGeom>
        <a:solidFill>
          <a:schemeClr val="accent2">
            <a:hueOff val="-970242"/>
            <a:satOff val="-55952"/>
            <a:lumOff val="575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fi-FI" sz="1800" kern="1200" dirty="0"/>
            <a:t>Known firms expansion through partnerships?</a:t>
          </a:r>
          <a:endParaRPr lang="en-US" sz="1800" kern="1200" dirty="0"/>
        </a:p>
      </dsp:txBody>
      <dsp:txXfrm>
        <a:off x="604" y="2107338"/>
        <a:ext cx="2357820" cy="1414692"/>
      </dsp:txXfrm>
    </dsp:sp>
    <dsp:sp modelId="{87FFCA4B-6977-4CCF-B319-0CDDD110AC6F}">
      <dsp:nvSpPr>
        <dsp:cNvPr id="0" name=""/>
        <dsp:cNvSpPr/>
      </dsp:nvSpPr>
      <dsp:spPr>
        <a:xfrm>
          <a:off x="2594811" y="2107338"/>
          <a:ext cx="2357820" cy="1414692"/>
        </a:xfrm>
        <a:prstGeom prst="rect">
          <a:avLst/>
        </a:prstGeom>
        <a:solidFill>
          <a:schemeClr val="accent2">
            <a:hueOff val="-1455363"/>
            <a:satOff val="-83928"/>
            <a:lumOff val="862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fi-FI" sz="1800" kern="1200" dirty="0"/>
            <a:t>Known firms expanding by establishing manufacturing facilities?</a:t>
          </a:r>
          <a:endParaRPr lang="en-US" sz="1800" kern="1200" dirty="0"/>
        </a:p>
      </dsp:txBody>
      <dsp:txXfrm>
        <a:off x="2594811" y="2107338"/>
        <a:ext cx="2357820" cy="1414692"/>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8CCC29D-C729-694F-A788-B5007BCA57F6}" type="datetimeFigureOut">
              <a:rPr lang="en-US" smtClean="0"/>
              <a:t>5.11.2023</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540BB66-2831-4C42-9675-9DAB39629BDD}" type="slidenum">
              <a:rPr lang="en-US" smtClean="0"/>
              <a:t>‹#›</a:t>
            </a:fld>
            <a:endParaRPr lang="en-US" dirty="0"/>
          </a:p>
        </p:txBody>
      </p:sp>
    </p:spTree>
    <p:extLst>
      <p:ext uri="{BB962C8B-B14F-4D97-AF65-F5344CB8AC3E}">
        <p14:creationId xmlns:p14="http://schemas.microsoft.com/office/powerpoint/2010/main" val="193004305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DAAFD53-F29D-C94E-BF8B-0D8B7431C954}" type="datetimeFigureOut">
              <a:rPr lang="en-US" smtClean="0"/>
              <a:t>5.11.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F164E42-DED0-9246-9B1B-B67105F62D49}" type="slidenum">
              <a:rPr lang="en-US" smtClean="0"/>
              <a:t>‹#›</a:t>
            </a:fld>
            <a:endParaRPr lang="en-US" dirty="0"/>
          </a:p>
        </p:txBody>
      </p:sp>
    </p:spTree>
    <p:extLst>
      <p:ext uri="{BB962C8B-B14F-4D97-AF65-F5344CB8AC3E}">
        <p14:creationId xmlns:p14="http://schemas.microsoft.com/office/powerpoint/2010/main" val="386339113"/>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900" kern="1200">
        <a:solidFill>
          <a:schemeClr val="tx1"/>
        </a:solidFill>
        <a:latin typeface="+mn-lt"/>
        <a:ea typeface="+mn-ea"/>
        <a:cs typeface="+mn-cs"/>
      </a:defRPr>
    </a:lvl2pPr>
    <a:lvl3pPr marL="685800" algn="l" defTabSz="685800" rtl="0" eaLnBrk="1" latinLnBrk="0" hangingPunct="1">
      <a:defRPr sz="900" kern="1200">
        <a:solidFill>
          <a:schemeClr val="tx1"/>
        </a:solidFill>
        <a:latin typeface="+mn-lt"/>
        <a:ea typeface="+mn-ea"/>
        <a:cs typeface="+mn-cs"/>
      </a:defRPr>
    </a:lvl3pPr>
    <a:lvl4pPr marL="1028700" algn="l" defTabSz="685800" rtl="0" eaLnBrk="1" latinLnBrk="0" hangingPunct="1">
      <a:defRPr sz="900" kern="1200">
        <a:solidFill>
          <a:schemeClr val="tx1"/>
        </a:solidFill>
        <a:latin typeface="+mn-lt"/>
        <a:ea typeface="+mn-ea"/>
        <a:cs typeface="+mn-cs"/>
      </a:defRPr>
    </a:lvl4pPr>
    <a:lvl5pPr marL="13716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18.wmf"/><Relationship Id="rId2" Type="http://schemas.openxmlformats.org/officeDocument/2006/relationships/image" Target="../media/image17.jpeg"/><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21.emf"/><Relationship Id="rId4" Type="http://schemas.openxmlformats.org/officeDocument/2006/relationships/oleObject" Target="../embeddings/oleObject2.bin"/></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21.emf"/><Relationship Id="rId4" Type="http://schemas.openxmlformats.org/officeDocument/2006/relationships/oleObject" Target="../embeddings/oleObject3.bin"/></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20.emf"/><Relationship Id="rId4" Type="http://schemas.openxmlformats.org/officeDocument/2006/relationships/oleObject" Target="../embeddings/oleObject4.bin"/></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21.emf"/><Relationship Id="rId4" Type="http://schemas.openxmlformats.org/officeDocument/2006/relationships/oleObject" Target="../embeddings/oleObject5.bin"/></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2.wmf"/><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2.wmf"/><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3.wmf"/><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3.wmf"/><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24.wmf"/><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5.wmf"/><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5.wmf"/><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5.wmf"/><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6.png"/><Relationship Id="rId13" Type="http://schemas.openxmlformats.org/officeDocument/2006/relationships/image" Target="../media/image9.png"/><Relationship Id="rId3" Type="http://schemas.openxmlformats.org/officeDocument/2006/relationships/hyperlink" Target="https://www.facebook.com/aaltobiz/" TargetMode="External"/><Relationship Id="rId7" Type="http://schemas.openxmlformats.org/officeDocument/2006/relationships/hyperlink" Target="https://twitter.com/AaltoBIZ" TargetMode="External"/><Relationship Id="rId12" Type="http://schemas.openxmlformats.org/officeDocument/2006/relationships/image" Target="../media/image8.png"/><Relationship Id="rId2" Type="http://schemas.openxmlformats.org/officeDocument/2006/relationships/hyperlink" Target="http://biz.aalto.fi/" TargetMode="External"/><Relationship Id="rId1" Type="http://schemas.openxmlformats.org/officeDocument/2006/relationships/slideMaster" Target="../slideMasters/slideMaster1.xml"/><Relationship Id="rId6" Type="http://schemas.openxmlformats.org/officeDocument/2006/relationships/image" Target="../media/image5.png"/><Relationship Id="rId11" Type="http://schemas.openxmlformats.org/officeDocument/2006/relationships/hyperlink" Target="http://www.aalto.fi/snapchat/" TargetMode="External"/><Relationship Id="rId5" Type="http://schemas.openxmlformats.org/officeDocument/2006/relationships/hyperlink" Target="https://www.instagram.com/aaltouniversity/" TargetMode="External"/><Relationship Id="rId10" Type="http://schemas.openxmlformats.org/officeDocument/2006/relationships/image" Target="../media/image7.png"/><Relationship Id="rId4" Type="http://schemas.openxmlformats.org/officeDocument/2006/relationships/image" Target="../media/image4.png"/><Relationship Id="rId9" Type="http://schemas.openxmlformats.org/officeDocument/2006/relationships/hyperlink" Target="https://www.youtube.com/user/aaltouniversity" TargetMode="External"/><Relationship Id="rId14" Type="http://schemas.openxmlformats.org/officeDocument/2006/relationships/image" Target="../media/image1.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4.jp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5.jp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8.wmf"/><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8" Type="http://schemas.openxmlformats.org/officeDocument/2006/relationships/image" Target="../media/image6.png"/><Relationship Id="rId13" Type="http://schemas.openxmlformats.org/officeDocument/2006/relationships/image" Target="../media/image9.png"/><Relationship Id="rId3" Type="http://schemas.openxmlformats.org/officeDocument/2006/relationships/hyperlink" Target="https://www.facebook.com/aaltobiz/" TargetMode="External"/><Relationship Id="rId7" Type="http://schemas.openxmlformats.org/officeDocument/2006/relationships/hyperlink" Target="https://twitter.com/AaltoBIZ" TargetMode="External"/><Relationship Id="rId12" Type="http://schemas.openxmlformats.org/officeDocument/2006/relationships/image" Target="../media/image8.png"/><Relationship Id="rId2" Type="http://schemas.openxmlformats.org/officeDocument/2006/relationships/hyperlink" Target="http://biz.aalto.fi/" TargetMode="External"/><Relationship Id="rId1" Type="http://schemas.openxmlformats.org/officeDocument/2006/relationships/slideMaster" Target="../slideMasters/slideMaster3.xml"/><Relationship Id="rId6" Type="http://schemas.openxmlformats.org/officeDocument/2006/relationships/image" Target="../media/image5.png"/><Relationship Id="rId11" Type="http://schemas.openxmlformats.org/officeDocument/2006/relationships/hyperlink" Target="http://www.aalto.fi/snapchat/" TargetMode="External"/><Relationship Id="rId5" Type="http://schemas.openxmlformats.org/officeDocument/2006/relationships/hyperlink" Target="https://www.instagram.com/aaltouniversity/" TargetMode="External"/><Relationship Id="rId10" Type="http://schemas.openxmlformats.org/officeDocument/2006/relationships/image" Target="../media/image7.png"/><Relationship Id="rId4" Type="http://schemas.openxmlformats.org/officeDocument/2006/relationships/image" Target="../media/image4.png"/><Relationship Id="rId9" Type="http://schemas.openxmlformats.org/officeDocument/2006/relationships/hyperlink" Target="https://www.youtube.com/user/aaltouniversity" TargetMode="External"/><Relationship Id="rId14" Type="http://schemas.openxmlformats.org/officeDocument/2006/relationships/image" Target="../media/image1.png"/></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2.jp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jp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4.jp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Header Slide - Red">
    <p:spTree>
      <p:nvGrpSpPr>
        <p:cNvPr id="1" name=""/>
        <p:cNvGrpSpPr/>
        <p:nvPr/>
      </p:nvGrpSpPr>
      <p:grpSpPr>
        <a:xfrm>
          <a:off x="0" y="0"/>
          <a:ext cx="0" cy="0"/>
          <a:chOff x="0" y="0"/>
          <a:chExt cx="0" cy="0"/>
        </a:xfrm>
      </p:grpSpPr>
      <p:sp>
        <p:nvSpPr>
          <p:cNvPr id="5" name="Rectangle 4"/>
          <p:cNvSpPr/>
          <p:nvPr userDrawn="1"/>
        </p:nvSpPr>
        <p:spPr>
          <a:xfrm>
            <a:off x="0"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7" name="Text Placeholder 3"/>
          <p:cNvSpPr>
            <a:spLocks noGrp="1"/>
          </p:cNvSpPr>
          <p:nvPr>
            <p:ph type="body" sz="half" idx="11" hasCustomPrompt="1"/>
          </p:nvPr>
        </p:nvSpPr>
        <p:spPr>
          <a:xfrm>
            <a:off x="431800" y="1638135"/>
            <a:ext cx="7948556" cy="663264"/>
          </a:xfrm>
          <a:prstGeom prst="rect">
            <a:avLst/>
          </a:prstGeom>
        </p:spPr>
        <p:txBody>
          <a:bodyPr lIns="0" rIns="0" anchor="b"/>
          <a:lstStyle>
            <a:lvl1pPr marL="0" indent="0">
              <a:lnSpc>
                <a:spcPct val="100000"/>
              </a:lnSpc>
              <a:buNone/>
              <a:defRPr sz="4000" b="1" baseline="0">
                <a:solidFill>
                  <a:schemeClr val="bg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Headline</a:t>
            </a:r>
          </a:p>
        </p:txBody>
      </p:sp>
      <p:sp>
        <p:nvSpPr>
          <p:cNvPr id="8" name="Text Placeholder 3"/>
          <p:cNvSpPr>
            <a:spLocks noGrp="1"/>
          </p:cNvSpPr>
          <p:nvPr>
            <p:ph type="body" sz="half" idx="2" hasCustomPrompt="1"/>
          </p:nvPr>
        </p:nvSpPr>
        <p:spPr>
          <a:xfrm>
            <a:off x="431800" y="2571750"/>
            <a:ext cx="7998597" cy="501388"/>
          </a:xfrm>
          <a:prstGeom prst="rect">
            <a:avLst/>
          </a:prstGeom>
        </p:spPr>
        <p:txBody>
          <a:bodyPr lIns="0" rIns="0"/>
          <a:lstStyle>
            <a:lvl1pPr marL="0" indent="0">
              <a:lnSpc>
                <a:spcPct val="100000"/>
              </a:lnSpc>
              <a:buNone/>
              <a:defRPr sz="2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No Image - Sub</a:t>
            </a:r>
          </a:p>
        </p:txBody>
      </p:sp>
      <p:sp>
        <p:nvSpPr>
          <p:cNvPr id="9" name="Text Placeholder 3"/>
          <p:cNvSpPr>
            <a:spLocks noGrp="1"/>
          </p:cNvSpPr>
          <p:nvPr>
            <p:ph type="body" sz="half" idx="12" hasCustomPrompt="1"/>
          </p:nvPr>
        </p:nvSpPr>
        <p:spPr>
          <a:xfrm>
            <a:off x="5966372" y="4215388"/>
            <a:ext cx="2464025" cy="294419"/>
          </a:xfrm>
          <a:prstGeom prst="rect">
            <a:avLst/>
          </a:prstGeom>
        </p:spPr>
        <p:txBody>
          <a:bodyPr/>
          <a:lstStyle>
            <a:lvl1pPr marL="0" indent="0">
              <a:buNone/>
              <a:defRPr sz="135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Name</a:t>
            </a:r>
          </a:p>
        </p:txBody>
      </p:sp>
      <p:sp>
        <p:nvSpPr>
          <p:cNvPr id="11" name="Text Placeholder 3"/>
          <p:cNvSpPr>
            <a:spLocks noGrp="1"/>
          </p:cNvSpPr>
          <p:nvPr>
            <p:ph type="body" sz="half" idx="13" hasCustomPrompt="1"/>
          </p:nvPr>
        </p:nvSpPr>
        <p:spPr>
          <a:xfrm>
            <a:off x="5966372" y="4509807"/>
            <a:ext cx="2464025" cy="294419"/>
          </a:xfrm>
          <a:prstGeom prst="rect">
            <a:avLst/>
          </a:prstGeom>
        </p:spPr>
        <p:txBody>
          <a:bodyPr/>
          <a:lstStyle>
            <a:lvl1pPr marL="0" indent="0">
              <a:buNone/>
              <a:defRPr sz="135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Date</a:t>
            </a:r>
          </a:p>
        </p:txBody>
      </p:sp>
      <p:pic>
        <p:nvPicPr>
          <p:cNvPr id="4" name="Kuva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66" y="3501900"/>
            <a:ext cx="1850304" cy="1641600"/>
          </a:xfrm>
          <a:prstGeom prst="rect">
            <a:avLst/>
          </a:prstGeom>
        </p:spPr>
      </p:pic>
    </p:spTree>
  </p:cSld>
  <p:clrMapOvr>
    <a:masterClrMapping/>
  </p:clrMapOvr>
  <p:extLst>
    <p:ext uri="{DCECCB84-F9BA-43D5-87BE-67443E8EF086}">
      <p15:sldGuideLst xmlns:p15="http://schemas.microsoft.com/office/powerpoint/2012/main">
        <p15:guide id="1" orient="horz" pos="2958"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0. Body slide - Text - Full bleed image">
    <p:bg>
      <p:bgPr>
        <a:solidFill>
          <a:schemeClr val="bg1"/>
        </a:solidFill>
        <a:effectLst/>
      </p:bgPr>
    </p:bg>
    <p:spTree>
      <p:nvGrpSpPr>
        <p:cNvPr id="1" name=""/>
        <p:cNvGrpSpPr/>
        <p:nvPr/>
      </p:nvGrpSpPr>
      <p:grpSpPr>
        <a:xfrm>
          <a:off x="0" y="0"/>
          <a:ext cx="0" cy="0"/>
          <a:chOff x="0" y="0"/>
          <a:chExt cx="0" cy="0"/>
        </a:xfrm>
      </p:grpSpPr>
      <p:sp>
        <p:nvSpPr>
          <p:cNvPr id="12" name="Rectangle 4"/>
          <p:cNvSpPr/>
          <p:nvPr userDrawn="1"/>
        </p:nvSpPr>
        <p:spPr>
          <a:xfrm>
            <a:off x="-1066"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4" name="Text Placeholder 3"/>
          <p:cNvSpPr>
            <a:spLocks noGrp="1"/>
          </p:cNvSpPr>
          <p:nvPr>
            <p:ph type="body" sz="half" idx="2" hasCustomPrompt="1"/>
          </p:nvPr>
        </p:nvSpPr>
        <p:spPr>
          <a:xfrm>
            <a:off x="287339" y="1347789"/>
            <a:ext cx="4150122" cy="2938911"/>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Tx/>
              <a:buNone/>
              <a:tabLst/>
              <a:defRPr lang="en-GB" sz="2100" b="1" smtClean="0">
                <a:solidFill>
                  <a:srgbClr val="FFFFFF"/>
                </a:solidFill>
              </a:defRPr>
            </a:lvl1pPr>
            <a:lvl2pPr marL="628650" indent="-285750">
              <a:buFont typeface="Arial" panose="020B0604020202020204" pitchFamily="34" charset="0"/>
              <a:buChar char="•"/>
              <a:defRPr sz="2100">
                <a:solidFill>
                  <a:srgbClr val="FFFFFF"/>
                </a:solidFill>
              </a:defRPr>
            </a:lvl2pPr>
            <a:lvl3pPr marL="804863" indent="-176213">
              <a:buFont typeface="Arial" panose="020B0604020202020204" pitchFamily="34" charset="0"/>
              <a:buChar char="•"/>
              <a:defRPr sz="1600">
                <a:solidFill>
                  <a:srgbClr val="FFFFFF"/>
                </a:solidFill>
              </a:defRPr>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Your text here</a:t>
            </a:r>
          </a:p>
        </p:txBody>
      </p:sp>
      <p:sp>
        <p:nvSpPr>
          <p:cNvPr id="11" name="Text Placeholder 3"/>
          <p:cNvSpPr>
            <a:spLocks noGrp="1"/>
          </p:cNvSpPr>
          <p:nvPr>
            <p:ph type="body" sz="half" idx="10" hasCustomPrompt="1"/>
          </p:nvPr>
        </p:nvSpPr>
        <p:spPr>
          <a:xfrm>
            <a:off x="287338" y="21510"/>
            <a:ext cx="8497093" cy="1153455"/>
          </a:xfrm>
          <a:prstGeom prst="rect">
            <a:avLst/>
          </a:prstGeom>
        </p:spPr>
        <p:txBody>
          <a:bodyPr lIns="0" tIns="0" rIns="0" bIns="0"/>
          <a:lstStyle>
            <a:lvl1pPr marL="0" indent="0">
              <a:lnSpc>
                <a:spcPct val="100000"/>
              </a:lnSpc>
              <a:buNone/>
              <a:defRPr sz="4000" b="1" baseline="0">
                <a:solidFill>
                  <a:schemeClr val="bg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Body slide title</a:t>
            </a:r>
          </a:p>
        </p:txBody>
      </p:sp>
      <p:sp>
        <p:nvSpPr>
          <p:cNvPr id="8" name="Text Placeholder 3"/>
          <p:cNvSpPr>
            <a:spLocks noGrp="1"/>
          </p:cNvSpPr>
          <p:nvPr>
            <p:ph type="body" sz="half" idx="11" hasCustomPrompt="1"/>
          </p:nvPr>
        </p:nvSpPr>
        <p:spPr>
          <a:xfrm>
            <a:off x="4706540" y="1347788"/>
            <a:ext cx="4077891" cy="2940607"/>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Tx/>
              <a:buNone/>
              <a:tabLst/>
              <a:defRPr lang="en-GB" sz="2000" b="1">
                <a:solidFill>
                  <a:srgbClr val="FFFFFF"/>
                </a:solidFill>
              </a:defRPr>
            </a:lvl1pPr>
            <a:lvl2pPr marL="628650" indent="-285750">
              <a:buFont typeface="Arial" panose="020B0604020202020204" pitchFamily="34" charset="0"/>
              <a:buChar char="•"/>
              <a:defRPr sz="2100">
                <a:solidFill>
                  <a:srgbClr val="FFFFFF"/>
                </a:solidFill>
              </a:defRPr>
            </a:lvl2pPr>
            <a:lvl3pPr marL="804863" indent="-176213">
              <a:buFont typeface="Arial" panose="020B0604020202020204" pitchFamily="34" charset="0"/>
              <a:buChar char="•"/>
              <a:defRPr sz="1600">
                <a:solidFill>
                  <a:srgbClr val="FFFFFF"/>
                </a:solidFill>
              </a:defRPr>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Your text here</a:t>
            </a:r>
          </a:p>
        </p:txBody>
      </p:sp>
      <p:sp>
        <p:nvSpPr>
          <p:cNvPr id="2" name="Päivämäärän paikkamerkki 1">
            <a:extLst>
              <a:ext uri="{FF2B5EF4-FFF2-40B4-BE49-F238E27FC236}">
                <a16:creationId xmlns:a16="http://schemas.microsoft.com/office/drawing/2014/main" id="{62DDC196-D49A-4DB6-A68D-238E3C73DA3B}"/>
              </a:ext>
            </a:extLst>
          </p:cNvPr>
          <p:cNvSpPr>
            <a:spLocks noGrp="1"/>
          </p:cNvSpPr>
          <p:nvPr>
            <p:ph type="dt" sz="half" idx="13"/>
          </p:nvPr>
        </p:nvSpPr>
        <p:spPr/>
        <p:txBody>
          <a:bodyPr/>
          <a:lstStyle>
            <a:lvl1pPr>
              <a:defRPr>
                <a:solidFill>
                  <a:srgbClr val="FFFFFF"/>
                </a:solidFill>
              </a:defRPr>
            </a:lvl1pPr>
          </a:lstStyle>
          <a:p>
            <a:r>
              <a:rPr lang="fi-FI" dirty="0"/>
              <a:t>dd.mm.yyyy</a:t>
            </a:r>
            <a:endParaRPr lang="en-US" dirty="0"/>
          </a:p>
        </p:txBody>
      </p:sp>
      <p:sp>
        <p:nvSpPr>
          <p:cNvPr id="5" name="Alatunnisteen paikkamerkki 4">
            <a:extLst>
              <a:ext uri="{FF2B5EF4-FFF2-40B4-BE49-F238E27FC236}">
                <a16:creationId xmlns:a16="http://schemas.microsoft.com/office/drawing/2014/main" id="{51265EED-F2E6-43DA-B5C9-706015FF2F76}"/>
              </a:ext>
            </a:extLst>
          </p:cNvPr>
          <p:cNvSpPr>
            <a:spLocks noGrp="1"/>
          </p:cNvSpPr>
          <p:nvPr>
            <p:ph type="ftr" sz="quarter" idx="14"/>
          </p:nvPr>
        </p:nvSpPr>
        <p:spPr/>
        <p:txBody>
          <a:bodyPr/>
          <a:lstStyle>
            <a:lvl1pPr>
              <a:defRPr>
                <a:solidFill>
                  <a:srgbClr val="FFFFFF"/>
                </a:solidFill>
              </a:defRPr>
            </a:lvl1pPr>
          </a:lstStyle>
          <a:p>
            <a:r>
              <a:rPr lang="fi-FI" dirty="0"/>
              <a:t>Your text here</a:t>
            </a:r>
          </a:p>
        </p:txBody>
      </p:sp>
      <p:sp>
        <p:nvSpPr>
          <p:cNvPr id="6" name="Dian numeron paikkamerkki 5">
            <a:extLst>
              <a:ext uri="{FF2B5EF4-FFF2-40B4-BE49-F238E27FC236}">
                <a16:creationId xmlns:a16="http://schemas.microsoft.com/office/drawing/2014/main" id="{E5011BD5-68CE-472A-A314-532B85BA474D}"/>
              </a:ext>
            </a:extLst>
          </p:cNvPr>
          <p:cNvSpPr>
            <a:spLocks noGrp="1"/>
          </p:cNvSpPr>
          <p:nvPr>
            <p:ph type="sldNum" sz="quarter" idx="15"/>
          </p:nvPr>
        </p:nvSpPr>
        <p:spPr/>
        <p:txBody>
          <a:bodyPr/>
          <a:lstStyle>
            <a:lvl1pPr>
              <a:defRPr>
                <a:solidFill>
                  <a:srgbClr val="FFFFFF"/>
                </a:solidFill>
              </a:defRPr>
            </a:lvl1pPr>
          </a:lstStyle>
          <a:p>
            <a:fld id="{28F7F04C-F568-F649-A2AE-EA61C66B69B4}" type="slidenum">
              <a:rPr lang="en-US" smtClean="0"/>
              <a:pPr/>
              <a:t>‹#›</a:t>
            </a:fld>
            <a:endParaRPr lang="en-US" dirty="0"/>
          </a:p>
        </p:txBody>
      </p:sp>
      <p:pic>
        <p:nvPicPr>
          <p:cNvPr id="14" name="Kuva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1580"/>
            <a:ext cx="1991440" cy="856800"/>
          </a:xfrm>
          <a:prstGeom prst="rect">
            <a:avLst/>
          </a:prstGeom>
        </p:spPr>
      </p:pic>
    </p:spTree>
  </p:cSld>
  <p:clrMapOvr>
    <a:masterClrMapping/>
  </p:clrMapOvr>
  <p:extLst>
    <p:ext uri="{DCECCB84-F9BA-43D5-87BE-67443E8EF086}">
      <p15:sldGuideLst xmlns:p15="http://schemas.microsoft.com/office/powerpoint/2012/main">
        <p15:guide id="1" pos="2795" userDrawn="1">
          <p15:clr>
            <a:srgbClr val="FBAE40"/>
          </p15:clr>
        </p15:guide>
        <p15:guide id="2" pos="2965" userDrawn="1">
          <p15:clr>
            <a:srgbClr val="FBAE40"/>
          </p15:clr>
        </p15:guide>
        <p15:guide id="3" orient="horz" pos="849" userDrawn="1">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Four content">
    <p:spTree>
      <p:nvGrpSpPr>
        <p:cNvPr id="1" name=""/>
        <p:cNvGrpSpPr/>
        <p:nvPr/>
      </p:nvGrpSpPr>
      <p:grpSpPr>
        <a:xfrm>
          <a:off x="0" y="0"/>
          <a:ext cx="0" cy="0"/>
          <a:chOff x="0" y="0"/>
          <a:chExt cx="0" cy="0"/>
        </a:xfrm>
      </p:grpSpPr>
      <p:sp>
        <p:nvSpPr>
          <p:cNvPr id="10" name="Date Placeholder 9"/>
          <p:cNvSpPr>
            <a:spLocks noGrp="1"/>
          </p:cNvSpPr>
          <p:nvPr>
            <p:ph type="dt" sz="half" idx="29"/>
          </p:nvPr>
        </p:nvSpPr>
        <p:spPr/>
        <p:txBody>
          <a:bodyPr/>
          <a:lstStyle>
            <a:lvl1pPr>
              <a:defRPr>
                <a:noFill/>
              </a:defRPr>
            </a:lvl1pPr>
          </a:lstStyle>
          <a:p>
            <a:fld id="{EE827FF4-EA26-4F38-8B0B-147625CE7045}" type="datetime1">
              <a:rPr lang="fi-FI" smtClean="0"/>
              <a:t>5.11.2023</a:t>
            </a:fld>
            <a:endParaRPr lang="en-US" dirty="0"/>
          </a:p>
        </p:txBody>
      </p:sp>
      <p:sp>
        <p:nvSpPr>
          <p:cNvPr id="11" name="Footer Placeholder 10"/>
          <p:cNvSpPr>
            <a:spLocks noGrp="1"/>
          </p:cNvSpPr>
          <p:nvPr>
            <p:ph type="ftr" sz="quarter" idx="30"/>
          </p:nvPr>
        </p:nvSpPr>
        <p:spPr/>
        <p:txBody>
          <a:bodyPr/>
          <a:lstStyle>
            <a:lvl1pPr>
              <a:defRPr>
                <a:noFill/>
              </a:defRPr>
            </a:lvl1pPr>
          </a:lstStyle>
          <a:p>
            <a:r>
              <a:rPr lang="en-US"/>
              <a:t>© Aalto University Executive Education</a:t>
            </a:r>
            <a:endParaRPr lang="en-US" dirty="0"/>
          </a:p>
        </p:txBody>
      </p:sp>
      <p:sp>
        <p:nvSpPr>
          <p:cNvPr id="12" name="Slide Number Placeholder 11"/>
          <p:cNvSpPr>
            <a:spLocks noGrp="1"/>
          </p:cNvSpPr>
          <p:nvPr>
            <p:ph type="sldNum" sz="quarter" idx="31"/>
          </p:nvPr>
        </p:nvSpPr>
        <p:spPr/>
        <p:txBody>
          <a:bodyPr/>
          <a:lstStyle>
            <a:lvl1pPr>
              <a:defRPr>
                <a:noFill/>
              </a:defRPr>
            </a:lvl1pPr>
          </a:lstStyle>
          <a:p>
            <a:fld id="{FCCA222D-FCF7-48C1-A274-EBDDEF75DC66}" type="slidenum">
              <a:rPr lang="en-US" smtClean="0"/>
              <a:pPr/>
              <a:t>‹#›</a:t>
            </a:fld>
            <a:endParaRPr lang="en-US" dirty="0"/>
          </a:p>
        </p:txBody>
      </p:sp>
      <p:sp>
        <p:nvSpPr>
          <p:cNvPr id="21" name="Rectangle 20"/>
          <p:cNvSpPr/>
          <p:nvPr userDrawn="1"/>
        </p:nvSpPr>
        <p:spPr>
          <a:xfrm>
            <a:off x="4572000" y="2571750"/>
            <a:ext cx="4572000" cy="2571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49"/>
          </a:p>
        </p:txBody>
      </p:sp>
      <p:sp>
        <p:nvSpPr>
          <p:cNvPr id="20" name="Rectangle 19"/>
          <p:cNvSpPr/>
          <p:nvPr userDrawn="1"/>
        </p:nvSpPr>
        <p:spPr>
          <a:xfrm>
            <a:off x="0" y="2571750"/>
            <a:ext cx="4572000" cy="257175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49"/>
          </a:p>
        </p:txBody>
      </p:sp>
      <p:sp>
        <p:nvSpPr>
          <p:cNvPr id="13" name="Content Placeholder 12"/>
          <p:cNvSpPr>
            <a:spLocks noGrp="1"/>
          </p:cNvSpPr>
          <p:nvPr>
            <p:ph sz="quarter" idx="14" hasCustomPrompt="1"/>
          </p:nvPr>
        </p:nvSpPr>
        <p:spPr>
          <a:xfrm>
            <a:off x="413461" y="1248968"/>
            <a:ext cx="3726455" cy="971746"/>
          </a:xfrm>
        </p:spPr>
        <p:txBody>
          <a:bodyPr/>
          <a:lstStyle>
            <a:lvl1pPr marL="0" indent="0">
              <a:buNone/>
              <a:defRPr sz="1050"/>
            </a:lvl1pPr>
          </a:lstStyle>
          <a:p>
            <a:pPr lvl="0"/>
            <a:r>
              <a:rPr lang="en-US" dirty="0"/>
              <a:t>Click to add text</a:t>
            </a:r>
          </a:p>
        </p:txBody>
      </p:sp>
      <p:sp>
        <p:nvSpPr>
          <p:cNvPr id="2" name="Rectangle 1"/>
          <p:cNvSpPr/>
          <p:nvPr userDrawn="1"/>
        </p:nvSpPr>
        <p:spPr>
          <a:xfrm>
            <a:off x="4572000" y="0"/>
            <a:ext cx="4572000" cy="257175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49"/>
          </a:p>
        </p:txBody>
      </p:sp>
      <p:sp>
        <p:nvSpPr>
          <p:cNvPr id="22" name="Text Placeholder 6"/>
          <p:cNvSpPr>
            <a:spLocks noGrp="1"/>
          </p:cNvSpPr>
          <p:nvPr>
            <p:ph type="body" sz="quarter" idx="18" hasCustomPrompt="1"/>
          </p:nvPr>
        </p:nvSpPr>
        <p:spPr>
          <a:xfrm>
            <a:off x="414231" y="303436"/>
            <a:ext cx="3725686" cy="242999"/>
          </a:xfrm>
        </p:spPr>
        <p:txBody>
          <a:bodyPr anchor="t"/>
          <a:lstStyle>
            <a:lvl1pPr marL="0" indent="0">
              <a:buNone/>
              <a:defRPr sz="1200" b="1">
                <a:solidFill>
                  <a:schemeClr val="bg2"/>
                </a:solidFill>
              </a:defRPr>
            </a:lvl1pPr>
          </a:lstStyle>
          <a:p>
            <a:pPr lvl="0"/>
            <a:r>
              <a:rPr lang="en-US" dirty="0"/>
              <a:t>Click to add text</a:t>
            </a:r>
          </a:p>
        </p:txBody>
      </p:sp>
      <p:sp>
        <p:nvSpPr>
          <p:cNvPr id="24" name="Content Placeholder 12"/>
          <p:cNvSpPr>
            <a:spLocks noGrp="1"/>
          </p:cNvSpPr>
          <p:nvPr>
            <p:ph sz="quarter" idx="19" hasCustomPrompt="1"/>
          </p:nvPr>
        </p:nvSpPr>
        <p:spPr>
          <a:xfrm>
            <a:off x="5004085" y="1248969"/>
            <a:ext cx="3725686" cy="971746"/>
          </a:xfrm>
        </p:spPr>
        <p:txBody>
          <a:bodyPr/>
          <a:lstStyle>
            <a:lvl1pPr marL="0" indent="0">
              <a:buNone/>
              <a:defRPr sz="1050"/>
            </a:lvl1pPr>
          </a:lstStyle>
          <a:p>
            <a:pPr lvl="0"/>
            <a:r>
              <a:rPr lang="en-US" dirty="0"/>
              <a:t>Click to add text</a:t>
            </a:r>
          </a:p>
        </p:txBody>
      </p:sp>
      <p:sp>
        <p:nvSpPr>
          <p:cNvPr id="25" name="Text Placeholder 6"/>
          <p:cNvSpPr>
            <a:spLocks noGrp="1"/>
          </p:cNvSpPr>
          <p:nvPr>
            <p:ph type="body" sz="quarter" idx="20" hasCustomPrompt="1"/>
          </p:nvPr>
        </p:nvSpPr>
        <p:spPr>
          <a:xfrm>
            <a:off x="5004085" y="303501"/>
            <a:ext cx="3725686" cy="242999"/>
          </a:xfrm>
        </p:spPr>
        <p:txBody>
          <a:bodyPr anchor="t"/>
          <a:lstStyle>
            <a:lvl1pPr marL="0" indent="0">
              <a:buNone/>
              <a:defRPr sz="1200" b="1">
                <a:solidFill>
                  <a:schemeClr val="bg2">
                    <a:lumMod val="75000"/>
                  </a:schemeClr>
                </a:solidFill>
              </a:defRPr>
            </a:lvl1pPr>
          </a:lstStyle>
          <a:p>
            <a:pPr lvl="0"/>
            <a:r>
              <a:rPr lang="en-US" dirty="0"/>
              <a:t>Click to add text</a:t>
            </a:r>
          </a:p>
        </p:txBody>
      </p:sp>
      <p:sp>
        <p:nvSpPr>
          <p:cNvPr id="26" name="Text Placeholder 25"/>
          <p:cNvSpPr>
            <a:spLocks noGrp="1"/>
          </p:cNvSpPr>
          <p:nvPr>
            <p:ph type="body" sz="quarter" idx="21" hasCustomPrompt="1"/>
          </p:nvPr>
        </p:nvSpPr>
        <p:spPr>
          <a:xfrm>
            <a:off x="5003948" y="546851"/>
            <a:ext cx="3725823" cy="647700"/>
          </a:xfrm>
          <a:noFill/>
        </p:spPr>
        <p:txBody>
          <a:bodyPr vert="horz" wrap="square" lIns="36000" tIns="36000" rIns="36000" bIns="36000" rtlCol="0" anchor="t" anchorCtr="0">
            <a:noAutofit/>
          </a:bodyPr>
          <a:lstStyle>
            <a:lvl1pPr marL="0" indent="0" algn="l">
              <a:lnSpc>
                <a:spcPct val="100000"/>
              </a:lnSpc>
              <a:buNone/>
              <a:defRPr lang="en-US" sz="2099" b="1" spc="-23" baseline="0" dirty="0" smtClean="0">
                <a:latin typeface="+mj-lt"/>
                <a:ea typeface="+mj-ea"/>
                <a:cs typeface="+mj-cs"/>
              </a:defRPr>
            </a:lvl1pPr>
          </a:lstStyle>
          <a:p>
            <a:pPr lvl="0">
              <a:lnSpc>
                <a:spcPct val="90000"/>
              </a:lnSpc>
              <a:spcBef>
                <a:spcPct val="0"/>
              </a:spcBef>
            </a:pPr>
            <a:r>
              <a:rPr lang="en-US" dirty="0"/>
              <a:t>Click to add text</a:t>
            </a:r>
          </a:p>
        </p:txBody>
      </p:sp>
      <p:sp>
        <p:nvSpPr>
          <p:cNvPr id="30" name="Content Placeholder 12"/>
          <p:cNvSpPr>
            <a:spLocks noGrp="1"/>
          </p:cNvSpPr>
          <p:nvPr>
            <p:ph sz="quarter" idx="22" hasCustomPrompt="1"/>
          </p:nvPr>
        </p:nvSpPr>
        <p:spPr>
          <a:xfrm>
            <a:off x="414429" y="3814254"/>
            <a:ext cx="3725488" cy="971746"/>
          </a:xfrm>
        </p:spPr>
        <p:txBody>
          <a:bodyPr/>
          <a:lstStyle>
            <a:lvl1pPr marL="0" indent="0">
              <a:buNone/>
              <a:defRPr sz="1050"/>
            </a:lvl1pPr>
          </a:lstStyle>
          <a:p>
            <a:pPr lvl="0"/>
            <a:r>
              <a:rPr lang="en-US" dirty="0"/>
              <a:t>Click to add text</a:t>
            </a:r>
          </a:p>
        </p:txBody>
      </p:sp>
      <p:sp>
        <p:nvSpPr>
          <p:cNvPr id="31" name="Text Placeholder 6"/>
          <p:cNvSpPr>
            <a:spLocks noGrp="1"/>
          </p:cNvSpPr>
          <p:nvPr>
            <p:ph type="body" sz="quarter" idx="23" hasCustomPrompt="1"/>
          </p:nvPr>
        </p:nvSpPr>
        <p:spPr>
          <a:xfrm>
            <a:off x="414429" y="2868785"/>
            <a:ext cx="3725488" cy="242999"/>
          </a:xfrm>
        </p:spPr>
        <p:txBody>
          <a:bodyPr anchor="t"/>
          <a:lstStyle>
            <a:lvl1pPr marL="0" indent="0">
              <a:buNone/>
              <a:defRPr sz="1200" b="1">
                <a:solidFill>
                  <a:schemeClr val="bg2">
                    <a:lumMod val="75000"/>
                  </a:schemeClr>
                </a:solidFill>
              </a:defRPr>
            </a:lvl1pPr>
          </a:lstStyle>
          <a:p>
            <a:pPr lvl="0"/>
            <a:r>
              <a:rPr lang="en-US" dirty="0"/>
              <a:t>Click to add text</a:t>
            </a:r>
          </a:p>
        </p:txBody>
      </p:sp>
      <p:sp>
        <p:nvSpPr>
          <p:cNvPr id="32" name="Text Placeholder 25"/>
          <p:cNvSpPr>
            <a:spLocks noGrp="1"/>
          </p:cNvSpPr>
          <p:nvPr>
            <p:ph type="body" sz="quarter" idx="24" hasCustomPrompt="1"/>
          </p:nvPr>
        </p:nvSpPr>
        <p:spPr>
          <a:xfrm>
            <a:off x="414231" y="3112136"/>
            <a:ext cx="3725686" cy="647700"/>
          </a:xfrm>
          <a:noFill/>
        </p:spPr>
        <p:txBody>
          <a:bodyPr vert="horz" wrap="square" lIns="36000" tIns="36000" rIns="36000" bIns="36000" rtlCol="0" anchor="t" anchorCtr="0">
            <a:noAutofit/>
          </a:bodyPr>
          <a:lstStyle>
            <a:lvl1pPr marL="0" indent="0" algn="l">
              <a:lnSpc>
                <a:spcPct val="100000"/>
              </a:lnSpc>
              <a:buNone/>
              <a:defRPr lang="en-US" sz="2099" b="1" spc="-23" baseline="0" dirty="0" smtClean="0">
                <a:latin typeface="+mj-lt"/>
                <a:ea typeface="+mj-ea"/>
                <a:cs typeface="+mj-cs"/>
              </a:defRPr>
            </a:lvl1pPr>
          </a:lstStyle>
          <a:p>
            <a:pPr lvl="0">
              <a:lnSpc>
                <a:spcPct val="90000"/>
              </a:lnSpc>
              <a:spcBef>
                <a:spcPct val="0"/>
              </a:spcBef>
            </a:pPr>
            <a:r>
              <a:rPr lang="en-US" dirty="0"/>
              <a:t>Click to add text</a:t>
            </a:r>
          </a:p>
        </p:txBody>
      </p:sp>
      <p:sp>
        <p:nvSpPr>
          <p:cNvPr id="33" name="Content Placeholder 12"/>
          <p:cNvSpPr>
            <a:spLocks noGrp="1"/>
          </p:cNvSpPr>
          <p:nvPr>
            <p:ph sz="quarter" idx="25" hasCustomPrompt="1"/>
          </p:nvPr>
        </p:nvSpPr>
        <p:spPr>
          <a:xfrm>
            <a:off x="5004086" y="3814254"/>
            <a:ext cx="3725685" cy="971746"/>
          </a:xfrm>
        </p:spPr>
        <p:txBody>
          <a:bodyPr/>
          <a:lstStyle>
            <a:lvl1pPr marL="0" indent="0">
              <a:buNone/>
              <a:defRPr sz="1050">
                <a:solidFill>
                  <a:schemeClr val="bg1"/>
                </a:solidFill>
              </a:defRPr>
            </a:lvl1pPr>
          </a:lstStyle>
          <a:p>
            <a:pPr lvl="0"/>
            <a:r>
              <a:rPr lang="en-US" dirty="0"/>
              <a:t>Click to add text</a:t>
            </a:r>
          </a:p>
        </p:txBody>
      </p:sp>
      <p:sp>
        <p:nvSpPr>
          <p:cNvPr id="34" name="Text Placeholder 6"/>
          <p:cNvSpPr>
            <a:spLocks noGrp="1"/>
          </p:cNvSpPr>
          <p:nvPr>
            <p:ph type="body" sz="quarter" idx="26" hasCustomPrompt="1"/>
          </p:nvPr>
        </p:nvSpPr>
        <p:spPr>
          <a:xfrm>
            <a:off x="5004086" y="2868785"/>
            <a:ext cx="3725685" cy="242999"/>
          </a:xfrm>
        </p:spPr>
        <p:txBody>
          <a:bodyPr anchor="t"/>
          <a:lstStyle>
            <a:lvl1pPr marL="0" indent="0">
              <a:buNone/>
              <a:defRPr sz="1200" b="1">
                <a:solidFill>
                  <a:schemeClr val="bg1"/>
                </a:solidFill>
              </a:defRPr>
            </a:lvl1pPr>
          </a:lstStyle>
          <a:p>
            <a:pPr lvl="0"/>
            <a:r>
              <a:rPr lang="en-US" dirty="0"/>
              <a:t>Click to add text</a:t>
            </a:r>
          </a:p>
        </p:txBody>
      </p:sp>
      <p:sp>
        <p:nvSpPr>
          <p:cNvPr id="35" name="Text Placeholder 25"/>
          <p:cNvSpPr>
            <a:spLocks noGrp="1"/>
          </p:cNvSpPr>
          <p:nvPr>
            <p:ph type="body" sz="quarter" idx="27" hasCustomPrompt="1"/>
          </p:nvPr>
        </p:nvSpPr>
        <p:spPr>
          <a:xfrm>
            <a:off x="5004085" y="3112136"/>
            <a:ext cx="3725686" cy="647700"/>
          </a:xfrm>
          <a:noFill/>
        </p:spPr>
        <p:txBody>
          <a:bodyPr vert="horz" wrap="square" lIns="36000" tIns="36000" rIns="36000" bIns="36000" rtlCol="0" anchor="t" anchorCtr="0">
            <a:noAutofit/>
          </a:bodyPr>
          <a:lstStyle>
            <a:lvl1pPr marL="0" indent="0" algn="l">
              <a:lnSpc>
                <a:spcPct val="100000"/>
              </a:lnSpc>
              <a:buNone/>
              <a:defRPr lang="en-US" sz="2099" b="1" spc="-23" baseline="0" dirty="0" smtClean="0">
                <a:solidFill>
                  <a:schemeClr val="bg1"/>
                </a:solidFill>
                <a:latin typeface="+mj-lt"/>
                <a:ea typeface="+mj-ea"/>
                <a:cs typeface="+mj-cs"/>
              </a:defRPr>
            </a:lvl1pPr>
          </a:lstStyle>
          <a:p>
            <a:pPr lvl="0">
              <a:lnSpc>
                <a:spcPct val="90000"/>
              </a:lnSpc>
              <a:spcBef>
                <a:spcPct val="0"/>
              </a:spcBef>
            </a:pPr>
            <a:r>
              <a:rPr lang="en-US" dirty="0"/>
              <a:t>Click to add text</a:t>
            </a:r>
          </a:p>
        </p:txBody>
      </p:sp>
      <p:sp>
        <p:nvSpPr>
          <p:cNvPr id="36" name="Text Placeholder 25"/>
          <p:cNvSpPr>
            <a:spLocks noGrp="1"/>
          </p:cNvSpPr>
          <p:nvPr>
            <p:ph type="body" sz="quarter" idx="28" hasCustomPrompt="1"/>
          </p:nvPr>
        </p:nvSpPr>
        <p:spPr>
          <a:xfrm>
            <a:off x="414229" y="546497"/>
            <a:ext cx="3725687" cy="647700"/>
          </a:xfrm>
          <a:noFill/>
        </p:spPr>
        <p:txBody>
          <a:bodyPr vert="horz" wrap="square" lIns="36000" tIns="36000" rIns="36000" bIns="36000" rtlCol="0" anchor="t" anchorCtr="0">
            <a:noAutofit/>
          </a:bodyPr>
          <a:lstStyle>
            <a:lvl1pPr marL="0" indent="0" algn="l">
              <a:lnSpc>
                <a:spcPct val="100000"/>
              </a:lnSpc>
              <a:buNone/>
              <a:defRPr lang="en-US" sz="2099" b="1" spc="-23" baseline="0" dirty="0" smtClean="0">
                <a:latin typeface="+mj-lt"/>
                <a:ea typeface="+mj-ea"/>
                <a:cs typeface="+mj-cs"/>
              </a:defRPr>
            </a:lvl1pPr>
          </a:lstStyle>
          <a:p>
            <a:pPr lvl="0">
              <a:lnSpc>
                <a:spcPct val="90000"/>
              </a:lnSpc>
              <a:spcBef>
                <a:spcPct val="0"/>
              </a:spcBef>
            </a:pPr>
            <a:r>
              <a:rPr lang="en-US" dirty="0"/>
              <a:t>Click to add text</a:t>
            </a:r>
          </a:p>
        </p:txBody>
      </p:sp>
    </p:spTree>
    <p:extLst>
      <p:ext uri="{BB962C8B-B14F-4D97-AF65-F5344CB8AC3E}">
        <p14:creationId xmlns:p14="http://schemas.microsoft.com/office/powerpoint/2010/main" val="3131928599"/>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Bio">
    <p:spTree>
      <p:nvGrpSpPr>
        <p:cNvPr id="1" name=""/>
        <p:cNvGrpSpPr/>
        <p:nvPr/>
      </p:nvGrpSpPr>
      <p:grpSpPr>
        <a:xfrm>
          <a:off x="0" y="0"/>
          <a:ext cx="0" cy="0"/>
          <a:chOff x="0" y="0"/>
          <a:chExt cx="0" cy="0"/>
        </a:xfrm>
      </p:grpSpPr>
      <p:sp>
        <p:nvSpPr>
          <p:cNvPr id="12" name="Rectangle 11"/>
          <p:cNvSpPr/>
          <p:nvPr userDrawn="1"/>
        </p:nvSpPr>
        <p:spPr>
          <a:xfrm>
            <a:off x="6083774" y="2571750"/>
            <a:ext cx="3060226" cy="2571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49"/>
          </a:p>
        </p:txBody>
      </p:sp>
      <p:sp>
        <p:nvSpPr>
          <p:cNvPr id="3" name="Date Placeholder 2"/>
          <p:cNvSpPr>
            <a:spLocks noGrp="1"/>
          </p:cNvSpPr>
          <p:nvPr>
            <p:ph type="dt" sz="half" idx="10"/>
          </p:nvPr>
        </p:nvSpPr>
        <p:spPr/>
        <p:txBody>
          <a:bodyPr/>
          <a:lstStyle/>
          <a:p>
            <a:fld id="{D4559940-DECE-47F4-9CFC-F8FA3E09F4F2}" type="datetime1">
              <a:rPr lang="fi-FI" smtClean="0"/>
              <a:t>5.11.2023</a:t>
            </a:fld>
            <a:endParaRPr lang="en-US"/>
          </a:p>
        </p:txBody>
      </p:sp>
      <p:sp>
        <p:nvSpPr>
          <p:cNvPr id="4" name="Footer Placeholder 3"/>
          <p:cNvSpPr>
            <a:spLocks noGrp="1"/>
          </p:cNvSpPr>
          <p:nvPr>
            <p:ph type="ftr" sz="quarter" idx="11"/>
          </p:nvPr>
        </p:nvSpPr>
        <p:spPr/>
        <p:txBody>
          <a:bodyPr/>
          <a:lstStyle/>
          <a:p>
            <a:r>
              <a:rPr lang="en-US"/>
              <a:t>© Aalto University Executive Education</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FCCA222D-FCF7-48C1-A274-EBDDEF75DC66}" type="slidenum">
              <a:rPr lang="en-US" smtClean="0"/>
              <a:pPr/>
              <a:t>‹#›</a:t>
            </a:fld>
            <a:endParaRPr lang="en-US" dirty="0"/>
          </a:p>
        </p:txBody>
      </p:sp>
      <p:sp>
        <p:nvSpPr>
          <p:cNvPr id="9" name="Picture Placeholder 2"/>
          <p:cNvSpPr>
            <a:spLocks noGrp="1"/>
          </p:cNvSpPr>
          <p:nvPr>
            <p:ph type="pic" idx="13"/>
          </p:nvPr>
        </p:nvSpPr>
        <p:spPr>
          <a:xfrm>
            <a:off x="6083774" y="2"/>
            <a:ext cx="3060226" cy="2571749"/>
          </a:xfrm>
          <a:solidFill>
            <a:schemeClr val="bg2">
              <a:lumMod val="20000"/>
              <a:lumOff val="80000"/>
            </a:schemeClr>
          </a:solidFill>
        </p:spPr>
        <p:txBody>
          <a:bodyPr/>
          <a:lstStyle>
            <a:lvl1pPr marL="0" indent="0">
              <a:buNone/>
              <a:defRPr sz="1050"/>
            </a:lvl1pPr>
            <a:lvl2pPr marL="342797" indent="0">
              <a:buNone/>
              <a:defRPr sz="2099"/>
            </a:lvl2pPr>
            <a:lvl3pPr marL="685595" indent="0">
              <a:buNone/>
              <a:defRPr sz="1799"/>
            </a:lvl3pPr>
            <a:lvl4pPr marL="1028392" indent="0">
              <a:buNone/>
              <a:defRPr sz="1499"/>
            </a:lvl4pPr>
            <a:lvl5pPr marL="1371188" indent="0">
              <a:buNone/>
              <a:defRPr sz="1499"/>
            </a:lvl5pPr>
            <a:lvl6pPr marL="1713986" indent="0">
              <a:buNone/>
              <a:defRPr sz="1499"/>
            </a:lvl6pPr>
            <a:lvl7pPr marL="2056783" indent="0">
              <a:buNone/>
              <a:defRPr sz="1499"/>
            </a:lvl7pPr>
            <a:lvl8pPr marL="2399580" indent="0">
              <a:buNone/>
              <a:defRPr sz="1499"/>
            </a:lvl8pPr>
            <a:lvl9pPr marL="2742377" indent="0">
              <a:buNone/>
              <a:defRPr sz="1499"/>
            </a:lvl9pPr>
          </a:lstStyle>
          <a:p>
            <a:r>
              <a:rPr lang="en-US"/>
              <a:t>Click icon to add picture</a:t>
            </a:r>
            <a:endParaRPr lang="en-US" dirty="0"/>
          </a:p>
        </p:txBody>
      </p:sp>
      <p:sp>
        <p:nvSpPr>
          <p:cNvPr id="13" name="Content Placeholder 12"/>
          <p:cNvSpPr>
            <a:spLocks noGrp="1"/>
          </p:cNvSpPr>
          <p:nvPr>
            <p:ph sz="quarter" idx="14" hasCustomPrompt="1"/>
          </p:nvPr>
        </p:nvSpPr>
        <p:spPr>
          <a:xfrm>
            <a:off x="414229" y="1221564"/>
            <a:ext cx="5453613" cy="3186131"/>
          </a:xfrm>
        </p:spPr>
        <p:txBody>
          <a:bodyPr/>
          <a:lstStyle>
            <a:lvl1pPr marL="0" indent="0">
              <a:buFontTx/>
              <a:buNone/>
              <a:defRPr sz="1050"/>
            </a:lvl1pPr>
            <a:lvl2pPr marL="199965" indent="-199965">
              <a:buFont typeface="Arial" panose="020B0604020202020204" pitchFamily="34" charset="0"/>
              <a:buChar char="•"/>
              <a:defRPr sz="900"/>
            </a:lvl2pPr>
            <a:lvl3pPr marL="404691" indent="-204726">
              <a:buFont typeface="Arial" panose="020B0604020202020204" pitchFamily="34" charset="0"/>
              <a:buChar char="–"/>
              <a:defRPr sz="825"/>
            </a:lvl3pPr>
            <a:lvl4pPr marL="604656" indent="-199965">
              <a:buFont typeface="Arial" panose="020B0604020202020204" pitchFamily="34" charset="0"/>
              <a:buChar char="•"/>
              <a:defRPr sz="750"/>
            </a:lvl4pPr>
            <a:lvl5pPr marL="803432" indent="-198775">
              <a:buFont typeface="Arial" panose="020B0604020202020204" pitchFamily="34" charset="0"/>
              <a:buChar char="–"/>
              <a:defRPr sz="75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5" hasCustomPrompt="1"/>
          </p:nvPr>
        </p:nvSpPr>
        <p:spPr>
          <a:xfrm>
            <a:off x="6353733" y="2895797"/>
            <a:ext cx="2537921" cy="1511899"/>
          </a:xfrm>
          <a:prstGeom prst="rect">
            <a:avLst/>
          </a:prstGeom>
        </p:spPr>
        <p:txBody>
          <a:bodyPr lIns="0" tIns="0" rIns="0" bIns="0"/>
          <a:lstStyle>
            <a:lvl1pPr marL="0" indent="0">
              <a:buFontTx/>
              <a:buNone/>
              <a:defRPr sz="1200" b="1">
                <a:solidFill>
                  <a:schemeClr val="bg1"/>
                </a:solidFill>
              </a:defRPr>
            </a:lvl1pPr>
            <a:lvl2pPr marL="136881" indent="-136881">
              <a:buFont typeface="Arial" panose="020B0604020202020204" pitchFamily="34" charset="0"/>
              <a:buChar char="•"/>
              <a:defRPr sz="1050" b="1">
                <a:solidFill>
                  <a:schemeClr val="bg1"/>
                </a:solidFill>
              </a:defRPr>
            </a:lvl2pPr>
            <a:lvl3pPr marL="267811" indent="-130930">
              <a:defRPr sz="900" b="1">
                <a:solidFill>
                  <a:schemeClr val="bg1"/>
                </a:solidFill>
              </a:defRPr>
            </a:lvl3pPr>
            <a:lvl4pPr marL="404691" indent="-136881">
              <a:defRPr sz="825" b="1">
                <a:solidFill>
                  <a:schemeClr val="bg1"/>
                </a:solidFill>
              </a:defRPr>
            </a:lvl4pPr>
            <a:lvl5pPr marL="535621" indent="-130930">
              <a:defRPr sz="825" b="1">
                <a:solidFill>
                  <a:schemeClr val="bg1"/>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Isosceles Triangle 7"/>
          <p:cNvSpPr/>
          <p:nvPr userDrawn="1"/>
        </p:nvSpPr>
        <p:spPr>
          <a:xfrm flipV="1">
            <a:off x="7406747" y="2571750"/>
            <a:ext cx="432060" cy="162023"/>
          </a:xfrm>
          <a:prstGeom prst="triangle">
            <a:avLst/>
          </a:prstGeom>
          <a:solidFill>
            <a:srgbClr val="E09B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49"/>
          </a:p>
        </p:txBody>
      </p:sp>
      <p:sp>
        <p:nvSpPr>
          <p:cNvPr id="2" name="Title 1"/>
          <p:cNvSpPr>
            <a:spLocks noGrp="1"/>
          </p:cNvSpPr>
          <p:nvPr>
            <p:ph type="title" hasCustomPrompt="1"/>
          </p:nvPr>
        </p:nvSpPr>
        <p:spPr>
          <a:xfrm>
            <a:off x="0" y="573882"/>
            <a:ext cx="5867843" cy="456902"/>
          </a:xfrm>
          <a:solidFill>
            <a:srgbClr val="B1059D"/>
          </a:solidFill>
        </p:spPr>
        <p:txBody>
          <a:bodyPr/>
          <a:lstStyle>
            <a:lvl1pPr>
              <a:defRPr sz="2249"/>
            </a:lvl1pPr>
          </a:lstStyle>
          <a:p>
            <a:r>
              <a:rPr lang="en-US" dirty="0"/>
              <a:t>Insert Name</a:t>
            </a:r>
            <a:endParaRPr lang="fi-FI" dirty="0"/>
          </a:p>
        </p:txBody>
      </p:sp>
    </p:spTree>
    <p:extLst>
      <p:ext uri="{BB962C8B-B14F-4D97-AF65-F5344CB8AC3E}">
        <p14:creationId xmlns:p14="http://schemas.microsoft.com/office/powerpoint/2010/main" val="2945976836"/>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Custom layout 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18110"/>
            <a:ext cx="2084015" cy="353027"/>
          </a:xfrm>
          <a:solidFill>
            <a:srgbClr val="B1059D"/>
          </a:solidFill>
        </p:spPr>
        <p:txBody>
          <a:bodyPr wrap="none" lIns="324000" rIns="324000" anchor="ctr"/>
          <a:lstStyle>
            <a:lvl1pPr>
              <a:defRPr sz="1499"/>
            </a:lvl1pPr>
          </a:lstStyle>
          <a:p>
            <a:r>
              <a:rPr lang="en-US" dirty="0"/>
              <a:t>Click to add title</a:t>
            </a:r>
          </a:p>
        </p:txBody>
      </p:sp>
      <p:sp>
        <p:nvSpPr>
          <p:cNvPr id="4" name="Date Placeholder 3"/>
          <p:cNvSpPr>
            <a:spLocks noGrp="1"/>
          </p:cNvSpPr>
          <p:nvPr>
            <p:ph type="dt" sz="half" idx="10"/>
          </p:nvPr>
        </p:nvSpPr>
        <p:spPr/>
        <p:txBody>
          <a:bodyPr/>
          <a:lstStyle/>
          <a:p>
            <a:fld id="{5F04A4A6-8F0B-4EE0-A205-F3CC694F274C}" type="datetime1">
              <a:rPr lang="fi-FI" smtClean="0"/>
              <a:t>5.11.2023</a:t>
            </a:fld>
            <a:endParaRPr lang="en-US"/>
          </a:p>
        </p:txBody>
      </p:sp>
      <p:sp>
        <p:nvSpPr>
          <p:cNvPr id="5" name="Footer Placeholder 4"/>
          <p:cNvSpPr>
            <a:spLocks noGrp="1"/>
          </p:cNvSpPr>
          <p:nvPr>
            <p:ph type="ftr" sz="quarter" idx="11"/>
          </p:nvPr>
        </p:nvSpPr>
        <p:spPr/>
        <p:txBody>
          <a:bodyPr/>
          <a:lstStyle/>
          <a:p>
            <a:r>
              <a:rPr lang="en-US"/>
              <a:t>© Aalto University Executive Education</a:t>
            </a:r>
          </a:p>
        </p:txBody>
      </p:sp>
      <p:sp>
        <p:nvSpPr>
          <p:cNvPr id="6" name="Slide Number Placeholder 5"/>
          <p:cNvSpPr>
            <a:spLocks noGrp="1"/>
          </p:cNvSpPr>
          <p:nvPr>
            <p:ph type="sldNum" sz="quarter" idx="12"/>
          </p:nvPr>
        </p:nvSpPr>
        <p:spPr/>
        <p:txBody>
          <a:bodyPr/>
          <a:lstStyle/>
          <a:p>
            <a:fld id="{FCCA222D-FCF7-48C1-A274-EBDDEF75DC66}" type="slidenum">
              <a:rPr lang="en-US" smtClean="0"/>
              <a:t>‹#›</a:t>
            </a:fld>
            <a:endParaRPr lang="en-US"/>
          </a:p>
        </p:txBody>
      </p:sp>
      <p:sp>
        <p:nvSpPr>
          <p:cNvPr id="7" name="Text Placeholder 6"/>
          <p:cNvSpPr>
            <a:spLocks noGrp="1"/>
          </p:cNvSpPr>
          <p:nvPr>
            <p:ph type="body" sz="quarter" idx="13" hasCustomPrompt="1"/>
          </p:nvPr>
        </p:nvSpPr>
        <p:spPr>
          <a:xfrm>
            <a:off x="1224408" y="1059231"/>
            <a:ext cx="2537692" cy="1080473"/>
          </a:xfrm>
          <a:solidFill>
            <a:schemeClr val="bg2">
              <a:lumMod val="20000"/>
              <a:lumOff val="80000"/>
            </a:schemeClr>
          </a:solidFill>
        </p:spPr>
        <p:txBody>
          <a:bodyPr lIns="144000" tIns="108000" rIns="144000" bIns="108000"/>
          <a:lstStyle>
            <a:lvl1pPr marL="0" indent="0">
              <a:spcAft>
                <a:spcPts val="300"/>
              </a:spcAft>
              <a:buNone/>
              <a:defRPr sz="750"/>
            </a:lvl1pPr>
            <a:lvl2pPr marL="136881" indent="-136881">
              <a:spcAft>
                <a:spcPts val="300"/>
              </a:spcAft>
              <a:buFont typeface="Arial" panose="020B0604020202020204" pitchFamily="34" charset="0"/>
              <a:buChar char="•"/>
              <a:defRPr sz="750"/>
            </a:lvl2pPr>
          </a:lstStyle>
          <a:p>
            <a:pPr lvl="0"/>
            <a:r>
              <a:rPr lang="en-US" dirty="0"/>
              <a:t>Click to add text</a:t>
            </a:r>
          </a:p>
          <a:p>
            <a:pPr lvl="1"/>
            <a:r>
              <a:rPr lang="en-US" dirty="0"/>
              <a:t>Second level</a:t>
            </a:r>
          </a:p>
        </p:txBody>
      </p:sp>
      <p:sp>
        <p:nvSpPr>
          <p:cNvPr id="11" name="Text Placeholder 10"/>
          <p:cNvSpPr>
            <a:spLocks noGrp="1"/>
          </p:cNvSpPr>
          <p:nvPr>
            <p:ph type="body" sz="quarter" idx="22"/>
          </p:nvPr>
        </p:nvSpPr>
        <p:spPr>
          <a:xfrm>
            <a:off x="252348" y="1059305"/>
            <a:ext cx="918065" cy="1079897"/>
          </a:xfrm>
        </p:spPr>
        <p:txBody>
          <a:bodyPr lIns="36000" tIns="36000" rIns="36000" bIns="36000"/>
          <a:lstStyle>
            <a:lvl1pPr marL="0" indent="0" algn="r">
              <a:buNone/>
              <a:defRPr sz="1050" b="1">
                <a:solidFill>
                  <a:schemeClr val="accent2"/>
                </a:solidFill>
              </a:defRPr>
            </a:lvl1pPr>
          </a:lstStyle>
          <a:p>
            <a:pPr lvl="0"/>
            <a:r>
              <a:rPr lang="en-US"/>
              <a:t>Edit Master text styles</a:t>
            </a:r>
          </a:p>
        </p:txBody>
      </p:sp>
      <p:sp>
        <p:nvSpPr>
          <p:cNvPr id="33" name="Text Placeholder 10"/>
          <p:cNvSpPr>
            <a:spLocks noGrp="1"/>
          </p:cNvSpPr>
          <p:nvPr>
            <p:ph type="body" sz="quarter" idx="23"/>
          </p:nvPr>
        </p:nvSpPr>
        <p:spPr>
          <a:xfrm>
            <a:off x="252348" y="2193357"/>
            <a:ext cx="918065" cy="1079897"/>
          </a:xfrm>
        </p:spPr>
        <p:txBody>
          <a:bodyPr lIns="36000" tIns="36000" rIns="36000" bIns="36000"/>
          <a:lstStyle>
            <a:lvl1pPr marL="0" indent="0" algn="r">
              <a:buNone/>
              <a:defRPr sz="1050" b="1">
                <a:solidFill>
                  <a:schemeClr val="accent2"/>
                </a:solidFill>
              </a:defRPr>
            </a:lvl1pPr>
          </a:lstStyle>
          <a:p>
            <a:pPr lvl="0"/>
            <a:r>
              <a:rPr lang="en-US"/>
              <a:t>Edit Master text styles</a:t>
            </a:r>
          </a:p>
        </p:txBody>
      </p:sp>
      <p:sp>
        <p:nvSpPr>
          <p:cNvPr id="34" name="Text Placeholder 10"/>
          <p:cNvSpPr>
            <a:spLocks noGrp="1"/>
          </p:cNvSpPr>
          <p:nvPr>
            <p:ph type="body" sz="quarter" idx="24"/>
          </p:nvPr>
        </p:nvSpPr>
        <p:spPr>
          <a:xfrm>
            <a:off x="252348" y="3327706"/>
            <a:ext cx="918065" cy="1079897"/>
          </a:xfrm>
        </p:spPr>
        <p:txBody>
          <a:bodyPr lIns="36000" tIns="36000" rIns="36000" bIns="36000"/>
          <a:lstStyle>
            <a:lvl1pPr marL="0" indent="0" algn="r">
              <a:buNone/>
              <a:defRPr sz="1050" b="1">
                <a:solidFill>
                  <a:schemeClr val="accent2"/>
                </a:solidFill>
              </a:defRPr>
            </a:lvl1pPr>
          </a:lstStyle>
          <a:p>
            <a:pPr lvl="0"/>
            <a:r>
              <a:rPr lang="en-US"/>
              <a:t>Edit Master text styles</a:t>
            </a:r>
          </a:p>
        </p:txBody>
      </p:sp>
      <p:sp>
        <p:nvSpPr>
          <p:cNvPr id="35" name="Text Placeholder 10"/>
          <p:cNvSpPr>
            <a:spLocks noGrp="1"/>
          </p:cNvSpPr>
          <p:nvPr>
            <p:ph type="body" sz="quarter" idx="25"/>
          </p:nvPr>
        </p:nvSpPr>
        <p:spPr>
          <a:xfrm>
            <a:off x="1224408" y="789503"/>
            <a:ext cx="2555506" cy="216030"/>
          </a:xfrm>
        </p:spPr>
        <p:txBody>
          <a:bodyPr lIns="36000" tIns="36000" rIns="36000" bIns="36000" anchor="b"/>
          <a:lstStyle>
            <a:lvl1pPr marL="0" indent="0" algn="ctr">
              <a:buNone/>
              <a:defRPr sz="1050" b="1">
                <a:solidFill>
                  <a:schemeClr val="accent2"/>
                </a:solidFill>
              </a:defRPr>
            </a:lvl1pPr>
          </a:lstStyle>
          <a:p>
            <a:pPr lvl="0"/>
            <a:r>
              <a:rPr lang="en-US"/>
              <a:t>Edit Master text styles</a:t>
            </a:r>
          </a:p>
        </p:txBody>
      </p:sp>
      <p:sp>
        <p:nvSpPr>
          <p:cNvPr id="36" name="Text Placeholder 10"/>
          <p:cNvSpPr>
            <a:spLocks noGrp="1"/>
          </p:cNvSpPr>
          <p:nvPr>
            <p:ph type="body" sz="quarter" idx="26"/>
          </p:nvPr>
        </p:nvSpPr>
        <p:spPr>
          <a:xfrm>
            <a:off x="3816092" y="789505"/>
            <a:ext cx="2484697" cy="216029"/>
          </a:xfrm>
        </p:spPr>
        <p:txBody>
          <a:bodyPr lIns="36000" tIns="36000" rIns="36000" bIns="36000" anchor="b"/>
          <a:lstStyle>
            <a:lvl1pPr marL="0" indent="0" algn="ctr">
              <a:buNone/>
              <a:defRPr sz="1050" b="1">
                <a:solidFill>
                  <a:schemeClr val="accent2"/>
                </a:solidFill>
              </a:defRPr>
            </a:lvl1pPr>
          </a:lstStyle>
          <a:p>
            <a:pPr lvl="0"/>
            <a:r>
              <a:rPr lang="en-US"/>
              <a:t>Edit Master text styles</a:t>
            </a:r>
          </a:p>
        </p:txBody>
      </p:sp>
      <p:sp>
        <p:nvSpPr>
          <p:cNvPr id="37" name="Text Placeholder 10"/>
          <p:cNvSpPr>
            <a:spLocks noGrp="1"/>
          </p:cNvSpPr>
          <p:nvPr>
            <p:ph type="body" sz="quarter" idx="27"/>
          </p:nvPr>
        </p:nvSpPr>
        <p:spPr>
          <a:xfrm>
            <a:off x="6372201" y="789505"/>
            <a:ext cx="2519453" cy="216029"/>
          </a:xfrm>
        </p:spPr>
        <p:txBody>
          <a:bodyPr lIns="36000" tIns="36000" rIns="36000" bIns="36000" anchor="b"/>
          <a:lstStyle>
            <a:lvl1pPr marL="0" indent="0" algn="ctr">
              <a:buNone/>
              <a:defRPr sz="1050" b="1">
                <a:solidFill>
                  <a:schemeClr val="accent2"/>
                </a:solidFill>
              </a:defRPr>
            </a:lvl1pPr>
          </a:lstStyle>
          <a:p>
            <a:pPr lvl="0"/>
            <a:r>
              <a:rPr lang="en-US"/>
              <a:t>Edit Master text styles</a:t>
            </a:r>
          </a:p>
        </p:txBody>
      </p:sp>
      <p:sp>
        <p:nvSpPr>
          <p:cNvPr id="50" name="Text Placeholder 6"/>
          <p:cNvSpPr>
            <a:spLocks noGrp="1"/>
          </p:cNvSpPr>
          <p:nvPr>
            <p:ph type="body" sz="quarter" idx="28" hasCustomPrompt="1"/>
          </p:nvPr>
        </p:nvSpPr>
        <p:spPr>
          <a:xfrm>
            <a:off x="3816092" y="1059231"/>
            <a:ext cx="2483698" cy="1080473"/>
          </a:xfrm>
          <a:solidFill>
            <a:schemeClr val="bg2">
              <a:lumMod val="20000"/>
              <a:lumOff val="80000"/>
            </a:schemeClr>
          </a:solidFill>
        </p:spPr>
        <p:txBody>
          <a:bodyPr lIns="144000" tIns="108000" rIns="144000" bIns="108000"/>
          <a:lstStyle>
            <a:lvl1pPr marL="0" indent="0">
              <a:spcAft>
                <a:spcPts val="300"/>
              </a:spcAft>
              <a:buNone/>
              <a:defRPr sz="750"/>
            </a:lvl1pPr>
            <a:lvl2pPr marL="136881" indent="-136881">
              <a:spcAft>
                <a:spcPts val="300"/>
              </a:spcAft>
              <a:buFont typeface="Arial" panose="020B0604020202020204" pitchFamily="34" charset="0"/>
              <a:buChar char="•"/>
              <a:defRPr sz="750"/>
            </a:lvl2pPr>
          </a:lstStyle>
          <a:p>
            <a:pPr lvl="0"/>
            <a:r>
              <a:rPr lang="en-US" dirty="0"/>
              <a:t>Click to add text</a:t>
            </a:r>
          </a:p>
          <a:p>
            <a:pPr lvl="1"/>
            <a:r>
              <a:rPr lang="en-US" dirty="0"/>
              <a:t>Second level</a:t>
            </a:r>
          </a:p>
        </p:txBody>
      </p:sp>
      <p:sp>
        <p:nvSpPr>
          <p:cNvPr id="51" name="Text Placeholder 6"/>
          <p:cNvSpPr>
            <a:spLocks noGrp="1"/>
          </p:cNvSpPr>
          <p:nvPr>
            <p:ph type="body" sz="quarter" idx="29" hasCustomPrompt="1"/>
          </p:nvPr>
        </p:nvSpPr>
        <p:spPr>
          <a:xfrm>
            <a:off x="6353784" y="1059231"/>
            <a:ext cx="2537870" cy="1080473"/>
          </a:xfrm>
          <a:solidFill>
            <a:schemeClr val="bg2">
              <a:lumMod val="20000"/>
              <a:lumOff val="80000"/>
            </a:schemeClr>
          </a:solidFill>
        </p:spPr>
        <p:txBody>
          <a:bodyPr lIns="144000" tIns="108000" rIns="144000" bIns="108000"/>
          <a:lstStyle>
            <a:lvl1pPr marL="0" indent="0">
              <a:spcAft>
                <a:spcPts val="300"/>
              </a:spcAft>
              <a:buNone/>
              <a:defRPr sz="750"/>
            </a:lvl1pPr>
            <a:lvl2pPr marL="136881" indent="-136881">
              <a:spcAft>
                <a:spcPts val="300"/>
              </a:spcAft>
              <a:buFont typeface="Arial" panose="020B0604020202020204" pitchFamily="34" charset="0"/>
              <a:buChar char="•"/>
              <a:defRPr sz="750"/>
            </a:lvl2pPr>
          </a:lstStyle>
          <a:p>
            <a:pPr lvl="0"/>
            <a:r>
              <a:rPr lang="en-US" dirty="0"/>
              <a:t>Click to add text</a:t>
            </a:r>
          </a:p>
          <a:p>
            <a:pPr lvl="1"/>
            <a:r>
              <a:rPr lang="en-US" dirty="0"/>
              <a:t>Second level</a:t>
            </a:r>
          </a:p>
        </p:txBody>
      </p:sp>
      <p:sp>
        <p:nvSpPr>
          <p:cNvPr id="52" name="Text Placeholder 6"/>
          <p:cNvSpPr>
            <a:spLocks noGrp="1"/>
          </p:cNvSpPr>
          <p:nvPr>
            <p:ph type="body" sz="quarter" idx="30" hasCustomPrompt="1"/>
          </p:nvPr>
        </p:nvSpPr>
        <p:spPr>
          <a:xfrm>
            <a:off x="1224408" y="2193357"/>
            <a:ext cx="2537692" cy="1080473"/>
          </a:xfrm>
          <a:solidFill>
            <a:schemeClr val="bg2">
              <a:lumMod val="20000"/>
              <a:lumOff val="80000"/>
            </a:schemeClr>
          </a:solidFill>
        </p:spPr>
        <p:txBody>
          <a:bodyPr lIns="144000" tIns="108000" rIns="144000" bIns="108000"/>
          <a:lstStyle>
            <a:lvl1pPr marL="0" indent="0">
              <a:spcAft>
                <a:spcPts val="300"/>
              </a:spcAft>
              <a:buNone/>
              <a:defRPr sz="750"/>
            </a:lvl1pPr>
            <a:lvl2pPr marL="136881" indent="-136881">
              <a:spcAft>
                <a:spcPts val="300"/>
              </a:spcAft>
              <a:buFont typeface="Arial" panose="020B0604020202020204" pitchFamily="34" charset="0"/>
              <a:buChar char="•"/>
              <a:defRPr sz="750"/>
            </a:lvl2pPr>
          </a:lstStyle>
          <a:p>
            <a:pPr lvl="0"/>
            <a:r>
              <a:rPr lang="en-US" dirty="0"/>
              <a:t>Click to add text</a:t>
            </a:r>
          </a:p>
          <a:p>
            <a:pPr lvl="1"/>
            <a:r>
              <a:rPr lang="en-US" dirty="0"/>
              <a:t>Second level</a:t>
            </a:r>
          </a:p>
        </p:txBody>
      </p:sp>
      <p:sp>
        <p:nvSpPr>
          <p:cNvPr id="53" name="Text Placeholder 6"/>
          <p:cNvSpPr>
            <a:spLocks noGrp="1"/>
          </p:cNvSpPr>
          <p:nvPr>
            <p:ph type="body" sz="quarter" idx="31" hasCustomPrompt="1"/>
          </p:nvPr>
        </p:nvSpPr>
        <p:spPr>
          <a:xfrm>
            <a:off x="3816092" y="2193357"/>
            <a:ext cx="2483699" cy="1080473"/>
          </a:xfrm>
          <a:solidFill>
            <a:schemeClr val="bg2">
              <a:lumMod val="20000"/>
              <a:lumOff val="80000"/>
            </a:schemeClr>
          </a:solidFill>
        </p:spPr>
        <p:txBody>
          <a:bodyPr lIns="144000" tIns="108000" rIns="144000" bIns="108000"/>
          <a:lstStyle>
            <a:lvl1pPr marL="0" indent="0">
              <a:spcAft>
                <a:spcPts val="300"/>
              </a:spcAft>
              <a:buNone/>
              <a:defRPr sz="750"/>
            </a:lvl1pPr>
            <a:lvl2pPr marL="136881" indent="-136881">
              <a:spcAft>
                <a:spcPts val="300"/>
              </a:spcAft>
              <a:buFont typeface="Arial" panose="020B0604020202020204" pitchFamily="34" charset="0"/>
              <a:buChar char="•"/>
              <a:defRPr sz="750"/>
            </a:lvl2pPr>
          </a:lstStyle>
          <a:p>
            <a:pPr lvl="0"/>
            <a:r>
              <a:rPr lang="en-US" dirty="0"/>
              <a:t>Click to add text</a:t>
            </a:r>
          </a:p>
          <a:p>
            <a:pPr lvl="1"/>
            <a:r>
              <a:rPr lang="en-US" dirty="0"/>
              <a:t>Second level</a:t>
            </a:r>
          </a:p>
        </p:txBody>
      </p:sp>
      <p:sp>
        <p:nvSpPr>
          <p:cNvPr id="54" name="Text Placeholder 6"/>
          <p:cNvSpPr>
            <a:spLocks noGrp="1"/>
          </p:cNvSpPr>
          <p:nvPr>
            <p:ph type="body" sz="quarter" idx="32" hasCustomPrompt="1"/>
          </p:nvPr>
        </p:nvSpPr>
        <p:spPr>
          <a:xfrm>
            <a:off x="6353784" y="2193357"/>
            <a:ext cx="2537870" cy="1080473"/>
          </a:xfrm>
          <a:solidFill>
            <a:schemeClr val="bg2">
              <a:lumMod val="20000"/>
              <a:lumOff val="80000"/>
            </a:schemeClr>
          </a:solidFill>
        </p:spPr>
        <p:txBody>
          <a:bodyPr lIns="144000" tIns="108000" rIns="144000" bIns="108000"/>
          <a:lstStyle>
            <a:lvl1pPr marL="0" indent="0">
              <a:spcAft>
                <a:spcPts val="300"/>
              </a:spcAft>
              <a:buNone/>
              <a:defRPr sz="750"/>
            </a:lvl1pPr>
            <a:lvl2pPr marL="136881" indent="-136881">
              <a:spcAft>
                <a:spcPts val="300"/>
              </a:spcAft>
              <a:buFont typeface="Arial" panose="020B0604020202020204" pitchFamily="34" charset="0"/>
              <a:buChar char="•"/>
              <a:defRPr sz="750"/>
            </a:lvl2pPr>
          </a:lstStyle>
          <a:p>
            <a:pPr lvl="0"/>
            <a:r>
              <a:rPr lang="en-US" dirty="0"/>
              <a:t>Click to add text</a:t>
            </a:r>
          </a:p>
          <a:p>
            <a:pPr lvl="1"/>
            <a:r>
              <a:rPr lang="en-US" dirty="0"/>
              <a:t>Second level</a:t>
            </a:r>
          </a:p>
        </p:txBody>
      </p:sp>
      <p:sp>
        <p:nvSpPr>
          <p:cNvPr id="55" name="Text Placeholder 6"/>
          <p:cNvSpPr>
            <a:spLocks noGrp="1"/>
          </p:cNvSpPr>
          <p:nvPr>
            <p:ph type="body" sz="quarter" idx="33" hasCustomPrompt="1"/>
          </p:nvPr>
        </p:nvSpPr>
        <p:spPr>
          <a:xfrm>
            <a:off x="1224407" y="3327483"/>
            <a:ext cx="2537691" cy="1080473"/>
          </a:xfrm>
          <a:solidFill>
            <a:schemeClr val="bg2">
              <a:lumMod val="20000"/>
              <a:lumOff val="80000"/>
            </a:schemeClr>
          </a:solidFill>
        </p:spPr>
        <p:txBody>
          <a:bodyPr lIns="144000" tIns="108000" rIns="144000" bIns="108000"/>
          <a:lstStyle>
            <a:lvl1pPr marL="0" indent="0">
              <a:spcAft>
                <a:spcPts val="300"/>
              </a:spcAft>
              <a:buNone/>
              <a:defRPr sz="750"/>
            </a:lvl1pPr>
            <a:lvl2pPr marL="136881" indent="-136881">
              <a:spcAft>
                <a:spcPts val="300"/>
              </a:spcAft>
              <a:buFont typeface="Arial" panose="020B0604020202020204" pitchFamily="34" charset="0"/>
              <a:buChar char="•"/>
              <a:defRPr sz="750"/>
            </a:lvl2pPr>
          </a:lstStyle>
          <a:p>
            <a:pPr lvl="0"/>
            <a:r>
              <a:rPr lang="en-US" dirty="0"/>
              <a:t>Click to add text</a:t>
            </a:r>
          </a:p>
          <a:p>
            <a:pPr lvl="1"/>
            <a:r>
              <a:rPr lang="en-US" dirty="0"/>
              <a:t>Second level</a:t>
            </a:r>
          </a:p>
        </p:txBody>
      </p:sp>
      <p:sp>
        <p:nvSpPr>
          <p:cNvPr id="56" name="Text Placeholder 6"/>
          <p:cNvSpPr>
            <a:spLocks noGrp="1"/>
          </p:cNvSpPr>
          <p:nvPr>
            <p:ph type="body" sz="quarter" idx="34" hasCustomPrompt="1"/>
          </p:nvPr>
        </p:nvSpPr>
        <p:spPr>
          <a:xfrm>
            <a:off x="3816092" y="3327483"/>
            <a:ext cx="2483699" cy="1080473"/>
          </a:xfrm>
          <a:solidFill>
            <a:schemeClr val="bg2">
              <a:lumMod val="20000"/>
              <a:lumOff val="80000"/>
            </a:schemeClr>
          </a:solidFill>
        </p:spPr>
        <p:txBody>
          <a:bodyPr lIns="144000" tIns="108000" rIns="144000" bIns="108000"/>
          <a:lstStyle>
            <a:lvl1pPr marL="0" indent="0">
              <a:spcAft>
                <a:spcPts val="300"/>
              </a:spcAft>
              <a:buNone/>
              <a:defRPr sz="750"/>
            </a:lvl1pPr>
            <a:lvl2pPr marL="136881" indent="-136881">
              <a:spcAft>
                <a:spcPts val="300"/>
              </a:spcAft>
              <a:buFont typeface="Arial" panose="020B0604020202020204" pitchFamily="34" charset="0"/>
              <a:buChar char="•"/>
              <a:defRPr sz="750"/>
            </a:lvl2pPr>
          </a:lstStyle>
          <a:p>
            <a:pPr lvl="0"/>
            <a:r>
              <a:rPr lang="en-US" dirty="0"/>
              <a:t>Click to add text</a:t>
            </a:r>
          </a:p>
          <a:p>
            <a:pPr lvl="1"/>
            <a:r>
              <a:rPr lang="en-US" dirty="0"/>
              <a:t>Second level</a:t>
            </a:r>
          </a:p>
        </p:txBody>
      </p:sp>
      <p:sp>
        <p:nvSpPr>
          <p:cNvPr id="57" name="Text Placeholder 6"/>
          <p:cNvSpPr>
            <a:spLocks noGrp="1"/>
          </p:cNvSpPr>
          <p:nvPr>
            <p:ph type="body" sz="quarter" idx="35" hasCustomPrompt="1"/>
          </p:nvPr>
        </p:nvSpPr>
        <p:spPr>
          <a:xfrm>
            <a:off x="6353784" y="3327483"/>
            <a:ext cx="2537870" cy="1080473"/>
          </a:xfrm>
          <a:solidFill>
            <a:schemeClr val="bg2">
              <a:lumMod val="20000"/>
              <a:lumOff val="80000"/>
            </a:schemeClr>
          </a:solidFill>
        </p:spPr>
        <p:txBody>
          <a:bodyPr lIns="144000" tIns="108000" rIns="144000" bIns="108000"/>
          <a:lstStyle>
            <a:lvl1pPr marL="0" indent="0">
              <a:spcAft>
                <a:spcPts val="300"/>
              </a:spcAft>
              <a:buNone/>
              <a:defRPr sz="750"/>
            </a:lvl1pPr>
            <a:lvl2pPr marL="136881" indent="-136881">
              <a:spcAft>
                <a:spcPts val="300"/>
              </a:spcAft>
              <a:buFont typeface="Arial" panose="020B0604020202020204" pitchFamily="34" charset="0"/>
              <a:buChar char="•"/>
              <a:defRPr sz="750"/>
            </a:lvl2pPr>
          </a:lstStyle>
          <a:p>
            <a:pPr lvl="0"/>
            <a:r>
              <a:rPr lang="en-US" dirty="0"/>
              <a:t>Click to add text</a:t>
            </a:r>
          </a:p>
          <a:p>
            <a:pPr lvl="1"/>
            <a:r>
              <a:rPr lang="en-US" dirty="0"/>
              <a:t>Second level</a:t>
            </a:r>
          </a:p>
        </p:txBody>
      </p:sp>
    </p:spTree>
    <p:extLst>
      <p:ext uri="{BB962C8B-B14F-4D97-AF65-F5344CB8AC3E}">
        <p14:creationId xmlns:p14="http://schemas.microsoft.com/office/powerpoint/2010/main" val="3133413085"/>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DFDAFA6-A79C-4473-9965-FC0B670A98FB}" type="datetime1">
              <a:rPr lang="fi-FI" smtClean="0"/>
              <a:t>5.11.2023</a:t>
            </a:fld>
            <a:endParaRPr lang="en-US"/>
          </a:p>
        </p:txBody>
      </p:sp>
      <p:sp>
        <p:nvSpPr>
          <p:cNvPr id="3" name="Footer Placeholder 2"/>
          <p:cNvSpPr>
            <a:spLocks noGrp="1"/>
          </p:cNvSpPr>
          <p:nvPr>
            <p:ph type="ftr" sz="quarter" idx="11"/>
          </p:nvPr>
        </p:nvSpPr>
        <p:spPr/>
        <p:txBody>
          <a:bodyPr/>
          <a:lstStyle/>
          <a:p>
            <a:r>
              <a:rPr lang="en-US"/>
              <a:t>© Aalto University Executive Education</a:t>
            </a:r>
          </a:p>
        </p:txBody>
      </p:sp>
      <p:sp>
        <p:nvSpPr>
          <p:cNvPr id="4" name="Slide Number Placeholder 3"/>
          <p:cNvSpPr>
            <a:spLocks noGrp="1"/>
          </p:cNvSpPr>
          <p:nvPr>
            <p:ph type="sldNum" sz="quarter" idx="12"/>
          </p:nvPr>
        </p:nvSpPr>
        <p:spPr/>
        <p:txBody>
          <a:bodyPr/>
          <a:lstStyle/>
          <a:p>
            <a:fld id="{FCCA222D-FCF7-48C1-A274-EBDDEF75DC66}" type="slidenum">
              <a:rPr lang="en-US" smtClean="0"/>
              <a:t>‹#›</a:t>
            </a:fld>
            <a:endParaRPr lang="en-US"/>
          </a:p>
        </p:txBody>
      </p:sp>
    </p:spTree>
    <p:extLst>
      <p:ext uri="{BB962C8B-B14F-4D97-AF65-F5344CB8AC3E}">
        <p14:creationId xmlns:p14="http://schemas.microsoft.com/office/powerpoint/2010/main" val="3100002797"/>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type="title">
  <p:cSld name="2_Title Slide">
    <p:spTree>
      <p:nvGrpSpPr>
        <p:cNvPr id="1" name=""/>
        <p:cNvGrpSpPr/>
        <p:nvPr/>
      </p:nvGrpSpPr>
      <p:grpSpPr>
        <a:xfrm>
          <a:off x="0" y="0"/>
          <a:ext cx="0" cy="0"/>
          <a:chOff x="0" y="0"/>
          <a:chExt cx="0" cy="0"/>
        </a:xfrm>
      </p:grpSpPr>
      <p:pic>
        <p:nvPicPr>
          <p:cNvPr id="2" name="Picture 19" descr="logo_title_RGB"/>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51" y="411956"/>
            <a:ext cx="44799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1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40226" y="1226346"/>
            <a:ext cx="4803775" cy="391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0504350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userDrawn="1">
  <p:cSld name="Title and Content Green">
    <p:spTree>
      <p:nvGrpSpPr>
        <p:cNvPr id="1" name=""/>
        <p:cNvGrpSpPr/>
        <p:nvPr/>
      </p:nvGrpSpPr>
      <p:grpSpPr>
        <a:xfrm>
          <a:off x="0" y="0"/>
          <a:ext cx="0" cy="0"/>
          <a:chOff x="0" y="0"/>
          <a:chExt cx="0" cy="0"/>
        </a:xfrm>
      </p:grpSpPr>
      <p:cxnSp>
        <p:nvCxnSpPr>
          <p:cNvPr id="4" name="Straight Connector 3"/>
          <p:cNvCxnSpPr/>
          <p:nvPr userDrawn="1"/>
        </p:nvCxnSpPr>
        <p:spPr>
          <a:xfrm>
            <a:off x="228601" y="584597"/>
            <a:ext cx="4302125" cy="0"/>
          </a:xfrm>
          <a:prstGeom prst="line">
            <a:avLst/>
          </a:prstGeom>
          <a:ln w="28575" cmpd="sng">
            <a:solidFill>
              <a:srgbClr val="00CA9B"/>
            </a:solidFill>
          </a:ln>
        </p:spPr>
        <p:style>
          <a:lnRef idx="1">
            <a:schemeClr val="accent1"/>
          </a:lnRef>
          <a:fillRef idx="0">
            <a:schemeClr val="accent1"/>
          </a:fillRef>
          <a:effectRef idx="0">
            <a:schemeClr val="accent1"/>
          </a:effectRef>
          <a:fontRef idx="minor">
            <a:schemeClr val="tx1"/>
          </a:fontRef>
        </p:style>
      </p:cxnSp>
      <p:sp>
        <p:nvSpPr>
          <p:cNvPr id="5" name="Oval 4"/>
          <p:cNvSpPr/>
          <p:nvPr userDrawn="1"/>
        </p:nvSpPr>
        <p:spPr>
          <a:xfrm>
            <a:off x="228601" y="4722021"/>
            <a:ext cx="311150" cy="31194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id-ID" sz="1013" dirty="0"/>
          </a:p>
        </p:txBody>
      </p:sp>
      <p:sp>
        <p:nvSpPr>
          <p:cNvPr id="6" name="TextBox 5"/>
          <p:cNvSpPr txBox="1"/>
          <p:nvPr userDrawn="1"/>
        </p:nvSpPr>
        <p:spPr>
          <a:xfrm>
            <a:off x="212725" y="4767265"/>
            <a:ext cx="338138" cy="184547"/>
          </a:xfrm>
          <a:prstGeom prst="rect">
            <a:avLst/>
          </a:prstGeom>
        </p:spPr>
        <p:txBody>
          <a:bodyPr anchor="ctr"/>
          <a:lstStyle>
            <a:defPPr>
              <a:defRPr lang="id-ID"/>
            </a:defPPr>
            <a:lvl1pPr algn="ctr">
              <a:defRPr sz="1000" b="1">
                <a:solidFill>
                  <a:schemeClr val="bg1"/>
                </a:solidFill>
              </a:defRPr>
            </a:lvl1pPr>
          </a:lstStyle>
          <a:p>
            <a:pPr>
              <a:defRPr/>
            </a:pPr>
            <a:fld id="{6589890B-BD98-4D8C-B8F1-4375E47E2841}" type="slidenum">
              <a:rPr lang="en-US" sz="750" smtClean="0"/>
              <a:pPr>
                <a:defRPr/>
              </a:pPr>
              <a:t>‹#›</a:t>
            </a:fld>
            <a:endParaRPr lang="en-US" sz="750" dirty="0"/>
          </a:p>
        </p:txBody>
      </p:sp>
      <p:pic>
        <p:nvPicPr>
          <p:cNvPr id="7" name="Picture 9" descr="mw_logo_landscape.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720013" y="301231"/>
            <a:ext cx="1249362" cy="145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itle 1"/>
          <p:cNvSpPr>
            <a:spLocks noGrp="1"/>
          </p:cNvSpPr>
          <p:nvPr>
            <p:ph type="title"/>
          </p:nvPr>
        </p:nvSpPr>
        <p:spPr>
          <a:xfrm>
            <a:off x="228195" y="221900"/>
            <a:ext cx="7886700" cy="322723"/>
          </a:xfrm>
          <a:ln>
            <a:noFill/>
          </a:ln>
        </p:spPr>
        <p:txBody>
          <a:bodyPr>
            <a:normAutofit/>
          </a:bodyPr>
          <a:lstStyle>
            <a:lvl1pPr algn="l">
              <a:defRPr sz="1799"/>
            </a:lvl1pPr>
          </a:lstStyle>
          <a:p>
            <a:r>
              <a:rPr lang="en-US"/>
              <a:t>Click to edit Master title style</a:t>
            </a:r>
            <a:endParaRPr lang="en-US" dirty="0"/>
          </a:p>
        </p:txBody>
      </p:sp>
      <p:sp>
        <p:nvSpPr>
          <p:cNvPr id="10" name="Content Placeholder 11"/>
          <p:cNvSpPr>
            <a:spLocks noGrp="1"/>
          </p:cNvSpPr>
          <p:nvPr>
            <p:ph sz="quarter" idx="13"/>
          </p:nvPr>
        </p:nvSpPr>
        <p:spPr>
          <a:xfrm>
            <a:off x="213088" y="988423"/>
            <a:ext cx="7315200" cy="3175397"/>
          </a:xfrm>
        </p:spPr>
        <p:txBody>
          <a:bodyPr>
            <a:normAutofit/>
          </a:bodyPr>
          <a:lstStyle>
            <a:lvl1pPr>
              <a:buClr>
                <a:srgbClr val="00CA9B"/>
              </a:buClr>
              <a:defRPr sz="1799"/>
            </a:lvl1pPr>
            <a:lvl2pPr>
              <a:defRPr sz="1499"/>
            </a:lvl2pPr>
            <a:lvl3pPr>
              <a:defRPr sz="1499"/>
            </a:lvl3pPr>
            <a:lvl4pPr>
              <a:defRPr sz="1499"/>
            </a:lvl4pPr>
            <a:lvl5pPr>
              <a:defRPr sz="1499"/>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55097626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9D22E3-FE4B-4803-93CF-DB5DAA67C633}"/>
              </a:ext>
            </a:extLst>
          </p:cNvPr>
          <p:cNvSpPr>
            <a:spLocks noGrp="1"/>
          </p:cNvSpPr>
          <p:nvPr>
            <p:ph type="ctrTitle"/>
          </p:nvPr>
        </p:nvSpPr>
        <p:spPr>
          <a:xfrm>
            <a:off x="1143000" y="1240827"/>
            <a:ext cx="6858000" cy="1391645"/>
          </a:xfrm>
        </p:spPr>
        <p:txBody>
          <a:bodyPr anchor="b"/>
          <a:lstStyle>
            <a:lvl1pPr algn="ctr">
              <a:defRPr sz="4499"/>
            </a:lvl1pPr>
          </a:lstStyle>
          <a:p>
            <a:r>
              <a:rPr lang="en-US"/>
              <a:t>Click to edit Master title style</a:t>
            </a:r>
            <a:endParaRPr lang="LID4096"/>
          </a:p>
        </p:txBody>
      </p:sp>
      <p:sp>
        <p:nvSpPr>
          <p:cNvPr id="3" name="Subtitle 2">
            <a:extLst>
              <a:ext uri="{FF2B5EF4-FFF2-40B4-BE49-F238E27FC236}">
                <a16:creationId xmlns:a16="http://schemas.microsoft.com/office/drawing/2014/main" id="{604013CF-DE0A-4B98-BCD8-2ABC9A828FD0}"/>
              </a:ext>
            </a:extLst>
          </p:cNvPr>
          <p:cNvSpPr>
            <a:spLocks noGrp="1"/>
          </p:cNvSpPr>
          <p:nvPr>
            <p:ph type="subTitle" idx="1"/>
          </p:nvPr>
        </p:nvSpPr>
        <p:spPr>
          <a:xfrm>
            <a:off x="1143000" y="2701528"/>
            <a:ext cx="6858000" cy="1241822"/>
          </a:xfrm>
        </p:spPr>
        <p:txBody>
          <a:bodyPr/>
          <a:lstStyle>
            <a:lvl1pPr marL="0" indent="0" algn="ctr">
              <a:buNone/>
              <a:defRPr sz="1799"/>
            </a:lvl1pPr>
            <a:lvl2pPr marL="342797" indent="0" algn="ctr">
              <a:buNone/>
              <a:defRPr sz="1499"/>
            </a:lvl2pPr>
            <a:lvl3pPr marL="685595" indent="0" algn="ctr">
              <a:buNone/>
              <a:defRPr sz="1349"/>
            </a:lvl3pPr>
            <a:lvl4pPr marL="1028392" indent="0" algn="ctr">
              <a:buNone/>
              <a:defRPr sz="1200"/>
            </a:lvl4pPr>
            <a:lvl5pPr marL="1371188" indent="0" algn="ctr">
              <a:buNone/>
              <a:defRPr sz="1200"/>
            </a:lvl5pPr>
            <a:lvl6pPr marL="1713986" indent="0" algn="ctr">
              <a:buNone/>
              <a:defRPr sz="1200"/>
            </a:lvl6pPr>
            <a:lvl7pPr marL="2056783" indent="0" algn="ctr">
              <a:buNone/>
              <a:defRPr sz="1200"/>
            </a:lvl7pPr>
            <a:lvl8pPr marL="2399580" indent="0" algn="ctr">
              <a:buNone/>
              <a:defRPr sz="1200"/>
            </a:lvl8pPr>
            <a:lvl9pPr marL="2742377" indent="0" algn="ctr">
              <a:buNone/>
              <a:defRPr sz="1200"/>
            </a:lvl9pPr>
          </a:lstStyle>
          <a:p>
            <a:r>
              <a:rPr lang="en-US"/>
              <a:t>Click to edit Master subtitle style</a:t>
            </a:r>
            <a:endParaRPr lang="LID4096"/>
          </a:p>
        </p:txBody>
      </p:sp>
      <p:sp>
        <p:nvSpPr>
          <p:cNvPr id="4" name="Date Placeholder 3">
            <a:extLst>
              <a:ext uri="{FF2B5EF4-FFF2-40B4-BE49-F238E27FC236}">
                <a16:creationId xmlns:a16="http://schemas.microsoft.com/office/drawing/2014/main" id="{98B03B7F-F46D-46BF-8DDD-25D977B4DF02}"/>
              </a:ext>
            </a:extLst>
          </p:cNvPr>
          <p:cNvSpPr>
            <a:spLocks noGrp="1"/>
          </p:cNvSpPr>
          <p:nvPr>
            <p:ph type="dt" sz="half" idx="10"/>
          </p:nvPr>
        </p:nvSpPr>
        <p:spPr/>
        <p:txBody>
          <a:bodyPr/>
          <a:lstStyle/>
          <a:p>
            <a:fld id="{A836C3FD-1432-4E81-8E55-96D3F9D8DDA2}" type="datetimeFigureOut">
              <a:rPr lang="LID4096" smtClean="0"/>
              <a:t>11/05/2023</a:t>
            </a:fld>
            <a:endParaRPr lang="LID4096"/>
          </a:p>
        </p:txBody>
      </p:sp>
      <p:sp>
        <p:nvSpPr>
          <p:cNvPr id="5" name="Footer Placeholder 4">
            <a:extLst>
              <a:ext uri="{FF2B5EF4-FFF2-40B4-BE49-F238E27FC236}">
                <a16:creationId xmlns:a16="http://schemas.microsoft.com/office/drawing/2014/main" id="{D08346FD-0A35-4D8D-AA77-26274F9B3E79}"/>
              </a:ext>
            </a:extLst>
          </p:cNvPr>
          <p:cNvSpPr>
            <a:spLocks noGrp="1"/>
          </p:cNvSpPr>
          <p:nvPr>
            <p:ph type="ftr" sz="quarter" idx="11"/>
          </p:nvPr>
        </p:nvSpPr>
        <p:spPr/>
        <p:txBody>
          <a:bodyPr/>
          <a:lstStyle/>
          <a:p>
            <a:endParaRPr lang="LID4096"/>
          </a:p>
        </p:txBody>
      </p:sp>
      <p:sp>
        <p:nvSpPr>
          <p:cNvPr id="6" name="Slide Number Placeholder 5">
            <a:extLst>
              <a:ext uri="{FF2B5EF4-FFF2-40B4-BE49-F238E27FC236}">
                <a16:creationId xmlns:a16="http://schemas.microsoft.com/office/drawing/2014/main" id="{0FA3AA79-228E-4E98-A1D2-5F0E2C062B02}"/>
              </a:ext>
            </a:extLst>
          </p:cNvPr>
          <p:cNvSpPr>
            <a:spLocks noGrp="1"/>
          </p:cNvSpPr>
          <p:nvPr>
            <p:ph type="sldNum" sz="quarter" idx="12"/>
          </p:nvPr>
        </p:nvSpPr>
        <p:spPr/>
        <p:txBody>
          <a:bodyPr/>
          <a:lstStyle/>
          <a:p>
            <a:fld id="{59F0011D-B26C-474C-80F4-1667695A632B}" type="slidenum">
              <a:rPr lang="LID4096" smtClean="0"/>
              <a:t>‹#›</a:t>
            </a:fld>
            <a:endParaRPr lang="LID4096"/>
          </a:p>
        </p:txBody>
      </p:sp>
    </p:spTree>
    <p:extLst>
      <p:ext uri="{BB962C8B-B14F-4D97-AF65-F5344CB8AC3E}">
        <p14:creationId xmlns:p14="http://schemas.microsoft.com/office/powerpoint/2010/main" val="300104799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95B5E3D-CB4A-42B4-B4A8-2B0BF3B8ABBF}"/>
              </a:ext>
            </a:extLst>
          </p:cNvPr>
          <p:cNvGraphicFramePr>
            <a:graphicFrameLocks noChangeAspect="1"/>
          </p:cNvGraphicFramePr>
          <p:nvPr userDrawn="1">
            <p:custDataLst>
              <p:tags r:id="rId1"/>
            </p:custDataLst>
            <p:extLst>
              <p:ext uri="{D42A27DB-BD31-4B8C-83A1-F6EECF244321}">
                <p14:modId xmlns:p14="http://schemas.microsoft.com/office/powerpoint/2010/main" val="115687153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E95B5E3D-CB4A-42B4-B4A8-2B0BF3B8ABB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DA92DAC-F488-43C5-9D7F-27FF4541E390}"/>
              </a:ext>
            </a:extLst>
          </p:cNvPr>
          <p:cNvSpPr/>
          <p:nvPr userDrawn="1">
            <p:custDataLst>
              <p:tags r:id="rId2"/>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190985" y="208344"/>
            <a:ext cx="8752313" cy="2074763"/>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376906" y="607672"/>
            <a:ext cx="7692096" cy="1245725"/>
          </a:xfrm>
        </p:spPr>
        <p:txBody>
          <a:bodyPr>
            <a:normAutofit/>
          </a:bodyPr>
          <a:lstStyle>
            <a:lvl1pPr>
              <a:defRPr sz="3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377431" y="2460721"/>
            <a:ext cx="7735490" cy="1163602"/>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7260968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656D9F-25FA-405A-9022-D20B6062561A}"/>
              </a:ext>
            </a:extLst>
          </p:cNvPr>
          <p:cNvGraphicFramePr>
            <a:graphicFrameLocks noChangeAspect="1"/>
          </p:cNvGraphicFramePr>
          <p:nvPr userDrawn="1">
            <p:custDataLst>
              <p:tags r:id="rId1"/>
            </p:custDataLst>
            <p:extLst>
              <p:ext uri="{D42A27DB-BD31-4B8C-83A1-F6EECF244321}">
                <p14:modId xmlns:p14="http://schemas.microsoft.com/office/powerpoint/2010/main" val="278386479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F5656D9F-25FA-405A-9022-D20B6062561A}"/>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EE6A1B2-F3BE-47E8-B7AB-BED2735E9851}"/>
              </a:ext>
            </a:extLst>
          </p:cNvPr>
          <p:cNvSpPr/>
          <p:nvPr userDrawn="1">
            <p:custDataLst>
              <p:tags r:id="rId2"/>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5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192026" y="198883"/>
            <a:ext cx="8762287" cy="4749325"/>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35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453326" y="1118658"/>
            <a:ext cx="8237349"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385586" y="273844"/>
            <a:ext cx="8304786" cy="818489"/>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393031" y="1245394"/>
            <a:ext cx="7297341" cy="1749029"/>
          </a:xfrm>
        </p:spPr>
        <p:txBody>
          <a:bodyPr>
            <a:normAutofit/>
          </a:bodyPr>
          <a:lstStyle>
            <a:lvl1pPr>
              <a:defRPr sz="1350"/>
            </a:lvl1pPr>
            <a:lvl2pPr>
              <a:defRPr sz="135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6885896" y="4974536"/>
            <a:ext cx="2057400" cy="140674"/>
          </a:xfrm>
        </p:spPr>
        <p:txBody>
          <a:bodyPr tIns="0" rIns="0"/>
          <a:lstStyle/>
          <a:p>
            <a:fld id="{37F5C94B-8C55-478B-B509-BAE6A06B2E2A}" type="slidenum">
              <a:rPr lang="en-US" sz="750" smtClean="0">
                <a:solidFill>
                  <a:srgbClr val="ADAFBB"/>
                </a:solidFill>
              </a:rPr>
              <a:pPr/>
              <a:t>‹#›</a:t>
            </a:fld>
            <a:endParaRPr lang="en-US" sz="750" dirty="0">
              <a:solidFill>
                <a:srgbClr val="ADAFBB"/>
              </a:solidFill>
            </a:endParaRPr>
          </a:p>
        </p:txBody>
      </p:sp>
    </p:spTree>
    <p:extLst>
      <p:ext uri="{BB962C8B-B14F-4D97-AF65-F5344CB8AC3E}">
        <p14:creationId xmlns:p14="http://schemas.microsoft.com/office/powerpoint/2010/main" val="4173965984"/>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423312043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DB49A0-8B85-4CDE-8262-9211F1AFE277}"/>
              </a:ext>
            </a:extLst>
          </p:cNvPr>
          <p:cNvSpPr/>
          <p:nvPr userDrawn="1">
            <p:custDataLst>
              <p:tags r:id="rId2"/>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8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192026" y="198883"/>
            <a:ext cx="8762287" cy="4749325"/>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35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453326" y="1118658"/>
            <a:ext cx="8237349"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385586" y="273844"/>
            <a:ext cx="8304787" cy="818489"/>
          </a:xfrm>
          <a:prstGeom prst="rect">
            <a:avLst/>
          </a:prstGeom>
          <a:noFill/>
        </p:spPr>
        <p:txBody>
          <a:bodyPr vert="horz" lIns="91440" tIns="45720" rIns="91440" bIns="45720" rtlCol="0" anchor="ctr">
            <a:normAutofit/>
          </a:bodyPr>
          <a:lstStyle>
            <a:lvl1pPr>
              <a:defRPr sz="18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381001" y="1214872"/>
            <a:ext cx="8309372" cy="1272236"/>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6885896" y="4974536"/>
            <a:ext cx="2057400" cy="140674"/>
          </a:xfrm>
        </p:spPr>
        <p:txBody>
          <a:bodyPr tIns="0" rIns="0"/>
          <a:lstStyle/>
          <a:p>
            <a:fld id="{37F5C94B-8C55-478B-B509-BAE6A06B2E2A}" type="slidenum">
              <a:rPr lang="en-US" sz="750" smtClean="0">
                <a:solidFill>
                  <a:srgbClr val="ADAFBB"/>
                </a:solidFill>
              </a:rPr>
              <a:pPr/>
              <a:t>‹#›</a:t>
            </a:fld>
            <a:endParaRPr lang="en-US" sz="750" dirty="0">
              <a:solidFill>
                <a:srgbClr val="ADAFBB"/>
              </a:solidFill>
            </a:endParaRPr>
          </a:p>
        </p:txBody>
      </p:sp>
    </p:spTree>
    <p:extLst>
      <p:ext uri="{BB962C8B-B14F-4D97-AF65-F5344CB8AC3E}">
        <p14:creationId xmlns:p14="http://schemas.microsoft.com/office/powerpoint/2010/main" val="20225033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1. Body slide - Table">
    <p:spTree>
      <p:nvGrpSpPr>
        <p:cNvPr id="1" name=""/>
        <p:cNvGrpSpPr/>
        <p:nvPr/>
      </p:nvGrpSpPr>
      <p:grpSpPr>
        <a:xfrm>
          <a:off x="0" y="0"/>
          <a:ext cx="0" cy="0"/>
          <a:chOff x="0" y="0"/>
          <a:chExt cx="0" cy="0"/>
        </a:xfrm>
      </p:grpSpPr>
      <p:sp>
        <p:nvSpPr>
          <p:cNvPr id="11" name="Text Placeholder 3"/>
          <p:cNvSpPr>
            <a:spLocks noGrp="1"/>
          </p:cNvSpPr>
          <p:nvPr>
            <p:ph type="body" sz="half" idx="10" hasCustomPrompt="1"/>
          </p:nvPr>
        </p:nvSpPr>
        <p:spPr>
          <a:xfrm>
            <a:off x="287338" y="28435"/>
            <a:ext cx="8497093" cy="1007055"/>
          </a:xfrm>
          <a:prstGeom prst="rect">
            <a:avLst/>
          </a:prstGeom>
        </p:spPr>
        <p:txBody>
          <a:bodyPr lIns="0" tIns="0" rIns="0" bIns="0"/>
          <a:lstStyle>
            <a:lvl1pPr marL="0" indent="0">
              <a:lnSpc>
                <a:spcPct val="100000"/>
              </a:lnSpc>
              <a:buNone/>
              <a:defRPr sz="4000" b="1" baseline="0">
                <a:solidFill>
                  <a:schemeClr val="tx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Body slide title </a:t>
            </a:r>
          </a:p>
        </p:txBody>
      </p:sp>
      <p:sp>
        <p:nvSpPr>
          <p:cNvPr id="6" name="Table Placeholder 12">
            <a:extLst>
              <a:ext uri="{FF2B5EF4-FFF2-40B4-BE49-F238E27FC236}">
                <a16:creationId xmlns:a16="http://schemas.microsoft.com/office/drawing/2014/main" id="{D90CC8CD-0F46-F240-AF4E-99DE2A9ECF91}"/>
              </a:ext>
            </a:extLst>
          </p:cNvPr>
          <p:cNvSpPr>
            <a:spLocks noGrp="1"/>
          </p:cNvSpPr>
          <p:nvPr>
            <p:ph type="tbl" sz="quarter" idx="13" hasCustomPrompt="1"/>
          </p:nvPr>
        </p:nvSpPr>
        <p:spPr>
          <a:xfrm>
            <a:off x="287338" y="1208314"/>
            <a:ext cx="8497093" cy="3075686"/>
          </a:xfrm>
          <a:prstGeom prst="rect">
            <a:avLst/>
          </a:prstGeom>
        </p:spPr>
        <p:txBody>
          <a:bodyPr/>
          <a:lstStyle>
            <a:lvl1pPr marL="0" indent="0" algn="ctr">
              <a:buNone/>
              <a:defRPr b="1">
                <a:solidFill>
                  <a:schemeClr val="bg1">
                    <a:lumMod val="85000"/>
                  </a:schemeClr>
                </a:solidFill>
              </a:defRPr>
            </a:lvl1pPr>
          </a:lstStyle>
          <a:p>
            <a:r>
              <a:rPr lang="fi-FI" dirty="0"/>
              <a:t>Click icon to add table</a:t>
            </a:r>
          </a:p>
        </p:txBody>
      </p:sp>
      <p:sp>
        <p:nvSpPr>
          <p:cNvPr id="5" name="Slide Number Placeholder 5">
            <a:extLst>
              <a:ext uri="{FF2B5EF4-FFF2-40B4-BE49-F238E27FC236}">
                <a16:creationId xmlns:a16="http://schemas.microsoft.com/office/drawing/2014/main" id="{2D4CDEE4-AFAC-4BB1-B02E-FDE939F20DC1}"/>
              </a:ext>
            </a:extLst>
          </p:cNvPr>
          <p:cNvSpPr>
            <a:spLocks noGrp="1"/>
          </p:cNvSpPr>
          <p:nvPr>
            <p:ph type="sldNum" sz="quarter" idx="4"/>
          </p:nvPr>
        </p:nvSpPr>
        <p:spPr>
          <a:xfrm>
            <a:off x="6678800" y="4848629"/>
            <a:ext cx="2057400" cy="172823"/>
          </a:xfrm>
          <a:prstGeom prst="rect">
            <a:avLst/>
          </a:prstGeom>
        </p:spPr>
        <p:txBody>
          <a:bodyPr vert="horz" lIns="91440" tIns="45720" rIns="91440" bIns="45720" rtlCol="0" anchor="ctr"/>
          <a:lstStyle>
            <a:lvl1pPr algn="r">
              <a:defRPr sz="900" baseline="0">
                <a:solidFill>
                  <a:schemeClr val="tx1"/>
                </a:solidFill>
              </a:defRPr>
            </a:lvl1pPr>
          </a:lstStyle>
          <a:p>
            <a:fld id="{28F7F04C-F568-F649-A2AE-EA61C66B69B4}" type="slidenum">
              <a:rPr lang="en-US" smtClean="0"/>
              <a:pPr/>
              <a:t>‹#›</a:t>
            </a:fld>
            <a:endParaRPr lang="en-US" dirty="0"/>
          </a:p>
        </p:txBody>
      </p:sp>
      <p:sp>
        <p:nvSpPr>
          <p:cNvPr id="8" name="Date Placeholder 3">
            <a:extLst>
              <a:ext uri="{FF2B5EF4-FFF2-40B4-BE49-F238E27FC236}">
                <a16:creationId xmlns:a16="http://schemas.microsoft.com/office/drawing/2014/main" id="{32C686F0-0C1B-46BD-9DE7-A93BAA6AC898}"/>
              </a:ext>
            </a:extLst>
          </p:cNvPr>
          <p:cNvSpPr>
            <a:spLocks noGrp="1"/>
          </p:cNvSpPr>
          <p:nvPr>
            <p:ph type="dt" sz="half" idx="2"/>
          </p:nvPr>
        </p:nvSpPr>
        <p:spPr>
          <a:xfrm>
            <a:off x="6678800" y="4672740"/>
            <a:ext cx="2057400" cy="175889"/>
          </a:xfrm>
          <a:prstGeom prst="rect">
            <a:avLst/>
          </a:prstGeom>
        </p:spPr>
        <p:txBody>
          <a:bodyPr vert="horz" lIns="91440" tIns="45720" rIns="91440" bIns="45720" rtlCol="0" anchor="ctr"/>
          <a:lstStyle>
            <a:lvl1pPr algn="r">
              <a:defRPr sz="900" baseline="0">
                <a:solidFill>
                  <a:schemeClr val="tx1"/>
                </a:solidFill>
              </a:defRPr>
            </a:lvl1pPr>
          </a:lstStyle>
          <a:p>
            <a:r>
              <a:rPr lang="fi-FI" dirty="0"/>
              <a:t>dd.mm.yyyy</a:t>
            </a:r>
            <a:endParaRPr lang="en-US" dirty="0"/>
          </a:p>
        </p:txBody>
      </p:sp>
      <p:sp>
        <p:nvSpPr>
          <p:cNvPr id="9" name="Alatunnisteen paikkamerkki 1">
            <a:extLst>
              <a:ext uri="{FF2B5EF4-FFF2-40B4-BE49-F238E27FC236}">
                <a16:creationId xmlns:a16="http://schemas.microsoft.com/office/drawing/2014/main" id="{4338FCB4-9412-423F-84B9-91EDDBA25087}"/>
              </a:ext>
            </a:extLst>
          </p:cNvPr>
          <p:cNvSpPr>
            <a:spLocks noGrp="1"/>
          </p:cNvSpPr>
          <p:nvPr>
            <p:ph type="ftr" sz="quarter" idx="3"/>
          </p:nvPr>
        </p:nvSpPr>
        <p:spPr>
          <a:xfrm>
            <a:off x="3028950" y="4849200"/>
            <a:ext cx="3086100" cy="172800"/>
          </a:xfrm>
          <a:prstGeom prst="rect">
            <a:avLst/>
          </a:prstGeom>
        </p:spPr>
        <p:txBody>
          <a:bodyPr vert="horz" lIns="91440" tIns="45720" rIns="91440" bIns="45720" rtlCol="0" anchor="ctr"/>
          <a:lstStyle>
            <a:lvl1pPr algn="ctr">
              <a:defRPr sz="900">
                <a:solidFill>
                  <a:schemeClr val="tx1"/>
                </a:solidFill>
              </a:defRPr>
            </a:lvl1pPr>
          </a:lstStyle>
          <a:p>
            <a:r>
              <a:rPr lang="fi-FI" dirty="0"/>
              <a:t>Your text here</a:t>
            </a:r>
          </a:p>
        </p:txBody>
      </p:sp>
      <p:pic>
        <p:nvPicPr>
          <p:cNvPr id="13" name="Kuva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8790"/>
            <a:ext cx="2073704" cy="856800"/>
          </a:xfrm>
          <a:prstGeom prst="rect">
            <a:avLst/>
          </a:prstGeom>
        </p:spPr>
      </p:pic>
    </p:spTree>
    <p:extLst>
      <p:ext uri="{BB962C8B-B14F-4D97-AF65-F5344CB8AC3E}">
        <p14:creationId xmlns:p14="http://schemas.microsoft.com/office/powerpoint/2010/main" val="2920564110"/>
      </p:ext>
    </p:extLst>
  </p:cSld>
  <p:clrMapOvr>
    <a:masterClrMapping/>
  </p:clrMapOvr>
  <p:extLst>
    <p:ext uri="{DCECCB84-F9BA-43D5-87BE-67443E8EF086}">
      <p15:sldGuideLst xmlns:p15="http://schemas.microsoft.com/office/powerpoint/2012/main">
        <p15:guide id="1" orient="horz" pos="3100" userDrawn="1">
          <p15:clr>
            <a:srgbClr val="FBAE40"/>
          </p15:clr>
        </p15:guide>
        <p15:guide id="4" pos="5534" userDrawn="1">
          <p15:clr>
            <a:srgbClr val="FBAE40"/>
          </p15:clr>
        </p15:guide>
        <p15:guide id="5" orient="horz" pos="327" userDrawn="1">
          <p15:clr>
            <a:srgbClr val="FBAE40"/>
          </p15:clr>
        </p15:guide>
        <p15:guide id="6" pos="2795" userDrawn="1">
          <p15:clr>
            <a:srgbClr val="FBAE40"/>
          </p15:clr>
        </p15:guide>
        <p15:guide id="7" pos="2965" userDrawn="1">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7B69D1-1AC7-4788-B7F1-4214ACF38D38}"/>
              </a:ext>
            </a:extLst>
          </p:cNvPr>
          <p:cNvGraphicFramePr>
            <a:graphicFrameLocks noChangeAspect="1"/>
          </p:cNvGraphicFramePr>
          <p:nvPr userDrawn="1">
            <p:custDataLst>
              <p:tags r:id="rId1"/>
            </p:custDataLst>
            <p:extLst>
              <p:ext uri="{D42A27DB-BD31-4B8C-83A1-F6EECF244321}">
                <p14:modId xmlns:p14="http://schemas.microsoft.com/office/powerpoint/2010/main" val="389932416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AB7B69D1-1AC7-4788-B7F1-4214ACF38D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8CC8475-D9DE-4E1C-B79D-4F1693FA3441}"/>
              </a:ext>
            </a:extLst>
          </p:cNvPr>
          <p:cNvSpPr/>
          <p:nvPr userDrawn="1">
            <p:custDataLst>
              <p:tags r:id="rId2"/>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5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192026" y="198883"/>
            <a:ext cx="8762287" cy="4749325"/>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35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453326" y="1118658"/>
            <a:ext cx="8237349"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385586" y="273844"/>
            <a:ext cx="8305089" cy="818489"/>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6885896" y="4974536"/>
            <a:ext cx="2057400" cy="140674"/>
          </a:xfrm>
          <a:prstGeom prst="rect">
            <a:avLst/>
          </a:prstGeom>
        </p:spPr>
        <p:txBody>
          <a:bodyPr vert="horz" lIns="91440" tIns="45720" rIns="91440" bIns="45720" rtlCol="0" anchor="ctr"/>
          <a:lstStyle>
            <a:lvl1pPr algn="r">
              <a:defRPr sz="9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381002" y="1214876"/>
            <a:ext cx="3859675" cy="1502284"/>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4831002" y="1214876"/>
            <a:ext cx="3859675" cy="1502284"/>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381002" y="2982008"/>
            <a:ext cx="3859675" cy="1502284"/>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4831002" y="2982008"/>
            <a:ext cx="3859675" cy="1502284"/>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1" y="0"/>
            <a:ext cx="9143999" cy="51435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Tree>
    <p:extLst>
      <p:ext uri="{BB962C8B-B14F-4D97-AF65-F5344CB8AC3E}">
        <p14:creationId xmlns:p14="http://schemas.microsoft.com/office/powerpoint/2010/main" val="1040926447"/>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over">
    <p:bg>
      <p:bgPr>
        <a:solidFill>
          <a:schemeClr val="tx2"/>
        </a:solid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468315" y="1275608"/>
            <a:ext cx="8207375" cy="2657094"/>
          </a:xfrm>
          <a:prstGeom prst="rect">
            <a:avLst/>
          </a:prstGeom>
        </p:spPr>
        <p:txBody>
          <a:bodyPr lIns="0" tIns="0" rIns="0" bIns="0" anchor="b" anchorCtr="0">
            <a:noAutofit/>
          </a:bodyPr>
          <a:lstStyle>
            <a:lvl1pPr algn="l">
              <a:lnSpc>
                <a:spcPct val="80000"/>
              </a:lnSpc>
              <a:defRPr sz="6480" b="1" spc="-180">
                <a:solidFill>
                  <a:schemeClr val="bg1"/>
                </a:solidFill>
              </a:defRPr>
            </a:lvl1pPr>
          </a:lstStyle>
          <a:p>
            <a:r>
              <a:rPr lang="en-US"/>
              <a:t>Click to edit Master title style</a:t>
            </a:r>
            <a:endParaRPr lang="en-US" dirty="0"/>
          </a:p>
        </p:txBody>
      </p:sp>
      <p:sp>
        <p:nvSpPr>
          <p:cNvPr id="6" name="Subtitle 2"/>
          <p:cNvSpPr>
            <a:spLocks noGrp="1"/>
          </p:cNvSpPr>
          <p:nvPr>
            <p:ph type="subTitle" idx="1"/>
          </p:nvPr>
        </p:nvSpPr>
        <p:spPr>
          <a:xfrm>
            <a:off x="468315" y="3986773"/>
            <a:ext cx="5495420" cy="594000"/>
          </a:xfrm>
          <a:prstGeom prst="rect">
            <a:avLst/>
          </a:prstGeom>
        </p:spPr>
        <p:txBody>
          <a:bodyPr lIns="0" tIns="0" rIns="0" bIns="0" anchor="t">
            <a:normAutofit/>
          </a:bodyPr>
          <a:lstStyle>
            <a:lvl1pPr marL="0" indent="0" algn="l">
              <a:spcBef>
                <a:spcPts val="0"/>
              </a:spcBef>
              <a:buNone/>
              <a:defRPr sz="1440" i="1">
                <a:solidFill>
                  <a:schemeClr val="bg1"/>
                </a:solidFill>
                <a:latin typeface="Georgia"/>
                <a:cs typeface="Georgia"/>
              </a:defRPr>
            </a:lvl1pPr>
            <a:lvl2pPr marL="411463" indent="0" algn="ctr">
              <a:buNone/>
              <a:defRPr>
                <a:solidFill>
                  <a:schemeClr val="tx1">
                    <a:tint val="75000"/>
                  </a:schemeClr>
                </a:solidFill>
              </a:defRPr>
            </a:lvl2pPr>
            <a:lvl3pPr marL="822928" indent="0" algn="ctr">
              <a:buNone/>
              <a:defRPr>
                <a:solidFill>
                  <a:schemeClr val="tx1">
                    <a:tint val="75000"/>
                  </a:schemeClr>
                </a:solidFill>
              </a:defRPr>
            </a:lvl3pPr>
            <a:lvl4pPr marL="1234391" indent="0" algn="ctr">
              <a:buNone/>
              <a:defRPr>
                <a:solidFill>
                  <a:schemeClr val="tx1">
                    <a:tint val="75000"/>
                  </a:schemeClr>
                </a:solidFill>
              </a:defRPr>
            </a:lvl4pPr>
            <a:lvl5pPr marL="1645854" indent="0" algn="ctr">
              <a:buNone/>
              <a:defRPr>
                <a:solidFill>
                  <a:schemeClr val="tx1">
                    <a:tint val="75000"/>
                  </a:schemeClr>
                </a:solidFill>
              </a:defRPr>
            </a:lvl5pPr>
            <a:lvl6pPr marL="2057318" indent="0" algn="ctr">
              <a:buNone/>
              <a:defRPr>
                <a:solidFill>
                  <a:schemeClr val="tx1">
                    <a:tint val="75000"/>
                  </a:schemeClr>
                </a:solidFill>
              </a:defRPr>
            </a:lvl6pPr>
            <a:lvl7pPr marL="2468781" indent="0" algn="ctr">
              <a:buNone/>
              <a:defRPr>
                <a:solidFill>
                  <a:schemeClr val="tx1">
                    <a:tint val="75000"/>
                  </a:schemeClr>
                </a:solidFill>
              </a:defRPr>
            </a:lvl7pPr>
            <a:lvl8pPr marL="2880245" indent="0" algn="ctr">
              <a:buNone/>
              <a:defRPr>
                <a:solidFill>
                  <a:schemeClr val="tx1">
                    <a:tint val="75000"/>
                  </a:schemeClr>
                </a:solidFill>
              </a:defRPr>
            </a:lvl8pPr>
            <a:lvl9pPr marL="3291709" indent="0" algn="ctr">
              <a:buNone/>
              <a:defRPr>
                <a:solidFill>
                  <a:schemeClr val="tx1">
                    <a:tint val="75000"/>
                  </a:schemeClr>
                </a:solidFill>
              </a:defRPr>
            </a:lvl9pPr>
          </a:lstStyle>
          <a:p>
            <a:r>
              <a:rPr lang="en-US"/>
              <a:t>Click to edit Master subtitle style</a:t>
            </a:r>
            <a:endParaRPr lang="en-US" dirty="0"/>
          </a:p>
        </p:txBody>
      </p:sp>
      <p:pic>
        <p:nvPicPr>
          <p:cNvPr id="9"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000" y="261"/>
            <a:ext cx="1809750" cy="1445895"/>
          </a:xfrm>
          <a:prstGeom prst="rect">
            <a:avLst/>
          </a:prstGeom>
        </p:spPr>
      </p:pic>
    </p:spTree>
    <p:extLst>
      <p:ext uri="{BB962C8B-B14F-4D97-AF65-F5344CB8AC3E}">
        <p14:creationId xmlns:p14="http://schemas.microsoft.com/office/powerpoint/2010/main" val="3953382015"/>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468315" y="1275872"/>
            <a:ext cx="8207375" cy="2656829"/>
          </a:xfrm>
          <a:prstGeom prst="rect">
            <a:avLst/>
          </a:prstGeom>
        </p:spPr>
        <p:txBody>
          <a:bodyPr lIns="0" tIns="0" rIns="0" bIns="0" anchor="b" anchorCtr="0">
            <a:noAutofit/>
          </a:bodyPr>
          <a:lstStyle>
            <a:lvl1pPr algn="l">
              <a:lnSpc>
                <a:spcPct val="80000"/>
              </a:lnSpc>
              <a:defRPr sz="6480" b="1" spc="-180">
                <a:solidFill>
                  <a:schemeClr val="bg1"/>
                </a:solidFill>
              </a:defRPr>
            </a:lvl1pPr>
          </a:lstStyle>
          <a:p>
            <a:r>
              <a:rPr lang="en-US"/>
              <a:t>Click to edit Master title style</a:t>
            </a:r>
            <a:endParaRPr lang="en-US" dirty="0"/>
          </a:p>
        </p:txBody>
      </p:sp>
      <p:sp>
        <p:nvSpPr>
          <p:cNvPr id="8" name="Subtitle 2"/>
          <p:cNvSpPr>
            <a:spLocks noGrp="1"/>
          </p:cNvSpPr>
          <p:nvPr>
            <p:ph type="subTitle" idx="1"/>
          </p:nvPr>
        </p:nvSpPr>
        <p:spPr>
          <a:xfrm>
            <a:off x="468315" y="3986773"/>
            <a:ext cx="5495420" cy="594000"/>
          </a:xfrm>
          <a:prstGeom prst="rect">
            <a:avLst/>
          </a:prstGeom>
        </p:spPr>
        <p:txBody>
          <a:bodyPr lIns="0" tIns="0" rIns="0" bIns="0" anchor="t">
            <a:normAutofit/>
          </a:bodyPr>
          <a:lstStyle>
            <a:lvl1pPr marL="0" indent="0" algn="l">
              <a:spcBef>
                <a:spcPts val="0"/>
              </a:spcBef>
              <a:buNone/>
              <a:defRPr sz="1440" i="1">
                <a:solidFill>
                  <a:schemeClr val="bg1"/>
                </a:solidFill>
                <a:latin typeface="Georgia"/>
                <a:cs typeface="Georgia"/>
              </a:defRPr>
            </a:lvl1pPr>
            <a:lvl2pPr marL="411463" indent="0" algn="ctr">
              <a:buNone/>
              <a:defRPr>
                <a:solidFill>
                  <a:schemeClr val="tx1">
                    <a:tint val="75000"/>
                  </a:schemeClr>
                </a:solidFill>
              </a:defRPr>
            </a:lvl2pPr>
            <a:lvl3pPr marL="822928" indent="0" algn="ctr">
              <a:buNone/>
              <a:defRPr>
                <a:solidFill>
                  <a:schemeClr val="tx1">
                    <a:tint val="75000"/>
                  </a:schemeClr>
                </a:solidFill>
              </a:defRPr>
            </a:lvl3pPr>
            <a:lvl4pPr marL="1234391" indent="0" algn="ctr">
              <a:buNone/>
              <a:defRPr>
                <a:solidFill>
                  <a:schemeClr val="tx1">
                    <a:tint val="75000"/>
                  </a:schemeClr>
                </a:solidFill>
              </a:defRPr>
            </a:lvl4pPr>
            <a:lvl5pPr marL="1645854" indent="0" algn="ctr">
              <a:buNone/>
              <a:defRPr>
                <a:solidFill>
                  <a:schemeClr val="tx1">
                    <a:tint val="75000"/>
                  </a:schemeClr>
                </a:solidFill>
              </a:defRPr>
            </a:lvl5pPr>
            <a:lvl6pPr marL="2057318" indent="0" algn="ctr">
              <a:buNone/>
              <a:defRPr>
                <a:solidFill>
                  <a:schemeClr val="tx1">
                    <a:tint val="75000"/>
                  </a:schemeClr>
                </a:solidFill>
              </a:defRPr>
            </a:lvl6pPr>
            <a:lvl7pPr marL="2468781" indent="0" algn="ctr">
              <a:buNone/>
              <a:defRPr>
                <a:solidFill>
                  <a:schemeClr val="tx1">
                    <a:tint val="75000"/>
                  </a:schemeClr>
                </a:solidFill>
              </a:defRPr>
            </a:lvl7pPr>
            <a:lvl8pPr marL="2880245" indent="0" algn="ctr">
              <a:buNone/>
              <a:defRPr>
                <a:solidFill>
                  <a:schemeClr val="tx1">
                    <a:tint val="75000"/>
                  </a:schemeClr>
                </a:solidFill>
              </a:defRPr>
            </a:lvl8pPr>
            <a:lvl9pPr marL="3291709" indent="0" algn="ctr">
              <a:buNone/>
              <a:defRPr>
                <a:solidFill>
                  <a:schemeClr val="tx1">
                    <a:tint val="75000"/>
                  </a:schemeClr>
                </a:solidFill>
              </a:defRPr>
            </a:lvl9pPr>
          </a:lstStyle>
          <a:p>
            <a:r>
              <a:rPr lang="en-US"/>
              <a:t>Click to edit Master subtitle style</a:t>
            </a:r>
            <a:endParaRPr lang="en-US" dirty="0"/>
          </a:p>
        </p:txBody>
      </p:sp>
      <p:pic>
        <p:nvPicPr>
          <p:cNvPr id="5"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000" y="261"/>
            <a:ext cx="1809750" cy="1445895"/>
          </a:xfrm>
          <a:prstGeom prst="rect">
            <a:avLst/>
          </a:prstGeom>
        </p:spPr>
      </p:pic>
    </p:spTree>
    <p:extLst>
      <p:ext uri="{BB962C8B-B14F-4D97-AF65-F5344CB8AC3E}">
        <p14:creationId xmlns:p14="http://schemas.microsoft.com/office/powerpoint/2010/main" val="4077348628"/>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over Text">
    <p:spTree>
      <p:nvGrpSpPr>
        <p:cNvPr id="1" name=""/>
        <p:cNvGrpSpPr/>
        <p:nvPr/>
      </p:nvGrpSpPr>
      <p:grpSpPr>
        <a:xfrm>
          <a:off x="0" y="0"/>
          <a:ext cx="0" cy="0"/>
          <a:chOff x="0" y="0"/>
          <a:chExt cx="0" cy="0"/>
        </a:xfrm>
      </p:grpSpPr>
      <p:sp>
        <p:nvSpPr>
          <p:cNvPr id="16" name="Title 1"/>
          <p:cNvSpPr>
            <a:spLocks noGrp="1"/>
          </p:cNvSpPr>
          <p:nvPr>
            <p:ph type="ctrTitle"/>
          </p:nvPr>
        </p:nvSpPr>
        <p:spPr>
          <a:xfrm>
            <a:off x="468312" y="1276560"/>
            <a:ext cx="8208000" cy="2656800"/>
          </a:xfrm>
          <a:prstGeom prst="rect">
            <a:avLst/>
          </a:prstGeom>
        </p:spPr>
        <p:txBody>
          <a:bodyPr lIns="0" tIns="0" rIns="0" bIns="0" anchor="b">
            <a:noAutofit/>
          </a:bodyPr>
          <a:lstStyle>
            <a:lvl1pPr algn="l">
              <a:lnSpc>
                <a:spcPct val="80000"/>
              </a:lnSpc>
              <a:defRPr sz="6480" b="1" spc="-180">
                <a:solidFill>
                  <a:schemeClr val="tx2"/>
                </a:solidFill>
              </a:defRPr>
            </a:lvl1pPr>
          </a:lstStyle>
          <a:p>
            <a:r>
              <a:rPr lang="en-US"/>
              <a:t>Click to edit Master title style</a:t>
            </a:r>
            <a:endParaRPr lang="en-US" dirty="0"/>
          </a:p>
        </p:txBody>
      </p:sp>
      <p:sp>
        <p:nvSpPr>
          <p:cNvPr id="17" name="Subtitle 2"/>
          <p:cNvSpPr>
            <a:spLocks noGrp="1"/>
          </p:cNvSpPr>
          <p:nvPr>
            <p:ph type="subTitle" idx="1"/>
          </p:nvPr>
        </p:nvSpPr>
        <p:spPr>
          <a:xfrm>
            <a:off x="468315" y="3986773"/>
            <a:ext cx="5388448" cy="594000"/>
          </a:xfrm>
          <a:prstGeom prst="rect">
            <a:avLst/>
          </a:prstGeom>
        </p:spPr>
        <p:txBody>
          <a:bodyPr lIns="0" tIns="0" rIns="0" bIns="0" anchor="t">
            <a:normAutofit/>
          </a:bodyPr>
          <a:lstStyle>
            <a:lvl1pPr marL="0" indent="0" algn="l">
              <a:spcBef>
                <a:spcPts val="0"/>
              </a:spcBef>
              <a:buNone/>
              <a:defRPr sz="1440" i="1">
                <a:solidFill>
                  <a:srgbClr val="928B81"/>
                </a:solidFill>
                <a:latin typeface="Georgia"/>
                <a:cs typeface="Georgia"/>
              </a:defRPr>
            </a:lvl1pPr>
            <a:lvl2pPr marL="411463" indent="0" algn="ctr">
              <a:buNone/>
              <a:defRPr>
                <a:solidFill>
                  <a:schemeClr val="tx1">
                    <a:tint val="75000"/>
                  </a:schemeClr>
                </a:solidFill>
              </a:defRPr>
            </a:lvl2pPr>
            <a:lvl3pPr marL="822928" indent="0" algn="ctr">
              <a:buNone/>
              <a:defRPr>
                <a:solidFill>
                  <a:schemeClr val="tx1">
                    <a:tint val="75000"/>
                  </a:schemeClr>
                </a:solidFill>
              </a:defRPr>
            </a:lvl3pPr>
            <a:lvl4pPr marL="1234391" indent="0" algn="ctr">
              <a:buNone/>
              <a:defRPr>
                <a:solidFill>
                  <a:schemeClr val="tx1">
                    <a:tint val="75000"/>
                  </a:schemeClr>
                </a:solidFill>
              </a:defRPr>
            </a:lvl4pPr>
            <a:lvl5pPr marL="1645854" indent="0" algn="ctr">
              <a:buNone/>
              <a:defRPr>
                <a:solidFill>
                  <a:schemeClr val="tx1">
                    <a:tint val="75000"/>
                  </a:schemeClr>
                </a:solidFill>
              </a:defRPr>
            </a:lvl5pPr>
            <a:lvl6pPr marL="2057318" indent="0" algn="ctr">
              <a:buNone/>
              <a:defRPr>
                <a:solidFill>
                  <a:schemeClr val="tx1">
                    <a:tint val="75000"/>
                  </a:schemeClr>
                </a:solidFill>
              </a:defRPr>
            </a:lvl6pPr>
            <a:lvl7pPr marL="2468781" indent="0" algn="ctr">
              <a:buNone/>
              <a:defRPr>
                <a:solidFill>
                  <a:schemeClr val="tx1">
                    <a:tint val="75000"/>
                  </a:schemeClr>
                </a:solidFill>
              </a:defRPr>
            </a:lvl7pPr>
            <a:lvl8pPr marL="2880245" indent="0" algn="ctr">
              <a:buNone/>
              <a:defRPr>
                <a:solidFill>
                  <a:schemeClr val="tx1">
                    <a:tint val="75000"/>
                  </a:schemeClr>
                </a:solidFill>
              </a:defRPr>
            </a:lvl8pPr>
            <a:lvl9pPr marL="3291709" indent="0" algn="ctr">
              <a:buNone/>
              <a:defRPr>
                <a:solidFill>
                  <a:schemeClr val="tx1">
                    <a:tint val="75000"/>
                  </a:schemeClr>
                </a:solidFill>
              </a:defRPr>
            </a:lvl9pPr>
          </a:lstStyle>
          <a:p>
            <a:r>
              <a:rPr lang="en-US"/>
              <a:t>Click to edit Master subtitle style</a:t>
            </a:r>
            <a:endParaRPr lang="en-US" dirty="0"/>
          </a:p>
        </p:txBody>
      </p:sp>
      <p:pic>
        <p:nvPicPr>
          <p:cNvPr id="5"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000" y="0"/>
            <a:ext cx="1809750" cy="1445895"/>
          </a:xfrm>
          <a:prstGeom prst="rect">
            <a:avLst/>
          </a:prstGeom>
        </p:spPr>
      </p:pic>
    </p:spTree>
    <p:extLst>
      <p:ext uri="{BB962C8B-B14F-4D97-AF65-F5344CB8AC3E}">
        <p14:creationId xmlns:p14="http://schemas.microsoft.com/office/powerpoint/2010/main" val="3421668558"/>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over Image">
    <p:spTree>
      <p:nvGrpSpPr>
        <p:cNvPr id="1" name=""/>
        <p:cNvGrpSpPr/>
        <p:nvPr/>
      </p:nvGrpSpPr>
      <p:grpSpPr>
        <a:xfrm>
          <a:off x="0" y="0"/>
          <a:ext cx="0" cy="0"/>
          <a:chOff x="0" y="0"/>
          <a:chExt cx="0" cy="0"/>
        </a:xfrm>
      </p:grpSpPr>
      <p:sp>
        <p:nvSpPr>
          <p:cNvPr id="16" name="Title 1"/>
          <p:cNvSpPr>
            <a:spLocks noGrp="1"/>
          </p:cNvSpPr>
          <p:nvPr>
            <p:ph type="ctrTitle"/>
          </p:nvPr>
        </p:nvSpPr>
        <p:spPr>
          <a:xfrm>
            <a:off x="468315" y="1491966"/>
            <a:ext cx="3319477" cy="2424675"/>
          </a:xfrm>
          <a:prstGeom prst="rect">
            <a:avLst/>
          </a:prstGeom>
        </p:spPr>
        <p:txBody>
          <a:bodyPr lIns="0" tIns="0" rIns="0" bIns="0" anchor="t">
            <a:noAutofit/>
          </a:bodyPr>
          <a:lstStyle>
            <a:lvl1pPr algn="l">
              <a:lnSpc>
                <a:spcPct val="80000"/>
              </a:lnSpc>
              <a:defRPr sz="5400" b="1" spc="-180">
                <a:solidFill>
                  <a:schemeClr val="tx2"/>
                </a:solidFill>
              </a:defRPr>
            </a:lvl1pPr>
          </a:lstStyle>
          <a:p>
            <a:r>
              <a:rPr lang="en-US"/>
              <a:t>Click to edit Master title style</a:t>
            </a:r>
            <a:endParaRPr lang="en-US" dirty="0"/>
          </a:p>
        </p:txBody>
      </p:sp>
      <p:sp>
        <p:nvSpPr>
          <p:cNvPr id="17" name="Subtitle 2"/>
          <p:cNvSpPr>
            <a:spLocks noGrp="1"/>
          </p:cNvSpPr>
          <p:nvPr>
            <p:ph type="subTitle" idx="1"/>
          </p:nvPr>
        </p:nvSpPr>
        <p:spPr>
          <a:xfrm>
            <a:off x="468315" y="4078566"/>
            <a:ext cx="3319477" cy="437400"/>
          </a:xfrm>
          <a:prstGeom prst="rect">
            <a:avLst/>
          </a:prstGeom>
        </p:spPr>
        <p:txBody>
          <a:bodyPr lIns="0" tIns="0" rIns="0" bIns="0" anchor="t">
            <a:normAutofit/>
          </a:bodyPr>
          <a:lstStyle>
            <a:lvl1pPr marL="0" indent="0" algn="l">
              <a:spcBef>
                <a:spcPts val="0"/>
              </a:spcBef>
              <a:buNone/>
              <a:defRPr sz="1440" i="1">
                <a:solidFill>
                  <a:srgbClr val="928B81"/>
                </a:solidFill>
                <a:latin typeface="Georgia"/>
                <a:cs typeface="Georgia"/>
              </a:defRPr>
            </a:lvl1pPr>
            <a:lvl2pPr marL="411463" indent="0" algn="ctr">
              <a:buNone/>
              <a:defRPr>
                <a:solidFill>
                  <a:schemeClr val="tx1">
                    <a:tint val="75000"/>
                  </a:schemeClr>
                </a:solidFill>
              </a:defRPr>
            </a:lvl2pPr>
            <a:lvl3pPr marL="822928" indent="0" algn="ctr">
              <a:buNone/>
              <a:defRPr>
                <a:solidFill>
                  <a:schemeClr val="tx1">
                    <a:tint val="75000"/>
                  </a:schemeClr>
                </a:solidFill>
              </a:defRPr>
            </a:lvl3pPr>
            <a:lvl4pPr marL="1234391" indent="0" algn="ctr">
              <a:buNone/>
              <a:defRPr>
                <a:solidFill>
                  <a:schemeClr val="tx1">
                    <a:tint val="75000"/>
                  </a:schemeClr>
                </a:solidFill>
              </a:defRPr>
            </a:lvl4pPr>
            <a:lvl5pPr marL="1645854" indent="0" algn="ctr">
              <a:buNone/>
              <a:defRPr>
                <a:solidFill>
                  <a:schemeClr val="tx1">
                    <a:tint val="75000"/>
                  </a:schemeClr>
                </a:solidFill>
              </a:defRPr>
            </a:lvl5pPr>
            <a:lvl6pPr marL="2057318" indent="0" algn="ctr">
              <a:buNone/>
              <a:defRPr>
                <a:solidFill>
                  <a:schemeClr val="tx1">
                    <a:tint val="75000"/>
                  </a:schemeClr>
                </a:solidFill>
              </a:defRPr>
            </a:lvl6pPr>
            <a:lvl7pPr marL="2468781" indent="0" algn="ctr">
              <a:buNone/>
              <a:defRPr>
                <a:solidFill>
                  <a:schemeClr val="tx1">
                    <a:tint val="75000"/>
                  </a:schemeClr>
                </a:solidFill>
              </a:defRPr>
            </a:lvl7pPr>
            <a:lvl8pPr marL="2880245" indent="0" algn="ctr">
              <a:buNone/>
              <a:defRPr>
                <a:solidFill>
                  <a:schemeClr val="tx1">
                    <a:tint val="75000"/>
                  </a:schemeClr>
                </a:solidFill>
              </a:defRPr>
            </a:lvl8pPr>
            <a:lvl9pPr marL="3291709" indent="0" algn="ctr">
              <a:buNone/>
              <a:defRPr>
                <a:solidFill>
                  <a:schemeClr val="tx1">
                    <a:tint val="75000"/>
                  </a:schemeClr>
                </a:solidFill>
              </a:defRPr>
            </a:lvl9pPr>
          </a:lstStyle>
          <a:p>
            <a:r>
              <a:rPr lang="en-US"/>
              <a:t>Click to edit Master subtitle style</a:t>
            </a:r>
            <a:endParaRPr lang="en-US" dirty="0"/>
          </a:p>
        </p:txBody>
      </p:sp>
      <p:sp>
        <p:nvSpPr>
          <p:cNvPr id="4" name="Picture Placeholder 3"/>
          <p:cNvSpPr>
            <a:spLocks noGrp="1"/>
          </p:cNvSpPr>
          <p:nvPr>
            <p:ph type="pic" sz="quarter" idx="10"/>
          </p:nvPr>
        </p:nvSpPr>
        <p:spPr>
          <a:xfrm>
            <a:off x="4349263" y="135000"/>
            <a:ext cx="4629692" cy="4873500"/>
          </a:xfrm>
          <a:prstGeom prst="rect">
            <a:avLst/>
          </a:prstGeom>
        </p:spPr>
        <p:txBody>
          <a:bodyPr vert="horz" lIns="91436" tIns="45718" rIns="91436" bIns="45718"/>
          <a:lstStyle/>
          <a:p>
            <a:pPr lvl="0"/>
            <a:r>
              <a:rPr lang="en-US" noProof="0"/>
              <a:t>Click icon to add picture</a:t>
            </a:r>
            <a:endParaRPr lang="fi-FI" noProof="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000" y="0"/>
            <a:ext cx="1809750" cy="1445895"/>
          </a:xfrm>
          <a:prstGeom prst="rect">
            <a:avLst/>
          </a:prstGeom>
        </p:spPr>
      </p:pic>
    </p:spTree>
    <p:extLst>
      <p:ext uri="{BB962C8B-B14F-4D97-AF65-F5344CB8AC3E}">
        <p14:creationId xmlns:p14="http://schemas.microsoft.com/office/powerpoint/2010/main" val="2297938289"/>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ctrTitle"/>
          </p:nvPr>
        </p:nvSpPr>
        <p:spPr>
          <a:xfrm>
            <a:off x="468315" y="1434201"/>
            <a:ext cx="8207375" cy="1977000"/>
          </a:xfrm>
          <a:prstGeom prst="rect">
            <a:avLst/>
          </a:prstGeom>
        </p:spPr>
        <p:txBody>
          <a:bodyPr lIns="0" tIns="0" rIns="0" bIns="0" anchor="t">
            <a:noAutofit/>
          </a:bodyPr>
          <a:lstStyle>
            <a:lvl1pPr algn="l">
              <a:lnSpc>
                <a:spcPct val="80000"/>
              </a:lnSpc>
              <a:defRPr sz="6480" b="1" spc="-180">
                <a:solidFill>
                  <a:schemeClr val="bg1"/>
                </a:solidFill>
              </a:defRPr>
            </a:lvl1pPr>
          </a:lstStyle>
          <a:p>
            <a:r>
              <a:rPr lang="en-US"/>
              <a:t>Click to edit Master title style</a:t>
            </a:r>
            <a:endParaRPr lang="en-US" dirty="0"/>
          </a:p>
        </p:txBody>
      </p:sp>
      <p:cxnSp>
        <p:nvCxnSpPr>
          <p:cNvPr id="7" name="Straight Connector 4"/>
          <p:cNvCxnSpPr/>
          <p:nvPr userDrawn="1"/>
        </p:nvCxnSpPr>
        <p:spPr>
          <a:xfrm>
            <a:off x="468315" y="4386263"/>
            <a:ext cx="8207375"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5"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4002" y="4241160"/>
            <a:ext cx="2227145" cy="861840"/>
          </a:xfrm>
          <a:prstGeom prst="rect">
            <a:avLst/>
          </a:prstGeom>
        </p:spPr>
      </p:pic>
    </p:spTree>
    <p:extLst>
      <p:ext uri="{BB962C8B-B14F-4D97-AF65-F5344CB8AC3E}">
        <p14:creationId xmlns:p14="http://schemas.microsoft.com/office/powerpoint/2010/main" val="583736054"/>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2" name="Title 1"/>
          <p:cNvSpPr>
            <a:spLocks noGrp="1"/>
          </p:cNvSpPr>
          <p:nvPr>
            <p:ph type="ctrTitle"/>
          </p:nvPr>
        </p:nvSpPr>
        <p:spPr>
          <a:xfrm>
            <a:off x="468315" y="238602"/>
            <a:ext cx="8207375" cy="896848"/>
          </a:xfrm>
          <a:prstGeom prst="rect">
            <a:avLst/>
          </a:prstGeom>
        </p:spPr>
        <p:txBody>
          <a:bodyPr lIns="0" tIns="0" rIns="0" bIns="0" anchor="t" anchorCtr="0">
            <a:noAutofit/>
          </a:bodyPr>
          <a:lstStyle>
            <a:lvl1pPr algn="l">
              <a:lnSpc>
                <a:spcPct val="85000"/>
              </a:lnSpc>
              <a:defRPr sz="3240" b="1" spc="-90">
                <a:solidFill>
                  <a:schemeClr val="tx2"/>
                </a:solidFill>
              </a:defRPr>
            </a:lvl1pPr>
          </a:lstStyle>
          <a:p>
            <a:r>
              <a:rPr lang="en-US"/>
              <a:t>Click to edit Master title style</a:t>
            </a:r>
            <a:endParaRPr lang="en-US" dirty="0"/>
          </a:p>
        </p:txBody>
      </p:sp>
      <p:sp>
        <p:nvSpPr>
          <p:cNvPr id="10" name="Content Placeholder 10"/>
          <p:cNvSpPr>
            <a:spLocks noGrp="1"/>
          </p:cNvSpPr>
          <p:nvPr>
            <p:ph sz="quarter" idx="14"/>
          </p:nvPr>
        </p:nvSpPr>
        <p:spPr>
          <a:xfrm>
            <a:off x="468315" y="1135451"/>
            <a:ext cx="8207374" cy="3002475"/>
          </a:xfrm>
          <a:prstGeom prst="rect">
            <a:avLst/>
          </a:prstGeom>
        </p:spPr>
        <p:txBody>
          <a:bodyPr vert="horz" lIns="0" tIns="0" rIns="0" bIns="0"/>
          <a:lstStyle>
            <a:lvl1pPr marL="0" indent="0">
              <a:buNone/>
              <a:defRPr sz="1890" b="1">
                <a:latin typeface="+mj-lt"/>
              </a:defRPr>
            </a:lvl1pPr>
            <a:lvl2pPr marL="213831" indent="-191153">
              <a:buFont typeface="Arial"/>
              <a:buChar char="•"/>
              <a:defRPr sz="1800">
                <a:latin typeface="Georgia"/>
              </a:defRPr>
            </a:lvl2pPr>
            <a:lvl3pPr marL="414704" indent="-207352">
              <a:buFont typeface="Lucida Grande"/>
              <a:buChar char="-"/>
              <a:defRPr sz="1440" i="1">
                <a:latin typeface="Georgia"/>
                <a:cs typeface="Georgia"/>
              </a:defRPr>
            </a:lvl3pPr>
            <a:lvl4pPr marL="712771" indent="-174953">
              <a:buFont typeface="Arial"/>
              <a:buChar char="•"/>
              <a:defRPr sz="1260" baseline="0">
                <a:latin typeface="Georgia"/>
              </a:defRPr>
            </a:lvl4pPr>
            <a:lvl5pPr marL="978440" indent="-205732">
              <a:buFont typeface="Courier New"/>
              <a:buChar char="o"/>
              <a:defRPr sz="1170" baseline="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
        <p:nvSpPr>
          <p:cNvPr id="6" name="Date Placeholder 12"/>
          <p:cNvSpPr>
            <a:spLocks noGrp="1"/>
          </p:cNvSpPr>
          <p:nvPr>
            <p:ph type="dt" sz="half" idx="15"/>
          </p:nvPr>
        </p:nvSpPr>
        <p:spPr/>
        <p:txBody>
          <a:bodyPr/>
          <a:lstStyle>
            <a:lvl1pPr>
              <a:defRPr/>
            </a:lvl1pPr>
          </a:lstStyle>
          <a:p>
            <a:pPr>
              <a:defRPr/>
            </a:pPr>
            <a:fld id="{24CBB682-87B2-4236-AF78-B49807E7713E}" type="datetime1">
              <a:rPr lang="fi-FI" smtClean="0"/>
              <a:t>5.11.2023</a:t>
            </a:fld>
            <a:endParaRPr lang="fi-FI"/>
          </a:p>
        </p:txBody>
      </p:sp>
      <p:sp>
        <p:nvSpPr>
          <p:cNvPr id="7" name="Footer Placeholder 13"/>
          <p:cNvSpPr>
            <a:spLocks noGrp="1"/>
          </p:cNvSpPr>
          <p:nvPr>
            <p:ph type="ftr" sz="quarter" idx="16"/>
          </p:nvPr>
        </p:nvSpPr>
        <p:spPr/>
        <p:txBody>
          <a:bodyPr/>
          <a:lstStyle>
            <a:lvl1pPr>
              <a:defRPr/>
            </a:lvl1pPr>
          </a:lstStyle>
          <a:p>
            <a:pPr>
              <a:defRPr/>
            </a:pPr>
            <a:endParaRPr lang="fi-FI"/>
          </a:p>
        </p:txBody>
      </p:sp>
      <p:sp>
        <p:nvSpPr>
          <p:cNvPr id="8" name="Slide Number Placeholder 14"/>
          <p:cNvSpPr>
            <a:spLocks noGrp="1"/>
          </p:cNvSpPr>
          <p:nvPr>
            <p:ph type="sldNum" sz="quarter" idx="17"/>
          </p:nvPr>
        </p:nvSpPr>
        <p:spPr/>
        <p:txBody>
          <a:bodyPr/>
          <a:lstStyle>
            <a:lvl1pPr>
              <a:defRPr/>
            </a:lvl1pPr>
          </a:lstStyle>
          <a:p>
            <a:pPr>
              <a:defRPr/>
            </a:pPr>
            <a:fld id="{49EFD4B7-1CC6-864B-A72A-C978B70BBA9B}" type="slidenum">
              <a:rPr lang="fi-FI"/>
              <a:pPr>
                <a:defRPr/>
              </a:pPr>
              <a:t>‹#›</a:t>
            </a:fld>
            <a:endParaRPr lang="fi-FI"/>
          </a:p>
        </p:txBody>
      </p:sp>
      <p:cxnSp>
        <p:nvCxnSpPr>
          <p:cNvPr id="12" name="Straight Connector 4"/>
          <p:cNvCxnSpPr/>
          <p:nvPr userDrawn="1"/>
        </p:nvCxnSpPr>
        <p:spPr>
          <a:xfrm>
            <a:off x="468315" y="4385706"/>
            <a:ext cx="8207375" cy="0"/>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pic>
        <p:nvPicPr>
          <p:cNvPr id="11"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4002" y="4241160"/>
            <a:ext cx="2227147" cy="861840"/>
          </a:xfrm>
          <a:prstGeom prst="rect">
            <a:avLst/>
          </a:prstGeom>
        </p:spPr>
      </p:pic>
    </p:spTree>
    <p:extLst>
      <p:ext uri="{BB962C8B-B14F-4D97-AF65-F5344CB8AC3E}">
        <p14:creationId xmlns:p14="http://schemas.microsoft.com/office/powerpoint/2010/main" val="2566262528"/>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wo Col">
    <p:spTree>
      <p:nvGrpSpPr>
        <p:cNvPr id="1" name=""/>
        <p:cNvGrpSpPr/>
        <p:nvPr/>
      </p:nvGrpSpPr>
      <p:grpSpPr>
        <a:xfrm>
          <a:off x="0" y="0"/>
          <a:ext cx="0" cy="0"/>
          <a:chOff x="0" y="0"/>
          <a:chExt cx="0" cy="0"/>
        </a:xfrm>
      </p:grpSpPr>
      <p:sp>
        <p:nvSpPr>
          <p:cNvPr id="10" name="Title 1"/>
          <p:cNvSpPr>
            <a:spLocks noGrp="1"/>
          </p:cNvSpPr>
          <p:nvPr>
            <p:ph type="ctrTitle"/>
          </p:nvPr>
        </p:nvSpPr>
        <p:spPr>
          <a:xfrm>
            <a:off x="463308" y="238602"/>
            <a:ext cx="8212380" cy="896848"/>
          </a:xfrm>
          <a:prstGeom prst="rect">
            <a:avLst/>
          </a:prstGeom>
        </p:spPr>
        <p:txBody>
          <a:bodyPr lIns="0" tIns="0" rIns="0" bIns="0" anchor="t" anchorCtr="0">
            <a:noAutofit/>
          </a:bodyPr>
          <a:lstStyle>
            <a:lvl1pPr algn="l">
              <a:lnSpc>
                <a:spcPct val="85000"/>
              </a:lnSpc>
              <a:defRPr sz="3240" b="1" spc="-90">
                <a:solidFill>
                  <a:schemeClr val="tx2"/>
                </a:solidFill>
              </a:defRPr>
            </a:lvl1pPr>
          </a:lstStyle>
          <a:p>
            <a:r>
              <a:rPr lang="en-US"/>
              <a:t>Click to edit Master title style</a:t>
            </a:r>
            <a:endParaRPr lang="en-US" dirty="0"/>
          </a:p>
        </p:txBody>
      </p:sp>
      <p:sp>
        <p:nvSpPr>
          <p:cNvPr id="11" name="Content Placeholder 10"/>
          <p:cNvSpPr>
            <a:spLocks noGrp="1"/>
          </p:cNvSpPr>
          <p:nvPr>
            <p:ph sz="quarter" idx="14"/>
          </p:nvPr>
        </p:nvSpPr>
        <p:spPr>
          <a:xfrm>
            <a:off x="463310" y="1135451"/>
            <a:ext cx="3988079" cy="3002475"/>
          </a:xfrm>
          <a:prstGeom prst="rect">
            <a:avLst/>
          </a:prstGeom>
        </p:spPr>
        <p:txBody>
          <a:bodyPr vert="horz" lIns="0" tIns="0" rIns="0" bIns="0"/>
          <a:lstStyle>
            <a:lvl1pPr marL="0" indent="0">
              <a:buNone/>
              <a:defRPr sz="1890" b="1">
                <a:latin typeface="+mj-lt"/>
              </a:defRPr>
            </a:lvl1pPr>
            <a:lvl2pPr marL="213831" indent="-191153">
              <a:buFont typeface="Arial"/>
              <a:buChar char="•"/>
              <a:defRPr sz="1800">
                <a:latin typeface="Georgia"/>
              </a:defRPr>
            </a:lvl2pPr>
            <a:lvl3pPr marL="414704" indent="-207352">
              <a:buFont typeface="Lucida Grande"/>
              <a:buChar char="-"/>
              <a:defRPr sz="1440" i="1">
                <a:latin typeface="Georgia"/>
                <a:cs typeface="Georgia"/>
              </a:defRPr>
            </a:lvl3pPr>
            <a:lvl4pPr marL="712771" indent="-174953">
              <a:buFont typeface="Arial"/>
              <a:buChar char="•"/>
              <a:defRPr sz="1260" baseline="0">
                <a:latin typeface="Georgia"/>
              </a:defRPr>
            </a:lvl4pPr>
            <a:lvl5pPr marL="978440" indent="-205732">
              <a:buFont typeface="Courier New"/>
              <a:buChar char="o"/>
              <a:defRPr sz="1170" baseline="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
        <p:nvSpPr>
          <p:cNvPr id="40" name="Content Placeholder 10"/>
          <p:cNvSpPr>
            <a:spLocks noGrp="1"/>
          </p:cNvSpPr>
          <p:nvPr>
            <p:ph sz="quarter" idx="18"/>
          </p:nvPr>
        </p:nvSpPr>
        <p:spPr>
          <a:xfrm>
            <a:off x="4687611" y="1135451"/>
            <a:ext cx="3988079" cy="3002475"/>
          </a:xfrm>
          <a:prstGeom prst="rect">
            <a:avLst/>
          </a:prstGeom>
        </p:spPr>
        <p:txBody>
          <a:bodyPr vert="horz" lIns="0" tIns="0" rIns="0" bIns="0"/>
          <a:lstStyle>
            <a:lvl1pPr marL="0" indent="0">
              <a:buNone/>
              <a:defRPr sz="1890" b="1">
                <a:latin typeface="+mj-lt"/>
              </a:defRPr>
            </a:lvl1pPr>
            <a:lvl2pPr marL="213831" indent="-191153">
              <a:buFont typeface="Arial"/>
              <a:buChar char="•"/>
              <a:defRPr sz="1800">
                <a:latin typeface="Georgia"/>
              </a:defRPr>
            </a:lvl2pPr>
            <a:lvl3pPr marL="414704" indent="-207352">
              <a:buFont typeface="Lucida Grande"/>
              <a:buChar char="-"/>
              <a:defRPr sz="1440" i="1">
                <a:latin typeface="Georgia"/>
                <a:cs typeface="Georgia"/>
              </a:defRPr>
            </a:lvl3pPr>
            <a:lvl4pPr marL="712771" indent="-174953">
              <a:buFont typeface="Arial"/>
              <a:buChar char="•"/>
              <a:defRPr sz="1260" baseline="0">
                <a:latin typeface="Georgia"/>
              </a:defRPr>
            </a:lvl4pPr>
            <a:lvl5pPr marL="978440" indent="-205732">
              <a:buFont typeface="Courier New"/>
              <a:buChar char="o"/>
              <a:defRPr sz="1170" baseline="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7" name="Date Placeholder 10"/>
          <p:cNvSpPr>
            <a:spLocks noGrp="1"/>
          </p:cNvSpPr>
          <p:nvPr>
            <p:ph type="dt" sz="half" idx="19"/>
          </p:nvPr>
        </p:nvSpPr>
        <p:spPr/>
        <p:txBody>
          <a:bodyPr/>
          <a:lstStyle>
            <a:lvl1pPr>
              <a:defRPr/>
            </a:lvl1pPr>
          </a:lstStyle>
          <a:p>
            <a:pPr>
              <a:defRPr/>
            </a:pPr>
            <a:fld id="{686F12C3-4421-43A0-8844-8188FCFDF52F}" type="datetime1">
              <a:rPr lang="fi-FI" smtClean="0"/>
              <a:t>5.11.2023</a:t>
            </a:fld>
            <a:endParaRPr lang="fi-FI"/>
          </a:p>
        </p:txBody>
      </p:sp>
      <p:sp>
        <p:nvSpPr>
          <p:cNvPr id="8" name="Footer Placeholder 11"/>
          <p:cNvSpPr>
            <a:spLocks noGrp="1"/>
          </p:cNvSpPr>
          <p:nvPr>
            <p:ph type="ftr" sz="quarter" idx="20"/>
          </p:nvPr>
        </p:nvSpPr>
        <p:spPr/>
        <p:txBody>
          <a:bodyPr/>
          <a:lstStyle>
            <a:lvl1pPr>
              <a:defRPr/>
            </a:lvl1pPr>
          </a:lstStyle>
          <a:p>
            <a:pPr>
              <a:defRPr/>
            </a:pPr>
            <a:endParaRPr lang="fi-FI"/>
          </a:p>
        </p:txBody>
      </p:sp>
      <p:sp>
        <p:nvSpPr>
          <p:cNvPr id="9" name="Slide Number Placeholder 12"/>
          <p:cNvSpPr>
            <a:spLocks noGrp="1"/>
          </p:cNvSpPr>
          <p:nvPr>
            <p:ph type="sldNum" sz="quarter" idx="21"/>
          </p:nvPr>
        </p:nvSpPr>
        <p:spPr/>
        <p:txBody>
          <a:bodyPr/>
          <a:lstStyle>
            <a:lvl1pPr>
              <a:defRPr/>
            </a:lvl1pPr>
          </a:lstStyle>
          <a:p>
            <a:pPr>
              <a:defRPr/>
            </a:pPr>
            <a:fld id="{7D79A8AE-7274-0C4A-AB42-92022833E6E2}" type="slidenum">
              <a:rPr lang="fi-FI"/>
              <a:pPr>
                <a:defRPr/>
              </a:pPr>
              <a:t>‹#›</a:t>
            </a:fld>
            <a:endParaRPr lang="fi-FI"/>
          </a:p>
        </p:txBody>
      </p:sp>
      <p:cxnSp>
        <p:nvCxnSpPr>
          <p:cNvPr id="13" name="Straight Connector 4"/>
          <p:cNvCxnSpPr/>
          <p:nvPr userDrawn="1"/>
        </p:nvCxnSpPr>
        <p:spPr>
          <a:xfrm>
            <a:off x="468315" y="4385706"/>
            <a:ext cx="8207375" cy="0"/>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pic>
        <p:nvPicPr>
          <p:cNvPr id="14"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4002" y="4241160"/>
            <a:ext cx="2227147" cy="861840"/>
          </a:xfrm>
          <a:prstGeom prst="rect">
            <a:avLst/>
          </a:prstGeom>
        </p:spPr>
      </p:pic>
    </p:spTree>
    <p:extLst>
      <p:ext uri="{BB962C8B-B14F-4D97-AF65-F5344CB8AC3E}">
        <p14:creationId xmlns:p14="http://schemas.microsoft.com/office/powerpoint/2010/main" val="361314292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403350" y="228601"/>
            <a:ext cx="7056438" cy="777479"/>
          </a:xfrm>
          <a:prstGeom prst="rect">
            <a:avLst/>
          </a:prstGeom>
        </p:spPr>
        <p:txBody>
          <a:bodyPr lIns="91436" tIns="45718" rIns="91436" bIns="45718"/>
          <a:lstStyle/>
          <a:p>
            <a:r>
              <a:rPr lang="fi-FI"/>
              <a:t>Click to edit Master title style</a:t>
            </a:r>
            <a:endParaRPr lang="en-US"/>
          </a:p>
        </p:txBody>
      </p:sp>
      <p:sp>
        <p:nvSpPr>
          <p:cNvPr id="3" name="Content Placeholder 2"/>
          <p:cNvSpPr>
            <a:spLocks noGrp="1"/>
          </p:cNvSpPr>
          <p:nvPr>
            <p:ph sz="half" idx="1"/>
          </p:nvPr>
        </p:nvSpPr>
        <p:spPr>
          <a:xfrm>
            <a:off x="1403353" y="1314450"/>
            <a:ext cx="3451225" cy="3363516"/>
          </a:xfrm>
          <a:prstGeom prst="rect">
            <a:avLst/>
          </a:prstGeom>
        </p:spPr>
        <p:txBody>
          <a:bodyPr lIns="91436" tIns="45718" rIns="91436" bIns="45718"/>
          <a:lstStyle>
            <a:lvl1pPr>
              <a:defRPr sz="2070"/>
            </a:lvl1pPr>
            <a:lvl2pPr>
              <a:defRPr sz="1800"/>
            </a:lvl2pPr>
            <a:lvl3pPr>
              <a:defRPr sz="1440"/>
            </a:lvl3pPr>
            <a:lvl4pPr>
              <a:defRPr sz="1350"/>
            </a:lvl4pPr>
            <a:lvl5pPr>
              <a:defRPr sz="1350"/>
            </a:lvl5pPr>
            <a:lvl6pPr>
              <a:defRPr sz="1350"/>
            </a:lvl6pPr>
            <a:lvl7pPr>
              <a:defRPr sz="1350"/>
            </a:lvl7pPr>
            <a:lvl8pPr>
              <a:defRPr sz="1350"/>
            </a:lvl8pPr>
            <a:lvl9pPr>
              <a:defRPr sz="1350"/>
            </a:lvl9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endParaRPr lang="en-US"/>
          </a:p>
        </p:txBody>
      </p:sp>
      <p:sp>
        <p:nvSpPr>
          <p:cNvPr id="4" name="Content Placeholder 3"/>
          <p:cNvSpPr>
            <a:spLocks noGrp="1"/>
          </p:cNvSpPr>
          <p:nvPr>
            <p:ph sz="half" idx="2"/>
          </p:nvPr>
        </p:nvSpPr>
        <p:spPr>
          <a:xfrm>
            <a:off x="5006978" y="1314450"/>
            <a:ext cx="3452813" cy="3363516"/>
          </a:xfrm>
          <a:prstGeom prst="rect">
            <a:avLst/>
          </a:prstGeom>
        </p:spPr>
        <p:txBody>
          <a:bodyPr lIns="91436" tIns="45718" rIns="91436" bIns="45718"/>
          <a:lstStyle>
            <a:lvl1pPr>
              <a:defRPr sz="2070"/>
            </a:lvl1pPr>
            <a:lvl2pPr>
              <a:defRPr sz="1800"/>
            </a:lvl2pPr>
            <a:lvl3pPr>
              <a:defRPr sz="1440"/>
            </a:lvl3pPr>
            <a:lvl4pPr>
              <a:defRPr sz="1350"/>
            </a:lvl4pPr>
            <a:lvl5pPr>
              <a:defRPr sz="1350"/>
            </a:lvl5pPr>
            <a:lvl6pPr>
              <a:defRPr sz="1350"/>
            </a:lvl6pPr>
            <a:lvl7pPr>
              <a:defRPr sz="1350"/>
            </a:lvl7pPr>
            <a:lvl8pPr>
              <a:defRPr sz="1350"/>
            </a:lvl8pPr>
            <a:lvl9pPr>
              <a:defRPr sz="1350"/>
            </a:lvl9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endParaRPr lang="en-US"/>
          </a:p>
        </p:txBody>
      </p:sp>
      <p:sp>
        <p:nvSpPr>
          <p:cNvPr id="5" name="Rectangle 6"/>
          <p:cNvSpPr>
            <a:spLocks noGrp="1" noChangeArrowheads="1"/>
          </p:cNvSpPr>
          <p:nvPr>
            <p:ph type="ftr" sz="quarter" idx="10"/>
          </p:nvPr>
        </p:nvSpPr>
        <p:spPr>
          <a:ln/>
        </p:spPr>
        <p:txBody>
          <a:bodyPr/>
          <a:lstStyle>
            <a:lvl1pPr>
              <a:defRPr/>
            </a:lvl1pPr>
          </a:lstStyle>
          <a:p>
            <a:pPr>
              <a:defRPr/>
            </a:pPr>
            <a:r>
              <a:rPr lang="en-GB"/>
              <a:t> - </a:t>
            </a:r>
          </a:p>
        </p:txBody>
      </p:sp>
      <p:sp>
        <p:nvSpPr>
          <p:cNvPr id="6" name="Rectangle 7"/>
          <p:cNvSpPr>
            <a:spLocks noGrp="1" noChangeArrowheads="1"/>
          </p:cNvSpPr>
          <p:nvPr>
            <p:ph type="sldNum" sz="quarter" idx="11"/>
          </p:nvPr>
        </p:nvSpPr>
        <p:spPr>
          <a:ln/>
        </p:spPr>
        <p:txBody>
          <a:bodyPr/>
          <a:lstStyle>
            <a:lvl1pPr>
              <a:defRPr/>
            </a:lvl1pPr>
          </a:lstStyle>
          <a:p>
            <a:fld id="{41751B66-6A8D-4994-8053-47E8D8E44503}" type="slidenum">
              <a:rPr lang="en-GB" altLang="en-US"/>
              <a:pPr/>
              <a:t>‹#›</a:t>
            </a:fld>
            <a:endParaRPr lang="en-GB" altLang="en-US"/>
          </a:p>
        </p:txBody>
      </p:sp>
    </p:spTree>
    <p:extLst>
      <p:ext uri="{BB962C8B-B14F-4D97-AF65-F5344CB8AC3E}">
        <p14:creationId xmlns:p14="http://schemas.microsoft.com/office/powerpoint/2010/main" val="3556294512"/>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3. Body slide - 1 wide column">
    <p:spTree>
      <p:nvGrpSpPr>
        <p:cNvPr id="1" name=""/>
        <p:cNvGrpSpPr/>
        <p:nvPr/>
      </p:nvGrpSpPr>
      <p:grpSpPr>
        <a:xfrm>
          <a:off x="0" y="0"/>
          <a:ext cx="0" cy="0"/>
          <a:chOff x="0" y="0"/>
          <a:chExt cx="0" cy="0"/>
        </a:xfrm>
      </p:grpSpPr>
      <p:sp>
        <p:nvSpPr>
          <p:cNvPr id="11" name="Text Placeholder 3"/>
          <p:cNvSpPr>
            <a:spLocks noGrp="1"/>
          </p:cNvSpPr>
          <p:nvPr>
            <p:ph type="body" sz="half" idx="10" hasCustomPrompt="1"/>
          </p:nvPr>
        </p:nvSpPr>
        <p:spPr>
          <a:xfrm>
            <a:off x="292331" y="174960"/>
            <a:ext cx="8492897" cy="952560"/>
          </a:xfrm>
          <a:prstGeom prst="rect">
            <a:avLst/>
          </a:prstGeom>
        </p:spPr>
        <p:txBody>
          <a:bodyPr lIns="0" tIns="0" rIns="0" bIns="0"/>
          <a:lstStyle>
            <a:lvl1pPr marL="0" indent="0">
              <a:lnSpc>
                <a:spcPts val="3239"/>
              </a:lnSpc>
              <a:buNone/>
              <a:defRPr sz="3239" b="1" baseline="0">
                <a:solidFill>
                  <a:schemeClr val="tx1"/>
                </a:solidFill>
                <a:latin typeface="+mj-lt"/>
              </a:defRPr>
            </a:lvl1pPr>
            <a:lvl2pPr marL="277675" indent="0">
              <a:buNone/>
              <a:defRPr sz="851"/>
            </a:lvl2pPr>
            <a:lvl3pPr marL="555350" indent="0">
              <a:buNone/>
              <a:defRPr sz="729"/>
            </a:lvl3pPr>
            <a:lvl4pPr marL="833025" indent="0">
              <a:buNone/>
              <a:defRPr sz="608"/>
            </a:lvl4pPr>
            <a:lvl5pPr marL="1110700" indent="0">
              <a:buNone/>
              <a:defRPr sz="608"/>
            </a:lvl5pPr>
            <a:lvl6pPr marL="1388375" indent="0">
              <a:buNone/>
              <a:defRPr sz="608"/>
            </a:lvl6pPr>
            <a:lvl7pPr marL="1666049" indent="0">
              <a:buNone/>
              <a:defRPr sz="608"/>
            </a:lvl7pPr>
            <a:lvl8pPr marL="1943725" indent="0">
              <a:buNone/>
              <a:defRPr sz="608"/>
            </a:lvl8pPr>
            <a:lvl9pPr marL="2221400" indent="0">
              <a:buNone/>
              <a:defRPr sz="608"/>
            </a:lvl9pPr>
          </a:lstStyle>
          <a:p>
            <a:pPr lvl="0"/>
            <a:r>
              <a:rPr lang="en-US" dirty="0"/>
              <a:t>Body slide title</a:t>
            </a:r>
          </a:p>
        </p:txBody>
      </p:sp>
      <p:sp>
        <p:nvSpPr>
          <p:cNvPr id="7" name="Text Placeholder 3"/>
          <p:cNvSpPr>
            <a:spLocks noGrp="1"/>
          </p:cNvSpPr>
          <p:nvPr>
            <p:ph type="body" sz="half" idx="11" hasCustomPrompt="1"/>
          </p:nvPr>
        </p:nvSpPr>
        <p:spPr>
          <a:xfrm>
            <a:off x="292330" y="1246367"/>
            <a:ext cx="8492897" cy="3127633"/>
          </a:xfrm>
          <a:prstGeom prst="rect">
            <a:avLst/>
          </a:prstGeom>
        </p:spPr>
        <p:txBody>
          <a:bodyPr lIns="0" tIns="0" rIns="0" bIns="0"/>
          <a:lstStyle>
            <a:lvl1pPr marL="0" marR="0" indent="0" algn="l" defTabSz="555350" rtl="0" eaLnBrk="1" fontAlgn="auto" latinLnBrk="0" hangingPunct="1">
              <a:lnSpc>
                <a:spcPts val="2105"/>
              </a:lnSpc>
              <a:spcBef>
                <a:spcPts val="608"/>
              </a:spcBef>
              <a:spcAft>
                <a:spcPts val="0"/>
              </a:spcAft>
              <a:buClrTx/>
              <a:buSzTx/>
              <a:buFont typeface="Arial" panose="020B0604020202020204" pitchFamily="34" charset="0"/>
              <a:buNone/>
              <a:tabLst/>
              <a:defRPr sz="1700" b="1" baseline="0">
                <a:solidFill>
                  <a:schemeClr val="tx1"/>
                </a:solidFill>
              </a:defRPr>
            </a:lvl1pPr>
            <a:lvl2pPr marL="509071" indent="-219827">
              <a:buFont typeface="Arial" panose="020B0604020202020204" pitchFamily="34" charset="0"/>
              <a:buChar char="•"/>
              <a:defRPr sz="1700"/>
            </a:lvl2pPr>
            <a:lvl3pPr marL="651766" indent="-142695">
              <a:buFont typeface="Arial" panose="020B0604020202020204" pitchFamily="34" charset="0"/>
              <a:buChar char="•"/>
              <a:defRPr sz="1296"/>
            </a:lvl3pPr>
            <a:lvl4pPr marL="833025" indent="0">
              <a:buNone/>
              <a:defRPr sz="608"/>
            </a:lvl4pPr>
            <a:lvl5pPr marL="1110700" indent="0">
              <a:buNone/>
              <a:defRPr sz="608"/>
            </a:lvl5pPr>
            <a:lvl6pPr marL="1388375" indent="0">
              <a:buNone/>
              <a:defRPr sz="608"/>
            </a:lvl6pPr>
            <a:lvl7pPr marL="1666049" indent="0">
              <a:buNone/>
              <a:defRPr sz="608"/>
            </a:lvl7pPr>
            <a:lvl8pPr marL="1943725" indent="0">
              <a:buNone/>
              <a:defRPr sz="608"/>
            </a:lvl8pPr>
            <a:lvl9pPr marL="2221400" indent="0">
              <a:buNone/>
              <a:defRPr sz="608"/>
            </a:lvl9pPr>
          </a:lstStyle>
          <a:p>
            <a:pPr lvl="0"/>
            <a:r>
              <a:rPr lang="en-US" dirty="0"/>
              <a:t>Your text here</a:t>
            </a:r>
          </a:p>
          <a:p>
            <a:pPr lvl="1"/>
            <a:r>
              <a:rPr lang="fi-FI" dirty="0"/>
              <a:t>Second </a:t>
            </a:r>
            <a:r>
              <a:rPr lang="fi-FI" dirty="0" err="1"/>
              <a:t>level</a:t>
            </a:r>
            <a:endParaRPr lang="fi-FI" dirty="0"/>
          </a:p>
          <a:p>
            <a:pPr lvl="2"/>
            <a:r>
              <a:rPr lang="fi-FI" dirty="0"/>
              <a:t>Third </a:t>
            </a:r>
            <a:r>
              <a:rPr lang="fi-FI" dirty="0" err="1"/>
              <a:t>level</a:t>
            </a:r>
            <a:endParaRPr lang="fi-FI" dirty="0"/>
          </a:p>
        </p:txBody>
      </p:sp>
      <p:pic>
        <p:nvPicPr>
          <p:cNvPr id="9" name="Kuva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90701" y="4610131"/>
            <a:ext cx="1722251" cy="317629"/>
          </a:xfrm>
          <a:prstGeom prst="rect">
            <a:avLst/>
          </a:prstGeom>
        </p:spPr>
      </p:pic>
    </p:spTree>
    <p:extLst>
      <p:ext uri="{BB962C8B-B14F-4D97-AF65-F5344CB8AC3E}">
        <p14:creationId xmlns:p14="http://schemas.microsoft.com/office/powerpoint/2010/main" val="3978778671"/>
      </p:ext>
    </p:extLst>
  </p:cSld>
  <p:clrMapOvr>
    <a:masterClrMapping/>
  </p:clrMapOvr>
  <p:extLst>
    <p:ext uri="{DCECCB84-F9BA-43D5-87BE-67443E8EF086}">
      <p15:sldGuideLst xmlns:p15="http://schemas.microsoft.com/office/powerpoint/2012/main">
        <p15:guide id="4" pos="5534">
          <p15:clr>
            <a:srgbClr val="FBAE40"/>
          </p15:clr>
        </p15:guide>
        <p15:guide id="5" orient="horz" pos="363">
          <p15:clr>
            <a:srgbClr val="FBAE40"/>
          </p15:clr>
        </p15:guide>
        <p15:guide id="6" pos="2795">
          <p15:clr>
            <a:srgbClr val="FBAE40"/>
          </p15:clr>
        </p15:guide>
        <p15:guide id="7" pos="2965">
          <p15:clr>
            <a:srgbClr val="FBAE40"/>
          </p15:clr>
        </p15:guide>
        <p15:guide id="8" orient="horz" pos="943">
          <p15:clr>
            <a:srgbClr val="FBAE40"/>
          </p15:clr>
        </p15:guide>
        <p15:guide id="9" orient="horz" pos="3229">
          <p15:clr>
            <a:srgbClr val="FBAE40"/>
          </p15:clr>
        </p15:guide>
        <p15:guide id="10" orient="horz" pos="3433">
          <p15:clr>
            <a:srgbClr val="FBAE40"/>
          </p15:clr>
        </p15:guide>
        <p15:guide id="11" pos="18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 Body slide - 2 tables">
    <p:spTree>
      <p:nvGrpSpPr>
        <p:cNvPr id="1" name=""/>
        <p:cNvGrpSpPr/>
        <p:nvPr/>
      </p:nvGrpSpPr>
      <p:grpSpPr>
        <a:xfrm>
          <a:off x="0" y="0"/>
          <a:ext cx="0" cy="0"/>
          <a:chOff x="0" y="0"/>
          <a:chExt cx="0" cy="0"/>
        </a:xfrm>
      </p:grpSpPr>
      <p:sp>
        <p:nvSpPr>
          <p:cNvPr id="14" name="Table Placeholder 12">
            <a:extLst>
              <a:ext uri="{FF2B5EF4-FFF2-40B4-BE49-F238E27FC236}">
                <a16:creationId xmlns:a16="http://schemas.microsoft.com/office/drawing/2014/main" id="{BBBD8CFA-2274-400B-84ED-AD95B6C224E6}"/>
              </a:ext>
            </a:extLst>
          </p:cNvPr>
          <p:cNvSpPr>
            <a:spLocks noGrp="1"/>
          </p:cNvSpPr>
          <p:nvPr>
            <p:ph type="tbl" sz="quarter" idx="13" hasCustomPrompt="1"/>
          </p:nvPr>
        </p:nvSpPr>
        <p:spPr>
          <a:xfrm>
            <a:off x="287338" y="1198547"/>
            <a:ext cx="5486014" cy="1443772"/>
          </a:xfrm>
          <a:prstGeom prst="rect">
            <a:avLst/>
          </a:prstGeom>
        </p:spPr>
        <p:txBody>
          <a:bodyPr/>
          <a:lstStyle>
            <a:lvl1pPr marL="0" indent="0">
              <a:buNone/>
              <a:defRPr b="1">
                <a:solidFill>
                  <a:schemeClr val="bg1">
                    <a:lumMod val="85000"/>
                  </a:schemeClr>
                </a:solidFill>
              </a:defRPr>
            </a:lvl1pPr>
          </a:lstStyle>
          <a:p>
            <a:r>
              <a:rPr lang="fi-FI" dirty="0"/>
              <a:t>Click icon to add table</a:t>
            </a:r>
          </a:p>
        </p:txBody>
      </p:sp>
      <p:sp>
        <p:nvSpPr>
          <p:cNvPr id="13" name="Table Placeholder 12">
            <a:extLst>
              <a:ext uri="{FF2B5EF4-FFF2-40B4-BE49-F238E27FC236}">
                <a16:creationId xmlns:a16="http://schemas.microsoft.com/office/drawing/2014/main" id="{93B047F6-3228-402F-9203-526F72E0AFAD}"/>
              </a:ext>
            </a:extLst>
          </p:cNvPr>
          <p:cNvSpPr>
            <a:spLocks noGrp="1"/>
          </p:cNvSpPr>
          <p:nvPr>
            <p:ph type="tbl" sz="quarter" idx="12" hasCustomPrompt="1"/>
          </p:nvPr>
        </p:nvSpPr>
        <p:spPr>
          <a:xfrm>
            <a:off x="287338" y="2803849"/>
            <a:ext cx="5486014" cy="1480151"/>
          </a:xfrm>
          <a:prstGeom prst="rect">
            <a:avLst/>
          </a:prstGeom>
        </p:spPr>
        <p:txBody>
          <a:bodyPr/>
          <a:lstStyle>
            <a:lvl1pPr marL="0" indent="0">
              <a:buNone/>
              <a:defRPr b="1" baseline="0">
                <a:solidFill>
                  <a:schemeClr val="bg1">
                    <a:lumMod val="85000"/>
                  </a:schemeClr>
                </a:solidFill>
              </a:defRPr>
            </a:lvl1pPr>
          </a:lstStyle>
          <a:p>
            <a:r>
              <a:rPr lang="fi-FI" dirty="0"/>
              <a:t>Click icon to add table</a:t>
            </a:r>
          </a:p>
        </p:txBody>
      </p:sp>
      <p:sp>
        <p:nvSpPr>
          <p:cNvPr id="2" name="Suorakulmio 1"/>
          <p:cNvSpPr/>
          <p:nvPr userDrawn="1"/>
        </p:nvSpPr>
        <p:spPr>
          <a:xfrm>
            <a:off x="6288119" y="1198545"/>
            <a:ext cx="2167128" cy="31120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013" dirty="0"/>
          </a:p>
        </p:txBody>
      </p:sp>
      <p:sp>
        <p:nvSpPr>
          <p:cNvPr id="11" name="Text Placeholder 3"/>
          <p:cNvSpPr>
            <a:spLocks noGrp="1"/>
          </p:cNvSpPr>
          <p:nvPr>
            <p:ph type="body" sz="half" idx="10" hasCustomPrompt="1"/>
          </p:nvPr>
        </p:nvSpPr>
        <p:spPr>
          <a:xfrm>
            <a:off x="287338" y="27451"/>
            <a:ext cx="8167909" cy="1009564"/>
          </a:xfrm>
          <a:prstGeom prst="rect">
            <a:avLst/>
          </a:prstGeom>
        </p:spPr>
        <p:txBody>
          <a:bodyPr lIns="0" tIns="0" rIns="0" bIns="0"/>
          <a:lstStyle>
            <a:lvl1pPr marL="0" indent="0">
              <a:lnSpc>
                <a:spcPct val="100000"/>
              </a:lnSpc>
              <a:buNone/>
              <a:defRPr sz="4000" b="1" baseline="0">
                <a:solidFill>
                  <a:schemeClr val="tx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Body slide title</a:t>
            </a:r>
          </a:p>
        </p:txBody>
      </p:sp>
      <p:sp>
        <p:nvSpPr>
          <p:cNvPr id="8" name="Text Placeholder 7">
            <a:extLst>
              <a:ext uri="{FF2B5EF4-FFF2-40B4-BE49-F238E27FC236}">
                <a16:creationId xmlns:a16="http://schemas.microsoft.com/office/drawing/2014/main" id="{B84722C4-26CA-4157-95A3-B7176EEF8B13}"/>
              </a:ext>
            </a:extLst>
          </p:cNvPr>
          <p:cNvSpPr>
            <a:spLocks noGrp="1"/>
          </p:cNvSpPr>
          <p:nvPr>
            <p:ph type="body" sz="quarter" idx="11" hasCustomPrompt="1"/>
          </p:nvPr>
        </p:nvSpPr>
        <p:spPr>
          <a:xfrm>
            <a:off x="6558279" y="1450909"/>
            <a:ext cx="1624668" cy="2623549"/>
          </a:xfrm>
          <a:prstGeom prst="rect">
            <a:avLst/>
          </a:prstGeom>
        </p:spPr>
        <p:txBody>
          <a:bodyPr lIns="0" tIns="0" rIns="0" bIns="0"/>
          <a:lstStyle>
            <a:lvl1pPr marL="0" indent="0">
              <a:lnSpc>
                <a:spcPct val="100000"/>
              </a:lnSpc>
              <a:buNone/>
              <a:defRPr lang="en-US" sz="1700" b="1" kern="1200" dirty="0" smtClean="0">
                <a:solidFill>
                  <a:schemeClr val="bg1"/>
                </a:solidFill>
                <a:latin typeface="+mn-lt"/>
                <a:ea typeface="Arial Hebrew Scholar" charset="-79"/>
                <a:cs typeface="Arial Hebrew Scholar" charset="-79"/>
              </a:defRPr>
            </a:lvl1pPr>
            <a:lvl2pPr>
              <a:defRPr lang="en-US" sz="1500" b="1" kern="1200" dirty="0" smtClean="0">
                <a:solidFill>
                  <a:schemeClr val="bg1"/>
                </a:solidFill>
                <a:latin typeface="+mn-lt"/>
                <a:ea typeface="Arial Hebrew Scholar" charset="-79"/>
                <a:cs typeface="Arial Hebrew Scholar" charset="-79"/>
              </a:defRPr>
            </a:lvl2pPr>
            <a:lvl3pPr>
              <a:defRPr lang="en-US" sz="1500" b="1" kern="1200" dirty="0" smtClean="0">
                <a:solidFill>
                  <a:schemeClr val="bg1"/>
                </a:solidFill>
                <a:latin typeface="+mn-lt"/>
                <a:ea typeface="Arial Hebrew Scholar" charset="-79"/>
                <a:cs typeface="Arial Hebrew Scholar" charset="-79"/>
              </a:defRPr>
            </a:lvl3pPr>
            <a:lvl4pPr>
              <a:defRPr lang="en-US" sz="1500" b="1" kern="1200" dirty="0" smtClean="0">
                <a:solidFill>
                  <a:schemeClr val="bg1"/>
                </a:solidFill>
                <a:latin typeface="+mn-lt"/>
                <a:ea typeface="Arial Hebrew Scholar" charset="-79"/>
                <a:cs typeface="Arial Hebrew Scholar" charset="-79"/>
              </a:defRPr>
            </a:lvl4pPr>
            <a:lvl5pPr>
              <a:defRPr lang="fi-FI" sz="1500" b="1" kern="1200" dirty="0">
                <a:solidFill>
                  <a:schemeClr val="bg1"/>
                </a:solidFill>
                <a:latin typeface="+mn-lt"/>
                <a:ea typeface="Arial Hebrew Scholar" charset="-79"/>
                <a:cs typeface="Arial Hebrew Scholar" charset="-79"/>
              </a:defRPr>
            </a:lvl5pPr>
          </a:lstStyle>
          <a:p>
            <a:pPr lvl="0"/>
            <a:r>
              <a:rPr lang="en-US" dirty="0"/>
              <a:t>Insert text here</a:t>
            </a:r>
          </a:p>
        </p:txBody>
      </p:sp>
      <p:sp>
        <p:nvSpPr>
          <p:cNvPr id="10" name="Slide Number Placeholder 5">
            <a:extLst>
              <a:ext uri="{FF2B5EF4-FFF2-40B4-BE49-F238E27FC236}">
                <a16:creationId xmlns:a16="http://schemas.microsoft.com/office/drawing/2014/main" id="{9ADAB2CE-4212-44E9-B137-C1C680FB619A}"/>
              </a:ext>
            </a:extLst>
          </p:cNvPr>
          <p:cNvSpPr>
            <a:spLocks noGrp="1"/>
          </p:cNvSpPr>
          <p:nvPr>
            <p:ph type="sldNum" sz="quarter" idx="4"/>
          </p:nvPr>
        </p:nvSpPr>
        <p:spPr>
          <a:xfrm>
            <a:off x="6678800" y="4848629"/>
            <a:ext cx="2057400" cy="172823"/>
          </a:xfrm>
          <a:prstGeom prst="rect">
            <a:avLst/>
          </a:prstGeom>
        </p:spPr>
        <p:txBody>
          <a:bodyPr vert="horz" lIns="91440" tIns="45720" rIns="91440" bIns="45720" rtlCol="0" anchor="ctr"/>
          <a:lstStyle>
            <a:lvl1pPr algn="r">
              <a:defRPr sz="900" baseline="0">
                <a:solidFill>
                  <a:schemeClr val="tx1"/>
                </a:solidFill>
              </a:defRPr>
            </a:lvl1pPr>
          </a:lstStyle>
          <a:p>
            <a:fld id="{28F7F04C-F568-F649-A2AE-EA61C66B69B4}" type="slidenum">
              <a:rPr lang="en-US" smtClean="0"/>
              <a:pPr/>
              <a:t>‹#›</a:t>
            </a:fld>
            <a:endParaRPr lang="en-US" dirty="0"/>
          </a:p>
        </p:txBody>
      </p:sp>
      <p:sp>
        <p:nvSpPr>
          <p:cNvPr id="12" name="Date Placeholder 3">
            <a:extLst>
              <a:ext uri="{FF2B5EF4-FFF2-40B4-BE49-F238E27FC236}">
                <a16:creationId xmlns:a16="http://schemas.microsoft.com/office/drawing/2014/main" id="{F4E096FB-FCA1-4B5C-ACD6-0CEFB3F91793}"/>
              </a:ext>
            </a:extLst>
          </p:cNvPr>
          <p:cNvSpPr>
            <a:spLocks noGrp="1"/>
          </p:cNvSpPr>
          <p:nvPr>
            <p:ph type="dt" sz="half" idx="2"/>
          </p:nvPr>
        </p:nvSpPr>
        <p:spPr>
          <a:xfrm>
            <a:off x="6678800" y="4672740"/>
            <a:ext cx="2057400" cy="175889"/>
          </a:xfrm>
          <a:prstGeom prst="rect">
            <a:avLst/>
          </a:prstGeom>
        </p:spPr>
        <p:txBody>
          <a:bodyPr vert="horz" lIns="91440" tIns="45720" rIns="91440" bIns="45720" rtlCol="0" anchor="ctr"/>
          <a:lstStyle>
            <a:lvl1pPr algn="r">
              <a:defRPr sz="900" baseline="0">
                <a:solidFill>
                  <a:schemeClr val="tx1"/>
                </a:solidFill>
              </a:defRPr>
            </a:lvl1pPr>
          </a:lstStyle>
          <a:p>
            <a:r>
              <a:rPr lang="fi-FI" dirty="0"/>
              <a:t>dd.mm.yyyy</a:t>
            </a:r>
            <a:endParaRPr lang="en-US" dirty="0"/>
          </a:p>
        </p:txBody>
      </p:sp>
      <p:sp>
        <p:nvSpPr>
          <p:cNvPr id="15" name="Alatunnisteen paikkamerkki 1">
            <a:extLst>
              <a:ext uri="{FF2B5EF4-FFF2-40B4-BE49-F238E27FC236}">
                <a16:creationId xmlns:a16="http://schemas.microsoft.com/office/drawing/2014/main" id="{3C30B25E-7918-4E31-B8C8-B2EDDFA118E6}"/>
              </a:ext>
            </a:extLst>
          </p:cNvPr>
          <p:cNvSpPr>
            <a:spLocks noGrp="1"/>
          </p:cNvSpPr>
          <p:nvPr>
            <p:ph type="ftr" sz="quarter" idx="3"/>
          </p:nvPr>
        </p:nvSpPr>
        <p:spPr>
          <a:xfrm>
            <a:off x="3028950" y="4849200"/>
            <a:ext cx="3086100" cy="172800"/>
          </a:xfrm>
          <a:prstGeom prst="rect">
            <a:avLst/>
          </a:prstGeom>
        </p:spPr>
        <p:txBody>
          <a:bodyPr vert="horz" lIns="91440" tIns="45720" rIns="91440" bIns="45720" rtlCol="0" anchor="ctr"/>
          <a:lstStyle>
            <a:lvl1pPr algn="ctr">
              <a:defRPr sz="900">
                <a:solidFill>
                  <a:schemeClr val="tx1"/>
                </a:solidFill>
              </a:defRPr>
            </a:lvl1pPr>
          </a:lstStyle>
          <a:p>
            <a:r>
              <a:rPr lang="fi-FI" dirty="0"/>
              <a:t>Your text here</a:t>
            </a:r>
          </a:p>
        </p:txBody>
      </p:sp>
      <p:pic>
        <p:nvPicPr>
          <p:cNvPr id="18" name="Kuva 1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8790"/>
            <a:ext cx="2073704" cy="856800"/>
          </a:xfrm>
          <a:prstGeom prst="rect">
            <a:avLst/>
          </a:prstGeom>
        </p:spPr>
      </p:pic>
    </p:spTree>
    <p:extLst>
      <p:ext uri="{BB962C8B-B14F-4D97-AF65-F5344CB8AC3E}">
        <p14:creationId xmlns:p14="http://schemas.microsoft.com/office/powerpoint/2010/main" val="3743304742"/>
      </p:ext>
    </p:extLst>
  </p:cSld>
  <p:clrMapOvr>
    <a:masterClrMapping/>
  </p:clrMapOvr>
  <p:extLst>
    <p:ext uri="{DCECCB84-F9BA-43D5-87BE-67443E8EF086}">
      <p15:sldGuideLst xmlns:p15="http://schemas.microsoft.com/office/powerpoint/2012/main">
        <p15:guide id="1" pos="5534" userDrawn="1">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A75B5C4-C9F4-4859-80E2-FD3BDA9A007F}" type="datetime1">
              <a:rPr lang="fi-FI" smtClean="0"/>
              <a:t>5.11.2023</a:t>
            </a:fld>
            <a:endParaRPr lang="en-US"/>
          </a:p>
        </p:txBody>
      </p:sp>
      <p:sp>
        <p:nvSpPr>
          <p:cNvPr id="3" name="Footer Placeholder 2"/>
          <p:cNvSpPr>
            <a:spLocks noGrp="1"/>
          </p:cNvSpPr>
          <p:nvPr>
            <p:ph type="ftr" sz="quarter" idx="11"/>
          </p:nvPr>
        </p:nvSpPr>
        <p:spPr/>
        <p:txBody>
          <a:bodyPr/>
          <a:lstStyle/>
          <a:p>
            <a:r>
              <a:rPr lang="en-US"/>
              <a:t>© Aalto University Executive Education</a:t>
            </a:r>
          </a:p>
        </p:txBody>
      </p:sp>
      <p:sp>
        <p:nvSpPr>
          <p:cNvPr id="4" name="Slide Number Placeholder 3"/>
          <p:cNvSpPr>
            <a:spLocks noGrp="1"/>
          </p:cNvSpPr>
          <p:nvPr>
            <p:ph type="sldNum" sz="quarter" idx="12"/>
          </p:nvPr>
        </p:nvSpPr>
        <p:spPr/>
        <p:txBody>
          <a:bodyPr/>
          <a:lstStyle/>
          <a:p>
            <a:fld id="{FCCA222D-FCF7-48C1-A274-EBDDEF75DC66}" type="slidenum">
              <a:rPr lang="en-US" smtClean="0"/>
              <a:t>‹#›</a:t>
            </a:fld>
            <a:endParaRPr lang="en-US"/>
          </a:p>
        </p:txBody>
      </p:sp>
    </p:spTree>
    <p:extLst>
      <p:ext uri="{BB962C8B-B14F-4D97-AF65-F5344CB8AC3E}">
        <p14:creationId xmlns:p14="http://schemas.microsoft.com/office/powerpoint/2010/main" val="64606557"/>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cSld name="Sisältö">
    <p:spTree>
      <p:nvGrpSpPr>
        <p:cNvPr id="1" name=""/>
        <p:cNvGrpSpPr/>
        <p:nvPr/>
      </p:nvGrpSpPr>
      <p:grpSpPr>
        <a:xfrm>
          <a:off x="0" y="0"/>
          <a:ext cx="0" cy="0"/>
          <a:chOff x="0" y="0"/>
          <a:chExt cx="0" cy="0"/>
        </a:xfrm>
      </p:grpSpPr>
      <p:cxnSp>
        <p:nvCxnSpPr>
          <p:cNvPr id="4" name="Straight Connector 3"/>
          <p:cNvCxnSpPr/>
          <p:nvPr/>
        </p:nvCxnSpPr>
        <p:spPr>
          <a:xfrm>
            <a:off x="539750" y="4324350"/>
            <a:ext cx="8085138" cy="0"/>
          </a:xfrm>
          <a:prstGeom prst="line">
            <a:avLst/>
          </a:prstGeom>
          <a:ln w="12700" cmpd="sng">
            <a:solidFill>
              <a:schemeClr val="accent1"/>
            </a:solidFill>
          </a:ln>
          <a:effectLst/>
        </p:spPr>
        <p:style>
          <a:lnRef idx="2">
            <a:schemeClr val="accent1"/>
          </a:lnRef>
          <a:fillRef idx="0">
            <a:schemeClr val="accent1"/>
          </a:fillRef>
          <a:effectRef idx="1">
            <a:schemeClr val="accent1"/>
          </a:effectRef>
          <a:fontRef idx="minor">
            <a:schemeClr val="tx1"/>
          </a:fontRef>
        </p:style>
      </p:cxnSp>
      <p:pic>
        <p:nvPicPr>
          <p:cNvPr id="5" name="Picture 5"/>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174628" y="4199336"/>
            <a:ext cx="2778125" cy="8953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9" name="Title 1"/>
          <p:cNvSpPr>
            <a:spLocks noGrp="1"/>
          </p:cNvSpPr>
          <p:nvPr>
            <p:ph type="ctrTitle"/>
          </p:nvPr>
        </p:nvSpPr>
        <p:spPr>
          <a:xfrm>
            <a:off x="540004" y="285750"/>
            <a:ext cx="8085599" cy="896848"/>
          </a:xfrm>
          <a:prstGeom prst="rect">
            <a:avLst/>
          </a:prstGeom>
        </p:spPr>
        <p:txBody>
          <a:bodyPr lIns="0" tIns="0" rIns="0" bIns="0" anchor="t" anchorCtr="0">
            <a:noAutofit/>
          </a:bodyPr>
          <a:lstStyle>
            <a:lvl1pPr algn="l">
              <a:lnSpc>
                <a:spcPct val="85000"/>
              </a:lnSpc>
              <a:defRPr sz="2700" b="1" spc="-75">
                <a:solidFill>
                  <a:schemeClr val="accent1"/>
                </a:solidFill>
              </a:defRPr>
            </a:lvl1pPr>
          </a:lstStyle>
          <a:p>
            <a:r>
              <a:rPr lang="fi-FI"/>
              <a:t>Click to edit Master title style</a:t>
            </a:r>
            <a:endParaRPr lang="en-US" dirty="0"/>
          </a:p>
        </p:txBody>
      </p:sp>
      <p:sp>
        <p:nvSpPr>
          <p:cNvPr id="11" name="Content Placeholder 10"/>
          <p:cNvSpPr>
            <a:spLocks noGrp="1"/>
          </p:cNvSpPr>
          <p:nvPr>
            <p:ph sz="quarter" idx="14"/>
          </p:nvPr>
        </p:nvSpPr>
        <p:spPr>
          <a:xfrm>
            <a:off x="540004" y="1264258"/>
            <a:ext cx="8085599" cy="2873668"/>
          </a:xfrm>
          <a:prstGeom prst="rect">
            <a:avLst/>
          </a:prstGeom>
        </p:spPr>
        <p:txBody>
          <a:bodyPr vert="horz" lIns="0" tIns="0" rIns="0" bIns="0"/>
          <a:lstStyle>
            <a:lvl1pPr marL="0" indent="0">
              <a:buNone/>
              <a:defRPr sz="1530" b="1">
                <a:latin typeface="+mj-lt"/>
              </a:defRPr>
            </a:lvl1pPr>
            <a:lvl2pPr marL="178186" indent="-159287">
              <a:buFont typeface="Arial"/>
              <a:buChar char="•"/>
              <a:defRPr sz="1440">
                <a:latin typeface="Georgia"/>
              </a:defRPr>
            </a:lvl2pPr>
            <a:lvl3pPr marL="345573" indent="-172787">
              <a:buFont typeface="Lucida Grande"/>
              <a:buChar char="-"/>
              <a:defRPr sz="1170" i="1">
                <a:latin typeface="Georgia"/>
                <a:cs typeface="Georgia"/>
              </a:defRPr>
            </a:lvl3pPr>
            <a:lvl4pPr marL="593953" indent="-145788">
              <a:buFont typeface="Arial"/>
              <a:buChar char="•"/>
              <a:defRPr sz="1080" baseline="0">
                <a:latin typeface="Georgia"/>
              </a:defRPr>
            </a:lvl4pPr>
            <a:lvl5pPr marL="815335" indent="-171437">
              <a:buFont typeface="Courier New"/>
              <a:buChar char="o"/>
              <a:defRPr sz="990" baseline="0"/>
            </a:lvl5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6" name="Date Placeholder 7"/>
          <p:cNvSpPr>
            <a:spLocks noGrp="1"/>
          </p:cNvSpPr>
          <p:nvPr>
            <p:ph type="dt" sz="half" idx="15"/>
          </p:nvPr>
        </p:nvSpPr>
        <p:spPr/>
        <p:txBody>
          <a:bodyPr/>
          <a:lstStyle>
            <a:lvl1pPr>
              <a:defRPr/>
            </a:lvl1pPr>
          </a:lstStyle>
          <a:p>
            <a:pPr defTabSz="411463" fontAlgn="base">
              <a:spcBef>
                <a:spcPct val="0"/>
              </a:spcBef>
              <a:spcAft>
                <a:spcPct val="0"/>
              </a:spcAft>
              <a:defRPr/>
            </a:pPr>
            <a:fld id="{63FF88FE-95CB-A641-8E65-FE27D4B17C1E}" type="datetime1">
              <a:rPr lang="en-US" smtClean="0">
                <a:solidFill>
                  <a:prstClr val="black">
                    <a:tint val="75000"/>
                  </a:prstClr>
                </a:solidFill>
                <a:ea typeface="ＭＳ Ｐゴシック" charset="0"/>
              </a:rPr>
              <a:pPr defTabSz="411463" fontAlgn="base">
                <a:spcBef>
                  <a:spcPct val="0"/>
                </a:spcBef>
                <a:spcAft>
                  <a:spcPct val="0"/>
                </a:spcAft>
                <a:defRPr/>
              </a:pPr>
              <a:t>6.11.2023</a:t>
            </a:fld>
            <a:endParaRPr lang="en-US">
              <a:solidFill>
                <a:prstClr val="black">
                  <a:tint val="75000"/>
                </a:prstClr>
              </a:solidFill>
              <a:ea typeface="ＭＳ Ｐゴシック" charset="0"/>
            </a:endParaRPr>
          </a:p>
        </p:txBody>
      </p:sp>
      <p:sp>
        <p:nvSpPr>
          <p:cNvPr id="7" name="Footer Placeholder 8"/>
          <p:cNvSpPr>
            <a:spLocks noGrp="1"/>
          </p:cNvSpPr>
          <p:nvPr>
            <p:ph type="ftr" sz="quarter" idx="16"/>
          </p:nvPr>
        </p:nvSpPr>
        <p:spPr/>
        <p:txBody>
          <a:bodyPr/>
          <a:lstStyle>
            <a:lvl1pPr>
              <a:defRPr/>
            </a:lvl1pPr>
          </a:lstStyle>
          <a:p>
            <a:pPr defTabSz="411463" fontAlgn="base">
              <a:spcBef>
                <a:spcPct val="0"/>
              </a:spcBef>
              <a:spcAft>
                <a:spcPct val="0"/>
              </a:spcAft>
              <a:defRPr/>
            </a:pPr>
            <a:endParaRPr lang="en-US">
              <a:solidFill>
                <a:prstClr val="black">
                  <a:tint val="75000"/>
                </a:prstClr>
              </a:solidFill>
              <a:ea typeface="ＭＳ Ｐゴシック" charset="0"/>
            </a:endParaRPr>
          </a:p>
        </p:txBody>
      </p:sp>
      <p:sp>
        <p:nvSpPr>
          <p:cNvPr id="8" name="Slide Number Placeholder 9"/>
          <p:cNvSpPr>
            <a:spLocks noGrp="1"/>
          </p:cNvSpPr>
          <p:nvPr>
            <p:ph type="sldNum" sz="quarter" idx="17"/>
          </p:nvPr>
        </p:nvSpPr>
        <p:spPr/>
        <p:txBody>
          <a:bodyPr/>
          <a:lstStyle>
            <a:lvl1pPr>
              <a:defRPr/>
            </a:lvl1pPr>
          </a:lstStyle>
          <a:p>
            <a:pPr defTabSz="411463" fontAlgn="base">
              <a:spcBef>
                <a:spcPct val="0"/>
              </a:spcBef>
              <a:spcAft>
                <a:spcPct val="0"/>
              </a:spcAft>
              <a:defRPr/>
            </a:pPr>
            <a:fld id="{A21D5861-1556-A548-A323-8FD817FF60B0}" type="slidenum">
              <a:rPr lang="en-US" smtClean="0">
                <a:solidFill>
                  <a:prstClr val="black">
                    <a:tint val="75000"/>
                  </a:prstClr>
                </a:solidFill>
                <a:ea typeface="ＭＳ Ｐゴシック" charset="0"/>
              </a:rPr>
              <a:pPr defTabSz="411463" fontAlgn="base">
                <a:spcBef>
                  <a:spcPct val="0"/>
                </a:spcBef>
                <a:spcAft>
                  <a:spcPct val="0"/>
                </a:spcAft>
                <a:defRPr/>
              </a:pPr>
              <a:t>‹#›</a:t>
            </a:fld>
            <a:endParaRPr lang="en-US">
              <a:solidFill>
                <a:prstClr val="black">
                  <a:tint val="75000"/>
                </a:prstClr>
              </a:solidFill>
              <a:ea typeface="ＭＳ Ｐゴシック" charset="0"/>
            </a:endParaRPr>
          </a:p>
        </p:txBody>
      </p:sp>
    </p:spTree>
    <p:extLst>
      <p:ext uri="{BB962C8B-B14F-4D97-AF65-F5344CB8AC3E}">
        <p14:creationId xmlns:p14="http://schemas.microsoft.com/office/powerpoint/2010/main" val="936226022"/>
      </p:ext>
    </p:extLst>
  </p:cSld>
  <p:clrMapOvr>
    <a:masterClrMapping/>
  </p:clrMapOvr>
  <p:hf sldNum="0" hdr="0" ftr="0" dt="0"/>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 preserve="1">
  <p:cSld name="Otsikkodia">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B53E1A91-08BD-483E-AB9B-B29860BBE1F8}"/>
              </a:ext>
            </a:extLst>
          </p:cNvPr>
          <p:cNvSpPr>
            <a:spLocks noGrp="1"/>
          </p:cNvSpPr>
          <p:nvPr>
            <p:ph type="ctrTitle"/>
          </p:nvPr>
        </p:nvSpPr>
        <p:spPr>
          <a:xfrm>
            <a:off x="1143000" y="841772"/>
            <a:ext cx="6858000" cy="1790700"/>
          </a:xfrm>
        </p:spPr>
        <p:txBody>
          <a:bodyPr anchor="b"/>
          <a:lstStyle>
            <a:lvl1pPr algn="ctr">
              <a:defRPr sz="4500"/>
            </a:lvl1pPr>
          </a:lstStyle>
          <a:p>
            <a:r>
              <a:rPr lang="fi-FI"/>
              <a:t>Muokkaa ots. perustyyl. napsautt.</a:t>
            </a:r>
          </a:p>
        </p:txBody>
      </p:sp>
      <p:sp>
        <p:nvSpPr>
          <p:cNvPr id="3" name="Alaotsikko 2">
            <a:extLst>
              <a:ext uri="{FF2B5EF4-FFF2-40B4-BE49-F238E27FC236}">
                <a16:creationId xmlns:a16="http://schemas.microsoft.com/office/drawing/2014/main" id="{4F367A00-727C-47D8-9555-4589550A8E46}"/>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fi-FI"/>
              <a:t>Muokkaa alaotsikon perustyyliä napsautt.</a:t>
            </a:r>
          </a:p>
        </p:txBody>
      </p:sp>
      <p:sp>
        <p:nvSpPr>
          <p:cNvPr id="4" name="Päivämäärän paikkamerkki 3">
            <a:extLst>
              <a:ext uri="{FF2B5EF4-FFF2-40B4-BE49-F238E27FC236}">
                <a16:creationId xmlns:a16="http://schemas.microsoft.com/office/drawing/2014/main" id="{E9287BB2-1B62-4BC3-B8FE-02BF4475CF9C}"/>
              </a:ext>
            </a:extLst>
          </p:cNvPr>
          <p:cNvSpPr>
            <a:spLocks noGrp="1"/>
          </p:cNvSpPr>
          <p:nvPr>
            <p:ph type="dt" sz="half" idx="10"/>
          </p:nvPr>
        </p:nvSpPr>
        <p:spPr/>
        <p:txBody>
          <a:bodyPr/>
          <a:lstStyle/>
          <a:p>
            <a:fld id="{8ECA3837-AF22-4662-B83E-FA12A6369B85}" type="datetimeFigureOut">
              <a:rPr lang="fi-FI" smtClean="0"/>
              <a:t>5.11.2023</a:t>
            </a:fld>
            <a:endParaRPr lang="fi-FI"/>
          </a:p>
        </p:txBody>
      </p:sp>
      <p:sp>
        <p:nvSpPr>
          <p:cNvPr id="5" name="Alatunnisteen paikkamerkki 4">
            <a:extLst>
              <a:ext uri="{FF2B5EF4-FFF2-40B4-BE49-F238E27FC236}">
                <a16:creationId xmlns:a16="http://schemas.microsoft.com/office/drawing/2014/main" id="{77AF7150-DED7-4B94-B149-9DF73F8D3158}"/>
              </a:ext>
            </a:extLst>
          </p:cNvPr>
          <p:cNvSpPr>
            <a:spLocks noGrp="1"/>
          </p:cNvSpPr>
          <p:nvPr>
            <p:ph type="ftr" sz="quarter" idx="11"/>
          </p:nvPr>
        </p:nvSpPr>
        <p:spPr/>
        <p:txBody>
          <a:bodyPr/>
          <a:lstStyle/>
          <a:p>
            <a:endParaRPr lang="fi-FI"/>
          </a:p>
        </p:txBody>
      </p:sp>
      <p:sp>
        <p:nvSpPr>
          <p:cNvPr id="6" name="Dian numeron paikkamerkki 5">
            <a:extLst>
              <a:ext uri="{FF2B5EF4-FFF2-40B4-BE49-F238E27FC236}">
                <a16:creationId xmlns:a16="http://schemas.microsoft.com/office/drawing/2014/main" id="{CD57C10C-90DA-4909-BE9A-95073C9B436F}"/>
              </a:ext>
            </a:extLst>
          </p:cNvPr>
          <p:cNvSpPr>
            <a:spLocks noGrp="1"/>
          </p:cNvSpPr>
          <p:nvPr>
            <p:ph type="sldNum" sz="quarter" idx="12"/>
          </p:nvPr>
        </p:nvSpPr>
        <p:spPr/>
        <p:txBody>
          <a:bodyPr/>
          <a:lstStyle/>
          <a:p>
            <a:fld id="{A35A6EF0-D12E-44F6-820E-FBAC19C5152B}" type="slidenum">
              <a:rPr lang="fi-FI" smtClean="0"/>
              <a:t>‹#›</a:t>
            </a:fld>
            <a:endParaRPr lang="fi-FI"/>
          </a:p>
        </p:txBody>
      </p:sp>
    </p:spTree>
    <p:extLst>
      <p:ext uri="{BB962C8B-B14F-4D97-AF65-F5344CB8AC3E}">
        <p14:creationId xmlns:p14="http://schemas.microsoft.com/office/powerpoint/2010/main" val="2637206674"/>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obj" preserve="1">
  <p:cSld name="Otsikko ja sisältö">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97DF25AB-B8A7-4DAF-8D51-907AC75EA59A}"/>
              </a:ext>
            </a:extLst>
          </p:cNvPr>
          <p:cNvSpPr>
            <a:spLocks noGrp="1"/>
          </p:cNvSpPr>
          <p:nvPr>
            <p:ph type="title"/>
          </p:nvPr>
        </p:nvSpPr>
        <p:spPr/>
        <p:txBody>
          <a:bodyPr/>
          <a:lstStyle/>
          <a:p>
            <a:r>
              <a:rPr lang="fi-FI"/>
              <a:t>Muokkaa ots. perustyyl. napsautt.</a:t>
            </a:r>
          </a:p>
        </p:txBody>
      </p:sp>
      <p:sp>
        <p:nvSpPr>
          <p:cNvPr id="3" name="Sisällön paikkamerkki 2">
            <a:extLst>
              <a:ext uri="{FF2B5EF4-FFF2-40B4-BE49-F238E27FC236}">
                <a16:creationId xmlns:a16="http://schemas.microsoft.com/office/drawing/2014/main" id="{6AFF2D85-3A09-417D-A1FE-1FA2214950E5}"/>
              </a:ext>
            </a:extLst>
          </p:cNvPr>
          <p:cNvSpPr>
            <a:spLocks noGrp="1"/>
          </p:cNvSpPr>
          <p:nvPr>
            <p:ph idx="1"/>
          </p:nvPr>
        </p:nvSpPr>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Päivämäärän paikkamerkki 3">
            <a:extLst>
              <a:ext uri="{FF2B5EF4-FFF2-40B4-BE49-F238E27FC236}">
                <a16:creationId xmlns:a16="http://schemas.microsoft.com/office/drawing/2014/main" id="{C24926AB-E9D7-48C9-A5FF-D13CFC69C849}"/>
              </a:ext>
            </a:extLst>
          </p:cNvPr>
          <p:cNvSpPr>
            <a:spLocks noGrp="1"/>
          </p:cNvSpPr>
          <p:nvPr>
            <p:ph type="dt" sz="half" idx="10"/>
          </p:nvPr>
        </p:nvSpPr>
        <p:spPr/>
        <p:txBody>
          <a:bodyPr/>
          <a:lstStyle/>
          <a:p>
            <a:fld id="{8ECA3837-AF22-4662-B83E-FA12A6369B85}" type="datetimeFigureOut">
              <a:rPr lang="fi-FI" smtClean="0"/>
              <a:t>5.11.2023</a:t>
            </a:fld>
            <a:endParaRPr lang="fi-FI"/>
          </a:p>
        </p:txBody>
      </p:sp>
      <p:sp>
        <p:nvSpPr>
          <p:cNvPr id="5" name="Alatunnisteen paikkamerkki 4">
            <a:extLst>
              <a:ext uri="{FF2B5EF4-FFF2-40B4-BE49-F238E27FC236}">
                <a16:creationId xmlns:a16="http://schemas.microsoft.com/office/drawing/2014/main" id="{C9467714-7DAD-417B-AAC2-68DBBD63EEFA}"/>
              </a:ext>
            </a:extLst>
          </p:cNvPr>
          <p:cNvSpPr>
            <a:spLocks noGrp="1"/>
          </p:cNvSpPr>
          <p:nvPr>
            <p:ph type="ftr" sz="quarter" idx="11"/>
          </p:nvPr>
        </p:nvSpPr>
        <p:spPr/>
        <p:txBody>
          <a:bodyPr/>
          <a:lstStyle/>
          <a:p>
            <a:endParaRPr lang="fi-FI"/>
          </a:p>
        </p:txBody>
      </p:sp>
      <p:sp>
        <p:nvSpPr>
          <p:cNvPr id="6" name="Dian numeron paikkamerkki 5">
            <a:extLst>
              <a:ext uri="{FF2B5EF4-FFF2-40B4-BE49-F238E27FC236}">
                <a16:creationId xmlns:a16="http://schemas.microsoft.com/office/drawing/2014/main" id="{3807DE78-741A-46CC-B093-53B638F529C9}"/>
              </a:ext>
            </a:extLst>
          </p:cNvPr>
          <p:cNvSpPr>
            <a:spLocks noGrp="1"/>
          </p:cNvSpPr>
          <p:nvPr>
            <p:ph type="sldNum" sz="quarter" idx="12"/>
          </p:nvPr>
        </p:nvSpPr>
        <p:spPr/>
        <p:txBody>
          <a:bodyPr/>
          <a:lstStyle/>
          <a:p>
            <a:fld id="{A35A6EF0-D12E-44F6-820E-FBAC19C5152B}" type="slidenum">
              <a:rPr lang="fi-FI" smtClean="0"/>
              <a:t>‹#›</a:t>
            </a:fld>
            <a:endParaRPr lang="fi-FI"/>
          </a:p>
        </p:txBody>
      </p:sp>
    </p:spTree>
    <p:extLst>
      <p:ext uri="{BB962C8B-B14F-4D97-AF65-F5344CB8AC3E}">
        <p14:creationId xmlns:p14="http://schemas.microsoft.com/office/powerpoint/2010/main" val="262316542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secHead" preserve="1">
  <p:cSld name="Osan ylätunniste">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66BF234D-C73E-43BC-B74B-1DF46140FA96}"/>
              </a:ext>
            </a:extLst>
          </p:cNvPr>
          <p:cNvSpPr>
            <a:spLocks noGrp="1"/>
          </p:cNvSpPr>
          <p:nvPr>
            <p:ph type="title"/>
          </p:nvPr>
        </p:nvSpPr>
        <p:spPr>
          <a:xfrm>
            <a:off x="623888" y="1282304"/>
            <a:ext cx="7886700" cy="2139553"/>
          </a:xfrm>
        </p:spPr>
        <p:txBody>
          <a:bodyPr anchor="b"/>
          <a:lstStyle>
            <a:lvl1pPr>
              <a:defRPr sz="4500"/>
            </a:lvl1pPr>
          </a:lstStyle>
          <a:p>
            <a:r>
              <a:rPr lang="fi-FI"/>
              <a:t>Muokkaa ots. perustyyl. napsautt.</a:t>
            </a:r>
          </a:p>
        </p:txBody>
      </p:sp>
      <p:sp>
        <p:nvSpPr>
          <p:cNvPr id="3" name="Tekstin paikkamerkki 2">
            <a:extLst>
              <a:ext uri="{FF2B5EF4-FFF2-40B4-BE49-F238E27FC236}">
                <a16:creationId xmlns:a16="http://schemas.microsoft.com/office/drawing/2014/main" id="{B0BB39D0-F4FD-4C70-AD64-38EC8EFD917E}"/>
              </a:ext>
            </a:extLst>
          </p:cNvPr>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fi-FI"/>
              <a:t>Muokkaa tekstin perustyylejä napsauttamalla</a:t>
            </a:r>
          </a:p>
        </p:txBody>
      </p:sp>
      <p:sp>
        <p:nvSpPr>
          <p:cNvPr id="4" name="Päivämäärän paikkamerkki 3">
            <a:extLst>
              <a:ext uri="{FF2B5EF4-FFF2-40B4-BE49-F238E27FC236}">
                <a16:creationId xmlns:a16="http://schemas.microsoft.com/office/drawing/2014/main" id="{39006F17-8A19-4F36-B95F-88457C70D713}"/>
              </a:ext>
            </a:extLst>
          </p:cNvPr>
          <p:cNvSpPr>
            <a:spLocks noGrp="1"/>
          </p:cNvSpPr>
          <p:nvPr>
            <p:ph type="dt" sz="half" idx="10"/>
          </p:nvPr>
        </p:nvSpPr>
        <p:spPr/>
        <p:txBody>
          <a:bodyPr/>
          <a:lstStyle/>
          <a:p>
            <a:fld id="{8ECA3837-AF22-4662-B83E-FA12A6369B85}" type="datetimeFigureOut">
              <a:rPr lang="fi-FI" smtClean="0"/>
              <a:t>5.11.2023</a:t>
            </a:fld>
            <a:endParaRPr lang="fi-FI"/>
          </a:p>
        </p:txBody>
      </p:sp>
      <p:sp>
        <p:nvSpPr>
          <p:cNvPr id="5" name="Alatunnisteen paikkamerkki 4">
            <a:extLst>
              <a:ext uri="{FF2B5EF4-FFF2-40B4-BE49-F238E27FC236}">
                <a16:creationId xmlns:a16="http://schemas.microsoft.com/office/drawing/2014/main" id="{1735F832-4FC2-4E45-84F2-77F0E2A516C6}"/>
              </a:ext>
            </a:extLst>
          </p:cNvPr>
          <p:cNvSpPr>
            <a:spLocks noGrp="1"/>
          </p:cNvSpPr>
          <p:nvPr>
            <p:ph type="ftr" sz="quarter" idx="11"/>
          </p:nvPr>
        </p:nvSpPr>
        <p:spPr/>
        <p:txBody>
          <a:bodyPr/>
          <a:lstStyle/>
          <a:p>
            <a:endParaRPr lang="fi-FI"/>
          </a:p>
        </p:txBody>
      </p:sp>
      <p:sp>
        <p:nvSpPr>
          <p:cNvPr id="6" name="Dian numeron paikkamerkki 5">
            <a:extLst>
              <a:ext uri="{FF2B5EF4-FFF2-40B4-BE49-F238E27FC236}">
                <a16:creationId xmlns:a16="http://schemas.microsoft.com/office/drawing/2014/main" id="{B2C478A6-8839-47C8-B81C-277F4705167B}"/>
              </a:ext>
            </a:extLst>
          </p:cNvPr>
          <p:cNvSpPr>
            <a:spLocks noGrp="1"/>
          </p:cNvSpPr>
          <p:nvPr>
            <p:ph type="sldNum" sz="quarter" idx="12"/>
          </p:nvPr>
        </p:nvSpPr>
        <p:spPr/>
        <p:txBody>
          <a:bodyPr/>
          <a:lstStyle/>
          <a:p>
            <a:fld id="{A35A6EF0-D12E-44F6-820E-FBAC19C5152B}" type="slidenum">
              <a:rPr lang="fi-FI" smtClean="0"/>
              <a:t>‹#›</a:t>
            </a:fld>
            <a:endParaRPr lang="fi-FI"/>
          </a:p>
        </p:txBody>
      </p:sp>
    </p:spTree>
    <p:extLst>
      <p:ext uri="{BB962C8B-B14F-4D97-AF65-F5344CB8AC3E}">
        <p14:creationId xmlns:p14="http://schemas.microsoft.com/office/powerpoint/2010/main" val="631171537"/>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twoObj" preserve="1">
  <p:cSld name="Kaksi sisältökohdetta">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24008771-AE12-441E-B5BA-36AE270954DB}"/>
              </a:ext>
            </a:extLst>
          </p:cNvPr>
          <p:cNvSpPr>
            <a:spLocks noGrp="1"/>
          </p:cNvSpPr>
          <p:nvPr>
            <p:ph type="title"/>
          </p:nvPr>
        </p:nvSpPr>
        <p:spPr/>
        <p:txBody>
          <a:bodyPr/>
          <a:lstStyle/>
          <a:p>
            <a:r>
              <a:rPr lang="fi-FI"/>
              <a:t>Muokkaa ots. perustyyl. napsautt.</a:t>
            </a:r>
          </a:p>
        </p:txBody>
      </p:sp>
      <p:sp>
        <p:nvSpPr>
          <p:cNvPr id="3" name="Sisällön paikkamerkki 2">
            <a:extLst>
              <a:ext uri="{FF2B5EF4-FFF2-40B4-BE49-F238E27FC236}">
                <a16:creationId xmlns:a16="http://schemas.microsoft.com/office/drawing/2014/main" id="{8E49AE08-D04C-44C3-A064-C3C7904DE6E2}"/>
              </a:ext>
            </a:extLst>
          </p:cNvPr>
          <p:cNvSpPr>
            <a:spLocks noGrp="1"/>
          </p:cNvSpPr>
          <p:nvPr>
            <p:ph sz="half" idx="1"/>
          </p:nvPr>
        </p:nvSpPr>
        <p:spPr>
          <a:xfrm>
            <a:off x="628650" y="1369219"/>
            <a:ext cx="3886200" cy="3263504"/>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Sisällön paikkamerkki 3">
            <a:extLst>
              <a:ext uri="{FF2B5EF4-FFF2-40B4-BE49-F238E27FC236}">
                <a16:creationId xmlns:a16="http://schemas.microsoft.com/office/drawing/2014/main" id="{EB998E08-940D-45D8-BA4B-9E1D2BABFA28}"/>
              </a:ext>
            </a:extLst>
          </p:cNvPr>
          <p:cNvSpPr>
            <a:spLocks noGrp="1"/>
          </p:cNvSpPr>
          <p:nvPr>
            <p:ph sz="half" idx="2"/>
          </p:nvPr>
        </p:nvSpPr>
        <p:spPr>
          <a:xfrm>
            <a:off x="4629150" y="1369219"/>
            <a:ext cx="3886200" cy="3263504"/>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5" name="Päivämäärän paikkamerkki 4">
            <a:extLst>
              <a:ext uri="{FF2B5EF4-FFF2-40B4-BE49-F238E27FC236}">
                <a16:creationId xmlns:a16="http://schemas.microsoft.com/office/drawing/2014/main" id="{57293665-0B1D-4FB9-877F-0EFB55E14245}"/>
              </a:ext>
            </a:extLst>
          </p:cNvPr>
          <p:cNvSpPr>
            <a:spLocks noGrp="1"/>
          </p:cNvSpPr>
          <p:nvPr>
            <p:ph type="dt" sz="half" idx="10"/>
          </p:nvPr>
        </p:nvSpPr>
        <p:spPr/>
        <p:txBody>
          <a:bodyPr/>
          <a:lstStyle/>
          <a:p>
            <a:fld id="{8ECA3837-AF22-4662-B83E-FA12A6369B85}" type="datetimeFigureOut">
              <a:rPr lang="fi-FI" smtClean="0"/>
              <a:t>5.11.2023</a:t>
            </a:fld>
            <a:endParaRPr lang="fi-FI"/>
          </a:p>
        </p:txBody>
      </p:sp>
      <p:sp>
        <p:nvSpPr>
          <p:cNvPr id="6" name="Alatunnisteen paikkamerkki 5">
            <a:extLst>
              <a:ext uri="{FF2B5EF4-FFF2-40B4-BE49-F238E27FC236}">
                <a16:creationId xmlns:a16="http://schemas.microsoft.com/office/drawing/2014/main" id="{2D6F42F8-4E69-4865-A2CE-602FC6CE7CB5}"/>
              </a:ext>
            </a:extLst>
          </p:cNvPr>
          <p:cNvSpPr>
            <a:spLocks noGrp="1"/>
          </p:cNvSpPr>
          <p:nvPr>
            <p:ph type="ftr" sz="quarter" idx="11"/>
          </p:nvPr>
        </p:nvSpPr>
        <p:spPr/>
        <p:txBody>
          <a:bodyPr/>
          <a:lstStyle/>
          <a:p>
            <a:endParaRPr lang="fi-FI"/>
          </a:p>
        </p:txBody>
      </p:sp>
      <p:sp>
        <p:nvSpPr>
          <p:cNvPr id="7" name="Dian numeron paikkamerkki 6">
            <a:extLst>
              <a:ext uri="{FF2B5EF4-FFF2-40B4-BE49-F238E27FC236}">
                <a16:creationId xmlns:a16="http://schemas.microsoft.com/office/drawing/2014/main" id="{83935BC2-8ACB-49E7-86DE-3493159A85EF}"/>
              </a:ext>
            </a:extLst>
          </p:cNvPr>
          <p:cNvSpPr>
            <a:spLocks noGrp="1"/>
          </p:cNvSpPr>
          <p:nvPr>
            <p:ph type="sldNum" sz="quarter" idx="12"/>
          </p:nvPr>
        </p:nvSpPr>
        <p:spPr/>
        <p:txBody>
          <a:bodyPr/>
          <a:lstStyle/>
          <a:p>
            <a:fld id="{A35A6EF0-D12E-44F6-820E-FBAC19C5152B}" type="slidenum">
              <a:rPr lang="fi-FI" smtClean="0"/>
              <a:t>‹#›</a:t>
            </a:fld>
            <a:endParaRPr lang="fi-FI"/>
          </a:p>
        </p:txBody>
      </p:sp>
    </p:spTree>
    <p:extLst>
      <p:ext uri="{BB962C8B-B14F-4D97-AF65-F5344CB8AC3E}">
        <p14:creationId xmlns:p14="http://schemas.microsoft.com/office/powerpoint/2010/main" val="590688113"/>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twoTxTwoObj" preserve="1">
  <p:cSld name="Vertailu">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84AC24D5-CC6D-45FD-B6AA-E90919541714}"/>
              </a:ext>
            </a:extLst>
          </p:cNvPr>
          <p:cNvSpPr>
            <a:spLocks noGrp="1"/>
          </p:cNvSpPr>
          <p:nvPr>
            <p:ph type="title"/>
          </p:nvPr>
        </p:nvSpPr>
        <p:spPr>
          <a:xfrm>
            <a:off x="629841" y="273844"/>
            <a:ext cx="7886700" cy="994172"/>
          </a:xfrm>
        </p:spPr>
        <p:txBody>
          <a:bodyPr/>
          <a:lstStyle/>
          <a:p>
            <a:r>
              <a:rPr lang="fi-FI"/>
              <a:t>Muokkaa ots. perustyyl. napsautt.</a:t>
            </a:r>
          </a:p>
        </p:txBody>
      </p:sp>
      <p:sp>
        <p:nvSpPr>
          <p:cNvPr id="3" name="Tekstin paikkamerkki 2">
            <a:extLst>
              <a:ext uri="{FF2B5EF4-FFF2-40B4-BE49-F238E27FC236}">
                <a16:creationId xmlns:a16="http://schemas.microsoft.com/office/drawing/2014/main" id="{E315C187-B87F-4742-A56C-EAFD29C237D5}"/>
              </a:ext>
            </a:extLst>
          </p:cNvPr>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i-FI"/>
              <a:t>Muokkaa tekstin perustyylejä napsauttamalla</a:t>
            </a:r>
          </a:p>
        </p:txBody>
      </p:sp>
      <p:sp>
        <p:nvSpPr>
          <p:cNvPr id="4" name="Sisällön paikkamerkki 3">
            <a:extLst>
              <a:ext uri="{FF2B5EF4-FFF2-40B4-BE49-F238E27FC236}">
                <a16:creationId xmlns:a16="http://schemas.microsoft.com/office/drawing/2014/main" id="{29EECEC9-DC4A-4F4A-A1AD-9E3153636BF2}"/>
              </a:ext>
            </a:extLst>
          </p:cNvPr>
          <p:cNvSpPr>
            <a:spLocks noGrp="1"/>
          </p:cNvSpPr>
          <p:nvPr>
            <p:ph sz="half" idx="2"/>
          </p:nvPr>
        </p:nvSpPr>
        <p:spPr>
          <a:xfrm>
            <a:off x="629842" y="1878806"/>
            <a:ext cx="3868340" cy="2763441"/>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5" name="Tekstin paikkamerkki 4">
            <a:extLst>
              <a:ext uri="{FF2B5EF4-FFF2-40B4-BE49-F238E27FC236}">
                <a16:creationId xmlns:a16="http://schemas.microsoft.com/office/drawing/2014/main" id="{00744085-843A-4EC6-8788-4526C9E242DA}"/>
              </a:ext>
            </a:extLst>
          </p:cNvPr>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i-FI"/>
              <a:t>Muokkaa tekstin perustyylejä napsauttamalla</a:t>
            </a:r>
          </a:p>
        </p:txBody>
      </p:sp>
      <p:sp>
        <p:nvSpPr>
          <p:cNvPr id="6" name="Sisällön paikkamerkki 5">
            <a:extLst>
              <a:ext uri="{FF2B5EF4-FFF2-40B4-BE49-F238E27FC236}">
                <a16:creationId xmlns:a16="http://schemas.microsoft.com/office/drawing/2014/main" id="{ABD63699-A720-4D7B-8673-A63C3BD4383F}"/>
              </a:ext>
            </a:extLst>
          </p:cNvPr>
          <p:cNvSpPr>
            <a:spLocks noGrp="1"/>
          </p:cNvSpPr>
          <p:nvPr>
            <p:ph sz="quarter" idx="4"/>
          </p:nvPr>
        </p:nvSpPr>
        <p:spPr>
          <a:xfrm>
            <a:off x="4629150" y="1878806"/>
            <a:ext cx="3887391" cy="2763441"/>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7" name="Päivämäärän paikkamerkki 6">
            <a:extLst>
              <a:ext uri="{FF2B5EF4-FFF2-40B4-BE49-F238E27FC236}">
                <a16:creationId xmlns:a16="http://schemas.microsoft.com/office/drawing/2014/main" id="{F36DBE97-469D-4BD0-92B0-C62DB87E3423}"/>
              </a:ext>
            </a:extLst>
          </p:cNvPr>
          <p:cNvSpPr>
            <a:spLocks noGrp="1"/>
          </p:cNvSpPr>
          <p:nvPr>
            <p:ph type="dt" sz="half" idx="10"/>
          </p:nvPr>
        </p:nvSpPr>
        <p:spPr/>
        <p:txBody>
          <a:bodyPr/>
          <a:lstStyle/>
          <a:p>
            <a:fld id="{8ECA3837-AF22-4662-B83E-FA12A6369B85}" type="datetimeFigureOut">
              <a:rPr lang="fi-FI" smtClean="0"/>
              <a:t>5.11.2023</a:t>
            </a:fld>
            <a:endParaRPr lang="fi-FI"/>
          </a:p>
        </p:txBody>
      </p:sp>
      <p:sp>
        <p:nvSpPr>
          <p:cNvPr id="8" name="Alatunnisteen paikkamerkki 7">
            <a:extLst>
              <a:ext uri="{FF2B5EF4-FFF2-40B4-BE49-F238E27FC236}">
                <a16:creationId xmlns:a16="http://schemas.microsoft.com/office/drawing/2014/main" id="{114D3781-ED21-44DC-82EF-7E17C82392AA}"/>
              </a:ext>
            </a:extLst>
          </p:cNvPr>
          <p:cNvSpPr>
            <a:spLocks noGrp="1"/>
          </p:cNvSpPr>
          <p:nvPr>
            <p:ph type="ftr" sz="quarter" idx="11"/>
          </p:nvPr>
        </p:nvSpPr>
        <p:spPr/>
        <p:txBody>
          <a:bodyPr/>
          <a:lstStyle/>
          <a:p>
            <a:endParaRPr lang="fi-FI"/>
          </a:p>
        </p:txBody>
      </p:sp>
      <p:sp>
        <p:nvSpPr>
          <p:cNvPr id="9" name="Dian numeron paikkamerkki 8">
            <a:extLst>
              <a:ext uri="{FF2B5EF4-FFF2-40B4-BE49-F238E27FC236}">
                <a16:creationId xmlns:a16="http://schemas.microsoft.com/office/drawing/2014/main" id="{C8AA5678-D80F-4007-8492-2C99DBCC14AC}"/>
              </a:ext>
            </a:extLst>
          </p:cNvPr>
          <p:cNvSpPr>
            <a:spLocks noGrp="1"/>
          </p:cNvSpPr>
          <p:nvPr>
            <p:ph type="sldNum" sz="quarter" idx="12"/>
          </p:nvPr>
        </p:nvSpPr>
        <p:spPr/>
        <p:txBody>
          <a:bodyPr/>
          <a:lstStyle/>
          <a:p>
            <a:fld id="{A35A6EF0-D12E-44F6-820E-FBAC19C5152B}" type="slidenum">
              <a:rPr lang="fi-FI" smtClean="0"/>
              <a:t>‹#›</a:t>
            </a:fld>
            <a:endParaRPr lang="fi-FI"/>
          </a:p>
        </p:txBody>
      </p:sp>
    </p:spTree>
    <p:extLst>
      <p:ext uri="{BB962C8B-B14F-4D97-AF65-F5344CB8AC3E}">
        <p14:creationId xmlns:p14="http://schemas.microsoft.com/office/powerpoint/2010/main" val="2418155434"/>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titleOnly" preserve="1">
  <p:cSld name="Vain otsikko">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13F436DD-907B-43CC-904B-8DF3E31BE627}"/>
              </a:ext>
            </a:extLst>
          </p:cNvPr>
          <p:cNvSpPr>
            <a:spLocks noGrp="1"/>
          </p:cNvSpPr>
          <p:nvPr>
            <p:ph type="title"/>
          </p:nvPr>
        </p:nvSpPr>
        <p:spPr/>
        <p:txBody>
          <a:bodyPr/>
          <a:lstStyle/>
          <a:p>
            <a:r>
              <a:rPr lang="fi-FI"/>
              <a:t>Muokkaa ots. perustyyl. napsautt.</a:t>
            </a:r>
          </a:p>
        </p:txBody>
      </p:sp>
      <p:sp>
        <p:nvSpPr>
          <p:cNvPr id="3" name="Päivämäärän paikkamerkki 2">
            <a:extLst>
              <a:ext uri="{FF2B5EF4-FFF2-40B4-BE49-F238E27FC236}">
                <a16:creationId xmlns:a16="http://schemas.microsoft.com/office/drawing/2014/main" id="{E019F7D1-CFAD-4191-B5C9-CC869E4430E3}"/>
              </a:ext>
            </a:extLst>
          </p:cNvPr>
          <p:cNvSpPr>
            <a:spLocks noGrp="1"/>
          </p:cNvSpPr>
          <p:nvPr>
            <p:ph type="dt" sz="half" idx="10"/>
          </p:nvPr>
        </p:nvSpPr>
        <p:spPr/>
        <p:txBody>
          <a:bodyPr/>
          <a:lstStyle/>
          <a:p>
            <a:fld id="{8ECA3837-AF22-4662-B83E-FA12A6369B85}" type="datetimeFigureOut">
              <a:rPr lang="fi-FI" smtClean="0"/>
              <a:t>5.11.2023</a:t>
            </a:fld>
            <a:endParaRPr lang="fi-FI"/>
          </a:p>
        </p:txBody>
      </p:sp>
      <p:sp>
        <p:nvSpPr>
          <p:cNvPr id="4" name="Alatunnisteen paikkamerkki 3">
            <a:extLst>
              <a:ext uri="{FF2B5EF4-FFF2-40B4-BE49-F238E27FC236}">
                <a16:creationId xmlns:a16="http://schemas.microsoft.com/office/drawing/2014/main" id="{46E72096-ECC9-40E7-814E-90D85552E15F}"/>
              </a:ext>
            </a:extLst>
          </p:cNvPr>
          <p:cNvSpPr>
            <a:spLocks noGrp="1"/>
          </p:cNvSpPr>
          <p:nvPr>
            <p:ph type="ftr" sz="quarter" idx="11"/>
          </p:nvPr>
        </p:nvSpPr>
        <p:spPr/>
        <p:txBody>
          <a:bodyPr/>
          <a:lstStyle/>
          <a:p>
            <a:endParaRPr lang="fi-FI"/>
          </a:p>
        </p:txBody>
      </p:sp>
      <p:sp>
        <p:nvSpPr>
          <p:cNvPr id="5" name="Dian numeron paikkamerkki 4">
            <a:extLst>
              <a:ext uri="{FF2B5EF4-FFF2-40B4-BE49-F238E27FC236}">
                <a16:creationId xmlns:a16="http://schemas.microsoft.com/office/drawing/2014/main" id="{32A5CD4E-569A-4F0C-B9E9-FCF724238689}"/>
              </a:ext>
            </a:extLst>
          </p:cNvPr>
          <p:cNvSpPr>
            <a:spLocks noGrp="1"/>
          </p:cNvSpPr>
          <p:nvPr>
            <p:ph type="sldNum" sz="quarter" idx="12"/>
          </p:nvPr>
        </p:nvSpPr>
        <p:spPr/>
        <p:txBody>
          <a:bodyPr/>
          <a:lstStyle/>
          <a:p>
            <a:fld id="{A35A6EF0-D12E-44F6-820E-FBAC19C5152B}" type="slidenum">
              <a:rPr lang="fi-FI" smtClean="0"/>
              <a:t>‹#›</a:t>
            </a:fld>
            <a:endParaRPr lang="fi-FI"/>
          </a:p>
        </p:txBody>
      </p:sp>
    </p:spTree>
    <p:extLst>
      <p:ext uri="{BB962C8B-B14F-4D97-AF65-F5344CB8AC3E}">
        <p14:creationId xmlns:p14="http://schemas.microsoft.com/office/powerpoint/2010/main" val="1995411185"/>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blank" preserve="1">
  <p:cSld name="Tyhjä">
    <p:spTree>
      <p:nvGrpSpPr>
        <p:cNvPr id="1" name=""/>
        <p:cNvGrpSpPr/>
        <p:nvPr/>
      </p:nvGrpSpPr>
      <p:grpSpPr>
        <a:xfrm>
          <a:off x="0" y="0"/>
          <a:ext cx="0" cy="0"/>
          <a:chOff x="0" y="0"/>
          <a:chExt cx="0" cy="0"/>
        </a:xfrm>
      </p:grpSpPr>
      <p:sp>
        <p:nvSpPr>
          <p:cNvPr id="2" name="Päivämäärän paikkamerkki 1">
            <a:extLst>
              <a:ext uri="{FF2B5EF4-FFF2-40B4-BE49-F238E27FC236}">
                <a16:creationId xmlns:a16="http://schemas.microsoft.com/office/drawing/2014/main" id="{D8A440CE-4FE7-48DE-9FB7-CD45BE4F81F9}"/>
              </a:ext>
            </a:extLst>
          </p:cNvPr>
          <p:cNvSpPr>
            <a:spLocks noGrp="1"/>
          </p:cNvSpPr>
          <p:nvPr>
            <p:ph type="dt" sz="half" idx="10"/>
          </p:nvPr>
        </p:nvSpPr>
        <p:spPr/>
        <p:txBody>
          <a:bodyPr/>
          <a:lstStyle/>
          <a:p>
            <a:fld id="{8ECA3837-AF22-4662-B83E-FA12A6369B85}" type="datetimeFigureOut">
              <a:rPr lang="fi-FI" smtClean="0"/>
              <a:t>5.11.2023</a:t>
            </a:fld>
            <a:endParaRPr lang="fi-FI"/>
          </a:p>
        </p:txBody>
      </p:sp>
      <p:sp>
        <p:nvSpPr>
          <p:cNvPr id="3" name="Alatunnisteen paikkamerkki 2">
            <a:extLst>
              <a:ext uri="{FF2B5EF4-FFF2-40B4-BE49-F238E27FC236}">
                <a16:creationId xmlns:a16="http://schemas.microsoft.com/office/drawing/2014/main" id="{5D5595B8-34E5-471A-AE93-0BF085741A31}"/>
              </a:ext>
            </a:extLst>
          </p:cNvPr>
          <p:cNvSpPr>
            <a:spLocks noGrp="1"/>
          </p:cNvSpPr>
          <p:nvPr>
            <p:ph type="ftr" sz="quarter" idx="11"/>
          </p:nvPr>
        </p:nvSpPr>
        <p:spPr/>
        <p:txBody>
          <a:bodyPr/>
          <a:lstStyle/>
          <a:p>
            <a:endParaRPr lang="fi-FI"/>
          </a:p>
        </p:txBody>
      </p:sp>
      <p:sp>
        <p:nvSpPr>
          <p:cNvPr id="4" name="Dian numeron paikkamerkki 3">
            <a:extLst>
              <a:ext uri="{FF2B5EF4-FFF2-40B4-BE49-F238E27FC236}">
                <a16:creationId xmlns:a16="http://schemas.microsoft.com/office/drawing/2014/main" id="{6B1F073B-63F4-41F0-A140-B9083FAF7DA5}"/>
              </a:ext>
            </a:extLst>
          </p:cNvPr>
          <p:cNvSpPr>
            <a:spLocks noGrp="1"/>
          </p:cNvSpPr>
          <p:nvPr>
            <p:ph type="sldNum" sz="quarter" idx="12"/>
          </p:nvPr>
        </p:nvSpPr>
        <p:spPr/>
        <p:txBody>
          <a:bodyPr/>
          <a:lstStyle/>
          <a:p>
            <a:fld id="{A35A6EF0-D12E-44F6-820E-FBAC19C5152B}" type="slidenum">
              <a:rPr lang="fi-FI" smtClean="0"/>
              <a:t>‹#›</a:t>
            </a:fld>
            <a:endParaRPr lang="fi-FI"/>
          </a:p>
        </p:txBody>
      </p:sp>
    </p:spTree>
    <p:extLst>
      <p:ext uri="{BB962C8B-B14F-4D97-AF65-F5344CB8AC3E}">
        <p14:creationId xmlns:p14="http://schemas.microsoft.com/office/powerpoint/2010/main" val="533677144"/>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objTx" preserve="1">
  <p:cSld name="Kuvatekstillinen sisältö">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F068AB63-2939-4BDB-8CDA-32A463D1E684}"/>
              </a:ext>
            </a:extLst>
          </p:cNvPr>
          <p:cNvSpPr>
            <a:spLocks noGrp="1"/>
          </p:cNvSpPr>
          <p:nvPr>
            <p:ph type="title"/>
          </p:nvPr>
        </p:nvSpPr>
        <p:spPr>
          <a:xfrm>
            <a:off x="629841" y="342900"/>
            <a:ext cx="2949178" cy="1200150"/>
          </a:xfrm>
        </p:spPr>
        <p:txBody>
          <a:bodyPr anchor="b"/>
          <a:lstStyle>
            <a:lvl1pPr>
              <a:defRPr sz="2400"/>
            </a:lvl1pPr>
          </a:lstStyle>
          <a:p>
            <a:r>
              <a:rPr lang="fi-FI"/>
              <a:t>Muokkaa ots. perustyyl. napsautt.</a:t>
            </a:r>
          </a:p>
        </p:txBody>
      </p:sp>
      <p:sp>
        <p:nvSpPr>
          <p:cNvPr id="3" name="Sisällön paikkamerkki 2">
            <a:extLst>
              <a:ext uri="{FF2B5EF4-FFF2-40B4-BE49-F238E27FC236}">
                <a16:creationId xmlns:a16="http://schemas.microsoft.com/office/drawing/2014/main" id="{AD2D0963-9B7D-46CE-A53D-B03C040F42BE}"/>
              </a:ext>
            </a:extLst>
          </p:cNvPr>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Tekstin paikkamerkki 3">
            <a:extLst>
              <a:ext uri="{FF2B5EF4-FFF2-40B4-BE49-F238E27FC236}">
                <a16:creationId xmlns:a16="http://schemas.microsoft.com/office/drawing/2014/main" id="{6FF4B6FB-E89C-4149-89F7-DB238E2007CF}"/>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fi-FI"/>
              <a:t>Muokkaa tekstin perustyylejä napsauttamalla</a:t>
            </a:r>
          </a:p>
        </p:txBody>
      </p:sp>
      <p:sp>
        <p:nvSpPr>
          <p:cNvPr id="5" name="Päivämäärän paikkamerkki 4">
            <a:extLst>
              <a:ext uri="{FF2B5EF4-FFF2-40B4-BE49-F238E27FC236}">
                <a16:creationId xmlns:a16="http://schemas.microsoft.com/office/drawing/2014/main" id="{0A9E1387-58CC-44AA-9A3A-94BB721CDDFF}"/>
              </a:ext>
            </a:extLst>
          </p:cNvPr>
          <p:cNvSpPr>
            <a:spLocks noGrp="1"/>
          </p:cNvSpPr>
          <p:nvPr>
            <p:ph type="dt" sz="half" idx="10"/>
          </p:nvPr>
        </p:nvSpPr>
        <p:spPr/>
        <p:txBody>
          <a:bodyPr/>
          <a:lstStyle/>
          <a:p>
            <a:fld id="{8ECA3837-AF22-4662-B83E-FA12A6369B85}" type="datetimeFigureOut">
              <a:rPr lang="fi-FI" smtClean="0"/>
              <a:t>5.11.2023</a:t>
            </a:fld>
            <a:endParaRPr lang="fi-FI"/>
          </a:p>
        </p:txBody>
      </p:sp>
      <p:sp>
        <p:nvSpPr>
          <p:cNvPr id="6" name="Alatunnisteen paikkamerkki 5">
            <a:extLst>
              <a:ext uri="{FF2B5EF4-FFF2-40B4-BE49-F238E27FC236}">
                <a16:creationId xmlns:a16="http://schemas.microsoft.com/office/drawing/2014/main" id="{869ED211-FC76-4DBC-9395-8273926765C7}"/>
              </a:ext>
            </a:extLst>
          </p:cNvPr>
          <p:cNvSpPr>
            <a:spLocks noGrp="1"/>
          </p:cNvSpPr>
          <p:nvPr>
            <p:ph type="ftr" sz="quarter" idx="11"/>
          </p:nvPr>
        </p:nvSpPr>
        <p:spPr/>
        <p:txBody>
          <a:bodyPr/>
          <a:lstStyle/>
          <a:p>
            <a:endParaRPr lang="fi-FI"/>
          </a:p>
        </p:txBody>
      </p:sp>
      <p:sp>
        <p:nvSpPr>
          <p:cNvPr id="7" name="Dian numeron paikkamerkki 6">
            <a:extLst>
              <a:ext uri="{FF2B5EF4-FFF2-40B4-BE49-F238E27FC236}">
                <a16:creationId xmlns:a16="http://schemas.microsoft.com/office/drawing/2014/main" id="{5801CA79-8C30-427B-82F3-CB139B4EB002}"/>
              </a:ext>
            </a:extLst>
          </p:cNvPr>
          <p:cNvSpPr>
            <a:spLocks noGrp="1"/>
          </p:cNvSpPr>
          <p:nvPr>
            <p:ph type="sldNum" sz="quarter" idx="12"/>
          </p:nvPr>
        </p:nvSpPr>
        <p:spPr/>
        <p:txBody>
          <a:bodyPr/>
          <a:lstStyle/>
          <a:p>
            <a:fld id="{A35A6EF0-D12E-44F6-820E-FBAC19C5152B}" type="slidenum">
              <a:rPr lang="fi-FI" smtClean="0"/>
              <a:t>‹#›</a:t>
            </a:fld>
            <a:endParaRPr lang="fi-FI"/>
          </a:p>
        </p:txBody>
      </p:sp>
    </p:spTree>
    <p:extLst>
      <p:ext uri="{BB962C8B-B14F-4D97-AF65-F5344CB8AC3E}">
        <p14:creationId xmlns:p14="http://schemas.microsoft.com/office/powerpoint/2010/main" val="7513065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3. Body slide - Black and red text - Chart">
    <p:spTree>
      <p:nvGrpSpPr>
        <p:cNvPr id="1" name=""/>
        <p:cNvGrpSpPr/>
        <p:nvPr/>
      </p:nvGrpSpPr>
      <p:grpSpPr>
        <a:xfrm>
          <a:off x="0" y="0"/>
          <a:ext cx="0" cy="0"/>
          <a:chOff x="0" y="0"/>
          <a:chExt cx="0" cy="0"/>
        </a:xfrm>
      </p:grpSpPr>
      <p:sp>
        <p:nvSpPr>
          <p:cNvPr id="9" name="Slide Number Placeholder 5">
            <a:extLst>
              <a:ext uri="{FF2B5EF4-FFF2-40B4-BE49-F238E27FC236}">
                <a16:creationId xmlns:a16="http://schemas.microsoft.com/office/drawing/2014/main" id="{66B642BD-45BB-4F77-82AA-AE37473CB2B3}"/>
              </a:ext>
            </a:extLst>
          </p:cNvPr>
          <p:cNvSpPr>
            <a:spLocks noGrp="1"/>
          </p:cNvSpPr>
          <p:nvPr>
            <p:ph type="sldNum" sz="quarter" idx="4"/>
          </p:nvPr>
        </p:nvSpPr>
        <p:spPr>
          <a:xfrm>
            <a:off x="6678800" y="4848629"/>
            <a:ext cx="2057400" cy="172823"/>
          </a:xfrm>
          <a:prstGeom prst="rect">
            <a:avLst/>
          </a:prstGeom>
        </p:spPr>
        <p:txBody>
          <a:bodyPr vert="horz" lIns="91440" tIns="45720" rIns="91440" bIns="45720" rtlCol="0" anchor="ctr"/>
          <a:lstStyle>
            <a:lvl1pPr algn="r">
              <a:defRPr sz="900" baseline="0">
                <a:solidFill>
                  <a:schemeClr val="tx1"/>
                </a:solidFill>
              </a:defRPr>
            </a:lvl1pPr>
          </a:lstStyle>
          <a:p>
            <a:fld id="{28F7F04C-F568-F649-A2AE-EA61C66B69B4}" type="slidenum">
              <a:rPr lang="en-US" smtClean="0"/>
              <a:pPr/>
              <a:t>‹#›</a:t>
            </a:fld>
            <a:endParaRPr lang="en-US" dirty="0"/>
          </a:p>
        </p:txBody>
      </p:sp>
      <p:sp>
        <p:nvSpPr>
          <p:cNvPr id="11" name="Date Placeholder 3">
            <a:extLst>
              <a:ext uri="{FF2B5EF4-FFF2-40B4-BE49-F238E27FC236}">
                <a16:creationId xmlns:a16="http://schemas.microsoft.com/office/drawing/2014/main" id="{81652838-FE86-4ABD-9F9D-AFD4E96BB5D0}"/>
              </a:ext>
            </a:extLst>
          </p:cNvPr>
          <p:cNvSpPr>
            <a:spLocks noGrp="1"/>
          </p:cNvSpPr>
          <p:nvPr>
            <p:ph type="dt" sz="half" idx="13"/>
          </p:nvPr>
        </p:nvSpPr>
        <p:spPr>
          <a:xfrm>
            <a:off x="6678800" y="4672740"/>
            <a:ext cx="2057400" cy="175889"/>
          </a:xfrm>
          <a:prstGeom prst="rect">
            <a:avLst/>
          </a:prstGeom>
        </p:spPr>
        <p:txBody>
          <a:bodyPr vert="horz" lIns="91440" tIns="45720" rIns="91440" bIns="45720" rtlCol="0" anchor="ctr"/>
          <a:lstStyle>
            <a:lvl1pPr algn="r">
              <a:defRPr sz="900" baseline="0">
                <a:solidFill>
                  <a:schemeClr val="tx1"/>
                </a:solidFill>
              </a:defRPr>
            </a:lvl1pPr>
          </a:lstStyle>
          <a:p>
            <a:r>
              <a:rPr lang="fi-FI" dirty="0"/>
              <a:t>dd.mm.yyyy</a:t>
            </a:r>
            <a:endParaRPr lang="en-US" dirty="0"/>
          </a:p>
        </p:txBody>
      </p:sp>
      <p:sp>
        <p:nvSpPr>
          <p:cNvPr id="12" name="Alatunnisteen paikkamerkki 1">
            <a:extLst>
              <a:ext uri="{FF2B5EF4-FFF2-40B4-BE49-F238E27FC236}">
                <a16:creationId xmlns:a16="http://schemas.microsoft.com/office/drawing/2014/main" id="{0B96DB4D-EBEA-407A-A811-A01FA90FCD3C}"/>
              </a:ext>
            </a:extLst>
          </p:cNvPr>
          <p:cNvSpPr>
            <a:spLocks noGrp="1"/>
          </p:cNvSpPr>
          <p:nvPr>
            <p:ph type="ftr" sz="quarter" idx="3"/>
          </p:nvPr>
        </p:nvSpPr>
        <p:spPr>
          <a:xfrm>
            <a:off x="3028950" y="4849200"/>
            <a:ext cx="3086100" cy="172800"/>
          </a:xfrm>
          <a:prstGeom prst="rect">
            <a:avLst/>
          </a:prstGeom>
        </p:spPr>
        <p:txBody>
          <a:bodyPr vert="horz" lIns="91440" tIns="45720" rIns="91440" bIns="45720" rtlCol="0" anchor="ctr"/>
          <a:lstStyle>
            <a:lvl1pPr algn="ctr">
              <a:defRPr sz="900">
                <a:solidFill>
                  <a:schemeClr val="tx1"/>
                </a:solidFill>
              </a:defRPr>
            </a:lvl1pPr>
          </a:lstStyle>
          <a:p>
            <a:r>
              <a:rPr lang="fi-FI" dirty="0"/>
              <a:t>Your text here</a:t>
            </a:r>
          </a:p>
        </p:txBody>
      </p:sp>
      <p:sp>
        <p:nvSpPr>
          <p:cNvPr id="6" name="Chart Placeholder 2">
            <a:extLst>
              <a:ext uri="{FF2B5EF4-FFF2-40B4-BE49-F238E27FC236}">
                <a16:creationId xmlns:a16="http://schemas.microsoft.com/office/drawing/2014/main" id="{09161BE7-F8D2-4ACD-83CC-1D9839ED404B}"/>
              </a:ext>
            </a:extLst>
          </p:cNvPr>
          <p:cNvSpPr>
            <a:spLocks noGrp="1"/>
          </p:cNvSpPr>
          <p:nvPr>
            <p:ph type="chart" sz="quarter" idx="12" hasCustomPrompt="1"/>
          </p:nvPr>
        </p:nvSpPr>
        <p:spPr>
          <a:xfrm>
            <a:off x="3654028" y="519112"/>
            <a:ext cx="5130403" cy="4153628"/>
          </a:xfrm>
          <a:prstGeom prst="rect">
            <a:avLst/>
          </a:prstGeom>
        </p:spPr>
        <p:txBody>
          <a:bodyPr/>
          <a:lstStyle>
            <a:lvl1pPr marL="0" marR="0" indent="0" algn="l" defTabSz="685800" rtl="0" eaLnBrk="1" fontAlgn="auto" latinLnBrk="0" hangingPunct="1">
              <a:lnSpc>
                <a:spcPct val="90000"/>
              </a:lnSpc>
              <a:spcBef>
                <a:spcPts val="750"/>
              </a:spcBef>
              <a:spcAft>
                <a:spcPts val="0"/>
              </a:spcAft>
              <a:buClrTx/>
              <a:buSzTx/>
              <a:buFont typeface="Arial"/>
              <a:buNone/>
              <a:tabLst/>
              <a:defRPr b="1">
                <a:solidFill>
                  <a:schemeClr val="tx1">
                    <a:alpha val="17000"/>
                  </a:schemeClr>
                </a:solidFill>
              </a:defRPr>
            </a:lvl1pPr>
          </a:lstStyle>
          <a:p>
            <a:r>
              <a:rPr lang="fi-FI" dirty="0"/>
              <a:t>Click icon to add chart</a:t>
            </a:r>
          </a:p>
        </p:txBody>
      </p:sp>
      <p:sp>
        <p:nvSpPr>
          <p:cNvPr id="7" name="Text Placeholder 3">
            <a:extLst>
              <a:ext uri="{FF2B5EF4-FFF2-40B4-BE49-F238E27FC236}">
                <a16:creationId xmlns:a16="http://schemas.microsoft.com/office/drawing/2014/main" id="{9BF71F6C-31BF-8A4F-AA9D-13A108C26B84}"/>
              </a:ext>
            </a:extLst>
          </p:cNvPr>
          <p:cNvSpPr>
            <a:spLocks noGrp="1"/>
          </p:cNvSpPr>
          <p:nvPr>
            <p:ph type="body" sz="half" idx="2" hasCustomPrompt="1"/>
          </p:nvPr>
        </p:nvSpPr>
        <p:spPr>
          <a:xfrm>
            <a:off x="287339" y="2615909"/>
            <a:ext cx="3015455" cy="1668091"/>
          </a:xfrm>
          <a:prstGeom prst="rect">
            <a:avLst/>
          </a:prstGeom>
        </p:spPr>
        <p:txBody>
          <a:bodyPr lIns="0" tIns="0" rIns="0" bIns="0"/>
          <a:lstStyle>
            <a:lvl1pPr marL="0" indent="0">
              <a:lnSpc>
                <a:spcPct val="100000"/>
              </a:lnSpc>
              <a:spcBef>
                <a:spcPts val="0"/>
              </a:spcBef>
              <a:buNone/>
              <a:defRPr sz="2800" b="1" i="0" baseline="0">
                <a:solidFill>
                  <a:schemeClr val="tx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Sub Headline</a:t>
            </a:r>
          </a:p>
        </p:txBody>
      </p:sp>
      <p:sp>
        <p:nvSpPr>
          <p:cNvPr id="8" name="Text Placeholder 3">
            <a:extLst>
              <a:ext uri="{FF2B5EF4-FFF2-40B4-BE49-F238E27FC236}">
                <a16:creationId xmlns:a16="http://schemas.microsoft.com/office/drawing/2014/main" id="{8818ADAA-0D73-2649-A90F-A489016A1095}"/>
              </a:ext>
            </a:extLst>
          </p:cNvPr>
          <p:cNvSpPr>
            <a:spLocks noGrp="1"/>
          </p:cNvSpPr>
          <p:nvPr>
            <p:ph type="body" sz="half" idx="10" hasCustomPrompt="1"/>
          </p:nvPr>
        </p:nvSpPr>
        <p:spPr>
          <a:xfrm>
            <a:off x="287339" y="394855"/>
            <a:ext cx="3015456" cy="1872227"/>
          </a:xfrm>
          <a:prstGeom prst="rect">
            <a:avLst/>
          </a:prstGeom>
        </p:spPr>
        <p:txBody>
          <a:bodyPr lIns="0" tIns="0" rIns="0" bIns="0"/>
          <a:lstStyle>
            <a:lvl1pPr marL="0" indent="0">
              <a:lnSpc>
                <a:spcPct val="100000"/>
              </a:lnSpc>
              <a:buNone/>
              <a:defRPr sz="4000" b="1" baseline="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Body slide title</a:t>
            </a:r>
          </a:p>
        </p:txBody>
      </p:sp>
      <p:pic>
        <p:nvPicPr>
          <p:cNvPr id="15" name="Kuva 1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8790"/>
            <a:ext cx="2073704" cy="856800"/>
          </a:xfrm>
          <a:prstGeom prst="rect">
            <a:avLst/>
          </a:prstGeom>
        </p:spPr>
      </p:pic>
    </p:spTree>
  </p:cSld>
  <p:clrMapOvr>
    <a:masterClrMapping/>
  </p:clrMapOvr>
  <p:extLst>
    <p:ext uri="{DCECCB84-F9BA-43D5-87BE-67443E8EF086}">
      <p15:sldGuideLst xmlns:p15="http://schemas.microsoft.com/office/powerpoint/2012/main">
        <p15:guide id="1" pos="2081" userDrawn="1">
          <p15:clr>
            <a:srgbClr val="FBAE40"/>
          </p15:clr>
        </p15:guide>
        <p15:guide id="2" pos="2302" userDrawn="1">
          <p15:clr>
            <a:srgbClr val="FBAE40"/>
          </p15:clr>
        </p15:guide>
        <p15:guide id="3" pos="5534" userDrawn="1">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type="picTx" preserve="1">
  <p:cSld name="Kuvatekstillinen kuva">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B56F7626-619E-476C-89EB-BD555958971E}"/>
              </a:ext>
            </a:extLst>
          </p:cNvPr>
          <p:cNvSpPr>
            <a:spLocks noGrp="1"/>
          </p:cNvSpPr>
          <p:nvPr>
            <p:ph type="title"/>
          </p:nvPr>
        </p:nvSpPr>
        <p:spPr>
          <a:xfrm>
            <a:off x="629841" y="342900"/>
            <a:ext cx="2949178" cy="1200150"/>
          </a:xfrm>
        </p:spPr>
        <p:txBody>
          <a:bodyPr anchor="b"/>
          <a:lstStyle>
            <a:lvl1pPr>
              <a:defRPr sz="2400"/>
            </a:lvl1pPr>
          </a:lstStyle>
          <a:p>
            <a:r>
              <a:rPr lang="fi-FI"/>
              <a:t>Muokkaa ots. perustyyl. napsautt.</a:t>
            </a:r>
          </a:p>
        </p:txBody>
      </p:sp>
      <p:sp>
        <p:nvSpPr>
          <p:cNvPr id="3" name="Kuvan paikkamerkki 2">
            <a:extLst>
              <a:ext uri="{FF2B5EF4-FFF2-40B4-BE49-F238E27FC236}">
                <a16:creationId xmlns:a16="http://schemas.microsoft.com/office/drawing/2014/main" id="{ECA4AE53-3F19-4B22-9377-93CF24271604}"/>
              </a:ext>
            </a:extLst>
          </p:cNvPr>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fi-FI"/>
          </a:p>
        </p:txBody>
      </p:sp>
      <p:sp>
        <p:nvSpPr>
          <p:cNvPr id="4" name="Tekstin paikkamerkki 3">
            <a:extLst>
              <a:ext uri="{FF2B5EF4-FFF2-40B4-BE49-F238E27FC236}">
                <a16:creationId xmlns:a16="http://schemas.microsoft.com/office/drawing/2014/main" id="{7CE0EB57-914E-435C-8C0D-2AEB2D5BFC5F}"/>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fi-FI"/>
              <a:t>Muokkaa tekstin perustyylejä napsauttamalla</a:t>
            </a:r>
          </a:p>
        </p:txBody>
      </p:sp>
      <p:sp>
        <p:nvSpPr>
          <p:cNvPr id="5" name="Päivämäärän paikkamerkki 4">
            <a:extLst>
              <a:ext uri="{FF2B5EF4-FFF2-40B4-BE49-F238E27FC236}">
                <a16:creationId xmlns:a16="http://schemas.microsoft.com/office/drawing/2014/main" id="{B8BE0578-1498-46A5-A8FC-A275D3DCA39D}"/>
              </a:ext>
            </a:extLst>
          </p:cNvPr>
          <p:cNvSpPr>
            <a:spLocks noGrp="1"/>
          </p:cNvSpPr>
          <p:nvPr>
            <p:ph type="dt" sz="half" idx="10"/>
          </p:nvPr>
        </p:nvSpPr>
        <p:spPr/>
        <p:txBody>
          <a:bodyPr/>
          <a:lstStyle/>
          <a:p>
            <a:fld id="{8ECA3837-AF22-4662-B83E-FA12A6369B85}" type="datetimeFigureOut">
              <a:rPr lang="fi-FI" smtClean="0"/>
              <a:t>5.11.2023</a:t>
            </a:fld>
            <a:endParaRPr lang="fi-FI"/>
          </a:p>
        </p:txBody>
      </p:sp>
      <p:sp>
        <p:nvSpPr>
          <p:cNvPr id="6" name="Alatunnisteen paikkamerkki 5">
            <a:extLst>
              <a:ext uri="{FF2B5EF4-FFF2-40B4-BE49-F238E27FC236}">
                <a16:creationId xmlns:a16="http://schemas.microsoft.com/office/drawing/2014/main" id="{866B78B0-6797-48A1-93DE-6176854C09B6}"/>
              </a:ext>
            </a:extLst>
          </p:cNvPr>
          <p:cNvSpPr>
            <a:spLocks noGrp="1"/>
          </p:cNvSpPr>
          <p:nvPr>
            <p:ph type="ftr" sz="quarter" idx="11"/>
          </p:nvPr>
        </p:nvSpPr>
        <p:spPr/>
        <p:txBody>
          <a:bodyPr/>
          <a:lstStyle/>
          <a:p>
            <a:endParaRPr lang="fi-FI"/>
          </a:p>
        </p:txBody>
      </p:sp>
      <p:sp>
        <p:nvSpPr>
          <p:cNvPr id="7" name="Dian numeron paikkamerkki 6">
            <a:extLst>
              <a:ext uri="{FF2B5EF4-FFF2-40B4-BE49-F238E27FC236}">
                <a16:creationId xmlns:a16="http://schemas.microsoft.com/office/drawing/2014/main" id="{CB9CD59D-257F-4A6A-A75C-DD00661EEC8B}"/>
              </a:ext>
            </a:extLst>
          </p:cNvPr>
          <p:cNvSpPr>
            <a:spLocks noGrp="1"/>
          </p:cNvSpPr>
          <p:nvPr>
            <p:ph type="sldNum" sz="quarter" idx="12"/>
          </p:nvPr>
        </p:nvSpPr>
        <p:spPr/>
        <p:txBody>
          <a:bodyPr/>
          <a:lstStyle/>
          <a:p>
            <a:fld id="{A35A6EF0-D12E-44F6-820E-FBAC19C5152B}" type="slidenum">
              <a:rPr lang="fi-FI" smtClean="0"/>
              <a:t>‹#›</a:t>
            </a:fld>
            <a:endParaRPr lang="fi-FI"/>
          </a:p>
        </p:txBody>
      </p:sp>
    </p:spTree>
    <p:extLst>
      <p:ext uri="{BB962C8B-B14F-4D97-AF65-F5344CB8AC3E}">
        <p14:creationId xmlns:p14="http://schemas.microsoft.com/office/powerpoint/2010/main" val="1925304501"/>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vertTx" preserve="1">
  <p:cSld name="Otsikko ja pystysuora teksti">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35485FD5-762B-49D3-8C6A-A67C515DFA0E}"/>
              </a:ext>
            </a:extLst>
          </p:cNvPr>
          <p:cNvSpPr>
            <a:spLocks noGrp="1"/>
          </p:cNvSpPr>
          <p:nvPr>
            <p:ph type="title"/>
          </p:nvPr>
        </p:nvSpPr>
        <p:spPr/>
        <p:txBody>
          <a:bodyPr/>
          <a:lstStyle/>
          <a:p>
            <a:r>
              <a:rPr lang="fi-FI"/>
              <a:t>Muokkaa ots. perustyyl. napsautt.</a:t>
            </a:r>
          </a:p>
        </p:txBody>
      </p:sp>
      <p:sp>
        <p:nvSpPr>
          <p:cNvPr id="3" name="Pystysuoran tekstin paikkamerkki 2">
            <a:extLst>
              <a:ext uri="{FF2B5EF4-FFF2-40B4-BE49-F238E27FC236}">
                <a16:creationId xmlns:a16="http://schemas.microsoft.com/office/drawing/2014/main" id="{7B69A01C-9795-4973-ABB3-1AA9FFF8A52B}"/>
              </a:ext>
            </a:extLst>
          </p:cNvPr>
          <p:cNvSpPr>
            <a:spLocks noGrp="1"/>
          </p:cNvSpPr>
          <p:nvPr>
            <p:ph type="body" orient="vert" idx="1"/>
          </p:nvPr>
        </p:nvSpPr>
        <p:spPr/>
        <p:txBody>
          <a:bodyPr vert="eaVert"/>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Päivämäärän paikkamerkki 3">
            <a:extLst>
              <a:ext uri="{FF2B5EF4-FFF2-40B4-BE49-F238E27FC236}">
                <a16:creationId xmlns:a16="http://schemas.microsoft.com/office/drawing/2014/main" id="{BC60F05F-E140-4D25-A021-E3F7C8C86F37}"/>
              </a:ext>
            </a:extLst>
          </p:cNvPr>
          <p:cNvSpPr>
            <a:spLocks noGrp="1"/>
          </p:cNvSpPr>
          <p:nvPr>
            <p:ph type="dt" sz="half" idx="10"/>
          </p:nvPr>
        </p:nvSpPr>
        <p:spPr/>
        <p:txBody>
          <a:bodyPr/>
          <a:lstStyle/>
          <a:p>
            <a:fld id="{8ECA3837-AF22-4662-B83E-FA12A6369B85}" type="datetimeFigureOut">
              <a:rPr lang="fi-FI" smtClean="0"/>
              <a:t>5.11.2023</a:t>
            </a:fld>
            <a:endParaRPr lang="fi-FI"/>
          </a:p>
        </p:txBody>
      </p:sp>
      <p:sp>
        <p:nvSpPr>
          <p:cNvPr id="5" name="Alatunnisteen paikkamerkki 4">
            <a:extLst>
              <a:ext uri="{FF2B5EF4-FFF2-40B4-BE49-F238E27FC236}">
                <a16:creationId xmlns:a16="http://schemas.microsoft.com/office/drawing/2014/main" id="{0C364BFA-2666-48DA-8928-6CBB8EDBD7F0}"/>
              </a:ext>
            </a:extLst>
          </p:cNvPr>
          <p:cNvSpPr>
            <a:spLocks noGrp="1"/>
          </p:cNvSpPr>
          <p:nvPr>
            <p:ph type="ftr" sz="quarter" idx="11"/>
          </p:nvPr>
        </p:nvSpPr>
        <p:spPr/>
        <p:txBody>
          <a:bodyPr/>
          <a:lstStyle/>
          <a:p>
            <a:endParaRPr lang="fi-FI"/>
          </a:p>
        </p:txBody>
      </p:sp>
      <p:sp>
        <p:nvSpPr>
          <p:cNvPr id="6" name="Dian numeron paikkamerkki 5">
            <a:extLst>
              <a:ext uri="{FF2B5EF4-FFF2-40B4-BE49-F238E27FC236}">
                <a16:creationId xmlns:a16="http://schemas.microsoft.com/office/drawing/2014/main" id="{40E6AE5B-8BFE-4507-BC73-7C36C4F383AF}"/>
              </a:ext>
            </a:extLst>
          </p:cNvPr>
          <p:cNvSpPr>
            <a:spLocks noGrp="1"/>
          </p:cNvSpPr>
          <p:nvPr>
            <p:ph type="sldNum" sz="quarter" idx="12"/>
          </p:nvPr>
        </p:nvSpPr>
        <p:spPr/>
        <p:txBody>
          <a:bodyPr/>
          <a:lstStyle/>
          <a:p>
            <a:fld id="{A35A6EF0-D12E-44F6-820E-FBAC19C5152B}" type="slidenum">
              <a:rPr lang="fi-FI" smtClean="0"/>
              <a:t>‹#›</a:t>
            </a:fld>
            <a:endParaRPr lang="fi-FI"/>
          </a:p>
        </p:txBody>
      </p:sp>
    </p:spTree>
    <p:extLst>
      <p:ext uri="{BB962C8B-B14F-4D97-AF65-F5344CB8AC3E}">
        <p14:creationId xmlns:p14="http://schemas.microsoft.com/office/powerpoint/2010/main" val="3251592859"/>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vertTitleAndTx" preserve="1">
  <p:cSld name="Pystysuora otsikko ja teksti">
    <p:spTree>
      <p:nvGrpSpPr>
        <p:cNvPr id="1" name=""/>
        <p:cNvGrpSpPr/>
        <p:nvPr/>
      </p:nvGrpSpPr>
      <p:grpSpPr>
        <a:xfrm>
          <a:off x="0" y="0"/>
          <a:ext cx="0" cy="0"/>
          <a:chOff x="0" y="0"/>
          <a:chExt cx="0" cy="0"/>
        </a:xfrm>
      </p:grpSpPr>
      <p:sp>
        <p:nvSpPr>
          <p:cNvPr id="2" name="Pystysuora otsikko 1">
            <a:extLst>
              <a:ext uri="{FF2B5EF4-FFF2-40B4-BE49-F238E27FC236}">
                <a16:creationId xmlns:a16="http://schemas.microsoft.com/office/drawing/2014/main" id="{FA4B9B3C-8050-4D7C-966E-A0544E8AE5ED}"/>
              </a:ext>
            </a:extLst>
          </p:cNvPr>
          <p:cNvSpPr>
            <a:spLocks noGrp="1"/>
          </p:cNvSpPr>
          <p:nvPr>
            <p:ph type="title" orient="vert"/>
          </p:nvPr>
        </p:nvSpPr>
        <p:spPr>
          <a:xfrm>
            <a:off x="6543675" y="273844"/>
            <a:ext cx="1971675" cy="4358879"/>
          </a:xfrm>
        </p:spPr>
        <p:txBody>
          <a:bodyPr vert="eaVert"/>
          <a:lstStyle/>
          <a:p>
            <a:r>
              <a:rPr lang="fi-FI"/>
              <a:t>Muokkaa ots. perustyyl. napsautt.</a:t>
            </a:r>
          </a:p>
        </p:txBody>
      </p:sp>
      <p:sp>
        <p:nvSpPr>
          <p:cNvPr id="3" name="Pystysuoran tekstin paikkamerkki 2">
            <a:extLst>
              <a:ext uri="{FF2B5EF4-FFF2-40B4-BE49-F238E27FC236}">
                <a16:creationId xmlns:a16="http://schemas.microsoft.com/office/drawing/2014/main" id="{37E9F54B-E675-41FC-86C1-9A402DB507FA}"/>
              </a:ext>
            </a:extLst>
          </p:cNvPr>
          <p:cNvSpPr>
            <a:spLocks noGrp="1"/>
          </p:cNvSpPr>
          <p:nvPr>
            <p:ph type="body" orient="vert" idx="1"/>
          </p:nvPr>
        </p:nvSpPr>
        <p:spPr>
          <a:xfrm>
            <a:off x="628650" y="273844"/>
            <a:ext cx="5800725" cy="4358879"/>
          </a:xfrm>
        </p:spPr>
        <p:txBody>
          <a:bodyPr vert="eaVert"/>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Päivämäärän paikkamerkki 3">
            <a:extLst>
              <a:ext uri="{FF2B5EF4-FFF2-40B4-BE49-F238E27FC236}">
                <a16:creationId xmlns:a16="http://schemas.microsoft.com/office/drawing/2014/main" id="{A1C1038A-78EA-48A2-B39F-0C3CE9767A79}"/>
              </a:ext>
            </a:extLst>
          </p:cNvPr>
          <p:cNvSpPr>
            <a:spLocks noGrp="1"/>
          </p:cNvSpPr>
          <p:nvPr>
            <p:ph type="dt" sz="half" idx="10"/>
          </p:nvPr>
        </p:nvSpPr>
        <p:spPr/>
        <p:txBody>
          <a:bodyPr/>
          <a:lstStyle/>
          <a:p>
            <a:fld id="{8ECA3837-AF22-4662-B83E-FA12A6369B85}" type="datetimeFigureOut">
              <a:rPr lang="fi-FI" smtClean="0"/>
              <a:t>5.11.2023</a:t>
            </a:fld>
            <a:endParaRPr lang="fi-FI"/>
          </a:p>
        </p:txBody>
      </p:sp>
      <p:sp>
        <p:nvSpPr>
          <p:cNvPr id="5" name="Alatunnisteen paikkamerkki 4">
            <a:extLst>
              <a:ext uri="{FF2B5EF4-FFF2-40B4-BE49-F238E27FC236}">
                <a16:creationId xmlns:a16="http://schemas.microsoft.com/office/drawing/2014/main" id="{6BC5F360-A450-45A7-A671-6DE3022A04D0}"/>
              </a:ext>
            </a:extLst>
          </p:cNvPr>
          <p:cNvSpPr>
            <a:spLocks noGrp="1"/>
          </p:cNvSpPr>
          <p:nvPr>
            <p:ph type="ftr" sz="quarter" idx="11"/>
          </p:nvPr>
        </p:nvSpPr>
        <p:spPr/>
        <p:txBody>
          <a:bodyPr/>
          <a:lstStyle/>
          <a:p>
            <a:endParaRPr lang="fi-FI"/>
          </a:p>
        </p:txBody>
      </p:sp>
      <p:sp>
        <p:nvSpPr>
          <p:cNvPr id="6" name="Dian numeron paikkamerkki 5">
            <a:extLst>
              <a:ext uri="{FF2B5EF4-FFF2-40B4-BE49-F238E27FC236}">
                <a16:creationId xmlns:a16="http://schemas.microsoft.com/office/drawing/2014/main" id="{3799C5CA-D0C1-48DD-9933-76D7A22BEB13}"/>
              </a:ext>
            </a:extLst>
          </p:cNvPr>
          <p:cNvSpPr>
            <a:spLocks noGrp="1"/>
          </p:cNvSpPr>
          <p:nvPr>
            <p:ph type="sldNum" sz="quarter" idx="12"/>
          </p:nvPr>
        </p:nvSpPr>
        <p:spPr/>
        <p:txBody>
          <a:bodyPr/>
          <a:lstStyle/>
          <a:p>
            <a:fld id="{A35A6EF0-D12E-44F6-820E-FBAC19C5152B}" type="slidenum">
              <a:rPr lang="fi-FI" smtClean="0"/>
              <a:t>‹#›</a:t>
            </a:fld>
            <a:endParaRPr lang="fi-FI"/>
          </a:p>
        </p:txBody>
      </p:sp>
    </p:spTree>
    <p:extLst>
      <p:ext uri="{BB962C8B-B14F-4D97-AF65-F5344CB8AC3E}">
        <p14:creationId xmlns:p14="http://schemas.microsoft.com/office/powerpoint/2010/main" val="1132459802"/>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title" preserve="1">
  <p:cSld name="Otsikkodia">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D3576497-3D81-43E2-BD91-D1F56211254E}"/>
              </a:ext>
            </a:extLst>
          </p:cNvPr>
          <p:cNvSpPr>
            <a:spLocks noGrp="1"/>
          </p:cNvSpPr>
          <p:nvPr>
            <p:ph type="ctrTitle"/>
          </p:nvPr>
        </p:nvSpPr>
        <p:spPr>
          <a:xfrm>
            <a:off x="1143000" y="841772"/>
            <a:ext cx="6858000" cy="1790700"/>
          </a:xfrm>
        </p:spPr>
        <p:txBody>
          <a:bodyPr anchor="b"/>
          <a:lstStyle>
            <a:lvl1pPr algn="ctr">
              <a:defRPr sz="4500"/>
            </a:lvl1pPr>
          </a:lstStyle>
          <a:p>
            <a:r>
              <a:rPr lang="fi-FI"/>
              <a:t>Muokkaa ots. perustyyl. napsautt.</a:t>
            </a:r>
            <a:endParaRPr lang="en-US"/>
          </a:p>
        </p:txBody>
      </p:sp>
      <p:sp>
        <p:nvSpPr>
          <p:cNvPr id="3" name="Alaotsikko 2">
            <a:extLst>
              <a:ext uri="{FF2B5EF4-FFF2-40B4-BE49-F238E27FC236}">
                <a16:creationId xmlns:a16="http://schemas.microsoft.com/office/drawing/2014/main" id="{9E138DC8-8A21-4B5F-834D-BFF4548AB583}"/>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fi-FI"/>
              <a:t>Muokkaa alaotsikon perustyyliä napsautt.</a:t>
            </a:r>
            <a:endParaRPr lang="en-US"/>
          </a:p>
        </p:txBody>
      </p:sp>
      <p:sp>
        <p:nvSpPr>
          <p:cNvPr id="4" name="Päivämäärän paikkamerkki 3">
            <a:extLst>
              <a:ext uri="{FF2B5EF4-FFF2-40B4-BE49-F238E27FC236}">
                <a16:creationId xmlns:a16="http://schemas.microsoft.com/office/drawing/2014/main" id="{0EB7FBDD-D472-4508-8151-5CC648D10D2E}"/>
              </a:ext>
            </a:extLst>
          </p:cNvPr>
          <p:cNvSpPr>
            <a:spLocks noGrp="1"/>
          </p:cNvSpPr>
          <p:nvPr>
            <p:ph type="dt" sz="half" idx="10"/>
          </p:nvPr>
        </p:nvSpPr>
        <p:spPr/>
        <p:txBody>
          <a:bodyPr/>
          <a:lstStyle/>
          <a:p>
            <a:fld id="{E3EABE19-BC7D-42AD-B02C-D1582605FFC8}" type="datetimeFigureOut">
              <a:rPr lang="en-US" smtClean="0"/>
              <a:t>5.11.2023</a:t>
            </a:fld>
            <a:endParaRPr lang="en-US"/>
          </a:p>
        </p:txBody>
      </p:sp>
      <p:sp>
        <p:nvSpPr>
          <p:cNvPr id="5" name="Alatunnisteen paikkamerkki 4">
            <a:extLst>
              <a:ext uri="{FF2B5EF4-FFF2-40B4-BE49-F238E27FC236}">
                <a16:creationId xmlns:a16="http://schemas.microsoft.com/office/drawing/2014/main" id="{1D39DB15-AEDC-4791-A92D-EF97A1C1C6FC}"/>
              </a:ext>
            </a:extLst>
          </p:cNvPr>
          <p:cNvSpPr>
            <a:spLocks noGrp="1"/>
          </p:cNvSpPr>
          <p:nvPr>
            <p:ph type="ftr" sz="quarter" idx="11"/>
          </p:nvPr>
        </p:nvSpPr>
        <p:spPr/>
        <p:txBody>
          <a:bodyPr/>
          <a:lstStyle/>
          <a:p>
            <a:endParaRPr lang="en-US"/>
          </a:p>
        </p:txBody>
      </p:sp>
      <p:sp>
        <p:nvSpPr>
          <p:cNvPr id="6" name="Dian numeron paikkamerkki 5">
            <a:extLst>
              <a:ext uri="{FF2B5EF4-FFF2-40B4-BE49-F238E27FC236}">
                <a16:creationId xmlns:a16="http://schemas.microsoft.com/office/drawing/2014/main" id="{F57792A5-78C9-4041-BA80-7025F37196B7}"/>
              </a:ext>
            </a:extLst>
          </p:cNvPr>
          <p:cNvSpPr>
            <a:spLocks noGrp="1"/>
          </p:cNvSpPr>
          <p:nvPr>
            <p:ph type="sldNum" sz="quarter" idx="12"/>
          </p:nvPr>
        </p:nvSpPr>
        <p:spPr/>
        <p:txBody>
          <a:bodyPr/>
          <a:lstStyle/>
          <a:p>
            <a:fld id="{B812DBEB-9514-473D-B57A-C2815E6341F1}" type="slidenum">
              <a:rPr lang="en-US" smtClean="0"/>
              <a:t>‹#›</a:t>
            </a:fld>
            <a:endParaRPr lang="en-US"/>
          </a:p>
        </p:txBody>
      </p:sp>
    </p:spTree>
    <p:extLst>
      <p:ext uri="{BB962C8B-B14F-4D97-AF65-F5344CB8AC3E}">
        <p14:creationId xmlns:p14="http://schemas.microsoft.com/office/powerpoint/2010/main" val="29230978"/>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obj" preserve="1">
  <p:cSld name="Otsikko ja sisältö">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B2AA071D-F92C-4559-A3E9-FDA3408F9E52}"/>
              </a:ext>
            </a:extLst>
          </p:cNvPr>
          <p:cNvSpPr>
            <a:spLocks noGrp="1"/>
          </p:cNvSpPr>
          <p:nvPr>
            <p:ph type="title"/>
          </p:nvPr>
        </p:nvSpPr>
        <p:spPr/>
        <p:txBody>
          <a:bodyPr/>
          <a:lstStyle/>
          <a:p>
            <a:r>
              <a:rPr lang="fi-FI"/>
              <a:t>Muokkaa ots. perustyyl. napsautt.</a:t>
            </a:r>
            <a:endParaRPr lang="en-US"/>
          </a:p>
        </p:txBody>
      </p:sp>
      <p:sp>
        <p:nvSpPr>
          <p:cNvPr id="3" name="Sisällön paikkamerkki 2">
            <a:extLst>
              <a:ext uri="{FF2B5EF4-FFF2-40B4-BE49-F238E27FC236}">
                <a16:creationId xmlns:a16="http://schemas.microsoft.com/office/drawing/2014/main" id="{89DE6852-1639-401B-A7E2-AFAED772C7AB}"/>
              </a:ext>
            </a:extLst>
          </p:cNvPr>
          <p:cNvSpPr>
            <a:spLocks noGrp="1"/>
          </p:cNvSpPr>
          <p:nvPr>
            <p:ph idx="1"/>
          </p:nvPr>
        </p:nvSpPr>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US"/>
          </a:p>
        </p:txBody>
      </p:sp>
      <p:sp>
        <p:nvSpPr>
          <p:cNvPr id="4" name="Päivämäärän paikkamerkki 3">
            <a:extLst>
              <a:ext uri="{FF2B5EF4-FFF2-40B4-BE49-F238E27FC236}">
                <a16:creationId xmlns:a16="http://schemas.microsoft.com/office/drawing/2014/main" id="{BB73BAAC-23FF-455A-84C5-37BBF1459861}"/>
              </a:ext>
            </a:extLst>
          </p:cNvPr>
          <p:cNvSpPr>
            <a:spLocks noGrp="1"/>
          </p:cNvSpPr>
          <p:nvPr>
            <p:ph type="dt" sz="half" idx="10"/>
          </p:nvPr>
        </p:nvSpPr>
        <p:spPr/>
        <p:txBody>
          <a:bodyPr/>
          <a:lstStyle/>
          <a:p>
            <a:fld id="{E3EABE19-BC7D-42AD-B02C-D1582605FFC8}" type="datetimeFigureOut">
              <a:rPr lang="en-US" smtClean="0"/>
              <a:t>5.11.2023</a:t>
            </a:fld>
            <a:endParaRPr lang="en-US"/>
          </a:p>
        </p:txBody>
      </p:sp>
      <p:sp>
        <p:nvSpPr>
          <p:cNvPr id="5" name="Alatunnisteen paikkamerkki 4">
            <a:extLst>
              <a:ext uri="{FF2B5EF4-FFF2-40B4-BE49-F238E27FC236}">
                <a16:creationId xmlns:a16="http://schemas.microsoft.com/office/drawing/2014/main" id="{BB9E46CC-3306-43C0-8CEF-E603B6B214F1}"/>
              </a:ext>
            </a:extLst>
          </p:cNvPr>
          <p:cNvSpPr>
            <a:spLocks noGrp="1"/>
          </p:cNvSpPr>
          <p:nvPr>
            <p:ph type="ftr" sz="quarter" idx="11"/>
          </p:nvPr>
        </p:nvSpPr>
        <p:spPr/>
        <p:txBody>
          <a:bodyPr/>
          <a:lstStyle/>
          <a:p>
            <a:endParaRPr lang="en-US"/>
          </a:p>
        </p:txBody>
      </p:sp>
      <p:sp>
        <p:nvSpPr>
          <p:cNvPr id="6" name="Dian numeron paikkamerkki 5">
            <a:extLst>
              <a:ext uri="{FF2B5EF4-FFF2-40B4-BE49-F238E27FC236}">
                <a16:creationId xmlns:a16="http://schemas.microsoft.com/office/drawing/2014/main" id="{ADEAE527-4B1E-41C5-907A-0FC75F921963}"/>
              </a:ext>
            </a:extLst>
          </p:cNvPr>
          <p:cNvSpPr>
            <a:spLocks noGrp="1"/>
          </p:cNvSpPr>
          <p:nvPr>
            <p:ph type="sldNum" sz="quarter" idx="12"/>
          </p:nvPr>
        </p:nvSpPr>
        <p:spPr/>
        <p:txBody>
          <a:bodyPr/>
          <a:lstStyle/>
          <a:p>
            <a:fld id="{B812DBEB-9514-473D-B57A-C2815E6341F1}" type="slidenum">
              <a:rPr lang="en-US" smtClean="0"/>
              <a:t>‹#›</a:t>
            </a:fld>
            <a:endParaRPr lang="en-US"/>
          </a:p>
        </p:txBody>
      </p:sp>
    </p:spTree>
    <p:extLst>
      <p:ext uri="{BB962C8B-B14F-4D97-AF65-F5344CB8AC3E}">
        <p14:creationId xmlns:p14="http://schemas.microsoft.com/office/powerpoint/2010/main" val="2988050697"/>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secHead" preserve="1">
  <p:cSld name="Osan ylätunniste">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FF18AF59-748B-41BD-A8B1-1CB2471525FF}"/>
              </a:ext>
            </a:extLst>
          </p:cNvPr>
          <p:cNvSpPr>
            <a:spLocks noGrp="1"/>
          </p:cNvSpPr>
          <p:nvPr>
            <p:ph type="title"/>
          </p:nvPr>
        </p:nvSpPr>
        <p:spPr>
          <a:xfrm>
            <a:off x="623888" y="1282304"/>
            <a:ext cx="7886700" cy="2139553"/>
          </a:xfrm>
        </p:spPr>
        <p:txBody>
          <a:bodyPr anchor="b"/>
          <a:lstStyle>
            <a:lvl1pPr>
              <a:defRPr sz="4500"/>
            </a:lvl1pPr>
          </a:lstStyle>
          <a:p>
            <a:r>
              <a:rPr lang="fi-FI"/>
              <a:t>Muokkaa ots. perustyyl. napsautt.</a:t>
            </a:r>
            <a:endParaRPr lang="en-US"/>
          </a:p>
        </p:txBody>
      </p:sp>
      <p:sp>
        <p:nvSpPr>
          <p:cNvPr id="3" name="Tekstin paikkamerkki 2">
            <a:extLst>
              <a:ext uri="{FF2B5EF4-FFF2-40B4-BE49-F238E27FC236}">
                <a16:creationId xmlns:a16="http://schemas.microsoft.com/office/drawing/2014/main" id="{66381DB7-D1EF-4F54-B7D1-69BAE69E5CAA}"/>
              </a:ext>
            </a:extLst>
          </p:cNvPr>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fi-FI"/>
              <a:t>Muokkaa tekstin perustyylejä napsauttamalla</a:t>
            </a:r>
          </a:p>
        </p:txBody>
      </p:sp>
      <p:sp>
        <p:nvSpPr>
          <p:cNvPr id="4" name="Päivämäärän paikkamerkki 3">
            <a:extLst>
              <a:ext uri="{FF2B5EF4-FFF2-40B4-BE49-F238E27FC236}">
                <a16:creationId xmlns:a16="http://schemas.microsoft.com/office/drawing/2014/main" id="{B53AD691-BEDA-4422-BB50-4779F3C60615}"/>
              </a:ext>
            </a:extLst>
          </p:cNvPr>
          <p:cNvSpPr>
            <a:spLocks noGrp="1"/>
          </p:cNvSpPr>
          <p:nvPr>
            <p:ph type="dt" sz="half" idx="10"/>
          </p:nvPr>
        </p:nvSpPr>
        <p:spPr/>
        <p:txBody>
          <a:bodyPr/>
          <a:lstStyle/>
          <a:p>
            <a:fld id="{E3EABE19-BC7D-42AD-B02C-D1582605FFC8}" type="datetimeFigureOut">
              <a:rPr lang="en-US" smtClean="0"/>
              <a:t>5.11.2023</a:t>
            </a:fld>
            <a:endParaRPr lang="en-US"/>
          </a:p>
        </p:txBody>
      </p:sp>
      <p:sp>
        <p:nvSpPr>
          <p:cNvPr id="5" name="Alatunnisteen paikkamerkki 4">
            <a:extLst>
              <a:ext uri="{FF2B5EF4-FFF2-40B4-BE49-F238E27FC236}">
                <a16:creationId xmlns:a16="http://schemas.microsoft.com/office/drawing/2014/main" id="{65FDFAF8-66E6-4A38-B8B8-68AF2444846A}"/>
              </a:ext>
            </a:extLst>
          </p:cNvPr>
          <p:cNvSpPr>
            <a:spLocks noGrp="1"/>
          </p:cNvSpPr>
          <p:nvPr>
            <p:ph type="ftr" sz="quarter" idx="11"/>
          </p:nvPr>
        </p:nvSpPr>
        <p:spPr/>
        <p:txBody>
          <a:bodyPr/>
          <a:lstStyle/>
          <a:p>
            <a:endParaRPr lang="en-US"/>
          </a:p>
        </p:txBody>
      </p:sp>
      <p:sp>
        <p:nvSpPr>
          <p:cNvPr id="6" name="Dian numeron paikkamerkki 5">
            <a:extLst>
              <a:ext uri="{FF2B5EF4-FFF2-40B4-BE49-F238E27FC236}">
                <a16:creationId xmlns:a16="http://schemas.microsoft.com/office/drawing/2014/main" id="{769BB8CE-00ED-4E25-8141-18E156B2CA67}"/>
              </a:ext>
            </a:extLst>
          </p:cNvPr>
          <p:cNvSpPr>
            <a:spLocks noGrp="1"/>
          </p:cNvSpPr>
          <p:nvPr>
            <p:ph type="sldNum" sz="quarter" idx="12"/>
          </p:nvPr>
        </p:nvSpPr>
        <p:spPr/>
        <p:txBody>
          <a:bodyPr/>
          <a:lstStyle/>
          <a:p>
            <a:fld id="{B812DBEB-9514-473D-B57A-C2815E6341F1}" type="slidenum">
              <a:rPr lang="en-US" smtClean="0"/>
              <a:t>‹#›</a:t>
            </a:fld>
            <a:endParaRPr lang="en-US"/>
          </a:p>
        </p:txBody>
      </p:sp>
    </p:spTree>
    <p:extLst>
      <p:ext uri="{BB962C8B-B14F-4D97-AF65-F5344CB8AC3E}">
        <p14:creationId xmlns:p14="http://schemas.microsoft.com/office/powerpoint/2010/main" val="3759554258"/>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twoObj" preserve="1">
  <p:cSld name="Kaksi sisältökohdetta">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3152549F-0526-42A3-A0DA-41EE3DAA2699}"/>
              </a:ext>
            </a:extLst>
          </p:cNvPr>
          <p:cNvSpPr>
            <a:spLocks noGrp="1"/>
          </p:cNvSpPr>
          <p:nvPr>
            <p:ph type="title"/>
          </p:nvPr>
        </p:nvSpPr>
        <p:spPr/>
        <p:txBody>
          <a:bodyPr/>
          <a:lstStyle/>
          <a:p>
            <a:r>
              <a:rPr lang="fi-FI"/>
              <a:t>Muokkaa ots. perustyyl. napsautt.</a:t>
            </a:r>
            <a:endParaRPr lang="en-US"/>
          </a:p>
        </p:txBody>
      </p:sp>
      <p:sp>
        <p:nvSpPr>
          <p:cNvPr id="3" name="Sisällön paikkamerkki 2">
            <a:extLst>
              <a:ext uri="{FF2B5EF4-FFF2-40B4-BE49-F238E27FC236}">
                <a16:creationId xmlns:a16="http://schemas.microsoft.com/office/drawing/2014/main" id="{014BF1F6-988D-4DB6-A107-223315ED0AF2}"/>
              </a:ext>
            </a:extLst>
          </p:cNvPr>
          <p:cNvSpPr>
            <a:spLocks noGrp="1"/>
          </p:cNvSpPr>
          <p:nvPr>
            <p:ph sz="half" idx="1"/>
          </p:nvPr>
        </p:nvSpPr>
        <p:spPr>
          <a:xfrm>
            <a:off x="628650" y="1369219"/>
            <a:ext cx="3886200" cy="3263504"/>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US"/>
          </a:p>
        </p:txBody>
      </p:sp>
      <p:sp>
        <p:nvSpPr>
          <p:cNvPr id="4" name="Sisällön paikkamerkki 3">
            <a:extLst>
              <a:ext uri="{FF2B5EF4-FFF2-40B4-BE49-F238E27FC236}">
                <a16:creationId xmlns:a16="http://schemas.microsoft.com/office/drawing/2014/main" id="{9202B1A2-8B92-4F5E-8645-53CFB5F9A104}"/>
              </a:ext>
            </a:extLst>
          </p:cNvPr>
          <p:cNvSpPr>
            <a:spLocks noGrp="1"/>
          </p:cNvSpPr>
          <p:nvPr>
            <p:ph sz="half" idx="2"/>
          </p:nvPr>
        </p:nvSpPr>
        <p:spPr>
          <a:xfrm>
            <a:off x="4629150" y="1369219"/>
            <a:ext cx="3886200" cy="3263504"/>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US"/>
          </a:p>
        </p:txBody>
      </p:sp>
      <p:sp>
        <p:nvSpPr>
          <p:cNvPr id="5" name="Päivämäärän paikkamerkki 4">
            <a:extLst>
              <a:ext uri="{FF2B5EF4-FFF2-40B4-BE49-F238E27FC236}">
                <a16:creationId xmlns:a16="http://schemas.microsoft.com/office/drawing/2014/main" id="{C1633B8C-46E3-41B2-8193-B25C0BD8B9F9}"/>
              </a:ext>
            </a:extLst>
          </p:cNvPr>
          <p:cNvSpPr>
            <a:spLocks noGrp="1"/>
          </p:cNvSpPr>
          <p:nvPr>
            <p:ph type="dt" sz="half" idx="10"/>
          </p:nvPr>
        </p:nvSpPr>
        <p:spPr/>
        <p:txBody>
          <a:bodyPr/>
          <a:lstStyle/>
          <a:p>
            <a:fld id="{E3EABE19-BC7D-42AD-B02C-D1582605FFC8}" type="datetimeFigureOut">
              <a:rPr lang="en-US" smtClean="0"/>
              <a:t>5.11.2023</a:t>
            </a:fld>
            <a:endParaRPr lang="en-US"/>
          </a:p>
        </p:txBody>
      </p:sp>
      <p:sp>
        <p:nvSpPr>
          <p:cNvPr id="6" name="Alatunnisteen paikkamerkki 5">
            <a:extLst>
              <a:ext uri="{FF2B5EF4-FFF2-40B4-BE49-F238E27FC236}">
                <a16:creationId xmlns:a16="http://schemas.microsoft.com/office/drawing/2014/main" id="{1E46ED26-6C3F-41F5-A82E-7664E9D1CBEE}"/>
              </a:ext>
            </a:extLst>
          </p:cNvPr>
          <p:cNvSpPr>
            <a:spLocks noGrp="1"/>
          </p:cNvSpPr>
          <p:nvPr>
            <p:ph type="ftr" sz="quarter" idx="11"/>
          </p:nvPr>
        </p:nvSpPr>
        <p:spPr/>
        <p:txBody>
          <a:bodyPr/>
          <a:lstStyle/>
          <a:p>
            <a:endParaRPr lang="en-US"/>
          </a:p>
        </p:txBody>
      </p:sp>
      <p:sp>
        <p:nvSpPr>
          <p:cNvPr id="7" name="Dian numeron paikkamerkki 6">
            <a:extLst>
              <a:ext uri="{FF2B5EF4-FFF2-40B4-BE49-F238E27FC236}">
                <a16:creationId xmlns:a16="http://schemas.microsoft.com/office/drawing/2014/main" id="{7163242F-5182-4043-97F9-4487FD295E62}"/>
              </a:ext>
            </a:extLst>
          </p:cNvPr>
          <p:cNvSpPr>
            <a:spLocks noGrp="1"/>
          </p:cNvSpPr>
          <p:nvPr>
            <p:ph type="sldNum" sz="quarter" idx="12"/>
          </p:nvPr>
        </p:nvSpPr>
        <p:spPr/>
        <p:txBody>
          <a:bodyPr/>
          <a:lstStyle/>
          <a:p>
            <a:fld id="{B812DBEB-9514-473D-B57A-C2815E6341F1}" type="slidenum">
              <a:rPr lang="en-US" smtClean="0"/>
              <a:t>‹#›</a:t>
            </a:fld>
            <a:endParaRPr lang="en-US"/>
          </a:p>
        </p:txBody>
      </p:sp>
    </p:spTree>
    <p:extLst>
      <p:ext uri="{BB962C8B-B14F-4D97-AF65-F5344CB8AC3E}">
        <p14:creationId xmlns:p14="http://schemas.microsoft.com/office/powerpoint/2010/main" val="750748991"/>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twoTxTwoObj" preserve="1">
  <p:cSld name="Vertailu">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EA0A4343-28E4-4388-9C38-2C5198E404EB}"/>
              </a:ext>
            </a:extLst>
          </p:cNvPr>
          <p:cNvSpPr>
            <a:spLocks noGrp="1"/>
          </p:cNvSpPr>
          <p:nvPr>
            <p:ph type="title"/>
          </p:nvPr>
        </p:nvSpPr>
        <p:spPr>
          <a:xfrm>
            <a:off x="629841" y="273844"/>
            <a:ext cx="7886700" cy="994172"/>
          </a:xfrm>
        </p:spPr>
        <p:txBody>
          <a:bodyPr/>
          <a:lstStyle/>
          <a:p>
            <a:r>
              <a:rPr lang="fi-FI"/>
              <a:t>Muokkaa ots. perustyyl. napsautt.</a:t>
            </a:r>
            <a:endParaRPr lang="en-US"/>
          </a:p>
        </p:txBody>
      </p:sp>
      <p:sp>
        <p:nvSpPr>
          <p:cNvPr id="3" name="Tekstin paikkamerkki 2">
            <a:extLst>
              <a:ext uri="{FF2B5EF4-FFF2-40B4-BE49-F238E27FC236}">
                <a16:creationId xmlns:a16="http://schemas.microsoft.com/office/drawing/2014/main" id="{FFDABC84-3512-433D-9CD8-753A646E8755}"/>
              </a:ext>
            </a:extLst>
          </p:cNvPr>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i-FI"/>
              <a:t>Muokkaa tekstin perustyylejä napsauttamalla</a:t>
            </a:r>
          </a:p>
        </p:txBody>
      </p:sp>
      <p:sp>
        <p:nvSpPr>
          <p:cNvPr id="4" name="Sisällön paikkamerkki 3">
            <a:extLst>
              <a:ext uri="{FF2B5EF4-FFF2-40B4-BE49-F238E27FC236}">
                <a16:creationId xmlns:a16="http://schemas.microsoft.com/office/drawing/2014/main" id="{8D5E517D-8A04-44FD-9527-60F66639F634}"/>
              </a:ext>
            </a:extLst>
          </p:cNvPr>
          <p:cNvSpPr>
            <a:spLocks noGrp="1"/>
          </p:cNvSpPr>
          <p:nvPr>
            <p:ph sz="half" idx="2"/>
          </p:nvPr>
        </p:nvSpPr>
        <p:spPr>
          <a:xfrm>
            <a:off x="629842" y="1878806"/>
            <a:ext cx="3868340" cy="2763441"/>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US"/>
          </a:p>
        </p:txBody>
      </p:sp>
      <p:sp>
        <p:nvSpPr>
          <p:cNvPr id="5" name="Tekstin paikkamerkki 4">
            <a:extLst>
              <a:ext uri="{FF2B5EF4-FFF2-40B4-BE49-F238E27FC236}">
                <a16:creationId xmlns:a16="http://schemas.microsoft.com/office/drawing/2014/main" id="{7B5C1DF6-727D-45A7-8682-D2AEADD2A470}"/>
              </a:ext>
            </a:extLst>
          </p:cNvPr>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i-FI"/>
              <a:t>Muokkaa tekstin perustyylejä napsauttamalla</a:t>
            </a:r>
          </a:p>
        </p:txBody>
      </p:sp>
      <p:sp>
        <p:nvSpPr>
          <p:cNvPr id="6" name="Sisällön paikkamerkki 5">
            <a:extLst>
              <a:ext uri="{FF2B5EF4-FFF2-40B4-BE49-F238E27FC236}">
                <a16:creationId xmlns:a16="http://schemas.microsoft.com/office/drawing/2014/main" id="{E68F3EEE-8E19-4A73-97DA-C3612CA11F51}"/>
              </a:ext>
            </a:extLst>
          </p:cNvPr>
          <p:cNvSpPr>
            <a:spLocks noGrp="1"/>
          </p:cNvSpPr>
          <p:nvPr>
            <p:ph sz="quarter" idx="4"/>
          </p:nvPr>
        </p:nvSpPr>
        <p:spPr>
          <a:xfrm>
            <a:off x="4629150" y="1878806"/>
            <a:ext cx="3887391" cy="2763441"/>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US"/>
          </a:p>
        </p:txBody>
      </p:sp>
      <p:sp>
        <p:nvSpPr>
          <p:cNvPr id="7" name="Päivämäärän paikkamerkki 6">
            <a:extLst>
              <a:ext uri="{FF2B5EF4-FFF2-40B4-BE49-F238E27FC236}">
                <a16:creationId xmlns:a16="http://schemas.microsoft.com/office/drawing/2014/main" id="{48C4DEC2-ADF0-4C98-A97C-CFF9CE8ED718}"/>
              </a:ext>
            </a:extLst>
          </p:cNvPr>
          <p:cNvSpPr>
            <a:spLocks noGrp="1"/>
          </p:cNvSpPr>
          <p:nvPr>
            <p:ph type="dt" sz="half" idx="10"/>
          </p:nvPr>
        </p:nvSpPr>
        <p:spPr/>
        <p:txBody>
          <a:bodyPr/>
          <a:lstStyle/>
          <a:p>
            <a:fld id="{E3EABE19-BC7D-42AD-B02C-D1582605FFC8}" type="datetimeFigureOut">
              <a:rPr lang="en-US" smtClean="0"/>
              <a:t>5.11.2023</a:t>
            </a:fld>
            <a:endParaRPr lang="en-US"/>
          </a:p>
        </p:txBody>
      </p:sp>
      <p:sp>
        <p:nvSpPr>
          <p:cNvPr id="8" name="Alatunnisteen paikkamerkki 7">
            <a:extLst>
              <a:ext uri="{FF2B5EF4-FFF2-40B4-BE49-F238E27FC236}">
                <a16:creationId xmlns:a16="http://schemas.microsoft.com/office/drawing/2014/main" id="{E0F1BD65-46BE-4C4E-A93F-C3657E852827}"/>
              </a:ext>
            </a:extLst>
          </p:cNvPr>
          <p:cNvSpPr>
            <a:spLocks noGrp="1"/>
          </p:cNvSpPr>
          <p:nvPr>
            <p:ph type="ftr" sz="quarter" idx="11"/>
          </p:nvPr>
        </p:nvSpPr>
        <p:spPr/>
        <p:txBody>
          <a:bodyPr/>
          <a:lstStyle/>
          <a:p>
            <a:endParaRPr lang="en-US"/>
          </a:p>
        </p:txBody>
      </p:sp>
      <p:sp>
        <p:nvSpPr>
          <p:cNvPr id="9" name="Dian numeron paikkamerkki 8">
            <a:extLst>
              <a:ext uri="{FF2B5EF4-FFF2-40B4-BE49-F238E27FC236}">
                <a16:creationId xmlns:a16="http://schemas.microsoft.com/office/drawing/2014/main" id="{4197CC73-1C15-4E0A-A6C5-9E616F1868F0}"/>
              </a:ext>
            </a:extLst>
          </p:cNvPr>
          <p:cNvSpPr>
            <a:spLocks noGrp="1"/>
          </p:cNvSpPr>
          <p:nvPr>
            <p:ph type="sldNum" sz="quarter" idx="12"/>
          </p:nvPr>
        </p:nvSpPr>
        <p:spPr/>
        <p:txBody>
          <a:bodyPr/>
          <a:lstStyle/>
          <a:p>
            <a:fld id="{B812DBEB-9514-473D-B57A-C2815E6341F1}" type="slidenum">
              <a:rPr lang="en-US" smtClean="0"/>
              <a:t>‹#›</a:t>
            </a:fld>
            <a:endParaRPr lang="en-US"/>
          </a:p>
        </p:txBody>
      </p:sp>
    </p:spTree>
    <p:extLst>
      <p:ext uri="{BB962C8B-B14F-4D97-AF65-F5344CB8AC3E}">
        <p14:creationId xmlns:p14="http://schemas.microsoft.com/office/powerpoint/2010/main" val="850524368"/>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titleOnly" preserve="1">
  <p:cSld name="Vain otsikko">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2A92AD41-194F-4CD6-B418-23735F861D4D}"/>
              </a:ext>
            </a:extLst>
          </p:cNvPr>
          <p:cNvSpPr>
            <a:spLocks noGrp="1"/>
          </p:cNvSpPr>
          <p:nvPr>
            <p:ph type="title"/>
          </p:nvPr>
        </p:nvSpPr>
        <p:spPr/>
        <p:txBody>
          <a:bodyPr/>
          <a:lstStyle/>
          <a:p>
            <a:r>
              <a:rPr lang="fi-FI"/>
              <a:t>Muokkaa ots. perustyyl. napsautt.</a:t>
            </a:r>
            <a:endParaRPr lang="en-US"/>
          </a:p>
        </p:txBody>
      </p:sp>
      <p:sp>
        <p:nvSpPr>
          <p:cNvPr id="3" name="Päivämäärän paikkamerkki 2">
            <a:extLst>
              <a:ext uri="{FF2B5EF4-FFF2-40B4-BE49-F238E27FC236}">
                <a16:creationId xmlns:a16="http://schemas.microsoft.com/office/drawing/2014/main" id="{FC8B8821-C393-46DA-AC65-9672F480AE05}"/>
              </a:ext>
            </a:extLst>
          </p:cNvPr>
          <p:cNvSpPr>
            <a:spLocks noGrp="1"/>
          </p:cNvSpPr>
          <p:nvPr>
            <p:ph type="dt" sz="half" idx="10"/>
          </p:nvPr>
        </p:nvSpPr>
        <p:spPr/>
        <p:txBody>
          <a:bodyPr/>
          <a:lstStyle/>
          <a:p>
            <a:fld id="{E3EABE19-BC7D-42AD-B02C-D1582605FFC8}" type="datetimeFigureOut">
              <a:rPr lang="en-US" smtClean="0"/>
              <a:t>5.11.2023</a:t>
            </a:fld>
            <a:endParaRPr lang="en-US"/>
          </a:p>
        </p:txBody>
      </p:sp>
      <p:sp>
        <p:nvSpPr>
          <p:cNvPr id="4" name="Alatunnisteen paikkamerkki 3">
            <a:extLst>
              <a:ext uri="{FF2B5EF4-FFF2-40B4-BE49-F238E27FC236}">
                <a16:creationId xmlns:a16="http://schemas.microsoft.com/office/drawing/2014/main" id="{554B9DBB-6375-4E37-9003-5F2798C67E75}"/>
              </a:ext>
            </a:extLst>
          </p:cNvPr>
          <p:cNvSpPr>
            <a:spLocks noGrp="1"/>
          </p:cNvSpPr>
          <p:nvPr>
            <p:ph type="ftr" sz="quarter" idx="11"/>
          </p:nvPr>
        </p:nvSpPr>
        <p:spPr/>
        <p:txBody>
          <a:bodyPr/>
          <a:lstStyle/>
          <a:p>
            <a:endParaRPr lang="en-US"/>
          </a:p>
        </p:txBody>
      </p:sp>
      <p:sp>
        <p:nvSpPr>
          <p:cNvPr id="5" name="Dian numeron paikkamerkki 4">
            <a:extLst>
              <a:ext uri="{FF2B5EF4-FFF2-40B4-BE49-F238E27FC236}">
                <a16:creationId xmlns:a16="http://schemas.microsoft.com/office/drawing/2014/main" id="{A9B06529-7011-4FC9-AA49-F25B97113C88}"/>
              </a:ext>
            </a:extLst>
          </p:cNvPr>
          <p:cNvSpPr>
            <a:spLocks noGrp="1"/>
          </p:cNvSpPr>
          <p:nvPr>
            <p:ph type="sldNum" sz="quarter" idx="12"/>
          </p:nvPr>
        </p:nvSpPr>
        <p:spPr/>
        <p:txBody>
          <a:bodyPr/>
          <a:lstStyle/>
          <a:p>
            <a:fld id="{B812DBEB-9514-473D-B57A-C2815E6341F1}" type="slidenum">
              <a:rPr lang="en-US" smtClean="0"/>
              <a:t>‹#›</a:t>
            </a:fld>
            <a:endParaRPr lang="en-US"/>
          </a:p>
        </p:txBody>
      </p:sp>
    </p:spTree>
    <p:extLst>
      <p:ext uri="{BB962C8B-B14F-4D97-AF65-F5344CB8AC3E}">
        <p14:creationId xmlns:p14="http://schemas.microsoft.com/office/powerpoint/2010/main" val="3378837829"/>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blank" preserve="1">
  <p:cSld name="Tyhjä">
    <p:spTree>
      <p:nvGrpSpPr>
        <p:cNvPr id="1" name=""/>
        <p:cNvGrpSpPr/>
        <p:nvPr/>
      </p:nvGrpSpPr>
      <p:grpSpPr>
        <a:xfrm>
          <a:off x="0" y="0"/>
          <a:ext cx="0" cy="0"/>
          <a:chOff x="0" y="0"/>
          <a:chExt cx="0" cy="0"/>
        </a:xfrm>
      </p:grpSpPr>
      <p:sp>
        <p:nvSpPr>
          <p:cNvPr id="2" name="Päivämäärän paikkamerkki 1">
            <a:extLst>
              <a:ext uri="{FF2B5EF4-FFF2-40B4-BE49-F238E27FC236}">
                <a16:creationId xmlns:a16="http://schemas.microsoft.com/office/drawing/2014/main" id="{8CC8EDF7-8AC3-4BEA-A381-7486E707E5C3}"/>
              </a:ext>
            </a:extLst>
          </p:cNvPr>
          <p:cNvSpPr>
            <a:spLocks noGrp="1"/>
          </p:cNvSpPr>
          <p:nvPr>
            <p:ph type="dt" sz="half" idx="10"/>
          </p:nvPr>
        </p:nvSpPr>
        <p:spPr/>
        <p:txBody>
          <a:bodyPr/>
          <a:lstStyle/>
          <a:p>
            <a:fld id="{E3EABE19-BC7D-42AD-B02C-D1582605FFC8}" type="datetimeFigureOut">
              <a:rPr lang="en-US" smtClean="0"/>
              <a:t>5.11.2023</a:t>
            </a:fld>
            <a:endParaRPr lang="en-US"/>
          </a:p>
        </p:txBody>
      </p:sp>
      <p:sp>
        <p:nvSpPr>
          <p:cNvPr id="3" name="Alatunnisteen paikkamerkki 2">
            <a:extLst>
              <a:ext uri="{FF2B5EF4-FFF2-40B4-BE49-F238E27FC236}">
                <a16:creationId xmlns:a16="http://schemas.microsoft.com/office/drawing/2014/main" id="{E8E13DF3-1384-4D51-AA15-5811E596FE59}"/>
              </a:ext>
            </a:extLst>
          </p:cNvPr>
          <p:cNvSpPr>
            <a:spLocks noGrp="1"/>
          </p:cNvSpPr>
          <p:nvPr>
            <p:ph type="ftr" sz="quarter" idx="11"/>
          </p:nvPr>
        </p:nvSpPr>
        <p:spPr/>
        <p:txBody>
          <a:bodyPr/>
          <a:lstStyle/>
          <a:p>
            <a:endParaRPr lang="en-US"/>
          </a:p>
        </p:txBody>
      </p:sp>
      <p:sp>
        <p:nvSpPr>
          <p:cNvPr id="4" name="Dian numeron paikkamerkki 3">
            <a:extLst>
              <a:ext uri="{FF2B5EF4-FFF2-40B4-BE49-F238E27FC236}">
                <a16:creationId xmlns:a16="http://schemas.microsoft.com/office/drawing/2014/main" id="{D3D11CCA-35AD-496A-ABB0-2EFD7FB8B4B8}"/>
              </a:ext>
            </a:extLst>
          </p:cNvPr>
          <p:cNvSpPr>
            <a:spLocks noGrp="1"/>
          </p:cNvSpPr>
          <p:nvPr>
            <p:ph type="sldNum" sz="quarter" idx="12"/>
          </p:nvPr>
        </p:nvSpPr>
        <p:spPr/>
        <p:txBody>
          <a:bodyPr/>
          <a:lstStyle/>
          <a:p>
            <a:fld id="{B812DBEB-9514-473D-B57A-C2815E6341F1}" type="slidenum">
              <a:rPr lang="en-US" smtClean="0"/>
              <a:t>‹#›</a:t>
            </a:fld>
            <a:endParaRPr lang="en-US"/>
          </a:p>
        </p:txBody>
      </p:sp>
    </p:spTree>
    <p:extLst>
      <p:ext uri="{BB962C8B-B14F-4D97-AF65-F5344CB8AC3E}">
        <p14:creationId xmlns:p14="http://schemas.microsoft.com/office/powerpoint/2010/main" val="38841865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4. Process slide - Red">
    <p:bg>
      <p:bgPr>
        <a:solidFill>
          <a:schemeClr val="tx2"/>
        </a:solidFill>
        <a:effectLst/>
      </p:bgPr>
    </p:bg>
    <p:spTree>
      <p:nvGrpSpPr>
        <p:cNvPr id="1" name=""/>
        <p:cNvGrpSpPr/>
        <p:nvPr/>
      </p:nvGrpSpPr>
      <p:grpSpPr>
        <a:xfrm>
          <a:off x="0" y="0"/>
          <a:ext cx="0" cy="0"/>
          <a:chOff x="0" y="0"/>
          <a:chExt cx="0" cy="0"/>
        </a:xfrm>
      </p:grpSpPr>
      <p:sp>
        <p:nvSpPr>
          <p:cNvPr id="11" name="Text Placeholder 3"/>
          <p:cNvSpPr>
            <a:spLocks noGrp="1"/>
          </p:cNvSpPr>
          <p:nvPr>
            <p:ph type="body" sz="half" idx="10" hasCustomPrompt="1"/>
          </p:nvPr>
        </p:nvSpPr>
        <p:spPr>
          <a:xfrm>
            <a:off x="294503" y="27708"/>
            <a:ext cx="8489928" cy="995897"/>
          </a:xfrm>
          <a:prstGeom prst="rect">
            <a:avLst/>
          </a:prstGeom>
        </p:spPr>
        <p:txBody>
          <a:bodyPr lIns="0" tIns="0" rIns="0" bIns="0"/>
          <a:lstStyle>
            <a:lvl1pPr marL="0" indent="0">
              <a:lnSpc>
                <a:spcPct val="100000"/>
              </a:lnSpc>
              <a:buNone/>
              <a:defRPr sz="4000" b="1" baseline="0">
                <a:solidFill>
                  <a:schemeClr val="bg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Body slide title</a:t>
            </a:r>
          </a:p>
        </p:txBody>
      </p:sp>
      <p:sp>
        <p:nvSpPr>
          <p:cNvPr id="6" name="Text Placeholder 5">
            <a:extLst>
              <a:ext uri="{FF2B5EF4-FFF2-40B4-BE49-F238E27FC236}">
                <a16:creationId xmlns:a16="http://schemas.microsoft.com/office/drawing/2014/main" id="{0836A9AB-7FD4-4A4D-8EF5-3255560CFBFE}"/>
              </a:ext>
            </a:extLst>
          </p:cNvPr>
          <p:cNvSpPr>
            <a:spLocks noGrp="1"/>
          </p:cNvSpPr>
          <p:nvPr>
            <p:ph type="body" sz="quarter" idx="11" hasCustomPrompt="1"/>
          </p:nvPr>
        </p:nvSpPr>
        <p:spPr>
          <a:xfrm>
            <a:off x="290831" y="2534491"/>
            <a:ext cx="1539000" cy="1753903"/>
          </a:xfrm>
          <a:prstGeom prst="rect">
            <a:avLst/>
          </a:prstGeom>
        </p:spPr>
        <p:txBody>
          <a:bodyPr lIns="0" tIns="0" rIns="0" bIns="0"/>
          <a:lstStyle>
            <a:lvl1pPr marL="81000" indent="-81000" algn="l" defTabSz="514436" rtl="0" eaLnBrk="1" latinLnBrk="0" hangingPunct="1">
              <a:lnSpc>
                <a:spcPct val="100000"/>
              </a:lnSpc>
              <a:buFont typeface="Arial" charset="0"/>
              <a:buChar char="•"/>
              <a:defRPr sz="1400" b="1">
                <a:solidFill>
                  <a:schemeClr val="bg1"/>
                </a:solidFill>
              </a:defRPr>
            </a:lvl1pPr>
            <a:lvl2pPr marL="0" indent="0">
              <a:lnSpc>
                <a:spcPts val="1500"/>
              </a:lnSpc>
              <a:buNone/>
              <a:defRPr lang="en-US" sz="1350" b="1" kern="1200" dirty="0" smtClean="0">
                <a:solidFill>
                  <a:schemeClr val="bg1"/>
                </a:solidFill>
                <a:latin typeface="+mn-lt"/>
                <a:ea typeface="Arial" charset="0"/>
                <a:cs typeface="Arial" charset="0"/>
              </a:defRPr>
            </a:lvl2pPr>
            <a:lvl3pPr>
              <a:buClr>
                <a:schemeClr val="bg1"/>
              </a:buClr>
              <a:defRPr sz="788">
                <a:solidFill>
                  <a:schemeClr val="bg1"/>
                </a:solidFill>
              </a:defRPr>
            </a:lvl3pPr>
          </a:lstStyle>
          <a:p>
            <a:pPr marL="81000" lvl="0" indent="-81000" algn="l" defTabSz="514436" rtl="0" eaLnBrk="1" latinLnBrk="0" hangingPunct="1">
              <a:lnSpc>
                <a:spcPts val="975"/>
              </a:lnSpc>
              <a:buFont typeface="Arial" charset="0"/>
              <a:buChar char="•"/>
            </a:pPr>
            <a:r>
              <a:rPr lang="fi-FI" dirty="0"/>
              <a:t>Add text</a:t>
            </a:r>
          </a:p>
        </p:txBody>
      </p:sp>
      <p:sp>
        <p:nvSpPr>
          <p:cNvPr id="18" name="Text Placeholder 5">
            <a:extLst>
              <a:ext uri="{FF2B5EF4-FFF2-40B4-BE49-F238E27FC236}">
                <a16:creationId xmlns:a16="http://schemas.microsoft.com/office/drawing/2014/main" id="{89987C57-966C-4855-9310-5E356BB3CB9E}"/>
              </a:ext>
            </a:extLst>
          </p:cNvPr>
          <p:cNvSpPr>
            <a:spLocks noGrp="1"/>
          </p:cNvSpPr>
          <p:nvPr>
            <p:ph type="body" sz="quarter" idx="12" hasCustomPrompt="1"/>
          </p:nvPr>
        </p:nvSpPr>
        <p:spPr>
          <a:xfrm>
            <a:off x="2039978" y="2536756"/>
            <a:ext cx="1539000" cy="2007182"/>
          </a:xfrm>
          <a:prstGeom prst="rect">
            <a:avLst/>
          </a:prstGeom>
        </p:spPr>
        <p:txBody>
          <a:bodyPr lIns="0" tIns="0" rIns="0" bIns="0"/>
          <a:lstStyle>
            <a:lvl1pPr marL="81000" marR="0" indent="-81000" algn="l" defTabSz="514436" rtl="0" eaLnBrk="1" fontAlgn="auto" latinLnBrk="0" hangingPunct="1">
              <a:lnSpc>
                <a:spcPct val="100000"/>
              </a:lnSpc>
              <a:spcBef>
                <a:spcPts val="750"/>
              </a:spcBef>
              <a:spcAft>
                <a:spcPts val="0"/>
              </a:spcAft>
              <a:buClrTx/>
              <a:buSzTx/>
              <a:buFont typeface="Arial" charset="0"/>
              <a:buChar char="•"/>
              <a:tabLst/>
              <a:defRPr sz="1400" b="1">
                <a:solidFill>
                  <a:schemeClr val="bg1"/>
                </a:solidFill>
              </a:defRPr>
            </a:lvl1pPr>
            <a:lvl2pPr marL="128588" indent="-128588">
              <a:lnSpc>
                <a:spcPts val="1600"/>
              </a:lnSpc>
              <a:buClr>
                <a:schemeClr val="bg1"/>
              </a:buClr>
              <a:defRPr lang="en-US" sz="1350" b="1" kern="1200" dirty="0" smtClean="0">
                <a:solidFill>
                  <a:schemeClr val="bg1"/>
                </a:solidFill>
                <a:latin typeface="+mn-lt"/>
                <a:ea typeface="Arial" charset="0"/>
                <a:cs typeface="Arial" charset="0"/>
              </a:defRPr>
            </a:lvl2pPr>
          </a:lstStyle>
          <a:p>
            <a:pPr marL="81000" marR="0" lvl="0" indent="-81000" algn="l" defTabSz="514436" rtl="0" eaLnBrk="1" fontAlgn="auto" latinLnBrk="0" hangingPunct="1">
              <a:lnSpc>
                <a:spcPts val="975"/>
              </a:lnSpc>
              <a:spcBef>
                <a:spcPts val="750"/>
              </a:spcBef>
              <a:spcAft>
                <a:spcPts val="0"/>
              </a:spcAft>
              <a:buClrTx/>
              <a:buSzTx/>
              <a:buFont typeface="Arial" charset="0"/>
              <a:buChar char="•"/>
              <a:tabLst/>
              <a:defRPr/>
            </a:pPr>
            <a:r>
              <a:rPr lang="fi-FI" dirty="0"/>
              <a:t>Add text</a:t>
            </a:r>
          </a:p>
          <a:p>
            <a:pPr marL="81000" lvl="0" indent="-81000" algn="l" defTabSz="514436" rtl="0" eaLnBrk="1" latinLnBrk="0" hangingPunct="1">
              <a:lnSpc>
                <a:spcPts val="975"/>
              </a:lnSpc>
              <a:buFont typeface="Arial" charset="0"/>
              <a:buChar char="•"/>
            </a:pPr>
            <a:endParaRPr lang="fi-FI" dirty="0"/>
          </a:p>
        </p:txBody>
      </p:sp>
      <p:sp>
        <p:nvSpPr>
          <p:cNvPr id="24" name="Text Placeholder 23">
            <a:extLst>
              <a:ext uri="{FF2B5EF4-FFF2-40B4-BE49-F238E27FC236}">
                <a16:creationId xmlns:a16="http://schemas.microsoft.com/office/drawing/2014/main" id="{EAC2BD28-BA40-4C62-9684-204677B491A2}"/>
              </a:ext>
            </a:extLst>
          </p:cNvPr>
          <p:cNvSpPr>
            <a:spLocks noGrp="1"/>
          </p:cNvSpPr>
          <p:nvPr>
            <p:ph type="body" sz="quarter" idx="16" hasCustomPrompt="1"/>
          </p:nvPr>
        </p:nvSpPr>
        <p:spPr>
          <a:xfrm>
            <a:off x="460020" y="1152407"/>
            <a:ext cx="1200623" cy="119347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1875" b="1" smtClean="0">
                <a:solidFill>
                  <a:schemeClr val="tx2"/>
                </a:solidFill>
                <a:latin typeface="Arial"/>
              </a:defRPr>
            </a:lvl1pPr>
            <a:lvl2pPr>
              <a:defRPr lang="en-US" sz="1350" smtClean="0">
                <a:solidFill>
                  <a:schemeClr val="lt1"/>
                </a:solidFill>
              </a:defRPr>
            </a:lvl2pPr>
            <a:lvl3pPr>
              <a:defRPr lang="en-US" sz="135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514436"/>
            <a:r>
              <a:rPr lang="en-US" dirty="0"/>
              <a:t>2014</a:t>
            </a:r>
          </a:p>
        </p:txBody>
      </p:sp>
      <p:sp>
        <p:nvSpPr>
          <p:cNvPr id="26" name="Text Placeholder 23">
            <a:extLst>
              <a:ext uri="{FF2B5EF4-FFF2-40B4-BE49-F238E27FC236}">
                <a16:creationId xmlns:a16="http://schemas.microsoft.com/office/drawing/2014/main" id="{0E8425B5-2F4C-4E05-8123-3A8B01FC8702}"/>
              </a:ext>
            </a:extLst>
          </p:cNvPr>
          <p:cNvSpPr>
            <a:spLocks noGrp="1"/>
          </p:cNvSpPr>
          <p:nvPr>
            <p:ph type="body" sz="quarter" idx="17" hasCustomPrompt="1"/>
          </p:nvPr>
        </p:nvSpPr>
        <p:spPr>
          <a:xfrm>
            <a:off x="2209168" y="1152407"/>
            <a:ext cx="1200623" cy="119347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1875" b="1" smtClean="0">
                <a:solidFill>
                  <a:schemeClr val="tx2"/>
                </a:solidFill>
                <a:latin typeface="Arial"/>
              </a:defRPr>
            </a:lvl1pPr>
            <a:lvl2pPr>
              <a:defRPr lang="en-US" sz="1350" smtClean="0">
                <a:solidFill>
                  <a:schemeClr val="lt1"/>
                </a:solidFill>
              </a:defRPr>
            </a:lvl2pPr>
            <a:lvl3pPr>
              <a:defRPr lang="en-US" sz="135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514436"/>
            <a:r>
              <a:rPr lang="en-US" dirty="0"/>
              <a:t>2015</a:t>
            </a:r>
          </a:p>
        </p:txBody>
      </p:sp>
      <p:sp>
        <p:nvSpPr>
          <p:cNvPr id="27" name="Text Placeholder 23">
            <a:extLst>
              <a:ext uri="{FF2B5EF4-FFF2-40B4-BE49-F238E27FC236}">
                <a16:creationId xmlns:a16="http://schemas.microsoft.com/office/drawing/2014/main" id="{DC20D224-7563-4C76-AD81-513A7C8829B2}"/>
              </a:ext>
            </a:extLst>
          </p:cNvPr>
          <p:cNvSpPr>
            <a:spLocks noGrp="1"/>
          </p:cNvSpPr>
          <p:nvPr>
            <p:ph type="body" sz="quarter" idx="18" hasCustomPrompt="1"/>
          </p:nvPr>
        </p:nvSpPr>
        <p:spPr>
          <a:xfrm>
            <a:off x="3953649" y="1152407"/>
            <a:ext cx="1200623" cy="119347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1875" b="1" smtClean="0">
                <a:solidFill>
                  <a:schemeClr val="tx2"/>
                </a:solidFill>
                <a:latin typeface="Arial"/>
              </a:defRPr>
            </a:lvl1pPr>
            <a:lvl2pPr>
              <a:defRPr lang="en-US" sz="1350" smtClean="0">
                <a:solidFill>
                  <a:schemeClr val="lt1"/>
                </a:solidFill>
              </a:defRPr>
            </a:lvl2pPr>
            <a:lvl3pPr>
              <a:defRPr lang="en-US" sz="135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514436"/>
            <a:r>
              <a:rPr lang="en-US" dirty="0"/>
              <a:t>2016</a:t>
            </a:r>
          </a:p>
        </p:txBody>
      </p:sp>
      <p:sp>
        <p:nvSpPr>
          <p:cNvPr id="28" name="Text Placeholder 23">
            <a:extLst>
              <a:ext uri="{FF2B5EF4-FFF2-40B4-BE49-F238E27FC236}">
                <a16:creationId xmlns:a16="http://schemas.microsoft.com/office/drawing/2014/main" id="{E06BCED4-D727-4040-AD5B-6450A58ED4DF}"/>
              </a:ext>
            </a:extLst>
          </p:cNvPr>
          <p:cNvSpPr>
            <a:spLocks noGrp="1"/>
          </p:cNvSpPr>
          <p:nvPr>
            <p:ph type="body" sz="quarter" idx="19" hasCustomPrompt="1"/>
          </p:nvPr>
        </p:nvSpPr>
        <p:spPr>
          <a:xfrm>
            <a:off x="5684135" y="1152407"/>
            <a:ext cx="1200623" cy="119347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1875" b="1" smtClean="0">
                <a:solidFill>
                  <a:schemeClr val="tx2"/>
                </a:solidFill>
                <a:latin typeface="Arial"/>
              </a:defRPr>
            </a:lvl1pPr>
            <a:lvl2pPr>
              <a:defRPr lang="en-US" sz="1350" smtClean="0">
                <a:solidFill>
                  <a:schemeClr val="lt1"/>
                </a:solidFill>
              </a:defRPr>
            </a:lvl2pPr>
            <a:lvl3pPr>
              <a:defRPr lang="en-US" sz="135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514436"/>
            <a:r>
              <a:rPr lang="en-US" dirty="0"/>
              <a:t>2017</a:t>
            </a:r>
          </a:p>
        </p:txBody>
      </p:sp>
      <p:sp>
        <p:nvSpPr>
          <p:cNvPr id="29" name="Text Placeholder 23">
            <a:extLst>
              <a:ext uri="{FF2B5EF4-FFF2-40B4-BE49-F238E27FC236}">
                <a16:creationId xmlns:a16="http://schemas.microsoft.com/office/drawing/2014/main" id="{294EAA4E-E8D4-4CC5-BDD1-70053B25FE63}"/>
              </a:ext>
            </a:extLst>
          </p:cNvPr>
          <p:cNvSpPr>
            <a:spLocks noGrp="1"/>
          </p:cNvSpPr>
          <p:nvPr>
            <p:ph type="body" sz="quarter" idx="20" hasCustomPrompt="1"/>
          </p:nvPr>
        </p:nvSpPr>
        <p:spPr>
          <a:xfrm>
            <a:off x="7414621" y="1152407"/>
            <a:ext cx="1200623" cy="119347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1875" b="1" smtClean="0">
                <a:solidFill>
                  <a:schemeClr val="tx2"/>
                </a:solidFill>
                <a:latin typeface="Arial"/>
              </a:defRPr>
            </a:lvl1pPr>
            <a:lvl2pPr>
              <a:defRPr lang="en-US" sz="1350" smtClean="0">
                <a:solidFill>
                  <a:schemeClr val="lt1"/>
                </a:solidFill>
              </a:defRPr>
            </a:lvl2pPr>
            <a:lvl3pPr>
              <a:defRPr lang="en-US" sz="135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514436"/>
            <a:r>
              <a:rPr lang="en-US" dirty="0"/>
              <a:t>2018</a:t>
            </a:r>
          </a:p>
        </p:txBody>
      </p:sp>
      <p:sp>
        <p:nvSpPr>
          <p:cNvPr id="17" name="Text Placeholder 5">
            <a:extLst>
              <a:ext uri="{FF2B5EF4-FFF2-40B4-BE49-F238E27FC236}">
                <a16:creationId xmlns:a16="http://schemas.microsoft.com/office/drawing/2014/main" id="{A827BBD5-9E69-4D6A-ACDE-EC26CFE2F6DA}"/>
              </a:ext>
            </a:extLst>
          </p:cNvPr>
          <p:cNvSpPr>
            <a:spLocks noGrp="1"/>
          </p:cNvSpPr>
          <p:nvPr>
            <p:ph type="body" sz="quarter" idx="23" hasCustomPrompt="1"/>
          </p:nvPr>
        </p:nvSpPr>
        <p:spPr>
          <a:xfrm>
            <a:off x="3771501" y="2536756"/>
            <a:ext cx="1539000" cy="2007182"/>
          </a:xfrm>
          <a:prstGeom prst="rect">
            <a:avLst/>
          </a:prstGeom>
        </p:spPr>
        <p:txBody>
          <a:bodyPr lIns="0" tIns="0" rIns="0" bIns="0"/>
          <a:lstStyle>
            <a:lvl1pPr marL="81000" marR="0" indent="-81000" algn="l" defTabSz="514436" rtl="0" eaLnBrk="1" fontAlgn="auto" latinLnBrk="0" hangingPunct="1">
              <a:lnSpc>
                <a:spcPct val="100000"/>
              </a:lnSpc>
              <a:spcBef>
                <a:spcPts val="750"/>
              </a:spcBef>
              <a:spcAft>
                <a:spcPts val="0"/>
              </a:spcAft>
              <a:buClrTx/>
              <a:buSzTx/>
              <a:buFont typeface="Arial" charset="0"/>
              <a:buChar char="•"/>
              <a:tabLst/>
              <a:defRPr sz="1400" b="1">
                <a:solidFill>
                  <a:schemeClr val="bg1"/>
                </a:solidFill>
              </a:defRPr>
            </a:lvl1pPr>
            <a:lvl2pPr marL="128588" indent="-128588">
              <a:lnSpc>
                <a:spcPts val="1600"/>
              </a:lnSpc>
              <a:buClr>
                <a:schemeClr val="bg1"/>
              </a:buClr>
              <a:defRPr lang="en-US" sz="1350" b="1" kern="1200" dirty="0" smtClean="0">
                <a:solidFill>
                  <a:schemeClr val="bg1"/>
                </a:solidFill>
                <a:latin typeface="+mn-lt"/>
                <a:ea typeface="Arial" charset="0"/>
                <a:cs typeface="Arial" charset="0"/>
              </a:defRPr>
            </a:lvl2pPr>
          </a:lstStyle>
          <a:p>
            <a:pPr marL="81000" marR="0" lvl="0" indent="-81000" algn="l" defTabSz="514436" rtl="0" eaLnBrk="1" fontAlgn="auto" latinLnBrk="0" hangingPunct="1">
              <a:lnSpc>
                <a:spcPts val="975"/>
              </a:lnSpc>
              <a:spcBef>
                <a:spcPts val="750"/>
              </a:spcBef>
              <a:spcAft>
                <a:spcPts val="0"/>
              </a:spcAft>
              <a:buClrTx/>
              <a:buSzTx/>
              <a:buFont typeface="Arial" charset="0"/>
              <a:buChar char="•"/>
              <a:tabLst/>
              <a:defRPr/>
            </a:pPr>
            <a:r>
              <a:rPr lang="fi-FI" dirty="0"/>
              <a:t>Add text</a:t>
            </a:r>
          </a:p>
          <a:p>
            <a:pPr marL="81000" lvl="0" indent="-81000" algn="l" defTabSz="514436" rtl="0" eaLnBrk="1" latinLnBrk="0" hangingPunct="1">
              <a:lnSpc>
                <a:spcPts val="975"/>
              </a:lnSpc>
              <a:buFont typeface="Arial" charset="0"/>
              <a:buChar char="•"/>
            </a:pPr>
            <a:endParaRPr lang="fi-FI" dirty="0"/>
          </a:p>
        </p:txBody>
      </p:sp>
      <p:sp>
        <p:nvSpPr>
          <p:cNvPr id="22" name="Text Placeholder 5">
            <a:extLst>
              <a:ext uri="{FF2B5EF4-FFF2-40B4-BE49-F238E27FC236}">
                <a16:creationId xmlns:a16="http://schemas.microsoft.com/office/drawing/2014/main" id="{1BA48B8B-BD2C-4A39-82AF-63EB5DF45DE4}"/>
              </a:ext>
            </a:extLst>
          </p:cNvPr>
          <p:cNvSpPr>
            <a:spLocks noGrp="1"/>
          </p:cNvSpPr>
          <p:nvPr>
            <p:ph type="body" sz="quarter" idx="24" hasCustomPrompt="1"/>
          </p:nvPr>
        </p:nvSpPr>
        <p:spPr>
          <a:xfrm>
            <a:off x="5515995" y="2536756"/>
            <a:ext cx="1539000" cy="2007182"/>
          </a:xfrm>
          <a:prstGeom prst="rect">
            <a:avLst/>
          </a:prstGeom>
        </p:spPr>
        <p:txBody>
          <a:bodyPr lIns="0" tIns="0" rIns="0" bIns="0"/>
          <a:lstStyle>
            <a:lvl1pPr marL="81000" marR="0" indent="-81000" algn="l" defTabSz="514436" rtl="0" eaLnBrk="1" fontAlgn="auto" latinLnBrk="0" hangingPunct="1">
              <a:lnSpc>
                <a:spcPct val="100000"/>
              </a:lnSpc>
              <a:spcBef>
                <a:spcPts val="750"/>
              </a:spcBef>
              <a:spcAft>
                <a:spcPts val="0"/>
              </a:spcAft>
              <a:buClrTx/>
              <a:buSzTx/>
              <a:buFont typeface="Arial" charset="0"/>
              <a:buChar char="•"/>
              <a:tabLst/>
              <a:defRPr sz="1400" b="1">
                <a:solidFill>
                  <a:schemeClr val="bg1"/>
                </a:solidFill>
              </a:defRPr>
            </a:lvl1pPr>
            <a:lvl2pPr marL="128588" indent="-128588">
              <a:lnSpc>
                <a:spcPts val="1600"/>
              </a:lnSpc>
              <a:buClr>
                <a:schemeClr val="bg1"/>
              </a:buClr>
              <a:defRPr lang="en-US" sz="1350" b="1" kern="1200" dirty="0" smtClean="0">
                <a:solidFill>
                  <a:schemeClr val="bg1"/>
                </a:solidFill>
                <a:latin typeface="+mn-lt"/>
                <a:ea typeface="Arial" charset="0"/>
                <a:cs typeface="Arial" charset="0"/>
              </a:defRPr>
            </a:lvl2pPr>
          </a:lstStyle>
          <a:p>
            <a:pPr marL="81000" marR="0" lvl="0" indent="-81000" algn="l" defTabSz="514436" rtl="0" eaLnBrk="1" fontAlgn="auto" latinLnBrk="0" hangingPunct="1">
              <a:lnSpc>
                <a:spcPts val="975"/>
              </a:lnSpc>
              <a:spcBef>
                <a:spcPts val="750"/>
              </a:spcBef>
              <a:spcAft>
                <a:spcPts val="0"/>
              </a:spcAft>
              <a:buClrTx/>
              <a:buSzTx/>
              <a:buFont typeface="Arial" charset="0"/>
              <a:buChar char="•"/>
              <a:tabLst/>
              <a:defRPr/>
            </a:pPr>
            <a:r>
              <a:rPr lang="fi-FI" dirty="0"/>
              <a:t>Add text</a:t>
            </a:r>
          </a:p>
          <a:p>
            <a:pPr marL="81000" lvl="0" indent="-81000" algn="l" defTabSz="514436" rtl="0" eaLnBrk="1" latinLnBrk="0" hangingPunct="1">
              <a:lnSpc>
                <a:spcPts val="975"/>
              </a:lnSpc>
              <a:buFont typeface="Arial" charset="0"/>
              <a:buChar char="•"/>
            </a:pPr>
            <a:endParaRPr lang="fi-FI" dirty="0"/>
          </a:p>
        </p:txBody>
      </p:sp>
      <p:sp>
        <p:nvSpPr>
          <p:cNvPr id="23" name="Text Placeholder 5">
            <a:extLst>
              <a:ext uri="{FF2B5EF4-FFF2-40B4-BE49-F238E27FC236}">
                <a16:creationId xmlns:a16="http://schemas.microsoft.com/office/drawing/2014/main" id="{FDACDC4A-3163-4169-8C73-15CC127E50C8}"/>
              </a:ext>
            </a:extLst>
          </p:cNvPr>
          <p:cNvSpPr>
            <a:spLocks noGrp="1"/>
          </p:cNvSpPr>
          <p:nvPr>
            <p:ph type="body" sz="quarter" idx="25" hasCustomPrompt="1"/>
          </p:nvPr>
        </p:nvSpPr>
        <p:spPr>
          <a:xfrm>
            <a:off x="7247518" y="2536756"/>
            <a:ext cx="1539000" cy="2007182"/>
          </a:xfrm>
          <a:prstGeom prst="rect">
            <a:avLst/>
          </a:prstGeom>
        </p:spPr>
        <p:txBody>
          <a:bodyPr lIns="0" tIns="0" rIns="0" bIns="0"/>
          <a:lstStyle>
            <a:lvl1pPr marL="81000" marR="0" indent="-81000" algn="l" defTabSz="514436" rtl="0" eaLnBrk="1" fontAlgn="auto" latinLnBrk="0" hangingPunct="1">
              <a:lnSpc>
                <a:spcPct val="100000"/>
              </a:lnSpc>
              <a:spcBef>
                <a:spcPts val="750"/>
              </a:spcBef>
              <a:spcAft>
                <a:spcPts val="0"/>
              </a:spcAft>
              <a:buClrTx/>
              <a:buSzTx/>
              <a:buFont typeface="Arial" charset="0"/>
              <a:buChar char="•"/>
              <a:tabLst/>
              <a:defRPr sz="1400" b="1">
                <a:solidFill>
                  <a:schemeClr val="bg1"/>
                </a:solidFill>
              </a:defRPr>
            </a:lvl1pPr>
            <a:lvl2pPr marL="128588" indent="-128588">
              <a:lnSpc>
                <a:spcPts val="1600"/>
              </a:lnSpc>
              <a:buClr>
                <a:schemeClr val="bg1"/>
              </a:buClr>
              <a:defRPr lang="en-US" sz="1350" b="1" kern="1200" dirty="0" smtClean="0">
                <a:solidFill>
                  <a:schemeClr val="bg1"/>
                </a:solidFill>
                <a:latin typeface="+mn-lt"/>
                <a:ea typeface="Arial" charset="0"/>
                <a:cs typeface="Arial" charset="0"/>
              </a:defRPr>
            </a:lvl2pPr>
          </a:lstStyle>
          <a:p>
            <a:pPr marL="81000" marR="0" lvl="0" indent="-81000" algn="l" defTabSz="514436" rtl="0" eaLnBrk="1" fontAlgn="auto" latinLnBrk="0" hangingPunct="1">
              <a:lnSpc>
                <a:spcPts val="975"/>
              </a:lnSpc>
              <a:spcBef>
                <a:spcPts val="750"/>
              </a:spcBef>
              <a:spcAft>
                <a:spcPts val="0"/>
              </a:spcAft>
              <a:buClrTx/>
              <a:buSzTx/>
              <a:buFont typeface="Arial" charset="0"/>
              <a:buChar char="•"/>
              <a:tabLst/>
              <a:defRPr/>
            </a:pPr>
            <a:r>
              <a:rPr lang="fi-FI" dirty="0"/>
              <a:t>Add text</a:t>
            </a:r>
          </a:p>
          <a:p>
            <a:pPr marL="81000" lvl="0" indent="-81000" algn="l" defTabSz="514436" rtl="0" eaLnBrk="1" latinLnBrk="0" hangingPunct="1">
              <a:lnSpc>
                <a:spcPts val="975"/>
              </a:lnSpc>
              <a:buFont typeface="Arial" charset="0"/>
              <a:buChar char="•"/>
            </a:pPr>
            <a:endParaRPr lang="fi-FI" dirty="0"/>
          </a:p>
        </p:txBody>
      </p:sp>
      <p:sp>
        <p:nvSpPr>
          <p:cNvPr id="2" name="Päivämäärän paikkamerkki 1">
            <a:extLst>
              <a:ext uri="{FF2B5EF4-FFF2-40B4-BE49-F238E27FC236}">
                <a16:creationId xmlns:a16="http://schemas.microsoft.com/office/drawing/2014/main" id="{17A6B884-331F-40FA-8908-119224136FDB}"/>
              </a:ext>
            </a:extLst>
          </p:cNvPr>
          <p:cNvSpPr>
            <a:spLocks noGrp="1"/>
          </p:cNvSpPr>
          <p:nvPr>
            <p:ph type="dt" sz="half" idx="26"/>
          </p:nvPr>
        </p:nvSpPr>
        <p:spPr/>
        <p:txBody>
          <a:bodyPr/>
          <a:lstStyle>
            <a:lvl1pPr>
              <a:defRPr>
                <a:solidFill>
                  <a:srgbClr val="FFFFFF"/>
                </a:solidFill>
              </a:defRPr>
            </a:lvl1pPr>
          </a:lstStyle>
          <a:p>
            <a:r>
              <a:rPr lang="fi-FI" dirty="0"/>
              <a:t>dd.mm.yyyy</a:t>
            </a:r>
            <a:endParaRPr lang="en-US" dirty="0"/>
          </a:p>
        </p:txBody>
      </p:sp>
      <p:sp>
        <p:nvSpPr>
          <p:cNvPr id="3" name="Alatunnisteen paikkamerkki 2">
            <a:extLst>
              <a:ext uri="{FF2B5EF4-FFF2-40B4-BE49-F238E27FC236}">
                <a16:creationId xmlns:a16="http://schemas.microsoft.com/office/drawing/2014/main" id="{A749CABA-9FF3-45EA-9953-7B719CB699D9}"/>
              </a:ext>
            </a:extLst>
          </p:cNvPr>
          <p:cNvSpPr>
            <a:spLocks noGrp="1"/>
          </p:cNvSpPr>
          <p:nvPr>
            <p:ph type="ftr" sz="quarter" idx="27"/>
          </p:nvPr>
        </p:nvSpPr>
        <p:spPr/>
        <p:txBody>
          <a:bodyPr/>
          <a:lstStyle>
            <a:lvl1pPr>
              <a:defRPr>
                <a:solidFill>
                  <a:srgbClr val="FFFFFF"/>
                </a:solidFill>
              </a:defRPr>
            </a:lvl1pPr>
          </a:lstStyle>
          <a:p>
            <a:r>
              <a:rPr lang="fi-FI" dirty="0"/>
              <a:t>Your text here</a:t>
            </a:r>
          </a:p>
        </p:txBody>
      </p:sp>
      <p:sp>
        <p:nvSpPr>
          <p:cNvPr id="4" name="Dian numeron paikkamerkki 3">
            <a:extLst>
              <a:ext uri="{FF2B5EF4-FFF2-40B4-BE49-F238E27FC236}">
                <a16:creationId xmlns:a16="http://schemas.microsoft.com/office/drawing/2014/main" id="{FF271C0B-E7D3-474B-A483-3CBA7656076F}"/>
              </a:ext>
            </a:extLst>
          </p:cNvPr>
          <p:cNvSpPr>
            <a:spLocks noGrp="1"/>
          </p:cNvSpPr>
          <p:nvPr>
            <p:ph type="sldNum" sz="quarter" idx="28"/>
          </p:nvPr>
        </p:nvSpPr>
        <p:spPr/>
        <p:txBody>
          <a:bodyPr/>
          <a:lstStyle>
            <a:lvl1pPr>
              <a:defRPr>
                <a:solidFill>
                  <a:srgbClr val="FFFFFF"/>
                </a:solidFill>
              </a:defRPr>
            </a:lvl1pPr>
          </a:lstStyle>
          <a:p>
            <a:fld id="{28F7F04C-F568-F649-A2AE-EA61C66B69B4}" type="slidenum">
              <a:rPr lang="en-US" smtClean="0"/>
              <a:pPr/>
              <a:t>‹#›</a:t>
            </a:fld>
            <a:endParaRPr lang="en-US" dirty="0"/>
          </a:p>
        </p:txBody>
      </p:sp>
      <p:pic>
        <p:nvPicPr>
          <p:cNvPr id="20" name="Kuva 1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1580"/>
            <a:ext cx="1991440" cy="856800"/>
          </a:xfrm>
          <a:prstGeom prst="rect">
            <a:avLst/>
          </a:prstGeom>
        </p:spPr>
      </p:pic>
    </p:spTree>
  </p:cSld>
  <p:clrMapOvr>
    <a:masterClrMapping/>
  </p:clrMapOvr>
  <p:extLst>
    <p:ext uri="{DCECCB84-F9BA-43D5-87BE-67443E8EF086}">
      <p15:sldGuideLst xmlns:p15="http://schemas.microsoft.com/office/powerpoint/2012/main">
        <p15:guide id="1" pos="5534" userDrawn="1">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type="objTx" preserve="1">
  <p:cSld name="Kuvatekstillinen sisältö">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EB2FE3AD-2751-4DD2-A628-24B2B6B1CD33}"/>
              </a:ext>
            </a:extLst>
          </p:cNvPr>
          <p:cNvSpPr>
            <a:spLocks noGrp="1"/>
          </p:cNvSpPr>
          <p:nvPr>
            <p:ph type="title"/>
          </p:nvPr>
        </p:nvSpPr>
        <p:spPr>
          <a:xfrm>
            <a:off x="629841" y="342900"/>
            <a:ext cx="2949178" cy="1200150"/>
          </a:xfrm>
        </p:spPr>
        <p:txBody>
          <a:bodyPr anchor="b"/>
          <a:lstStyle>
            <a:lvl1pPr>
              <a:defRPr sz="2400"/>
            </a:lvl1pPr>
          </a:lstStyle>
          <a:p>
            <a:r>
              <a:rPr lang="fi-FI"/>
              <a:t>Muokkaa ots. perustyyl. napsautt.</a:t>
            </a:r>
            <a:endParaRPr lang="en-US"/>
          </a:p>
        </p:txBody>
      </p:sp>
      <p:sp>
        <p:nvSpPr>
          <p:cNvPr id="3" name="Sisällön paikkamerkki 2">
            <a:extLst>
              <a:ext uri="{FF2B5EF4-FFF2-40B4-BE49-F238E27FC236}">
                <a16:creationId xmlns:a16="http://schemas.microsoft.com/office/drawing/2014/main" id="{D6A2A672-4450-49CB-8FD2-6BA1C2F952F9}"/>
              </a:ext>
            </a:extLst>
          </p:cNvPr>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US"/>
          </a:p>
        </p:txBody>
      </p:sp>
      <p:sp>
        <p:nvSpPr>
          <p:cNvPr id="4" name="Tekstin paikkamerkki 3">
            <a:extLst>
              <a:ext uri="{FF2B5EF4-FFF2-40B4-BE49-F238E27FC236}">
                <a16:creationId xmlns:a16="http://schemas.microsoft.com/office/drawing/2014/main" id="{5E01C76C-73FF-4C1E-89CA-CBD948C5C456}"/>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fi-FI"/>
              <a:t>Muokkaa tekstin perustyylejä napsauttamalla</a:t>
            </a:r>
          </a:p>
        </p:txBody>
      </p:sp>
      <p:sp>
        <p:nvSpPr>
          <p:cNvPr id="5" name="Päivämäärän paikkamerkki 4">
            <a:extLst>
              <a:ext uri="{FF2B5EF4-FFF2-40B4-BE49-F238E27FC236}">
                <a16:creationId xmlns:a16="http://schemas.microsoft.com/office/drawing/2014/main" id="{669B183D-8488-45BF-8F79-C7ACF4FEDDE2}"/>
              </a:ext>
            </a:extLst>
          </p:cNvPr>
          <p:cNvSpPr>
            <a:spLocks noGrp="1"/>
          </p:cNvSpPr>
          <p:nvPr>
            <p:ph type="dt" sz="half" idx="10"/>
          </p:nvPr>
        </p:nvSpPr>
        <p:spPr/>
        <p:txBody>
          <a:bodyPr/>
          <a:lstStyle/>
          <a:p>
            <a:fld id="{E3EABE19-BC7D-42AD-B02C-D1582605FFC8}" type="datetimeFigureOut">
              <a:rPr lang="en-US" smtClean="0"/>
              <a:t>5.11.2023</a:t>
            </a:fld>
            <a:endParaRPr lang="en-US"/>
          </a:p>
        </p:txBody>
      </p:sp>
      <p:sp>
        <p:nvSpPr>
          <p:cNvPr id="6" name="Alatunnisteen paikkamerkki 5">
            <a:extLst>
              <a:ext uri="{FF2B5EF4-FFF2-40B4-BE49-F238E27FC236}">
                <a16:creationId xmlns:a16="http://schemas.microsoft.com/office/drawing/2014/main" id="{5087E175-A8C0-41E2-8882-E275E42CBE0F}"/>
              </a:ext>
            </a:extLst>
          </p:cNvPr>
          <p:cNvSpPr>
            <a:spLocks noGrp="1"/>
          </p:cNvSpPr>
          <p:nvPr>
            <p:ph type="ftr" sz="quarter" idx="11"/>
          </p:nvPr>
        </p:nvSpPr>
        <p:spPr/>
        <p:txBody>
          <a:bodyPr/>
          <a:lstStyle/>
          <a:p>
            <a:endParaRPr lang="en-US"/>
          </a:p>
        </p:txBody>
      </p:sp>
      <p:sp>
        <p:nvSpPr>
          <p:cNvPr id="7" name="Dian numeron paikkamerkki 6">
            <a:extLst>
              <a:ext uri="{FF2B5EF4-FFF2-40B4-BE49-F238E27FC236}">
                <a16:creationId xmlns:a16="http://schemas.microsoft.com/office/drawing/2014/main" id="{0D39B3B9-065F-454A-8BB2-7C047BE2B470}"/>
              </a:ext>
            </a:extLst>
          </p:cNvPr>
          <p:cNvSpPr>
            <a:spLocks noGrp="1"/>
          </p:cNvSpPr>
          <p:nvPr>
            <p:ph type="sldNum" sz="quarter" idx="12"/>
          </p:nvPr>
        </p:nvSpPr>
        <p:spPr/>
        <p:txBody>
          <a:bodyPr/>
          <a:lstStyle/>
          <a:p>
            <a:fld id="{B812DBEB-9514-473D-B57A-C2815E6341F1}" type="slidenum">
              <a:rPr lang="en-US" smtClean="0"/>
              <a:t>‹#›</a:t>
            </a:fld>
            <a:endParaRPr lang="en-US"/>
          </a:p>
        </p:txBody>
      </p:sp>
    </p:spTree>
    <p:extLst>
      <p:ext uri="{BB962C8B-B14F-4D97-AF65-F5344CB8AC3E}">
        <p14:creationId xmlns:p14="http://schemas.microsoft.com/office/powerpoint/2010/main" val="1853464667"/>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picTx" preserve="1">
  <p:cSld name="Kuvatekstillinen kuva">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CFDE1415-C70B-44B2-A54C-6BACF6AA9F2E}"/>
              </a:ext>
            </a:extLst>
          </p:cNvPr>
          <p:cNvSpPr>
            <a:spLocks noGrp="1"/>
          </p:cNvSpPr>
          <p:nvPr>
            <p:ph type="title"/>
          </p:nvPr>
        </p:nvSpPr>
        <p:spPr>
          <a:xfrm>
            <a:off x="629841" y="342900"/>
            <a:ext cx="2949178" cy="1200150"/>
          </a:xfrm>
        </p:spPr>
        <p:txBody>
          <a:bodyPr anchor="b"/>
          <a:lstStyle>
            <a:lvl1pPr>
              <a:defRPr sz="2400"/>
            </a:lvl1pPr>
          </a:lstStyle>
          <a:p>
            <a:r>
              <a:rPr lang="fi-FI"/>
              <a:t>Muokkaa ots. perustyyl. napsautt.</a:t>
            </a:r>
            <a:endParaRPr lang="en-US"/>
          </a:p>
        </p:txBody>
      </p:sp>
      <p:sp>
        <p:nvSpPr>
          <p:cNvPr id="3" name="Kuvan paikkamerkki 2">
            <a:extLst>
              <a:ext uri="{FF2B5EF4-FFF2-40B4-BE49-F238E27FC236}">
                <a16:creationId xmlns:a16="http://schemas.microsoft.com/office/drawing/2014/main" id="{B01CC158-3C46-433F-8884-034754000C21}"/>
              </a:ext>
            </a:extLst>
          </p:cNvPr>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kstin paikkamerkki 3">
            <a:extLst>
              <a:ext uri="{FF2B5EF4-FFF2-40B4-BE49-F238E27FC236}">
                <a16:creationId xmlns:a16="http://schemas.microsoft.com/office/drawing/2014/main" id="{38BB2903-C708-4341-8218-9363473384DC}"/>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fi-FI"/>
              <a:t>Muokkaa tekstin perustyylejä napsauttamalla</a:t>
            </a:r>
          </a:p>
        </p:txBody>
      </p:sp>
      <p:sp>
        <p:nvSpPr>
          <p:cNvPr id="5" name="Päivämäärän paikkamerkki 4">
            <a:extLst>
              <a:ext uri="{FF2B5EF4-FFF2-40B4-BE49-F238E27FC236}">
                <a16:creationId xmlns:a16="http://schemas.microsoft.com/office/drawing/2014/main" id="{961AF4D6-9F7F-437D-9367-AAE80F32C9C7}"/>
              </a:ext>
            </a:extLst>
          </p:cNvPr>
          <p:cNvSpPr>
            <a:spLocks noGrp="1"/>
          </p:cNvSpPr>
          <p:nvPr>
            <p:ph type="dt" sz="half" idx="10"/>
          </p:nvPr>
        </p:nvSpPr>
        <p:spPr/>
        <p:txBody>
          <a:bodyPr/>
          <a:lstStyle/>
          <a:p>
            <a:fld id="{E3EABE19-BC7D-42AD-B02C-D1582605FFC8}" type="datetimeFigureOut">
              <a:rPr lang="en-US" smtClean="0"/>
              <a:t>5.11.2023</a:t>
            </a:fld>
            <a:endParaRPr lang="en-US"/>
          </a:p>
        </p:txBody>
      </p:sp>
      <p:sp>
        <p:nvSpPr>
          <p:cNvPr id="6" name="Alatunnisteen paikkamerkki 5">
            <a:extLst>
              <a:ext uri="{FF2B5EF4-FFF2-40B4-BE49-F238E27FC236}">
                <a16:creationId xmlns:a16="http://schemas.microsoft.com/office/drawing/2014/main" id="{E6223E11-DA5B-47E3-843B-97A05A53FA96}"/>
              </a:ext>
            </a:extLst>
          </p:cNvPr>
          <p:cNvSpPr>
            <a:spLocks noGrp="1"/>
          </p:cNvSpPr>
          <p:nvPr>
            <p:ph type="ftr" sz="quarter" idx="11"/>
          </p:nvPr>
        </p:nvSpPr>
        <p:spPr/>
        <p:txBody>
          <a:bodyPr/>
          <a:lstStyle/>
          <a:p>
            <a:endParaRPr lang="en-US"/>
          </a:p>
        </p:txBody>
      </p:sp>
      <p:sp>
        <p:nvSpPr>
          <p:cNvPr id="7" name="Dian numeron paikkamerkki 6">
            <a:extLst>
              <a:ext uri="{FF2B5EF4-FFF2-40B4-BE49-F238E27FC236}">
                <a16:creationId xmlns:a16="http://schemas.microsoft.com/office/drawing/2014/main" id="{BFF3D39C-7047-4986-9D4A-B3BA7ED20B80}"/>
              </a:ext>
            </a:extLst>
          </p:cNvPr>
          <p:cNvSpPr>
            <a:spLocks noGrp="1"/>
          </p:cNvSpPr>
          <p:nvPr>
            <p:ph type="sldNum" sz="quarter" idx="12"/>
          </p:nvPr>
        </p:nvSpPr>
        <p:spPr/>
        <p:txBody>
          <a:bodyPr/>
          <a:lstStyle/>
          <a:p>
            <a:fld id="{B812DBEB-9514-473D-B57A-C2815E6341F1}" type="slidenum">
              <a:rPr lang="en-US" smtClean="0"/>
              <a:t>‹#›</a:t>
            </a:fld>
            <a:endParaRPr lang="en-US"/>
          </a:p>
        </p:txBody>
      </p:sp>
    </p:spTree>
    <p:extLst>
      <p:ext uri="{BB962C8B-B14F-4D97-AF65-F5344CB8AC3E}">
        <p14:creationId xmlns:p14="http://schemas.microsoft.com/office/powerpoint/2010/main" val="1258013219"/>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vertTx" preserve="1">
  <p:cSld name="Otsikko ja pystysuora teksti">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878073B8-37C7-4AFE-AF80-16E48C97A3AB}"/>
              </a:ext>
            </a:extLst>
          </p:cNvPr>
          <p:cNvSpPr>
            <a:spLocks noGrp="1"/>
          </p:cNvSpPr>
          <p:nvPr>
            <p:ph type="title"/>
          </p:nvPr>
        </p:nvSpPr>
        <p:spPr/>
        <p:txBody>
          <a:bodyPr/>
          <a:lstStyle/>
          <a:p>
            <a:r>
              <a:rPr lang="fi-FI"/>
              <a:t>Muokkaa ots. perustyyl. napsautt.</a:t>
            </a:r>
            <a:endParaRPr lang="en-US"/>
          </a:p>
        </p:txBody>
      </p:sp>
      <p:sp>
        <p:nvSpPr>
          <p:cNvPr id="3" name="Pystysuoran tekstin paikkamerkki 2">
            <a:extLst>
              <a:ext uri="{FF2B5EF4-FFF2-40B4-BE49-F238E27FC236}">
                <a16:creationId xmlns:a16="http://schemas.microsoft.com/office/drawing/2014/main" id="{9DA0962B-8C80-415E-A0DE-C4AE12A18361}"/>
              </a:ext>
            </a:extLst>
          </p:cNvPr>
          <p:cNvSpPr>
            <a:spLocks noGrp="1"/>
          </p:cNvSpPr>
          <p:nvPr>
            <p:ph type="body" orient="vert" idx="1"/>
          </p:nvPr>
        </p:nvSpPr>
        <p:spPr/>
        <p:txBody>
          <a:bodyPr vert="eaVert"/>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US"/>
          </a:p>
        </p:txBody>
      </p:sp>
      <p:sp>
        <p:nvSpPr>
          <p:cNvPr id="4" name="Päivämäärän paikkamerkki 3">
            <a:extLst>
              <a:ext uri="{FF2B5EF4-FFF2-40B4-BE49-F238E27FC236}">
                <a16:creationId xmlns:a16="http://schemas.microsoft.com/office/drawing/2014/main" id="{260249CB-6597-4700-90CB-BD107AB629C0}"/>
              </a:ext>
            </a:extLst>
          </p:cNvPr>
          <p:cNvSpPr>
            <a:spLocks noGrp="1"/>
          </p:cNvSpPr>
          <p:nvPr>
            <p:ph type="dt" sz="half" idx="10"/>
          </p:nvPr>
        </p:nvSpPr>
        <p:spPr/>
        <p:txBody>
          <a:bodyPr/>
          <a:lstStyle/>
          <a:p>
            <a:fld id="{E3EABE19-BC7D-42AD-B02C-D1582605FFC8}" type="datetimeFigureOut">
              <a:rPr lang="en-US" smtClean="0"/>
              <a:t>5.11.2023</a:t>
            </a:fld>
            <a:endParaRPr lang="en-US"/>
          </a:p>
        </p:txBody>
      </p:sp>
      <p:sp>
        <p:nvSpPr>
          <p:cNvPr id="5" name="Alatunnisteen paikkamerkki 4">
            <a:extLst>
              <a:ext uri="{FF2B5EF4-FFF2-40B4-BE49-F238E27FC236}">
                <a16:creationId xmlns:a16="http://schemas.microsoft.com/office/drawing/2014/main" id="{CB75DDD1-65BF-4AA2-997E-6EF1D56AB0CA}"/>
              </a:ext>
            </a:extLst>
          </p:cNvPr>
          <p:cNvSpPr>
            <a:spLocks noGrp="1"/>
          </p:cNvSpPr>
          <p:nvPr>
            <p:ph type="ftr" sz="quarter" idx="11"/>
          </p:nvPr>
        </p:nvSpPr>
        <p:spPr/>
        <p:txBody>
          <a:bodyPr/>
          <a:lstStyle/>
          <a:p>
            <a:endParaRPr lang="en-US"/>
          </a:p>
        </p:txBody>
      </p:sp>
      <p:sp>
        <p:nvSpPr>
          <p:cNvPr id="6" name="Dian numeron paikkamerkki 5">
            <a:extLst>
              <a:ext uri="{FF2B5EF4-FFF2-40B4-BE49-F238E27FC236}">
                <a16:creationId xmlns:a16="http://schemas.microsoft.com/office/drawing/2014/main" id="{A2B9BCA4-9B77-4D2C-A19F-024EF84B9AED}"/>
              </a:ext>
            </a:extLst>
          </p:cNvPr>
          <p:cNvSpPr>
            <a:spLocks noGrp="1"/>
          </p:cNvSpPr>
          <p:nvPr>
            <p:ph type="sldNum" sz="quarter" idx="12"/>
          </p:nvPr>
        </p:nvSpPr>
        <p:spPr/>
        <p:txBody>
          <a:bodyPr/>
          <a:lstStyle/>
          <a:p>
            <a:fld id="{B812DBEB-9514-473D-B57A-C2815E6341F1}" type="slidenum">
              <a:rPr lang="en-US" smtClean="0"/>
              <a:t>‹#›</a:t>
            </a:fld>
            <a:endParaRPr lang="en-US"/>
          </a:p>
        </p:txBody>
      </p:sp>
    </p:spTree>
    <p:extLst>
      <p:ext uri="{BB962C8B-B14F-4D97-AF65-F5344CB8AC3E}">
        <p14:creationId xmlns:p14="http://schemas.microsoft.com/office/powerpoint/2010/main" val="1724140525"/>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vertTitleAndTx" preserve="1">
  <p:cSld name="Pystysuora otsikko ja teksti">
    <p:spTree>
      <p:nvGrpSpPr>
        <p:cNvPr id="1" name=""/>
        <p:cNvGrpSpPr/>
        <p:nvPr/>
      </p:nvGrpSpPr>
      <p:grpSpPr>
        <a:xfrm>
          <a:off x="0" y="0"/>
          <a:ext cx="0" cy="0"/>
          <a:chOff x="0" y="0"/>
          <a:chExt cx="0" cy="0"/>
        </a:xfrm>
      </p:grpSpPr>
      <p:sp>
        <p:nvSpPr>
          <p:cNvPr id="2" name="Pystysuora otsikko 1">
            <a:extLst>
              <a:ext uri="{FF2B5EF4-FFF2-40B4-BE49-F238E27FC236}">
                <a16:creationId xmlns:a16="http://schemas.microsoft.com/office/drawing/2014/main" id="{7473333E-1CDF-4FA3-92E1-D501EC34372C}"/>
              </a:ext>
            </a:extLst>
          </p:cNvPr>
          <p:cNvSpPr>
            <a:spLocks noGrp="1"/>
          </p:cNvSpPr>
          <p:nvPr>
            <p:ph type="title" orient="vert"/>
          </p:nvPr>
        </p:nvSpPr>
        <p:spPr>
          <a:xfrm>
            <a:off x="6543675" y="273844"/>
            <a:ext cx="1971675" cy="4358879"/>
          </a:xfrm>
        </p:spPr>
        <p:txBody>
          <a:bodyPr vert="eaVert"/>
          <a:lstStyle/>
          <a:p>
            <a:r>
              <a:rPr lang="fi-FI"/>
              <a:t>Muokkaa ots. perustyyl. napsautt.</a:t>
            </a:r>
            <a:endParaRPr lang="en-US"/>
          </a:p>
        </p:txBody>
      </p:sp>
      <p:sp>
        <p:nvSpPr>
          <p:cNvPr id="3" name="Pystysuoran tekstin paikkamerkki 2">
            <a:extLst>
              <a:ext uri="{FF2B5EF4-FFF2-40B4-BE49-F238E27FC236}">
                <a16:creationId xmlns:a16="http://schemas.microsoft.com/office/drawing/2014/main" id="{1A437FCE-0D94-4527-BFAC-99C29CAF4180}"/>
              </a:ext>
            </a:extLst>
          </p:cNvPr>
          <p:cNvSpPr>
            <a:spLocks noGrp="1"/>
          </p:cNvSpPr>
          <p:nvPr>
            <p:ph type="body" orient="vert" idx="1"/>
          </p:nvPr>
        </p:nvSpPr>
        <p:spPr>
          <a:xfrm>
            <a:off x="628650" y="273844"/>
            <a:ext cx="5800725" cy="4358879"/>
          </a:xfrm>
        </p:spPr>
        <p:txBody>
          <a:bodyPr vert="eaVert"/>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US"/>
          </a:p>
        </p:txBody>
      </p:sp>
      <p:sp>
        <p:nvSpPr>
          <p:cNvPr id="4" name="Päivämäärän paikkamerkki 3">
            <a:extLst>
              <a:ext uri="{FF2B5EF4-FFF2-40B4-BE49-F238E27FC236}">
                <a16:creationId xmlns:a16="http://schemas.microsoft.com/office/drawing/2014/main" id="{43A62D1F-C816-47B4-8EEB-F8CA60B891BF}"/>
              </a:ext>
            </a:extLst>
          </p:cNvPr>
          <p:cNvSpPr>
            <a:spLocks noGrp="1"/>
          </p:cNvSpPr>
          <p:nvPr>
            <p:ph type="dt" sz="half" idx="10"/>
          </p:nvPr>
        </p:nvSpPr>
        <p:spPr/>
        <p:txBody>
          <a:bodyPr/>
          <a:lstStyle/>
          <a:p>
            <a:fld id="{E3EABE19-BC7D-42AD-B02C-D1582605FFC8}" type="datetimeFigureOut">
              <a:rPr lang="en-US" smtClean="0"/>
              <a:t>5.11.2023</a:t>
            </a:fld>
            <a:endParaRPr lang="en-US"/>
          </a:p>
        </p:txBody>
      </p:sp>
      <p:sp>
        <p:nvSpPr>
          <p:cNvPr id="5" name="Alatunnisteen paikkamerkki 4">
            <a:extLst>
              <a:ext uri="{FF2B5EF4-FFF2-40B4-BE49-F238E27FC236}">
                <a16:creationId xmlns:a16="http://schemas.microsoft.com/office/drawing/2014/main" id="{D62EE859-0616-499F-9C8E-C7D4104352DE}"/>
              </a:ext>
            </a:extLst>
          </p:cNvPr>
          <p:cNvSpPr>
            <a:spLocks noGrp="1"/>
          </p:cNvSpPr>
          <p:nvPr>
            <p:ph type="ftr" sz="quarter" idx="11"/>
          </p:nvPr>
        </p:nvSpPr>
        <p:spPr/>
        <p:txBody>
          <a:bodyPr/>
          <a:lstStyle/>
          <a:p>
            <a:endParaRPr lang="en-US"/>
          </a:p>
        </p:txBody>
      </p:sp>
      <p:sp>
        <p:nvSpPr>
          <p:cNvPr id="6" name="Dian numeron paikkamerkki 5">
            <a:extLst>
              <a:ext uri="{FF2B5EF4-FFF2-40B4-BE49-F238E27FC236}">
                <a16:creationId xmlns:a16="http://schemas.microsoft.com/office/drawing/2014/main" id="{16D3C2F7-5964-442F-B479-CC2FCB6CBDAC}"/>
              </a:ext>
            </a:extLst>
          </p:cNvPr>
          <p:cNvSpPr>
            <a:spLocks noGrp="1"/>
          </p:cNvSpPr>
          <p:nvPr>
            <p:ph type="sldNum" sz="quarter" idx="12"/>
          </p:nvPr>
        </p:nvSpPr>
        <p:spPr/>
        <p:txBody>
          <a:bodyPr/>
          <a:lstStyle/>
          <a:p>
            <a:fld id="{B812DBEB-9514-473D-B57A-C2815E6341F1}" type="slidenum">
              <a:rPr lang="en-US" smtClean="0"/>
              <a:t>‹#›</a:t>
            </a:fld>
            <a:endParaRPr lang="en-US"/>
          </a:p>
        </p:txBody>
      </p:sp>
    </p:spTree>
    <p:extLst>
      <p:ext uri="{BB962C8B-B14F-4D97-AF65-F5344CB8AC3E}">
        <p14:creationId xmlns:p14="http://schemas.microsoft.com/office/powerpoint/2010/main" val="54310803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5. Process slide - White">
    <p:spTree>
      <p:nvGrpSpPr>
        <p:cNvPr id="1" name=""/>
        <p:cNvGrpSpPr/>
        <p:nvPr/>
      </p:nvGrpSpPr>
      <p:grpSpPr>
        <a:xfrm>
          <a:off x="0" y="0"/>
          <a:ext cx="0" cy="0"/>
          <a:chOff x="0" y="0"/>
          <a:chExt cx="0" cy="0"/>
        </a:xfrm>
      </p:grpSpPr>
      <p:sp>
        <p:nvSpPr>
          <p:cNvPr id="14" name="Slide Number Placeholder 5">
            <a:extLst>
              <a:ext uri="{FF2B5EF4-FFF2-40B4-BE49-F238E27FC236}">
                <a16:creationId xmlns:a16="http://schemas.microsoft.com/office/drawing/2014/main" id="{D9F47391-4AC0-4F7E-BFA1-6D69FD784378}"/>
              </a:ext>
            </a:extLst>
          </p:cNvPr>
          <p:cNvSpPr>
            <a:spLocks noGrp="1"/>
          </p:cNvSpPr>
          <p:nvPr>
            <p:ph type="sldNum" sz="quarter" idx="4"/>
          </p:nvPr>
        </p:nvSpPr>
        <p:spPr>
          <a:xfrm>
            <a:off x="6678800" y="4848629"/>
            <a:ext cx="2057400" cy="172823"/>
          </a:xfrm>
          <a:prstGeom prst="rect">
            <a:avLst/>
          </a:prstGeom>
        </p:spPr>
        <p:txBody>
          <a:bodyPr vert="horz" lIns="91440" tIns="45720" rIns="91440" bIns="45720" rtlCol="0" anchor="ctr"/>
          <a:lstStyle>
            <a:lvl1pPr algn="r">
              <a:defRPr sz="900" baseline="0">
                <a:solidFill>
                  <a:schemeClr val="tx1"/>
                </a:solidFill>
              </a:defRPr>
            </a:lvl1pPr>
          </a:lstStyle>
          <a:p>
            <a:fld id="{28F7F04C-F568-F649-A2AE-EA61C66B69B4}" type="slidenum">
              <a:rPr lang="en-US" smtClean="0"/>
              <a:pPr/>
              <a:t>‹#›</a:t>
            </a:fld>
            <a:endParaRPr lang="en-US" dirty="0"/>
          </a:p>
        </p:txBody>
      </p:sp>
      <p:sp>
        <p:nvSpPr>
          <p:cNvPr id="16" name="Date Placeholder 3">
            <a:extLst>
              <a:ext uri="{FF2B5EF4-FFF2-40B4-BE49-F238E27FC236}">
                <a16:creationId xmlns:a16="http://schemas.microsoft.com/office/drawing/2014/main" id="{FEF0705C-E100-4768-B5FA-237B27E15CFD}"/>
              </a:ext>
            </a:extLst>
          </p:cNvPr>
          <p:cNvSpPr>
            <a:spLocks noGrp="1"/>
          </p:cNvSpPr>
          <p:nvPr>
            <p:ph type="dt" sz="half" idx="25"/>
          </p:nvPr>
        </p:nvSpPr>
        <p:spPr>
          <a:xfrm>
            <a:off x="6678800" y="4672740"/>
            <a:ext cx="2057400" cy="175889"/>
          </a:xfrm>
          <a:prstGeom prst="rect">
            <a:avLst/>
          </a:prstGeom>
        </p:spPr>
        <p:txBody>
          <a:bodyPr vert="horz" lIns="91440" tIns="45720" rIns="91440" bIns="45720" rtlCol="0" anchor="ctr"/>
          <a:lstStyle>
            <a:lvl1pPr algn="r">
              <a:defRPr sz="900" baseline="0">
                <a:solidFill>
                  <a:schemeClr val="tx1"/>
                </a:solidFill>
              </a:defRPr>
            </a:lvl1pPr>
          </a:lstStyle>
          <a:p>
            <a:r>
              <a:rPr lang="fi-FI" dirty="0"/>
              <a:t>dd.mm.yyyy</a:t>
            </a:r>
            <a:endParaRPr lang="en-US" dirty="0"/>
          </a:p>
        </p:txBody>
      </p:sp>
      <p:sp>
        <p:nvSpPr>
          <p:cNvPr id="17" name="Alatunnisteen paikkamerkki 1">
            <a:extLst>
              <a:ext uri="{FF2B5EF4-FFF2-40B4-BE49-F238E27FC236}">
                <a16:creationId xmlns:a16="http://schemas.microsoft.com/office/drawing/2014/main" id="{84C2D171-9BD9-4BE0-A001-56E7273902C0}"/>
              </a:ext>
            </a:extLst>
          </p:cNvPr>
          <p:cNvSpPr>
            <a:spLocks noGrp="1"/>
          </p:cNvSpPr>
          <p:nvPr>
            <p:ph type="ftr" sz="quarter" idx="3"/>
          </p:nvPr>
        </p:nvSpPr>
        <p:spPr>
          <a:xfrm>
            <a:off x="3028950" y="4849200"/>
            <a:ext cx="3086100" cy="172800"/>
          </a:xfrm>
          <a:prstGeom prst="rect">
            <a:avLst/>
          </a:prstGeom>
        </p:spPr>
        <p:txBody>
          <a:bodyPr vert="horz" lIns="91440" tIns="45720" rIns="91440" bIns="45720" rtlCol="0" anchor="ctr"/>
          <a:lstStyle>
            <a:lvl1pPr algn="ctr">
              <a:defRPr sz="900">
                <a:solidFill>
                  <a:schemeClr val="tx1"/>
                </a:solidFill>
              </a:defRPr>
            </a:lvl1pPr>
          </a:lstStyle>
          <a:p>
            <a:r>
              <a:rPr lang="fi-FI" dirty="0"/>
              <a:t>Your text here</a:t>
            </a:r>
          </a:p>
        </p:txBody>
      </p:sp>
      <p:sp>
        <p:nvSpPr>
          <p:cNvPr id="11" name="Text Placeholder 3"/>
          <p:cNvSpPr>
            <a:spLocks noGrp="1"/>
          </p:cNvSpPr>
          <p:nvPr>
            <p:ph type="body" sz="half" idx="10" hasCustomPrompt="1"/>
          </p:nvPr>
        </p:nvSpPr>
        <p:spPr>
          <a:xfrm>
            <a:off x="287338" y="28264"/>
            <a:ext cx="8497093" cy="1136681"/>
          </a:xfrm>
          <a:prstGeom prst="rect">
            <a:avLst/>
          </a:prstGeom>
        </p:spPr>
        <p:txBody>
          <a:bodyPr lIns="0" tIns="0" rIns="0" bIns="0"/>
          <a:lstStyle>
            <a:lvl1pPr marL="0" indent="0">
              <a:lnSpc>
                <a:spcPct val="100000"/>
              </a:lnSpc>
              <a:buNone/>
              <a:defRPr sz="4000" b="1" baseline="0">
                <a:solidFill>
                  <a:schemeClr val="tx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Body slide title</a:t>
            </a:r>
          </a:p>
        </p:txBody>
      </p:sp>
      <p:sp>
        <p:nvSpPr>
          <p:cNvPr id="24" name="Text Placeholder 23">
            <a:extLst>
              <a:ext uri="{FF2B5EF4-FFF2-40B4-BE49-F238E27FC236}">
                <a16:creationId xmlns:a16="http://schemas.microsoft.com/office/drawing/2014/main" id="{EAC2BD28-BA40-4C62-9684-204677B491A2}"/>
              </a:ext>
            </a:extLst>
          </p:cNvPr>
          <p:cNvSpPr>
            <a:spLocks noGrp="1" noChangeAspect="1"/>
          </p:cNvSpPr>
          <p:nvPr>
            <p:ph type="body" sz="quarter" idx="16" hasCustomPrompt="1"/>
          </p:nvPr>
        </p:nvSpPr>
        <p:spPr>
          <a:xfrm>
            <a:off x="631754" y="1312197"/>
            <a:ext cx="864000" cy="85885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3000" b="1" smtClean="0">
                <a:solidFill>
                  <a:schemeClr val="bg1"/>
                </a:solidFill>
                <a:latin typeface="Arial"/>
              </a:defRPr>
            </a:lvl1pPr>
            <a:lvl2pPr>
              <a:defRPr lang="en-US" sz="1350" smtClean="0">
                <a:solidFill>
                  <a:schemeClr val="lt1"/>
                </a:solidFill>
              </a:defRPr>
            </a:lvl2pPr>
            <a:lvl3pPr>
              <a:defRPr lang="en-US" sz="135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514436"/>
            <a:r>
              <a:rPr lang="en-US" dirty="0"/>
              <a:t>1</a:t>
            </a:r>
          </a:p>
        </p:txBody>
      </p:sp>
      <p:sp>
        <p:nvSpPr>
          <p:cNvPr id="26" name="Text Placeholder 23">
            <a:extLst>
              <a:ext uri="{FF2B5EF4-FFF2-40B4-BE49-F238E27FC236}">
                <a16:creationId xmlns:a16="http://schemas.microsoft.com/office/drawing/2014/main" id="{0E8425B5-2F4C-4E05-8123-3A8B01FC8702}"/>
              </a:ext>
            </a:extLst>
          </p:cNvPr>
          <p:cNvSpPr>
            <a:spLocks noGrp="1" noChangeAspect="1"/>
          </p:cNvSpPr>
          <p:nvPr>
            <p:ph type="body" sz="quarter" idx="17" hasCustomPrompt="1"/>
          </p:nvPr>
        </p:nvSpPr>
        <p:spPr>
          <a:xfrm>
            <a:off x="2385879" y="1312197"/>
            <a:ext cx="864000" cy="85885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3000" b="1" smtClean="0">
                <a:solidFill>
                  <a:schemeClr val="bg1"/>
                </a:solidFill>
                <a:latin typeface="Arial"/>
              </a:defRPr>
            </a:lvl1pPr>
            <a:lvl2pPr>
              <a:defRPr lang="en-US" sz="1350" smtClean="0">
                <a:solidFill>
                  <a:schemeClr val="lt1"/>
                </a:solidFill>
              </a:defRPr>
            </a:lvl2pPr>
            <a:lvl3pPr>
              <a:defRPr lang="en-US" sz="135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514436"/>
            <a:r>
              <a:rPr lang="en-US" dirty="0"/>
              <a:t>2</a:t>
            </a:r>
          </a:p>
        </p:txBody>
      </p:sp>
      <p:sp>
        <p:nvSpPr>
          <p:cNvPr id="27" name="Text Placeholder 23">
            <a:extLst>
              <a:ext uri="{FF2B5EF4-FFF2-40B4-BE49-F238E27FC236}">
                <a16:creationId xmlns:a16="http://schemas.microsoft.com/office/drawing/2014/main" id="{DC20D224-7563-4C76-AD81-513A7C8829B2}"/>
              </a:ext>
            </a:extLst>
          </p:cNvPr>
          <p:cNvSpPr>
            <a:spLocks noGrp="1" noChangeAspect="1"/>
          </p:cNvSpPr>
          <p:nvPr>
            <p:ph type="body" sz="quarter" idx="18" hasCustomPrompt="1"/>
          </p:nvPr>
        </p:nvSpPr>
        <p:spPr>
          <a:xfrm>
            <a:off x="4126004" y="1312197"/>
            <a:ext cx="864000" cy="85885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3000" b="1" smtClean="0">
                <a:solidFill>
                  <a:schemeClr val="bg1"/>
                </a:solidFill>
                <a:latin typeface="Arial"/>
              </a:defRPr>
            </a:lvl1pPr>
            <a:lvl2pPr>
              <a:defRPr lang="en-US" sz="1350" smtClean="0">
                <a:solidFill>
                  <a:schemeClr val="lt1"/>
                </a:solidFill>
              </a:defRPr>
            </a:lvl2pPr>
            <a:lvl3pPr>
              <a:defRPr lang="en-US" sz="135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514436"/>
            <a:r>
              <a:rPr lang="en-US" dirty="0"/>
              <a:t>3</a:t>
            </a:r>
          </a:p>
        </p:txBody>
      </p:sp>
      <p:sp>
        <p:nvSpPr>
          <p:cNvPr id="28" name="Text Placeholder 23">
            <a:extLst>
              <a:ext uri="{FF2B5EF4-FFF2-40B4-BE49-F238E27FC236}">
                <a16:creationId xmlns:a16="http://schemas.microsoft.com/office/drawing/2014/main" id="{E06BCED4-D727-4040-AD5B-6450A58ED4DF}"/>
              </a:ext>
            </a:extLst>
          </p:cNvPr>
          <p:cNvSpPr>
            <a:spLocks noGrp="1" noChangeAspect="1"/>
          </p:cNvSpPr>
          <p:nvPr>
            <p:ph type="body" sz="quarter" idx="19" hasCustomPrompt="1"/>
          </p:nvPr>
        </p:nvSpPr>
        <p:spPr>
          <a:xfrm>
            <a:off x="5856800" y="1312197"/>
            <a:ext cx="864000" cy="85885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3000" b="1" smtClean="0">
                <a:solidFill>
                  <a:schemeClr val="bg1"/>
                </a:solidFill>
                <a:latin typeface="Arial"/>
              </a:defRPr>
            </a:lvl1pPr>
            <a:lvl2pPr>
              <a:defRPr lang="en-US" sz="1350" smtClean="0">
                <a:solidFill>
                  <a:schemeClr val="lt1"/>
                </a:solidFill>
              </a:defRPr>
            </a:lvl2pPr>
            <a:lvl3pPr>
              <a:defRPr lang="en-US" sz="135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514436"/>
            <a:r>
              <a:rPr lang="en-US" dirty="0"/>
              <a:t>4</a:t>
            </a:r>
          </a:p>
        </p:txBody>
      </p:sp>
      <p:sp>
        <p:nvSpPr>
          <p:cNvPr id="29" name="Text Placeholder 23">
            <a:extLst>
              <a:ext uri="{FF2B5EF4-FFF2-40B4-BE49-F238E27FC236}">
                <a16:creationId xmlns:a16="http://schemas.microsoft.com/office/drawing/2014/main" id="{294EAA4E-E8D4-4CC5-BDD1-70053B25FE63}"/>
              </a:ext>
            </a:extLst>
          </p:cNvPr>
          <p:cNvSpPr>
            <a:spLocks noGrp="1" noChangeAspect="1"/>
          </p:cNvSpPr>
          <p:nvPr>
            <p:ph type="body" sz="quarter" idx="20" hasCustomPrompt="1"/>
          </p:nvPr>
        </p:nvSpPr>
        <p:spPr>
          <a:xfrm>
            <a:off x="7582931" y="1312197"/>
            <a:ext cx="864000" cy="85885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3000" b="1" smtClean="0">
                <a:solidFill>
                  <a:schemeClr val="bg1"/>
                </a:solidFill>
                <a:latin typeface="Arial"/>
              </a:defRPr>
            </a:lvl1pPr>
            <a:lvl2pPr>
              <a:defRPr lang="en-US" sz="1350" smtClean="0">
                <a:solidFill>
                  <a:schemeClr val="lt1"/>
                </a:solidFill>
              </a:defRPr>
            </a:lvl2pPr>
            <a:lvl3pPr>
              <a:defRPr lang="en-US" sz="135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514436"/>
            <a:r>
              <a:rPr lang="en-US" dirty="0"/>
              <a:t>5</a:t>
            </a:r>
          </a:p>
        </p:txBody>
      </p:sp>
      <p:sp>
        <p:nvSpPr>
          <p:cNvPr id="33" name="Text Placeholder 3">
            <a:extLst>
              <a:ext uri="{FF2B5EF4-FFF2-40B4-BE49-F238E27FC236}">
                <a16:creationId xmlns:a16="http://schemas.microsoft.com/office/drawing/2014/main" id="{8B20109F-4A5D-AF40-A937-1636D1D64A39}"/>
              </a:ext>
            </a:extLst>
          </p:cNvPr>
          <p:cNvSpPr>
            <a:spLocks noGrp="1"/>
          </p:cNvSpPr>
          <p:nvPr>
            <p:ph type="body" sz="half" idx="2" hasCustomPrompt="1"/>
          </p:nvPr>
        </p:nvSpPr>
        <p:spPr>
          <a:xfrm>
            <a:off x="294254" y="2304305"/>
            <a:ext cx="1539000" cy="1979695"/>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 typeface="Arial"/>
              <a:buNone/>
              <a:tabLst/>
              <a:defRPr lang="en-GB" sz="1400" b="1" smtClean="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Point 1</a:t>
            </a:r>
          </a:p>
        </p:txBody>
      </p:sp>
      <p:sp>
        <p:nvSpPr>
          <p:cNvPr id="34" name="Text Placeholder 3">
            <a:extLst>
              <a:ext uri="{FF2B5EF4-FFF2-40B4-BE49-F238E27FC236}">
                <a16:creationId xmlns:a16="http://schemas.microsoft.com/office/drawing/2014/main" id="{B1A38691-037D-394F-800A-B98CC5204D3A}"/>
              </a:ext>
            </a:extLst>
          </p:cNvPr>
          <p:cNvSpPr>
            <a:spLocks noGrp="1"/>
          </p:cNvSpPr>
          <p:nvPr>
            <p:ph type="body" sz="half" idx="21" hasCustomPrompt="1"/>
          </p:nvPr>
        </p:nvSpPr>
        <p:spPr>
          <a:xfrm>
            <a:off x="2048379" y="2318301"/>
            <a:ext cx="1539000" cy="1965700"/>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 typeface="Arial"/>
              <a:buNone/>
              <a:tabLst/>
              <a:defRPr lang="en-GB" sz="1400" b="1" smtClean="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Point 2</a:t>
            </a:r>
          </a:p>
        </p:txBody>
      </p:sp>
      <p:sp>
        <p:nvSpPr>
          <p:cNvPr id="35" name="Text Placeholder 3">
            <a:extLst>
              <a:ext uri="{FF2B5EF4-FFF2-40B4-BE49-F238E27FC236}">
                <a16:creationId xmlns:a16="http://schemas.microsoft.com/office/drawing/2014/main" id="{591022EE-194A-0147-A4C1-5527DCEE10B9}"/>
              </a:ext>
            </a:extLst>
          </p:cNvPr>
          <p:cNvSpPr>
            <a:spLocks noGrp="1"/>
          </p:cNvSpPr>
          <p:nvPr>
            <p:ph type="body" sz="half" idx="22" hasCustomPrompt="1"/>
          </p:nvPr>
        </p:nvSpPr>
        <p:spPr>
          <a:xfrm>
            <a:off x="3788504" y="2318300"/>
            <a:ext cx="1539000" cy="1965702"/>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 typeface="Arial"/>
              <a:buNone/>
              <a:tabLst/>
              <a:defRPr lang="en-GB" sz="1400" b="1" smtClean="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Point 3</a:t>
            </a:r>
          </a:p>
        </p:txBody>
      </p:sp>
      <p:sp>
        <p:nvSpPr>
          <p:cNvPr id="36" name="Text Placeholder 3">
            <a:extLst>
              <a:ext uri="{FF2B5EF4-FFF2-40B4-BE49-F238E27FC236}">
                <a16:creationId xmlns:a16="http://schemas.microsoft.com/office/drawing/2014/main" id="{59974140-1C49-A14E-96F4-B74CDFC7AA87}"/>
              </a:ext>
            </a:extLst>
          </p:cNvPr>
          <p:cNvSpPr>
            <a:spLocks noGrp="1"/>
          </p:cNvSpPr>
          <p:nvPr>
            <p:ph type="body" sz="half" idx="23" hasCustomPrompt="1"/>
          </p:nvPr>
        </p:nvSpPr>
        <p:spPr>
          <a:xfrm>
            <a:off x="5519300" y="2318299"/>
            <a:ext cx="1539000" cy="1965702"/>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 typeface="Arial"/>
              <a:buNone/>
              <a:tabLst/>
              <a:defRPr lang="en-GB" sz="1400" b="1" smtClean="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Point 4</a:t>
            </a:r>
          </a:p>
        </p:txBody>
      </p:sp>
      <p:sp>
        <p:nvSpPr>
          <p:cNvPr id="37" name="Text Placeholder 3">
            <a:extLst>
              <a:ext uri="{FF2B5EF4-FFF2-40B4-BE49-F238E27FC236}">
                <a16:creationId xmlns:a16="http://schemas.microsoft.com/office/drawing/2014/main" id="{5A54D1A0-56C3-904B-A447-7E1980F40DB9}"/>
              </a:ext>
            </a:extLst>
          </p:cNvPr>
          <p:cNvSpPr>
            <a:spLocks noGrp="1"/>
          </p:cNvSpPr>
          <p:nvPr>
            <p:ph type="body" sz="half" idx="24" hasCustomPrompt="1"/>
          </p:nvPr>
        </p:nvSpPr>
        <p:spPr>
          <a:xfrm>
            <a:off x="7245431" y="2318299"/>
            <a:ext cx="1539000" cy="1965704"/>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 typeface="Arial"/>
              <a:buNone/>
              <a:tabLst/>
              <a:defRPr lang="en-GB" sz="1400" b="1" smtClean="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Point 4</a:t>
            </a:r>
          </a:p>
        </p:txBody>
      </p:sp>
      <p:pic>
        <p:nvPicPr>
          <p:cNvPr id="19" name="Kuva 1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8790"/>
            <a:ext cx="2073704" cy="856800"/>
          </a:xfrm>
          <a:prstGeom prst="rect">
            <a:avLst/>
          </a:prstGeom>
        </p:spPr>
      </p:pic>
    </p:spTree>
    <p:extLst>
      <p:ext uri="{BB962C8B-B14F-4D97-AF65-F5344CB8AC3E}">
        <p14:creationId xmlns:p14="http://schemas.microsoft.com/office/powerpoint/2010/main" val="4012048773"/>
      </p:ext>
    </p:extLst>
  </p:cSld>
  <p:clrMapOvr>
    <a:masterClrMapping/>
  </p:clrMapOvr>
  <p:extLst>
    <p:ext uri="{DCECCB84-F9BA-43D5-87BE-67443E8EF086}">
      <p15:sldGuideLst xmlns:p15="http://schemas.microsoft.com/office/powerpoint/2012/main">
        <p15:guide id="1" pos="5534"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6. Closing slide - Red - Social media icons">
    <p:spTree>
      <p:nvGrpSpPr>
        <p:cNvPr id="1" name=""/>
        <p:cNvGrpSpPr/>
        <p:nvPr/>
      </p:nvGrpSpPr>
      <p:grpSpPr>
        <a:xfrm>
          <a:off x="0" y="0"/>
          <a:ext cx="0" cy="0"/>
          <a:chOff x="0" y="0"/>
          <a:chExt cx="0" cy="0"/>
        </a:xfrm>
      </p:grpSpPr>
      <p:sp>
        <p:nvSpPr>
          <p:cNvPr id="5" name="Rectangle 4"/>
          <p:cNvSpPr/>
          <p:nvPr userDrawn="1"/>
        </p:nvSpPr>
        <p:spPr>
          <a:xfrm>
            <a:off x="-16450" y="0"/>
            <a:ext cx="9160449" cy="51435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620" dirty="0"/>
          </a:p>
        </p:txBody>
      </p:sp>
      <p:sp>
        <p:nvSpPr>
          <p:cNvPr id="12" name="Otsikko 1">
            <a:hlinkClick r:id="rId2"/>
          </p:cNvPr>
          <p:cNvSpPr txBox="1">
            <a:spLocks/>
          </p:cNvSpPr>
          <p:nvPr userDrawn="1"/>
        </p:nvSpPr>
        <p:spPr>
          <a:xfrm>
            <a:off x="3717365" y="3568351"/>
            <a:ext cx="1709289" cy="364352"/>
          </a:xfrm>
          <a:prstGeom prst="rect">
            <a:avLst/>
          </a:prstGeom>
        </p:spPr>
        <p:txBody>
          <a:bodyPr lIns="0" tIns="0" rIns="0" bIns="0" anchor="t" anchorCtr="0">
            <a:noAutofit/>
          </a:bodyPr>
          <a:lstStyle>
            <a:lvl1pPr algn="l" defTabSz="457200" rtl="0" eaLnBrk="0" fontAlgn="base" hangingPunct="0">
              <a:lnSpc>
                <a:spcPct val="85000"/>
              </a:lnSpc>
              <a:spcBef>
                <a:spcPct val="0"/>
              </a:spcBef>
              <a:spcAft>
                <a:spcPct val="0"/>
              </a:spcAft>
              <a:defRPr sz="3600" b="1" kern="1200" spc="-100">
                <a:solidFill>
                  <a:srgbClr val="FFFFFF"/>
                </a:solidFill>
                <a:latin typeface="+mj-lt"/>
                <a:ea typeface="ＭＳ Ｐゴシック" charset="0"/>
                <a:cs typeface="MS PGothic" pitchFamily="34" charset="-128"/>
              </a:defRPr>
            </a:lvl1pPr>
            <a:lvl2pPr algn="ctr" defTabSz="457200" rtl="0" eaLnBrk="0" fontAlgn="base" hangingPunct="0">
              <a:spcBef>
                <a:spcPct val="0"/>
              </a:spcBef>
              <a:spcAft>
                <a:spcPct val="0"/>
              </a:spcAft>
              <a:defRPr sz="4400">
                <a:solidFill>
                  <a:schemeClr val="tx1"/>
                </a:solidFill>
                <a:latin typeface="Arial" pitchFamily="-65" charset="0"/>
                <a:ea typeface="ＭＳ Ｐゴシック" charset="0"/>
                <a:cs typeface="MS PGothic" pitchFamily="34" charset="-128"/>
              </a:defRPr>
            </a:lvl2pPr>
            <a:lvl3pPr algn="ctr" defTabSz="457200" rtl="0" eaLnBrk="0" fontAlgn="base" hangingPunct="0">
              <a:spcBef>
                <a:spcPct val="0"/>
              </a:spcBef>
              <a:spcAft>
                <a:spcPct val="0"/>
              </a:spcAft>
              <a:defRPr sz="4400">
                <a:solidFill>
                  <a:schemeClr val="tx1"/>
                </a:solidFill>
                <a:latin typeface="Arial" pitchFamily="-65" charset="0"/>
                <a:ea typeface="ＭＳ Ｐゴシック" charset="0"/>
                <a:cs typeface="MS PGothic" pitchFamily="34" charset="-128"/>
              </a:defRPr>
            </a:lvl3pPr>
            <a:lvl4pPr algn="ctr" defTabSz="457200" rtl="0" eaLnBrk="0" fontAlgn="base" hangingPunct="0">
              <a:spcBef>
                <a:spcPct val="0"/>
              </a:spcBef>
              <a:spcAft>
                <a:spcPct val="0"/>
              </a:spcAft>
              <a:defRPr sz="4400">
                <a:solidFill>
                  <a:schemeClr val="tx1"/>
                </a:solidFill>
                <a:latin typeface="Arial" pitchFamily="-65" charset="0"/>
                <a:ea typeface="ＭＳ Ｐゴシック" charset="0"/>
                <a:cs typeface="MS PGothic" pitchFamily="34" charset="-128"/>
              </a:defRPr>
            </a:lvl4pPr>
            <a:lvl5pPr algn="ctr" defTabSz="457200" rtl="0" eaLnBrk="0" fontAlgn="base" hangingPunct="0">
              <a:spcBef>
                <a:spcPct val="0"/>
              </a:spcBef>
              <a:spcAft>
                <a:spcPct val="0"/>
              </a:spcAft>
              <a:defRPr sz="4400">
                <a:solidFill>
                  <a:schemeClr val="tx1"/>
                </a:solidFill>
                <a:latin typeface="Arial" pitchFamily="-65" charset="0"/>
                <a:ea typeface="ＭＳ Ｐゴシック" charset="0"/>
                <a:cs typeface="MS PGothic" pitchFamily="34" charset="-128"/>
              </a:defRPr>
            </a:lvl5pPr>
            <a:lvl6pPr marL="4572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6pPr>
            <a:lvl7pPr marL="9144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7pPr>
            <a:lvl8pPr marL="13716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8pPr>
            <a:lvl9pPr marL="18288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9pPr>
          </a:lstStyle>
          <a:p>
            <a:pPr algn="ctr"/>
            <a:r>
              <a:rPr lang="fi-FI" sz="1800" spc="0" baseline="0" dirty="0">
                <a:latin typeface="Arial"/>
                <a:cs typeface="Arial"/>
              </a:rPr>
              <a:t>aalto.fi</a:t>
            </a:r>
          </a:p>
        </p:txBody>
      </p:sp>
      <p:grpSp>
        <p:nvGrpSpPr>
          <p:cNvPr id="6" name="Group 5"/>
          <p:cNvGrpSpPr/>
          <p:nvPr userDrawn="1"/>
        </p:nvGrpSpPr>
        <p:grpSpPr>
          <a:xfrm>
            <a:off x="3094339" y="2868216"/>
            <a:ext cx="2955323" cy="353760"/>
            <a:chOff x="4484925" y="3824288"/>
            <a:chExt cx="3940431" cy="471680"/>
          </a:xfrm>
        </p:grpSpPr>
        <p:pic>
          <p:nvPicPr>
            <p:cNvPr id="7" name="Picture 6" descr="FB.png">
              <a:hlinkClick r:id="rId3"/>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4925" y="3824416"/>
              <a:ext cx="471553" cy="471552"/>
            </a:xfrm>
            <a:prstGeom prst="rect">
              <a:avLst/>
            </a:prstGeom>
          </p:spPr>
        </p:pic>
        <p:pic>
          <p:nvPicPr>
            <p:cNvPr id="8" name="Picture 7" descr="IG.png">
              <a:hlinkClick r:id="rId5"/>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164502" y="3824416"/>
              <a:ext cx="471553" cy="471552"/>
            </a:xfrm>
            <a:prstGeom prst="rect">
              <a:avLst/>
            </a:prstGeom>
          </p:spPr>
        </p:pic>
        <p:pic>
          <p:nvPicPr>
            <p:cNvPr id="9" name="Picture 8" descr="Twitter.png">
              <a:hlinkClick r:id="rId7"/>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5844079" y="3824416"/>
              <a:ext cx="471553" cy="471552"/>
            </a:xfrm>
            <a:prstGeom prst="rect">
              <a:avLst/>
            </a:prstGeom>
          </p:spPr>
        </p:pic>
        <p:pic>
          <p:nvPicPr>
            <p:cNvPr id="10" name="Picture 9" descr="Youtube.png">
              <a:hlinkClick r:id="rId9"/>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6523656" y="3824416"/>
              <a:ext cx="471553" cy="471552"/>
            </a:xfrm>
            <a:prstGeom prst="rect">
              <a:avLst/>
            </a:prstGeom>
          </p:spPr>
        </p:pic>
        <p:pic>
          <p:nvPicPr>
            <p:cNvPr id="11" name="Picture 10" descr="SC.png">
              <a:hlinkClick r:id="rId11"/>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7203233" y="3824416"/>
              <a:ext cx="471553" cy="471552"/>
            </a:xfrm>
            <a:prstGeom prst="rect">
              <a:avLst/>
            </a:prstGeom>
          </p:spPr>
        </p:pic>
        <p:pic>
          <p:nvPicPr>
            <p:cNvPr id="3" name="Picture 2"/>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7882812" y="3824288"/>
              <a:ext cx="542544" cy="457200"/>
            </a:xfrm>
            <a:prstGeom prst="rect">
              <a:avLst/>
            </a:prstGeom>
          </p:spPr>
        </p:pic>
      </p:grpSp>
      <p:sp>
        <p:nvSpPr>
          <p:cNvPr id="16" name="Tekstin paikkamerkki 2">
            <a:extLst>
              <a:ext uri="{FF2B5EF4-FFF2-40B4-BE49-F238E27FC236}">
                <a16:creationId xmlns:a16="http://schemas.microsoft.com/office/drawing/2014/main" id="{B67CF44B-9D5D-46DC-B676-986416FB8384}"/>
              </a:ext>
            </a:extLst>
          </p:cNvPr>
          <p:cNvSpPr>
            <a:spLocks noGrp="1"/>
          </p:cNvSpPr>
          <p:nvPr>
            <p:ph type="body" sz="quarter" idx="10" hasCustomPrompt="1"/>
          </p:nvPr>
        </p:nvSpPr>
        <p:spPr>
          <a:xfrm>
            <a:off x="1576388" y="1364641"/>
            <a:ext cx="5995987" cy="1306097"/>
          </a:xfrm>
          <a:prstGeom prst="rect">
            <a:avLst/>
          </a:prstGeom>
        </p:spPr>
        <p:txBody>
          <a:bodyPr anchor="b" anchorCtr="0"/>
          <a:lstStyle>
            <a:lvl1pPr marL="0" indent="0" algn="ctr">
              <a:lnSpc>
                <a:spcPct val="100000"/>
              </a:lnSpc>
              <a:buNone/>
              <a:defRPr sz="4000" b="1">
                <a:solidFill>
                  <a:srgbClr val="FFFFFF"/>
                </a:solidFill>
                <a:latin typeface="+mj-lt"/>
              </a:defRPr>
            </a:lvl1pPr>
            <a:lvl2pPr marL="342900" indent="0">
              <a:buNone/>
              <a:defRPr/>
            </a:lvl2pPr>
          </a:lstStyle>
          <a:p>
            <a:pPr lvl="0"/>
            <a:r>
              <a:rPr lang="fi-FI" dirty="0"/>
              <a:t>Add text</a:t>
            </a:r>
          </a:p>
        </p:txBody>
      </p:sp>
      <p:pic>
        <p:nvPicPr>
          <p:cNvPr id="17" name="Kuva 16"/>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766" y="3501900"/>
            <a:ext cx="1850304" cy="1641600"/>
          </a:xfrm>
          <a:prstGeom prst="rect">
            <a:avLst/>
          </a:prstGeom>
        </p:spPr>
      </p:pic>
    </p:spTree>
    <p:extLst>
      <p:ext uri="{BB962C8B-B14F-4D97-AF65-F5344CB8AC3E}">
        <p14:creationId xmlns:p14="http://schemas.microsoft.com/office/powerpoint/2010/main" val="637427772"/>
      </p:ext>
    </p:extLst>
  </p:cSld>
  <p:clrMapOvr>
    <a:masterClrMapping/>
  </p:clrMapOvr>
  <p:extLst>
    <p:ext uri="{DCECCB84-F9BA-43D5-87BE-67443E8EF086}">
      <p15:sldGuideLst xmlns:p15="http://schemas.microsoft.com/office/powerpoint/2012/main">
        <p15:guide id="1" orient="horz" pos="1807" userDrawn="1">
          <p15:clr>
            <a:srgbClr val="FBAE40"/>
          </p15:clr>
        </p15:guide>
        <p15:guide id="2" orient="horz" pos="2028"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2. Header Slide - Red - Image ">
    <p:spTree>
      <p:nvGrpSpPr>
        <p:cNvPr id="1" name=""/>
        <p:cNvGrpSpPr/>
        <p:nvPr/>
      </p:nvGrpSpPr>
      <p:grpSpPr>
        <a:xfrm>
          <a:off x="0" y="0"/>
          <a:ext cx="0" cy="0"/>
          <a:chOff x="0" y="0"/>
          <a:chExt cx="0" cy="0"/>
        </a:xfrm>
      </p:grpSpPr>
      <p:sp>
        <p:nvSpPr>
          <p:cNvPr id="11" name="Rectangle 10"/>
          <p:cNvSpPr/>
          <p:nvPr userDrawn="1"/>
        </p:nvSpPr>
        <p:spPr>
          <a:xfrm>
            <a:off x="0"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13" dirty="0"/>
          </a:p>
        </p:txBody>
      </p:sp>
      <p:sp>
        <p:nvSpPr>
          <p:cNvPr id="9" name="Title 8"/>
          <p:cNvSpPr>
            <a:spLocks noGrp="1"/>
          </p:cNvSpPr>
          <p:nvPr>
            <p:ph type="title" hasCustomPrompt="1"/>
          </p:nvPr>
        </p:nvSpPr>
        <p:spPr>
          <a:xfrm>
            <a:off x="442398" y="896699"/>
            <a:ext cx="3869137" cy="570773"/>
          </a:xfrm>
          <a:prstGeom prst="rect">
            <a:avLst/>
          </a:prstGeom>
        </p:spPr>
        <p:txBody>
          <a:bodyPr lIns="0" tIns="0" rIns="0" bIns="0" anchor="b"/>
          <a:lstStyle>
            <a:lvl1pPr>
              <a:lnSpc>
                <a:spcPct val="100000"/>
              </a:lnSpc>
              <a:defRPr sz="4000" b="1" baseline="0">
                <a:solidFill>
                  <a:schemeClr val="bg1"/>
                </a:solidFill>
              </a:defRPr>
            </a:lvl1pPr>
          </a:lstStyle>
          <a:p>
            <a:r>
              <a:rPr lang="en-US" dirty="0"/>
              <a:t>Headline</a:t>
            </a:r>
          </a:p>
        </p:txBody>
      </p:sp>
      <p:sp>
        <p:nvSpPr>
          <p:cNvPr id="13" name="Text Placeholder 3"/>
          <p:cNvSpPr>
            <a:spLocks noGrp="1"/>
          </p:cNvSpPr>
          <p:nvPr>
            <p:ph type="body" sz="half" idx="2" hasCustomPrompt="1"/>
          </p:nvPr>
        </p:nvSpPr>
        <p:spPr>
          <a:xfrm>
            <a:off x="442398" y="1746663"/>
            <a:ext cx="3869137" cy="351692"/>
          </a:xfrm>
          <a:prstGeom prst="rect">
            <a:avLst/>
          </a:prstGeom>
        </p:spPr>
        <p:txBody>
          <a:bodyPr lIns="0" tIns="0" rIns="0" bIns="0"/>
          <a:lstStyle>
            <a:lvl1pPr marL="0" indent="0">
              <a:lnSpc>
                <a:spcPct val="100000"/>
              </a:lnSpc>
              <a:buNone/>
              <a:defRPr sz="2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Sub Headline</a:t>
            </a:r>
          </a:p>
        </p:txBody>
      </p:sp>
      <p:cxnSp>
        <p:nvCxnSpPr>
          <p:cNvPr id="15" name="Suora yhdysviiva 6"/>
          <p:cNvCxnSpPr/>
          <p:nvPr userDrawn="1"/>
        </p:nvCxnSpPr>
        <p:spPr>
          <a:xfrm>
            <a:off x="442398" y="1588362"/>
            <a:ext cx="379683" cy="0"/>
          </a:xfrm>
          <a:prstGeom prst="line">
            <a:avLst/>
          </a:prstGeom>
          <a:ln w="5715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2" name="Text Placeholder 3"/>
          <p:cNvSpPr>
            <a:spLocks noGrp="1"/>
          </p:cNvSpPr>
          <p:nvPr>
            <p:ph type="body" sz="half" idx="11" hasCustomPrompt="1"/>
          </p:nvPr>
        </p:nvSpPr>
        <p:spPr>
          <a:xfrm>
            <a:off x="442398" y="2794132"/>
            <a:ext cx="3869137" cy="294419"/>
          </a:xfrm>
          <a:prstGeom prst="rect">
            <a:avLst/>
          </a:prstGeom>
        </p:spPr>
        <p:txBody>
          <a:bodyPr lIns="0" tIns="0" rIns="0" bIns="0"/>
          <a:lstStyle>
            <a:lvl1pPr marL="0" indent="0">
              <a:lnSpc>
                <a:spcPct val="100000"/>
              </a:lnSpc>
              <a:buNone/>
              <a:defRPr sz="1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Name</a:t>
            </a:r>
          </a:p>
        </p:txBody>
      </p:sp>
      <p:sp>
        <p:nvSpPr>
          <p:cNvPr id="16" name="Text Placeholder 3"/>
          <p:cNvSpPr>
            <a:spLocks noGrp="1"/>
          </p:cNvSpPr>
          <p:nvPr>
            <p:ph type="body" sz="half" idx="12" hasCustomPrompt="1"/>
          </p:nvPr>
        </p:nvSpPr>
        <p:spPr>
          <a:xfrm>
            <a:off x="442398" y="3088551"/>
            <a:ext cx="3869137" cy="324054"/>
          </a:xfrm>
          <a:prstGeom prst="rect">
            <a:avLst/>
          </a:prstGeom>
        </p:spPr>
        <p:txBody>
          <a:bodyPr lIns="0" tIns="0" rIns="0" bIns="0"/>
          <a:lstStyle>
            <a:lvl1pPr marL="0" indent="0">
              <a:lnSpc>
                <a:spcPct val="100000"/>
              </a:lnSpc>
              <a:buNone/>
              <a:defRPr sz="1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Date</a:t>
            </a:r>
          </a:p>
        </p:txBody>
      </p:sp>
      <p:pic>
        <p:nvPicPr>
          <p:cNvPr id="2" name="Kuva 1"/>
          <p:cNvPicPr>
            <a:picLocks noChangeAspect="1"/>
          </p:cNvPicPr>
          <p:nvPr userDrawn="1"/>
        </p:nvPicPr>
        <p:blipFill rotWithShape="1">
          <a:blip r:embed="rId2">
            <a:extLst>
              <a:ext uri="{28A0092B-C50C-407E-A947-70E740481C1C}">
                <a14:useLocalDpi xmlns:a14="http://schemas.microsoft.com/office/drawing/2010/main" val="0"/>
              </a:ext>
            </a:extLst>
          </a:blip>
          <a:srcRect l="33917" r="16133"/>
          <a:stretch/>
        </p:blipFill>
        <p:spPr>
          <a:xfrm>
            <a:off x="4576713" y="0"/>
            <a:ext cx="4567287" cy="5143500"/>
          </a:xfrm>
          <a:prstGeom prst="rect">
            <a:avLst/>
          </a:prstGeom>
        </p:spPr>
      </p:pic>
      <p:pic>
        <p:nvPicPr>
          <p:cNvPr id="17" name="Kuva 1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66" y="3501900"/>
            <a:ext cx="1850304" cy="1641600"/>
          </a:xfrm>
          <a:prstGeom prst="rect">
            <a:avLst/>
          </a:prstGeom>
        </p:spPr>
      </p:pic>
    </p:spTree>
    <p:extLst>
      <p:ext uri="{BB962C8B-B14F-4D97-AF65-F5344CB8AC3E}">
        <p14:creationId xmlns:p14="http://schemas.microsoft.com/office/powerpoint/2010/main" val="1351974751"/>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2. Header Slide - Red - Image ">
    <p:spTree>
      <p:nvGrpSpPr>
        <p:cNvPr id="1" name=""/>
        <p:cNvGrpSpPr/>
        <p:nvPr/>
      </p:nvGrpSpPr>
      <p:grpSpPr>
        <a:xfrm>
          <a:off x="0" y="0"/>
          <a:ext cx="0" cy="0"/>
          <a:chOff x="0" y="0"/>
          <a:chExt cx="0" cy="0"/>
        </a:xfrm>
      </p:grpSpPr>
      <p:sp>
        <p:nvSpPr>
          <p:cNvPr id="11" name="Rectangle 10"/>
          <p:cNvSpPr/>
          <p:nvPr userDrawn="1"/>
        </p:nvSpPr>
        <p:spPr>
          <a:xfrm>
            <a:off x="0"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13" dirty="0"/>
          </a:p>
        </p:txBody>
      </p:sp>
      <p:sp>
        <p:nvSpPr>
          <p:cNvPr id="9" name="Title 8"/>
          <p:cNvSpPr>
            <a:spLocks noGrp="1"/>
          </p:cNvSpPr>
          <p:nvPr>
            <p:ph type="title" hasCustomPrompt="1"/>
          </p:nvPr>
        </p:nvSpPr>
        <p:spPr>
          <a:xfrm>
            <a:off x="442398" y="896699"/>
            <a:ext cx="3869137" cy="570773"/>
          </a:xfrm>
          <a:prstGeom prst="rect">
            <a:avLst/>
          </a:prstGeom>
        </p:spPr>
        <p:txBody>
          <a:bodyPr lIns="0" tIns="0" rIns="0" bIns="0" anchor="b"/>
          <a:lstStyle>
            <a:lvl1pPr>
              <a:lnSpc>
                <a:spcPct val="100000"/>
              </a:lnSpc>
              <a:defRPr sz="4000" b="1" baseline="0">
                <a:solidFill>
                  <a:schemeClr val="bg1"/>
                </a:solidFill>
              </a:defRPr>
            </a:lvl1pPr>
          </a:lstStyle>
          <a:p>
            <a:r>
              <a:rPr lang="en-US" dirty="0"/>
              <a:t>Headline</a:t>
            </a:r>
          </a:p>
        </p:txBody>
      </p:sp>
      <p:cxnSp>
        <p:nvCxnSpPr>
          <p:cNvPr id="15" name="Suora yhdysviiva 6"/>
          <p:cNvCxnSpPr/>
          <p:nvPr userDrawn="1"/>
        </p:nvCxnSpPr>
        <p:spPr>
          <a:xfrm>
            <a:off x="442398" y="1588362"/>
            <a:ext cx="379683" cy="0"/>
          </a:xfrm>
          <a:prstGeom prst="line">
            <a:avLst/>
          </a:prstGeom>
          <a:ln w="57150">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2" name="Kuva 1"/>
          <p:cNvPicPr>
            <a:picLocks noChangeAspect="1"/>
          </p:cNvPicPr>
          <p:nvPr userDrawn="1"/>
        </p:nvPicPr>
        <p:blipFill rotWithShape="1">
          <a:blip r:embed="rId2">
            <a:extLst>
              <a:ext uri="{28A0092B-C50C-407E-A947-70E740481C1C}">
                <a14:useLocalDpi xmlns:a14="http://schemas.microsoft.com/office/drawing/2010/main" val="0"/>
              </a:ext>
            </a:extLst>
          </a:blip>
          <a:srcRect l="20670" r="20132"/>
          <a:stretch/>
        </p:blipFill>
        <p:spPr>
          <a:xfrm>
            <a:off x="4572000" y="0"/>
            <a:ext cx="4567287" cy="5143500"/>
          </a:xfrm>
          <a:prstGeom prst="rect">
            <a:avLst/>
          </a:prstGeom>
        </p:spPr>
      </p:pic>
      <p:sp>
        <p:nvSpPr>
          <p:cNvPr id="14" name="Text Placeholder 3"/>
          <p:cNvSpPr>
            <a:spLocks noGrp="1"/>
          </p:cNvSpPr>
          <p:nvPr>
            <p:ph type="body" sz="half" idx="2" hasCustomPrompt="1"/>
          </p:nvPr>
        </p:nvSpPr>
        <p:spPr>
          <a:xfrm>
            <a:off x="442398" y="1746663"/>
            <a:ext cx="3869137" cy="351692"/>
          </a:xfrm>
          <a:prstGeom prst="rect">
            <a:avLst/>
          </a:prstGeom>
        </p:spPr>
        <p:txBody>
          <a:bodyPr lIns="0" tIns="0" rIns="0" bIns="0"/>
          <a:lstStyle>
            <a:lvl1pPr marL="0" indent="0">
              <a:lnSpc>
                <a:spcPct val="100000"/>
              </a:lnSpc>
              <a:buNone/>
              <a:defRPr sz="2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Sub Headline</a:t>
            </a:r>
          </a:p>
        </p:txBody>
      </p:sp>
      <p:sp>
        <p:nvSpPr>
          <p:cNvPr id="17" name="Text Placeholder 3"/>
          <p:cNvSpPr>
            <a:spLocks noGrp="1"/>
          </p:cNvSpPr>
          <p:nvPr>
            <p:ph type="body" sz="half" idx="11" hasCustomPrompt="1"/>
          </p:nvPr>
        </p:nvSpPr>
        <p:spPr>
          <a:xfrm>
            <a:off x="442398" y="2794132"/>
            <a:ext cx="3869137" cy="294419"/>
          </a:xfrm>
          <a:prstGeom prst="rect">
            <a:avLst/>
          </a:prstGeom>
        </p:spPr>
        <p:txBody>
          <a:bodyPr lIns="0" tIns="0" rIns="0" bIns="0"/>
          <a:lstStyle>
            <a:lvl1pPr marL="0" indent="0">
              <a:buNone/>
              <a:defRPr sz="1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Name</a:t>
            </a:r>
          </a:p>
        </p:txBody>
      </p:sp>
      <p:sp>
        <p:nvSpPr>
          <p:cNvPr id="18" name="Text Placeholder 3"/>
          <p:cNvSpPr>
            <a:spLocks noGrp="1"/>
          </p:cNvSpPr>
          <p:nvPr>
            <p:ph type="body" sz="half" idx="12" hasCustomPrompt="1"/>
          </p:nvPr>
        </p:nvSpPr>
        <p:spPr>
          <a:xfrm>
            <a:off x="442398" y="3088551"/>
            <a:ext cx="3869137" cy="324054"/>
          </a:xfrm>
          <a:prstGeom prst="rect">
            <a:avLst/>
          </a:prstGeom>
        </p:spPr>
        <p:txBody>
          <a:bodyPr lIns="0" tIns="0" rIns="0" bIns="0"/>
          <a:lstStyle>
            <a:lvl1pPr marL="0" indent="0">
              <a:buNone/>
              <a:defRPr sz="1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Date</a:t>
            </a:r>
            <a:endParaRPr lang="en-US" dirty="0"/>
          </a:p>
        </p:txBody>
      </p:sp>
      <p:pic>
        <p:nvPicPr>
          <p:cNvPr id="13" name="Kuva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66" y="3501900"/>
            <a:ext cx="1850304" cy="1641600"/>
          </a:xfrm>
          <a:prstGeom prst="rect">
            <a:avLst/>
          </a:prstGeom>
        </p:spPr>
      </p:pic>
    </p:spTree>
    <p:extLst>
      <p:ext uri="{BB962C8B-B14F-4D97-AF65-F5344CB8AC3E}">
        <p14:creationId xmlns:p14="http://schemas.microsoft.com/office/powerpoint/2010/main" val="2380885714"/>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2. Header Slide - Red - Image ">
    <p:spTree>
      <p:nvGrpSpPr>
        <p:cNvPr id="1" name=""/>
        <p:cNvGrpSpPr/>
        <p:nvPr/>
      </p:nvGrpSpPr>
      <p:grpSpPr>
        <a:xfrm>
          <a:off x="0" y="0"/>
          <a:ext cx="0" cy="0"/>
          <a:chOff x="0" y="0"/>
          <a:chExt cx="0" cy="0"/>
        </a:xfrm>
      </p:grpSpPr>
      <p:sp>
        <p:nvSpPr>
          <p:cNvPr id="11" name="Rectangle 10"/>
          <p:cNvSpPr/>
          <p:nvPr userDrawn="1"/>
        </p:nvSpPr>
        <p:spPr>
          <a:xfrm>
            <a:off x="0"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13" dirty="0"/>
          </a:p>
        </p:txBody>
      </p:sp>
      <p:sp>
        <p:nvSpPr>
          <p:cNvPr id="9" name="Title 8"/>
          <p:cNvSpPr>
            <a:spLocks noGrp="1"/>
          </p:cNvSpPr>
          <p:nvPr>
            <p:ph type="title" hasCustomPrompt="1"/>
          </p:nvPr>
        </p:nvSpPr>
        <p:spPr>
          <a:xfrm>
            <a:off x="442398" y="896699"/>
            <a:ext cx="3869137" cy="570773"/>
          </a:xfrm>
          <a:prstGeom prst="rect">
            <a:avLst/>
          </a:prstGeom>
        </p:spPr>
        <p:txBody>
          <a:bodyPr lIns="0" tIns="0" rIns="0" bIns="0" anchor="b"/>
          <a:lstStyle>
            <a:lvl1pPr>
              <a:lnSpc>
                <a:spcPct val="100000"/>
              </a:lnSpc>
              <a:defRPr sz="4000" b="1" baseline="0">
                <a:solidFill>
                  <a:schemeClr val="bg1"/>
                </a:solidFill>
              </a:defRPr>
            </a:lvl1pPr>
          </a:lstStyle>
          <a:p>
            <a:r>
              <a:rPr lang="en-US" dirty="0"/>
              <a:t>Headline</a:t>
            </a:r>
          </a:p>
        </p:txBody>
      </p:sp>
      <p:cxnSp>
        <p:nvCxnSpPr>
          <p:cNvPr id="15" name="Suora yhdysviiva 6"/>
          <p:cNvCxnSpPr/>
          <p:nvPr userDrawn="1"/>
        </p:nvCxnSpPr>
        <p:spPr>
          <a:xfrm>
            <a:off x="442398" y="1588362"/>
            <a:ext cx="379683" cy="0"/>
          </a:xfrm>
          <a:prstGeom prst="line">
            <a:avLst/>
          </a:prstGeom>
          <a:ln w="57150">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3" name="Kuva 2"/>
          <p:cNvPicPr>
            <a:picLocks noChangeAspect="1"/>
          </p:cNvPicPr>
          <p:nvPr userDrawn="1"/>
        </p:nvPicPr>
        <p:blipFill rotWithShape="1">
          <a:blip r:embed="rId2">
            <a:extLst>
              <a:ext uri="{28A0092B-C50C-407E-A947-70E740481C1C}">
                <a14:useLocalDpi xmlns:a14="http://schemas.microsoft.com/office/drawing/2010/main" val="0"/>
              </a:ext>
            </a:extLst>
          </a:blip>
          <a:srcRect l="8677" t="22626" r="52630"/>
          <a:stretch/>
        </p:blipFill>
        <p:spPr>
          <a:xfrm>
            <a:off x="4576712" y="0"/>
            <a:ext cx="4567287" cy="5143500"/>
          </a:xfrm>
          <a:prstGeom prst="rect">
            <a:avLst/>
          </a:prstGeom>
        </p:spPr>
      </p:pic>
      <p:sp>
        <p:nvSpPr>
          <p:cNvPr id="14" name="Text Placeholder 3"/>
          <p:cNvSpPr>
            <a:spLocks noGrp="1"/>
          </p:cNvSpPr>
          <p:nvPr>
            <p:ph type="body" sz="half" idx="2" hasCustomPrompt="1"/>
          </p:nvPr>
        </p:nvSpPr>
        <p:spPr>
          <a:xfrm>
            <a:off x="442398" y="1746663"/>
            <a:ext cx="3869137" cy="351692"/>
          </a:xfrm>
          <a:prstGeom prst="rect">
            <a:avLst/>
          </a:prstGeom>
        </p:spPr>
        <p:txBody>
          <a:bodyPr lIns="0" tIns="0" rIns="0" bIns="0"/>
          <a:lstStyle>
            <a:lvl1pPr marL="0" indent="0">
              <a:lnSpc>
                <a:spcPct val="100000"/>
              </a:lnSpc>
              <a:buNone/>
              <a:defRPr sz="2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Sub Headline</a:t>
            </a:r>
          </a:p>
        </p:txBody>
      </p:sp>
      <p:sp>
        <p:nvSpPr>
          <p:cNvPr id="13" name="Text Placeholder 3"/>
          <p:cNvSpPr>
            <a:spLocks noGrp="1"/>
          </p:cNvSpPr>
          <p:nvPr>
            <p:ph type="body" sz="half" idx="11" hasCustomPrompt="1"/>
          </p:nvPr>
        </p:nvSpPr>
        <p:spPr>
          <a:xfrm>
            <a:off x="442398" y="2794132"/>
            <a:ext cx="3869137" cy="294419"/>
          </a:xfrm>
          <a:prstGeom prst="rect">
            <a:avLst/>
          </a:prstGeom>
        </p:spPr>
        <p:txBody>
          <a:bodyPr lIns="0" tIns="0" rIns="0" bIns="0"/>
          <a:lstStyle>
            <a:lvl1pPr marL="0" indent="0">
              <a:buNone/>
              <a:defRPr sz="1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Name</a:t>
            </a:r>
          </a:p>
        </p:txBody>
      </p:sp>
      <p:sp>
        <p:nvSpPr>
          <p:cNvPr id="17" name="Text Placeholder 3"/>
          <p:cNvSpPr>
            <a:spLocks noGrp="1"/>
          </p:cNvSpPr>
          <p:nvPr>
            <p:ph type="body" sz="half" idx="12" hasCustomPrompt="1"/>
          </p:nvPr>
        </p:nvSpPr>
        <p:spPr>
          <a:xfrm>
            <a:off x="442398" y="3088551"/>
            <a:ext cx="3869137" cy="324054"/>
          </a:xfrm>
          <a:prstGeom prst="rect">
            <a:avLst/>
          </a:prstGeom>
        </p:spPr>
        <p:txBody>
          <a:bodyPr lIns="0" tIns="0" rIns="0" bIns="0"/>
          <a:lstStyle>
            <a:lvl1pPr marL="0" indent="0">
              <a:buNone/>
              <a:defRPr sz="1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Date</a:t>
            </a:r>
            <a:endParaRPr lang="en-US" dirty="0"/>
          </a:p>
        </p:txBody>
      </p:sp>
      <p:pic>
        <p:nvPicPr>
          <p:cNvPr id="16" name="Kuva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66" y="3501900"/>
            <a:ext cx="1850304" cy="1641600"/>
          </a:xfrm>
          <a:prstGeom prst="rect">
            <a:avLst/>
          </a:prstGeom>
        </p:spPr>
      </p:pic>
    </p:spTree>
    <p:extLst>
      <p:ext uri="{BB962C8B-B14F-4D97-AF65-F5344CB8AC3E}">
        <p14:creationId xmlns:p14="http://schemas.microsoft.com/office/powerpoint/2010/main" val="26538529"/>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 Header Slide - Red - Image ">
    <p:spTree>
      <p:nvGrpSpPr>
        <p:cNvPr id="1" name=""/>
        <p:cNvGrpSpPr/>
        <p:nvPr/>
      </p:nvGrpSpPr>
      <p:grpSpPr>
        <a:xfrm>
          <a:off x="0" y="0"/>
          <a:ext cx="0" cy="0"/>
          <a:chOff x="0" y="0"/>
          <a:chExt cx="0" cy="0"/>
        </a:xfrm>
      </p:grpSpPr>
      <p:sp>
        <p:nvSpPr>
          <p:cNvPr id="11" name="Rectangle 10"/>
          <p:cNvSpPr/>
          <p:nvPr userDrawn="1"/>
        </p:nvSpPr>
        <p:spPr>
          <a:xfrm>
            <a:off x="0"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13" dirty="0"/>
          </a:p>
        </p:txBody>
      </p:sp>
      <p:sp>
        <p:nvSpPr>
          <p:cNvPr id="9" name="Title 8"/>
          <p:cNvSpPr>
            <a:spLocks noGrp="1"/>
          </p:cNvSpPr>
          <p:nvPr>
            <p:ph type="title" hasCustomPrompt="1"/>
          </p:nvPr>
        </p:nvSpPr>
        <p:spPr>
          <a:xfrm>
            <a:off x="442398" y="896699"/>
            <a:ext cx="3869137" cy="570773"/>
          </a:xfrm>
          <a:prstGeom prst="rect">
            <a:avLst/>
          </a:prstGeom>
        </p:spPr>
        <p:txBody>
          <a:bodyPr lIns="0" tIns="0" rIns="0" bIns="0" anchor="b"/>
          <a:lstStyle>
            <a:lvl1pPr>
              <a:lnSpc>
                <a:spcPct val="100000"/>
              </a:lnSpc>
              <a:defRPr sz="4000" b="1" baseline="0">
                <a:solidFill>
                  <a:schemeClr val="bg1"/>
                </a:solidFill>
              </a:defRPr>
            </a:lvl1pPr>
          </a:lstStyle>
          <a:p>
            <a:r>
              <a:rPr lang="en-US" dirty="0"/>
              <a:t>Headline</a:t>
            </a:r>
          </a:p>
        </p:txBody>
      </p:sp>
      <p:sp>
        <p:nvSpPr>
          <p:cNvPr id="13" name="Text Placeholder 3"/>
          <p:cNvSpPr>
            <a:spLocks noGrp="1"/>
          </p:cNvSpPr>
          <p:nvPr>
            <p:ph type="body" sz="half" idx="2" hasCustomPrompt="1"/>
          </p:nvPr>
        </p:nvSpPr>
        <p:spPr>
          <a:xfrm>
            <a:off x="442398" y="1781298"/>
            <a:ext cx="3869137" cy="351692"/>
          </a:xfrm>
          <a:prstGeom prst="rect">
            <a:avLst/>
          </a:prstGeom>
        </p:spPr>
        <p:txBody>
          <a:bodyPr lIns="0" tIns="0" rIns="0" bIns="0"/>
          <a:lstStyle>
            <a:lvl1pPr marL="0" indent="0">
              <a:lnSpc>
                <a:spcPct val="100000"/>
              </a:lnSpc>
              <a:buNone/>
              <a:defRPr sz="2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Sub Headline</a:t>
            </a:r>
          </a:p>
        </p:txBody>
      </p:sp>
      <p:sp>
        <p:nvSpPr>
          <p:cNvPr id="12" name="Text Placeholder 3"/>
          <p:cNvSpPr>
            <a:spLocks noGrp="1"/>
          </p:cNvSpPr>
          <p:nvPr>
            <p:ph type="body" sz="half" idx="11" hasCustomPrompt="1"/>
          </p:nvPr>
        </p:nvSpPr>
        <p:spPr>
          <a:xfrm>
            <a:off x="442398" y="2794132"/>
            <a:ext cx="3869137" cy="294419"/>
          </a:xfrm>
          <a:prstGeom prst="rect">
            <a:avLst/>
          </a:prstGeom>
        </p:spPr>
        <p:txBody>
          <a:bodyPr lIns="0" tIns="0" rIns="0" bIns="0"/>
          <a:lstStyle>
            <a:lvl1pPr marL="0" indent="0">
              <a:lnSpc>
                <a:spcPct val="100000"/>
              </a:lnSpc>
              <a:buNone/>
              <a:defRPr sz="1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Name</a:t>
            </a:r>
          </a:p>
        </p:txBody>
      </p:sp>
      <p:sp>
        <p:nvSpPr>
          <p:cNvPr id="16" name="Text Placeholder 3"/>
          <p:cNvSpPr>
            <a:spLocks noGrp="1"/>
          </p:cNvSpPr>
          <p:nvPr>
            <p:ph type="body" sz="half" idx="12" hasCustomPrompt="1"/>
          </p:nvPr>
        </p:nvSpPr>
        <p:spPr>
          <a:xfrm>
            <a:off x="442398" y="3088551"/>
            <a:ext cx="3869137" cy="324054"/>
          </a:xfrm>
          <a:prstGeom prst="rect">
            <a:avLst/>
          </a:prstGeom>
        </p:spPr>
        <p:txBody>
          <a:bodyPr lIns="0" tIns="0" rIns="0" bIns="0"/>
          <a:lstStyle>
            <a:lvl1pPr marL="0" indent="0">
              <a:lnSpc>
                <a:spcPct val="100000"/>
              </a:lnSpc>
              <a:buNone/>
              <a:defRPr sz="1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Date</a:t>
            </a:r>
          </a:p>
        </p:txBody>
      </p:sp>
      <p:sp>
        <p:nvSpPr>
          <p:cNvPr id="14" name="Picture Placeholder 2"/>
          <p:cNvSpPr>
            <a:spLocks noGrp="1"/>
          </p:cNvSpPr>
          <p:nvPr>
            <p:ph type="pic" idx="13" hasCustomPrompt="1"/>
          </p:nvPr>
        </p:nvSpPr>
        <p:spPr>
          <a:xfrm>
            <a:off x="4564419" y="0"/>
            <a:ext cx="4579582" cy="5143500"/>
          </a:xfrm>
          <a:prstGeom prst="rect">
            <a:avLst/>
          </a:prstGeom>
        </p:spPr>
        <p:txBody>
          <a:bodyPr/>
          <a:lstStyle>
            <a:lvl1pPr marL="0" marR="0" indent="0" algn="l" defTabSz="685800" rtl="0" eaLnBrk="1" fontAlgn="auto" latinLnBrk="0" hangingPunct="1">
              <a:lnSpc>
                <a:spcPct val="90000"/>
              </a:lnSpc>
              <a:spcBef>
                <a:spcPts val="750"/>
              </a:spcBef>
              <a:spcAft>
                <a:spcPts val="0"/>
              </a:spcAft>
              <a:buClrTx/>
              <a:buSzTx/>
              <a:buFont typeface="Arial"/>
              <a:buNone/>
              <a:tabLst/>
              <a:defRPr sz="2400" b="1" i="0" baseline="0">
                <a:solidFill>
                  <a:schemeClr val="bg1">
                    <a:alpha val="62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Click icon to add image.</a:t>
            </a:r>
          </a:p>
          <a:p>
            <a:r>
              <a:rPr lang="fi-FI" dirty="0"/>
              <a:t>Fit the image to frame </a:t>
            </a:r>
            <a:br>
              <a:rPr lang="fi-FI" dirty="0"/>
            </a:br>
            <a:r>
              <a:rPr lang="fi-FI" dirty="0"/>
              <a:t>by choosing: </a:t>
            </a:r>
            <a:br>
              <a:rPr lang="fi-FI" dirty="0"/>
            </a:br>
            <a:r>
              <a:rPr lang="fi-FI" dirty="0"/>
              <a:t>crop&gt;fit / rajaa&gt;sovita</a:t>
            </a:r>
            <a:endParaRPr lang="en-US" dirty="0"/>
          </a:p>
        </p:txBody>
      </p:sp>
      <p:pic>
        <p:nvPicPr>
          <p:cNvPr id="17" name="Kuva 1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66" y="3501900"/>
            <a:ext cx="1850304" cy="1641600"/>
          </a:xfrm>
          <a:prstGeom prst="rect">
            <a:avLst/>
          </a:prstGeom>
        </p:spPr>
      </p:pic>
    </p:spTree>
    <p:extLst>
      <p:ext uri="{BB962C8B-B14F-4D97-AF65-F5344CB8AC3E}">
        <p14:creationId xmlns:p14="http://schemas.microsoft.com/office/powerpoint/2010/main" val="75828619"/>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7. Divider - Red - Text and image">
    <p:spTree>
      <p:nvGrpSpPr>
        <p:cNvPr id="1" name=""/>
        <p:cNvGrpSpPr/>
        <p:nvPr/>
      </p:nvGrpSpPr>
      <p:grpSpPr>
        <a:xfrm>
          <a:off x="0" y="0"/>
          <a:ext cx="0" cy="0"/>
          <a:chOff x="0" y="0"/>
          <a:chExt cx="0" cy="0"/>
        </a:xfrm>
      </p:grpSpPr>
      <p:sp>
        <p:nvSpPr>
          <p:cNvPr id="11" name="Rectangle 10"/>
          <p:cNvSpPr/>
          <p:nvPr userDrawn="1"/>
        </p:nvSpPr>
        <p:spPr>
          <a:xfrm>
            <a:off x="0"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13" dirty="0"/>
          </a:p>
        </p:txBody>
      </p:sp>
      <p:sp>
        <p:nvSpPr>
          <p:cNvPr id="3" name="Text Placeholder 2">
            <a:extLst>
              <a:ext uri="{FF2B5EF4-FFF2-40B4-BE49-F238E27FC236}">
                <a16:creationId xmlns:a16="http://schemas.microsoft.com/office/drawing/2014/main" id="{3CC9C0A2-E518-4F61-BACC-25E3255118C4}"/>
              </a:ext>
            </a:extLst>
          </p:cNvPr>
          <p:cNvSpPr>
            <a:spLocks noGrp="1"/>
          </p:cNvSpPr>
          <p:nvPr>
            <p:ph type="body" sz="quarter" idx="12" hasCustomPrompt="1"/>
          </p:nvPr>
        </p:nvSpPr>
        <p:spPr>
          <a:xfrm>
            <a:off x="287338" y="519113"/>
            <a:ext cx="4218160" cy="3767587"/>
          </a:xfrm>
          <a:prstGeom prst="rect">
            <a:avLst/>
          </a:prstGeom>
        </p:spPr>
        <p:txBody>
          <a:bodyPr lIns="0" tIns="0" rIns="0" bIns="0"/>
          <a:lstStyle>
            <a:lvl1pPr marL="0" indent="0">
              <a:lnSpc>
                <a:spcPct val="100000"/>
              </a:lnSpc>
              <a:buNone/>
              <a:defRPr sz="3300" b="1">
                <a:solidFill>
                  <a:schemeClr val="bg1"/>
                </a:solidFill>
              </a:defRPr>
            </a:lvl1pPr>
          </a:lstStyle>
          <a:p>
            <a:r>
              <a:rPr lang="fi-FI" dirty="0"/>
              <a:t>Lorem </a:t>
            </a:r>
            <a:r>
              <a:rPr lang="fi-FI" dirty="0" err="1"/>
              <a:t>ipsum</a:t>
            </a:r>
            <a:r>
              <a:rPr lang="fi-FI" dirty="0"/>
              <a:t> </a:t>
            </a:r>
            <a:r>
              <a:rPr lang="fi-FI" dirty="0" err="1"/>
              <a:t>dolor</a:t>
            </a:r>
            <a:r>
              <a:rPr lang="fi-FI" dirty="0"/>
              <a:t> </a:t>
            </a:r>
            <a:r>
              <a:rPr lang="fi-FI" dirty="0" err="1"/>
              <a:t>sit</a:t>
            </a:r>
            <a:r>
              <a:rPr lang="fi-FI" dirty="0"/>
              <a:t> amet, </a:t>
            </a:r>
            <a:r>
              <a:rPr lang="fi-FI" dirty="0" err="1"/>
              <a:t>consectetur</a:t>
            </a:r>
            <a:r>
              <a:rPr lang="fi-FI" dirty="0"/>
              <a:t> adipiscing elit. </a:t>
            </a:r>
            <a:r>
              <a:rPr lang="fi-FI" dirty="0" err="1"/>
              <a:t>Maecenas</a:t>
            </a:r>
            <a:r>
              <a:rPr lang="fi-FI" dirty="0"/>
              <a:t> </a:t>
            </a:r>
            <a:r>
              <a:rPr lang="fi-FI" dirty="0" err="1"/>
              <a:t>velit</a:t>
            </a:r>
            <a:r>
              <a:rPr lang="fi-FI" dirty="0"/>
              <a:t> </a:t>
            </a:r>
            <a:r>
              <a:rPr lang="fi-FI" dirty="0" err="1"/>
              <a:t>velit</a:t>
            </a:r>
            <a:r>
              <a:rPr lang="fi-FI" dirty="0"/>
              <a:t>, </a:t>
            </a:r>
            <a:r>
              <a:rPr lang="fi-FI" dirty="0" err="1"/>
              <a:t>consequat</a:t>
            </a:r>
            <a:r>
              <a:rPr lang="fi-FI" dirty="0"/>
              <a:t> </a:t>
            </a:r>
            <a:r>
              <a:rPr lang="fi-FI" dirty="0" err="1"/>
              <a:t>eget</a:t>
            </a:r>
            <a:r>
              <a:rPr lang="fi-FI" dirty="0"/>
              <a:t> </a:t>
            </a:r>
            <a:r>
              <a:rPr lang="fi-FI" dirty="0" err="1"/>
              <a:t>ullamcorper</a:t>
            </a:r>
            <a:r>
              <a:rPr lang="fi-FI" dirty="0"/>
              <a:t> a, </a:t>
            </a:r>
            <a:r>
              <a:rPr lang="fi-FI" dirty="0" err="1"/>
              <a:t>maximus</a:t>
            </a:r>
            <a:r>
              <a:rPr lang="fi-FI" dirty="0"/>
              <a:t> </a:t>
            </a:r>
            <a:r>
              <a:rPr lang="fi-FI" dirty="0" err="1"/>
              <a:t>ac</a:t>
            </a:r>
            <a:r>
              <a:rPr lang="fi-FI" dirty="0"/>
              <a:t> ex.</a:t>
            </a:r>
          </a:p>
        </p:txBody>
      </p:sp>
      <p:sp>
        <p:nvSpPr>
          <p:cNvPr id="4" name="Päivämäärän paikkamerkki 3">
            <a:extLst>
              <a:ext uri="{FF2B5EF4-FFF2-40B4-BE49-F238E27FC236}">
                <a16:creationId xmlns:a16="http://schemas.microsoft.com/office/drawing/2014/main" id="{04E326D0-D397-4DCF-88BA-ADD90C3D5C3E}"/>
              </a:ext>
            </a:extLst>
          </p:cNvPr>
          <p:cNvSpPr>
            <a:spLocks noGrp="1"/>
          </p:cNvSpPr>
          <p:nvPr>
            <p:ph type="dt" sz="half" idx="13"/>
          </p:nvPr>
        </p:nvSpPr>
        <p:spPr/>
        <p:txBody>
          <a:bodyPr/>
          <a:lstStyle>
            <a:lvl1pPr>
              <a:defRPr>
                <a:solidFill>
                  <a:srgbClr val="FFFFFF"/>
                </a:solidFill>
              </a:defRPr>
            </a:lvl1pPr>
          </a:lstStyle>
          <a:p>
            <a:r>
              <a:rPr lang="fi-FI" dirty="0"/>
              <a:t>dd.mm.yyyy</a:t>
            </a:r>
            <a:endParaRPr lang="en-US" dirty="0"/>
          </a:p>
        </p:txBody>
      </p:sp>
      <p:sp>
        <p:nvSpPr>
          <p:cNvPr id="10" name="Dian numeron paikkamerkki 9">
            <a:extLst>
              <a:ext uri="{FF2B5EF4-FFF2-40B4-BE49-F238E27FC236}">
                <a16:creationId xmlns:a16="http://schemas.microsoft.com/office/drawing/2014/main" id="{439BEBFE-6A3C-4862-B3C0-DF2EC5E8CBFB}"/>
              </a:ext>
            </a:extLst>
          </p:cNvPr>
          <p:cNvSpPr>
            <a:spLocks noGrp="1"/>
          </p:cNvSpPr>
          <p:nvPr>
            <p:ph type="sldNum" sz="quarter" idx="15"/>
          </p:nvPr>
        </p:nvSpPr>
        <p:spPr/>
        <p:txBody>
          <a:bodyPr/>
          <a:lstStyle>
            <a:lvl1pPr>
              <a:defRPr>
                <a:solidFill>
                  <a:srgbClr val="FFFFFF"/>
                </a:solidFill>
              </a:defRPr>
            </a:lvl1pPr>
          </a:lstStyle>
          <a:p>
            <a:fld id="{28F7F04C-F568-F649-A2AE-EA61C66B69B4}" type="slidenum">
              <a:rPr lang="en-US" smtClean="0"/>
              <a:pPr/>
              <a:t>‹#›</a:t>
            </a:fld>
            <a:endParaRPr lang="en-US" dirty="0"/>
          </a:p>
        </p:txBody>
      </p:sp>
      <p:pic>
        <p:nvPicPr>
          <p:cNvPr id="12" name="Kuva 11"/>
          <p:cNvPicPr>
            <a:picLocks noChangeAspect="1"/>
          </p:cNvPicPr>
          <p:nvPr userDrawn="1"/>
        </p:nvPicPr>
        <p:blipFill rotWithShape="1">
          <a:blip r:embed="rId2">
            <a:extLst>
              <a:ext uri="{28A0092B-C50C-407E-A947-70E740481C1C}">
                <a14:useLocalDpi xmlns:a14="http://schemas.microsoft.com/office/drawing/2010/main" val="0"/>
              </a:ext>
            </a:extLst>
          </a:blip>
          <a:srcRect l="31644" r="19861"/>
          <a:stretch/>
        </p:blipFill>
        <p:spPr>
          <a:xfrm>
            <a:off x="4715165" y="0"/>
            <a:ext cx="4428835" cy="5143500"/>
          </a:xfrm>
          <a:prstGeom prst="rect">
            <a:avLst/>
          </a:prstGeom>
        </p:spPr>
      </p:pic>
      <p:sp>
        <p:nvSpPr>
          <p:cNvPr id="5" name="Alatunnisteen paikkamerkki 4">
            <a:extLst>
              <a:ext uri="{FF2B5EF4-FFF2-40B4-BE49-F238E27FC236}">
                <a16:creationId xmlns:a16="http://schemas.microsoft.com/office/drawing/2014/main" id="{0B124AD7-04E5-4E26-A7E3-6E499B81497F}"/>
              </a:ext>
            </a:extLst>
          </p:cNvPr>
          <p:cNvSpPr>
            <a:spLocks noGrp="1"/>
          </p:cNvSpPr>
          <p:nvPr>
            <p:ph type="ftr" sz="quarter" idx="14"/>
          </p:nvPr>
        </p:nvSpPr>
        <p:spPr/>
        <p:txBody>
          <a:bodyPr/>
          <a:lstStyle>
            <a:lvl1pPr>
              <a:defRPr>
                <a:solidFill>
                  <a:srgbClr val="FFFFFF"/>
                </a:solidFill>
              </a:defRPr>
            </a:lvl1pPr>
          </a:lstStyle>
          <a:p>
            <a:r>
              <a:rPr lang="fi-FI" dirty="0"/>
              <a:t>Your text here</a:t>
            </a:r>
          </a:p>
        </p:txBody>
      </p:sp>
      <p:pic>
        <p:nvPicPr>
          <p:cNvPr id="13" name="Kuva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4281580"/>
            <a:ext cx="1991440" cy="856800"/>
          </a:xfrm>
          <a:prstGeom prst="rect">
            <a:avLst/>
          </a:prstGeom>
        </p:spPr>
      </p:pic>
    </p:spTree>
    <p:extLst>
      <p:ext uri="{BB962C8B-B14F-4D97-AF65-F5344CB8AC3E}">
        <p14:creationId xmlns:p14="http://schemas.microsoft.com/office/powerpoint/2010/main" val="2907931115"/>
      </p:ext>
    </p:extLst>
  </p:cSld>
  <p:clrMapOvr>
    <a:masterClrMapping/>
  </p:clrMapOvr>
  <p:extLst>
    <p:ext uri="{DCECCB84-F9BA-43D5-87BE-67443E8EF086}">
      <p15:sldGuideLst xmlns:p15="http://schemas.microsoft.com/office/powerpoint/2012/main">
        <p15:guide id="1" pos="2971"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7. Divider - Red - Text and image">
    <p:spTree>
      <p:nvGrpSpPr>
        <p:cNvPr id="1" name=""/>
        <p:cNvGrpSpPr/>
        <p:nvPr/>
      </p:nvGrpSpPr>
      <p:grpSpPr>
        <a:xfrm>
          <a:off x="0" y="0"/>
          <a:ext cx="0" cy="0"/>
          <a:chOff x="0" y="0"/>
          <a:chExt cx="0" cy="0"/>
        </a:xfrm>
      </p:grpSpPr>
      <p:sp>
        <p:nvSpPr>
          <p:cNvPr id="11" name="Rectangle 10"/>
          <p:cNvSpPr/>
          <p:nvPr userDrawn="1"/>
        </p:nvSpPr>
        <p:spPr>
          <a:xfrm>
            <a:off x="0"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13" dirty="0"/>
          </a:p>
        </p:txBody>
      </p:sp>
      <p:sp>
        <p:nvSpPr>
          <p:cNvPr id="3" name="Text Placeholder 2">
            <a:extLst>
              <a:ext uri="{FF2B5EF4-FFF2-40B4-BE49-F238E27FC236}">
                <a16:creationId xmlns:a16="http://schemas.microsoft.com/office/drawing/2014/main" id="{3CC9C0A2-E518-4F61-BACC-25E3255118C4}"/>
              </a:ext>
            </a:extLst>
          </p:cNvPr>
          <p:cNvSpPr>
            <a:spLocks noGrp="1"/>
          </p:cNvSpPr>
          <p:nvPr>
            <p:ph type="body" sz="quarter" idx="12" hasCustomPrompt="1"/>
          </p:nvPr>
        </p:nvSpPr>
        <p:spPr>
          <a:xfrm>
            <a:off x="287338" y="519113"/>
            <a:ext cx="4218160" cy="3767587"/>
          </a:xfrm>
          <a:prstGeom prst="rect">
            <a:avLst/>
          </a:prstGeom>
        </p:spPr>
        <p:txBody>
          <a:bodyPr lIns="0" tIns="0" rIns="0" bIns="0"/>
          <a:lstStyle>
            <a:lvl1pPr marL="0" indent="0">
              <a:lnSpc>
                <a:spcPct val="100000"/>
              </a:lnSpc>
              <a:buNone/>
              <a:defRPr sz="3300" b="1">
                <a:solidFill>
                  <a:schemeClr val="bg1"/>
                </a:solidFill>
              </a:defRPr>
            </a:lvl1pPr>
          </a:lstStyle>
          <a:p>
            <a:r>
              <a:rPr lang="fi-FI" dirty="0"/>
              <a:t>Lorem </a:t>
            </a:r>
            <a:r>
              <a:rPr lang="fi-FI" dirty="0" err="1"/>
              <a:t>ipsum</a:t>
            </a:r>
            <a:r>
              <a:rPr lang="fi-FI" dirty="0"/>
              <a:t> </a:t>
            </a:r>
            <a:r>
              <a:rPr lang="fi-FI" dirty="0" err="1"/>
              <a:t>dolor</a:t>
            </a:r>
            <a:r>
              <a:rPr lang="fi-FI" dirty="0"/>
              <a:t> </a:t>
            </a:r>
            <a:r>
              <a:rPr lang="fi-FI" dirty="0" err="1"/>
              <a:t>sit</a:t>
            </a:r>
            <a:r>
              <a:rPr lang="fi-FI" dirty="0"/>
              <a:t> amet, </a:t>
            </a:r>
            <a:r>
              <a:rPr lang="fi-FI" dirty="0" err="1"/>
              <a:t>consectetur</a:t>
            </a:r>
            <a:r>
              <a:rPr lang="fi-FI" dirty="0"/>
              <a:t> </a:t>
            </a:r>
            <a:r>
              <a:rPr lang="fi-FI" dirty="0" err="1"/>
              <a:t>adipiscing</a:t>
            </a:r>
            <a:r>
              <a:rPr lang="fi-FI" dirty="0"/>
              <a:t> elit. Maecenas </a:t>
            </a:r>
            <a:r>
              <a:rPr lang="fi-FI" dirty="0" err="1"/>
              <a:t>velit</a:t>
            </a:r>
            <a:r>
              <a:rPr lang="fi-FI" dirty="0"/>
              <a:t> </a:t>
            </a:r>
            <a:r>
              <a:rPr lang="fi-FI" dirty="0" err="1"/>
              <a:t>velit</a:t>
            </a:r>
            <a:r>
              <a:rPr lang="fi-FI" dirty="0"/>
              <a:t>, </a:t>
            </a:r>
            <a:r>
              <a:rPr lang="fi-FI" dirty="0" err="1"/>
              <a:t>consequat</a:t>
            </a:r>
            <a:r>
              <a:rPr lang="fi-FI" dirty="0"/>
              <a:t> </a:t>
            </a:r>
            <a:r>
              <a:rPr lang="fi-FI" dirty="0" err="1"/>
              <a:t>eget</a:t>
            </a:r>
            <a:r>
              <a:rPr lang="fi-FI" dirty="0"/>
              <a:t> </a:t>
            </a:r>
            <a:r>
              <a:rPr lang="fi-FI" dirty="0" err="1"/>
              <a:t>ullamcorper</a:t>
            </a:r>
            <a:r>
              <a:rPr lang="fi-FI" dirty="0"/>
              <a:t> a, </a:t>
            </a:r>
            <a:r>
              <a:rPr lang="fi-FI" dirty="0" err="1"/>
              <a:t>maximus</a:t>
            </a:r>
            <a:r>
              <a:rPr lang="fi-FI" dirty="0"/>
              <a:t> </a:t>
            </a:r>
            <a:r>
              <a:rPr lang="fi-FI" dirty="0" err="1"/>
              <a:t>ac</a:t>
            </a:r>
            <a:r>
              <a:rPr lang="fi-FI" dirty="0"/>
              <a:t> ex.</a:t>
            </a:r>
          </a:p>
        </p:txBody>
      </p:sp>
      <p:sp>
        <p:nvSpPr>
          <p:cNvPr id="4" name="Päivämäärän paikkamerkki 3">
            <a:extLst>
              <a:ext uri="{FF2B5EF4-FFF2-40B4-BE49-F238E27FC236}">
                <a16:creationId xmlns:a16="http://schemas.microsoft.com/office/drawing/2014/main" id="{04E326D0-D397-4DCF-88BA-ADD90C3D5C3E}"/>
              </a:ext>
            </a:extLst>
          </p:cNvPr>
          <p:cNvSpPr>
            <a:spLocks noGrp="1"/>
          </p:cNvSpPr>
          <p:nvPr>
            <p:ph type="dt" sz="half" idx="13"/>
          </p:nvPr>
        </p:nvSpPr>
        <p:spPr/>
        <p:txBody>
          <a:bodyPr/>
          <a:lstStyle>
            <a:lvl1pPr>
              <a:defRPr>
                <a:solidFill>
                  <a:srgbClr val="FFFFFF"/>
                </a:solidFill>
              </a:defRPr>
            </a:lvl1pPr>
          </a:lstStyle>
          <a:p>
            <a:r>
              <a:rPr lang="fi-FI" dirty="0"/>
              <a:t>dd.mm.yyyy</a:t>
            </a:r>
            <a:endParaRPr lang="en-US" dirty="0"/>
          </a:p>
        </p:txBody>
      </p:sp>
      <p:sp>
        <p:nvSpPr>
          <p:cNvPr id="10" name="Dian numeron paikkamerkki 9">
            <a:extLst>
              <a:ext uri="{FF2B5EF4-FFF2-40B4-BE49-F238E27FC236}">
                <a16:creationId xmlns:a16="http://schemas.microsoft.com/office/drawing/2014/main" id="{439BEBFE-6A3C-4862-B3C0-DF2EC5E8CBFB}"/>
              </a:ext>
            </a:extLst>
          </p:cNvPr>
          <p:cNvSpPr>
            <a:spLocks noGrp="1"/>
          </p:cNvSpPr>
          <p:nvPr>
            <p:ph type="sldNum" sz="quarter" idx="15"/>
          </p:nvPr>
        </p:nvSpPr>
        <p:spPr/>
        <p:txBody>
          <a:bodyPr/>
          <a:lstStyle>
            <a:lvl1pPr>
              <a:defRPr>
                <a:solidFill>
                  <a:srgbClr val="FFFFFF"/>
                </a:solidFill>
              </a:defRPr>
            </a:lvl1pPr>
          </a:lstStyle>
          <a:p>
            <a:fld id="{28F7F04C-F568-F649-A2AE-EA61C66B69B4}" type="slidenum">
              <a:rPr lang="en-US" smtClean="0"/>
              <a:pPr/>
              <a:t>‹#›</a:t>
            </a:fld>
            <a:endParaRPr lang="en-US" dirty="0"/>
          </a:p>
        </p:txBody>
      </p:sp>
      <p:pic>
        <p:nvPicPr>
          <p:cNvPr id="14" name="Kuva 13"/>
          <p:cNvPicPr>
            <a:picLocks noChangeAspect="1"/>
          </p:cNvPicPr>
          <p:nvPr userDrawn="1"/>
        </p:nvPicPr>
        <p:blipFill rotWithShape="1">
          <a:blip r:embed="rId2">
            <a:extLst>
              <a:ext uri="{28A0092B-C50C-407E-A947-70E740481C1C}">
                <a14:useLocalDpi xmlns:a14="http://schemas.microsoft.com/office/drawing/2010/main" val="0"/>
              </a:ext>
            </a:extLst>
          </a:blip>
          <a:srcRect l="33485" r="9199"/>
          <a:stretch/>
        </p:blipFill>
        <p:spPr>
          <a:xfrm>
            <a:off x="4722829" y="0"/>
            <a:ext cx="4421171" cy="5143500"/>
          </a:xfrm>
          <a:prstGeom prst="rect">
            <a:avLst/>
          </a:prstGeom>
        </p:spPr>
      </p:pic>
      <p:sp>
        <p:nvSpPr>
          <p:cNvPr id="5" name="Alatunnisteen paikkamerkki 4">
            <a:extLst>
              <a:ext uri="{FF2B5EF4-FFF2-40B4-BE49-F238E27FC236}">
                <a16:creationId xmlns:a16="http://schemas.microsoft.com/office/drawing/2014/main" id="{0B124AD7-04E5-4E26-A7E3-6E499B81497F}"/>
              </a:ext>
            </a:extLst>
          </p:cNvPr>
          <p:cNvSpPr>
            <a:spLocks noGrp="1"/>
          </p:cNvSpPr>
          <p:nvPr>
            <p:ph type="ftr" sz="quarter" idx="14"/>
          </p:nvPr>
        </p:nvSpPr>
        <p:spPr/>
        <p:txBody>
          <a:bodyPr/>
          <a:lstStyle>
            <a:lvl1pPr>
              <a:defRPr>
                <a:solidFill>
                  <a:srgbClr val="FFFFFF"/>
                </a:solidFill>
              </a:defRPr>
            </a:lvl1pPr>
          </a:lstStyle>
          <a:p>
            <a:r>
              <a:rPr lang="fi-FI" dirty="0"/>
              <a:t>Your text here</a:t>
            </a:r>
          </a:p>
        </p:txBody>
      </p:sp>
      <p:pic>
        <p:nvPicPr>
          <p:cNvPr id="12" name="Kuva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4281580"/>
            <a:ext cx="1991440" cy="856800"/>
          </a:xfrm>
          <a:prstGeom prst="rect">
            <a:avLst/>
          </a:prstGeom>
        </p:spPr>
      </p:pic>
    </p:spTree>
    <p:extLst>
      <p:ext uri="{BB962C8B-B14F-4D97-AF65-F5344CB8AC3E}">
        <p14:creationId xmlns:p14="http://schemas.microsoft.com/office/powerpoint/2010/main" val="3970361234"/>
      </p:ext>
    </p:extLst>
  </p:cSld>
  <p:clrMapOvr>
    <a:masterClrMapping/>
  </p:clrMapOvr>
  <p:extLst>
    <p:ext uri="{DCECCB84-F9BA-43D5-87BE-67443E8EF086}">
      <p15:sldGuideLst xmlns:p15="http://schemas.microsoft.com/office/powerpoint/2012/main">
        <p15:guide id="1" pos="2971"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_7. Divider - Red - Text and image">
    <p:spTree>
      <p:nvGrpSpPr>
        <p:cNvPr id="1" name=""/>
        <p:cNvGrpSpPr/>
        <p:nvPr/>
      </p:nvGrpSpPr>
      <p:grpSpPr>
        <a:xfrm>
          <a:off x="0" y="0"/>
          <a:ext cx="0" cy="0"/>
          <a:chOff x="0" y="0"/>
          <a:chExt cx="0" cy="0"/>
        </a:xfrm>
      </p:grpSpPr>
      <p:sp>
        <p:nvSpPr>
          <p:cNvPr id="11" name="Rectangle 10"/>
          <p:cNvSpPr/>
          <p:nvPr userDrawn="1"/>
        </p:nvSpPr>
        <p:spPr>
          <a:xfrm>
            <a:off x="0"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13" dirty="0"/>
          </a:p>
        </p:txBody>
      </p:sp>
      <p:sp>
        <p:nvSpPr>
          <p:cNvPr id="3" name="Text Placeholder 2">
            <a:extLst>
              <a:ext uri="{FF2B5EF4-FFF2-40B4-BE49-F238E27FC236}">
                <a16:creationId xmlns:a16="http://schemas.microsoft.com/office/drawing/2014/main" id="{3CC9C0A2-E518-4F61-BACC-25E3255118C4}"/>
              </a:ext>
            </a:extLst>
          </p:cNvPr>
          <p:cNvSpPr>
            <a:spLocks noGrp="1"/>
          </p:cNvSpPr>
          <p:nvPr>
            <p:ph type="body" sz="quarter" idx="12" hasCustomPrompt="1"/>
          </p:nvPr>
        </p:nvSpPr>
        <p:spPr>
          <a:xfrm>
            <a:off x="287338" y="519113"/>
            <a:ext cx="4218160" cy="3767587"/>
          </a:xfrm>
          <a:prstGeom prst="rect">
            <a:avLst/>
          </a:prstGeom>
        </p:spPr>
        <p:txBody>
          <a:bodyPr lIns="0" tIns="0" rIns="0" bIns="0"/>
          <a:lstStyle>
            <a:lvl1pPr marL="0" indent="0">
              <a:lnSpc>
                <a:spcPct val="100000"/>
              </a:lnSpc>
              <a:buNone/>
              <a:defRPr sz="3300" b="1">
                <a:solidFill>
                  <a:schemeClr val="bg1"/>
                </a:solidFill>
              </a:defRPr>
            </a:lvl1pPr>
          </a:lstStyle>
          <a:p>
            <a:r>
              <a:rPr lang="fi-FI" dirty="0"/>
              <a:t>Lorem </a:t>
            </a:r>
            <a:r>
              <a:rPr lang="fi-FI" dirty="0" err="1"/>
              <a:t>ipsum</a:t>
            </a:r>
            <a:r>
              <a:rPr lang="fi-FI" dirty="0"/>
              <a:t> </a:t>
            </a:r>
            <a:r>
              <a:rPr lang="fi-FI" dirty="0" err="1"/>
              <a:t>dolor</a:t>
            </a:r>
            <a:r>
              <a:rPr lang="fi-FI" dirty="0"/>
              <a:t> </a:t>
            </a:r>
            <a:r>
              <a:rPr lang="fi-FI" dirty="0" err="1"/>
              <a:t>sit</a:t>
            </a:r>
            <a:r>
              <a:rPr lang="fi-FI" dirty="0"/>
              <a:t> amet, </a:t>
            </a:r>
            <a:r>
              <a:rPr lang="fi-FI" dirty="0" err="1"/>
              <a:t>consectetur</a:t>
            </a:r>
            <a:r>
              <a:rPr lang="fi-FI" dirty="0"/>
              <a:t> </a:t>
            </a:r>
            <a:r>
              <a:rPr lang="fi-FI" dirty="0" err="1"/>
              <a:t>adipiscing</a:t>
            </a:r>
            <a:r>
              <a:rPr lang="fi-FI" dirty="0"/>
              <a:t> elit. Maecenas </a:t>
            </a:r>
            <a:r>
              <a:rPr lang="fi-FI" dirty="0" err="1"/>
              <a:t>velit</a:t>
            </a:r>
            <a:r>
              <a:rPr lang="fi-FI" dirty="0"/>
              <a:t> </a:t>
            </a:r>
            <a:r>
              <a:rPr lang="fi-FI" dirty="0" err="1"/>
              <a:t>velit</a:t>
            </a:r>
            <a:r>
              <a:rPr lang="fi-FI" dirty="0"/>
              <a:t>, consequat </a:t>
            </a:r>
            <a:r>
              <a:rPr lang="fi-FI" dirty="0" err="1"/>
              <a:t>eget</a:t>
            </a:r>
            <a:r>
              <a:rPr lang="fi-FI" dirty="0"/>
              <a:t> </a:t>
            </a:r>
            <a:r>
              <a:rPr lang="fi-FI" dirty="0" err="1"/>
              <a:t>ullamcorper</a:t>
            </a:r>
            <a:r>
              <a:rPr lang="fi-FI" dirty="0"/>
              <a:t> a, </a:t>
            </a:r>
            <a:r>
              <a:rPr lang="fi-FI" dirty="0" err="1"/>
              <a:t>maximus</a:t>
            </a:r>
            <a:r>
              <a:rPr lang="fi-FI" dirty="0"/>
              <a:t> </a:t>
            </a:r>
            <a:r>
              <a:rPr lang="fi-FI" dirty="0" err="1"/>
              <a:t>ac</a:t>
            </a:r>
            <a:r>
              <a:rPr lang="fi-FI" dirty="0"/>
              <a:t> ex.</a:t>
            </a:r>
          </a:p>
        </p:txBody>
      </p:sp>
      <p:sp>
        <p:nvSpPr>
          <p:cNvPr id="4" name="Päivämäärän paikkamerkki 3">
            <a:extLst>
              <a:ext uri="{FF2B5EF4-FFF2-40B4-BE49-F238E27FC236}">
                <a16:creationId xmlns:a16="http://schemas.microsoft.com/office/drawing/2014/main" id="{04E326D0-D397-4DCF-88BA-ADD90C3D5C3E}"/>
              </a:ext>
            </a:extLst>
          </p:cNvPr>
          <p:cNvSpPr>
            <a:spLocks noGrp="1"/>
          </p:cNvSpPr>
          <p:nvPr>
            <p:ph type="dt" sz="half" idx="13"/>
          </p:nvPr>
        </p:nvSpPr>
        <p:spPr/>
        <p:txBody>
          <a:bodyPr/>
          <a:lstStyle>
            <a:lvl1pPr>
              <a:defRPr>
                <a:solidFill>
                  <a:srgbClr val="FFFFFF"/>
                </a:solidFill>
              </a:defRPr>
            </a:lvl1pPr>
          </a:lstStyle>
          <a:p>
            <a:r>
              <a:rPr lang="fi-FI" dirty="0"/>
              <a:t>dd.mm.yyyy</a:t>
            </a:r>
            <a:endParaRPr lang="en-US" dirty="0"/>
          </a:p>
        </p:txBody>
      </p:sp>
      <p:sp>
        <p:nvSpPr>
          <p:cNvPr id="10" name="Dian numeron paikkamerkki 9">
            <a:extLst>
              <a:ext uri="{FF2B5EF4-FFF2-40B4-BE49-F238E27FC236}">
                <a16:creationId xmlns:a16="http://schemas.microsoft.com/office/drawing/2014/main" id="{439BEBFE-6A3C-4862-B3C0-DF2EC5E8CBFB}"/>
              </a:ext>
            </a:extLst>
          </p:cNvPr>
          <p:cNvSpPr>
            <a:spLocks noGrp="1"/>
          </p:cNvSpPr>
          <p:nvPr>
            <p:ph type="sldNum" sz="quarter" idx="15"/>
          </p:nvPr>
        </p:nvSpPr>
        <p:spPr/>
        <p:txBody>
          <a:bodyPr/>
          <a:lstStyle>
            <a:lvl1pPr>
              <a:defRPr>
                <a:solidFill>
                  <a:srgbClr val="FFFFFF"/>
                </a:solidFill>
              </a:defRPr>
            </a:lvl1pPr>
          </a:lstStyle>
          <a:p>
            <a:fld id="{28F7F04C-F568-F649-A2AE-EA61C66B69B4}" type="slidenum">
              <a:rPr lang="en-US" smtClean="0"/>
              <a:pPr/>
              <a:t>‹#›</a:t>
            </a:fld>
            <a:endParaRPr lang="en-US" dirty="0"/>
          </a:p>
        </p:txBody>
      </p:sp>
      <p:pic>
        <p:nvPicPr>
          <p:cNvPr id="13" name="Kuva 12"/>
          <p:cNvPicPr>
            <a:picLocks noChangeAspect="1"/>
          </p:cNvPicPr>
          <p:nvPr userDrawn="1"/>
        </p:nvPicPr>
        <p:blipFill rotWithShape="1">
          <a:blip r:embed="rId2">
            <a:extLst>
              <a:ext uri="{28A0092B-C50C-407E-A947-70E740481C1C}">
                <a14:useLocalDpi xmlns:a14="http://schemas.microsoft.com/office/drawing/2010/main" val="0"/>
              </a:ext>
            </a:extLst>
          </a:blip>
          <a:srcRect l="17808" r="17631"/>
          <a:stretch/>
        </p:blipFill>
        <p:spPr>
          <a:xfrm>
            <a:off x="4713402" y="0"/>
            <a:ext cx="4430598" cy="5143500"/>
          </a:xfrm>
          <a:prstGeom prst="rect">
            <a:avLst/>
          </a:prstGeom>
        </p:spPr>
      </p:pic>
      <p:sp>
        <p:nvSpPr>
          <p:cNvPr id="5" name="Alatunnisteen paikkamerkki 4">
            <a:extLst>
              <a:ext uri="{FF2B5EF4-FFF2-40B4-BE49-F238E27FC236}">
                <a16:creationId xmlns:a16="http://schemas.microsoft.com/office/drawing/2014/main" id="{0B124AD7-04E5-4E26-A7E3-6E499B81497F}"/>
              </a:ext>
            </a:extLst>
          </p:cNvPr>
          <p:cNvSpPr>
            <a:spLocks noGrp="1"/>
          </p:cNvSpPr>
          <p:nvPr>
            <p:ph type="ftr" sz="quarter" idx="14"/>
          </p:nvPr>
        </p:nvSpPr>
        <p:spPr/>
        <p:txBody>
          <a:bodyPr/>
          <a:lstStyle>
            <a:lvl1pPr>
              <a:defRPr>
                <a:solidFill>
                  <a:srgbClr val="FFFFFF"/>
                </a:solidFill>
              </a:defRPr>
            </a:lvl1pPr>
          </a:lstStyle>
          <a:p>
            <a:r>
              <a:rPr lang="fi-FI" dirty="0"/>
              <a:t>Your text here</a:t>
            </a:r>
          </a:p>
        </p:txBody>
      </p:sp>
      <p:pic>
        <p:nvPicPr>
          <p:cNvPr id="12" name="Kuva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4281580"/>
            <a:ext cx="1991440" cy="856800"/>
          </a:xfrm>
          <a:prstGeom prst="rect">
            <a:avLst/>
          </a:prstGeom>
        </p:spPr>
      </p:pic>
    </p:spTree>
    <p:extLst>
      <p:ext uri="{BB962C8B-B14F-4D97-AF65-F5344CB8AC3E}">
        <p14:creationId xmlns:p14="http://schemas.microsoft.com/office/powerpoint/2010/main" val="463234212"/>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Slide ">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414230" y="2301720"/>
            <a:ext cx="7072852" cy="1944216"/>
          </a:xfrm>
        </p:spPr>
        <p:txBody>
          <a:bodyPr/>
          <a:lstStyle>
            <a:lvl1pPr marL="0" indent="0" algn="l">
              <a:buNone/>
              <a:defRPr sz="3299">
                <a:solidFill>
                  <a:schemeClr val="tx1"/>
                </a:solidFill>
              </a:defRPr>
            </a:lvl1pPr>
            <a:lvl2pPr marL="342809" indent="0" algn="ctr">
              <a:buNone/>
              <a:defRPr>
                <a:solidFill>
                  <a:schemeClr val="tx1">
                    <a:tint val="75000"/>
                  </a:schemeClr>
                </a:solidFill>
              </a:defRPr>
            </a:lvl2pPr>
            <a:lvl3pPr marL="685617" indent="0" algn="ctr">
              <a:buNone/>
              <a:defRPr>
                <a:solidFill>
                  <a:schemeClr val="tx1">
                    <a:tint val="75000"/>
                  </a:schemeClr>
                </a:solidFill>
              </a:defRPr>
            </a:lvl3pPr>
            <a:lvl4pPr marL="1028426" indent="0" algn="ctr">
              <a:buNone/>
              <a:defRPr>
                <a:solidFill>
                  <a:schemeClr val="tx1">
                    <a:tint val="75000"/>
                  </a:schemeClr>
                </a:solidFill>
              </a:defRPr>
            </a:lvl4pPr>
            <a:lvl5pPr marL="1371234" indent="0" algn="ctr">
              <a:buNone/>
              <a:defRPr>
                <a:solidFill>
                  <a:schemeClr val="tx1">
                    <a:tint val="75000"/>
                  </a:schemeClr>
                </a:solidFill>
              </a:defRPr>
            </a:lvl5pPr>
            <a:lvl6pPr marL="1714043" indent="0" algn="ctr">
              <a:buNone/>
              <a:defRPr>
                <a:solidFill>
                  <a:schemeClr val="tx1">
                    <a:tint val="75000"/>
                  </a:schemeClr>
                </a:solidFill>
              </a:defRPr>
            </a:lvl6pPr>
            <a:lvl7pPr marL="2056851" indent="0" algn="ctr">
              <a:buNone/>
              <a:defRPr>
                <a:solidFill>
                  <a:schemeClr val="tx1">
                    <a:tint val="75000"/>
                  </a:schemeClr>
                </a:solidFill>
              </a:defRPr>
            </a:lvl7pPr>
            <a:lvl8pPr marL="2399660" indent="0" algn="ctr">
              <a:buNone/>
              <a:defRPr>
                <a:solidFill>
                  <a:schemeClr val="tx1">
                    <a:tint val="75000"/>
                  </a:schemeClr>
                </a:solidFill>
              </a:defRPr>
            </a:lvl8pPr>
            <a:lvl9pPr marL="2742468" indent="0" algn="ctr">
              <a:buNone/>
              <a:defRPr>
                <a:solidFill>
                  <a:schemeClr val="tx1">
                    <a:tint val="75000"/>
                  </a:schemeClr>
                </a:solidFill>
              </a:defRPr>
            </a:lvl9pPr>
          </a:lstStyle>
          <a:p>
            <a:r>
              <a:rPr lang="en-US" dirty="0"/>
              <a:t>Click to add presentation subtitle</a:t>
            </a:r>
          </a:p>
        </p:txBody>
      </p:sp>
      <p:sp>
        <p:nvSpPr>
          <p:cNvPr id="11" name="Title 1"/>
          <p:cNvSpPr>
            <a:spLocks noGrp="1"/>
          </p:cNvSpPr>
          <p:nvPr>
            <p:ph type="title" hasCustomPrompt="1"/>
          </p:nvPr>
        </p:nvSpPr>
        <p:spPr>
          <a:xfrm>
            <a:off x="0" y="573881"/>
            <a:ext cx="6924580" cy="602326"/>
          </a:xfrm>
        </p:spPr>
        <p:txBody>
          <a:bodyPr wrap="none"/>
          <a:lstStyle>
            <a:lvl1pPr>
              <a:defRPr baseline="0"/>
            </a:lvl1pPr>
          </a:lstStyle>
          <a:p>
            <a:r>
              <a:rPr lang="en-US" dirty="0"/>
              <a:t>Click to add presentation title</a:t>
            </a:r>
          </a:p>
        </p:txBody>
      </p:sp>
      <p:sp>
        <p:nvSpPr>
          <p:cNvPr id="2" name="Date Placeholder 1"/>
          <p:cNvSpPr>
            <a:spLocks noGrp="1"/>
          </p:cNvSpPr>
          <p:nvPr>
            <p:ph type="dt" sz="half" idx="10"/>
          </p:nvPr>
        </p:nvSpPr>
        <p:spPr/>
        <p:txBody>
          <a:bodyPr/>
          <a:lstStyle>
            <a:lvl1pPr>
              <a:defRPr>
                <a:noFill/>
              </a:defRPr>
            </a:lvl1pPr>
          </a:lstStyle>
          <a:p>
            <a:fld id="{2BE901F9-7290-474C-84D9-D2AF27877403}" type="datetime1">
              <a:rPr lang="fi-FI" smtClean="0"/>
              <a:t>5.11.2023</a:t>
            </a:fld>
            <a:endParaRPr lang="en-US" dirty="0"/>
          </a:p>
        </p:txBody>
      </p:sp>
      <p:sp>
        <p:nvSpPr>
          <p:cNvPr id="4" name="Footer Placeholder 3"/>
          <p:cNvSpPr>
            <a:spLocks noGrp="1"/>
          </p:cNvSpPr>
          <p:nvPr>
            <p:ph type="ftr" sz="quarter" idx="11"/>
          </p:nvPr>
        </p:nvSpPr>
        <p:spPr/>
        <p:txBody>
          <a:bodyPr/>
          <a:lstStyle/>
          <a:p>
            <a:r>
              <a:rPr lang="en-US"/>
              <a:t>© Aalto University Executive Education</a:t>
            </a:r>
            <a:endParaRPr lang="en-US" dirty="0"/>
          </a:p>
        </p:txBody>
      </p:sp>
      <p:sp>
        <p:nvSpPr>
          <p:cNvPr id="5" name="Slide Number Placeholder 4"/>
          <p:cNvSpPr>
            <a:spLocks noGrp="1"/>
          </p:cNvSpPr>
          <p:nvPr>
            <p:ph type="sldNum" sz="quarter" idx="12"/>
          </p:nvPr>
        </p:nvSpPr>
        <p:spPr/>
        <p:txBody>
          <a:bodyPr/>
          <a:lstStyle>
            <a:lvl1pPr>
              <a:defRPr>
                <a:noFill/>
              </a:defRPr>
            </a:lvl1pPr>
          </a:lstStyle>
          <a:p>
            <a:fld id="{FCCA222D-FCF7-48C1-A274-EBDDEF75DC66}" type="slidenum">
              <a:rPr lang="en-US" smtClean="0"/>
              <a:pPr/>
              <a:t>‹#›</a:t>
            </a:fld>
            <a:endParaRPr lang="en-US" dirty="0"/>
          </a:p>
        </p:txBody>
      </p:sp>
    </p:spTree>
    <p:extLst>
      <p:ext uri="{BB962C8B-B14F-4D97-AF65-F5344CB8AC3E}">
        <p14:creationId xmlns:p14="http://schemas.microsoft.com/office/powerpoint/2010/main" val="1385236736"/>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obj" preserve="1">
  <p:cSld name="Title and Content ">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add title</a:t>
            </a:r>
          </a:p>
        </p:txBody>
      </p:sp>
      <p:sp>
        <p:nvSpPr>
          <p:cNvPr id="3" name="Content Placeholder 2"/>
          <p:cNvSpPr>
            <a:spLocks noGrp="1"/>
          </p:cNvSpPr>
          <p:nvPr>
            <p:ph idx="1" hasCustomPrompt="1"/>
          </p:nvPr>
        </p:nvSpPr>
        <p:spPr/>
        <p:txBody>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DBBED7B8-6E10-436C-840F-8E9F711A0369}" type="datetime1">
              <a:rPr lang="fi-FI" smtClean="0"/>
              <a:t>5.11.2023</a:t>
            </a:fld>
            <a:endParaRPr lang="en-US"/>
          </a:p>
        </p:txBody>
      </p:sp>
      <p:sp>
        <p:nvSpPr>
          <p:cNvPr id="5" name="Footer Placeholder 4"/>
          <p:cNvSpPr>
            <a:spLocks noGrp="1"/>
          </p:cNvSpPr>
          <p:nvPr>
            <p:ph type="ftr" sz="quarter" idx="11"/>
          </p:nvPr>
        </p:nvSpPr>
        <p:spPr/>
        <p:txBody>
          <a:bodyPr/>
          <a:lstStyle/>
          <a:p>
            <a:r>
              <a:rPr lang="en-US"/>
              <a:t>© Aalto University Executive Education</a:t>
            </a:r>
          </a:p>
        </p:txBody>
      </p:sp>
      <p:sp>
        <p:nvSpPr>
          <p:cNvPr id="6" name="Slide Number Placeholder 5"/>
          <p:cNvSpPr>
            <a:spLocks noGrp="1"/>
          </p:cNvSpPr>
          <p:nvPr>
            <p:ph type="sldNum" sz="quarter" idx="12"/>
          </p:nvPr>
        </p:nvSpPr>
        <p:spPr/>
        <p:txBody>
          <a:bodyPr/>
          <a:lstStyle/>
          <a:p>
            <a:fld id="{FCCA222D-FCF7-48C1-A274-EBDDEF75DC66}" type="slidenum">
              <a:rPr lang="en-US" smtClean="0"/>
              <a:t>‹#›</a:t>
            </a:fld>
            <a:endParaRPr lang="en-US"/>
          </a:p>
        </p:txBody>
      </p:sp>
    </p:spTree>
    <p:extLst>
      <p:ext uri="{BB962C8B-B14F-4D97-AF65-F5344CB8AC3E}">
        <p14:creationId xmlns:p14="http://schemas.microsoft.com/office/powerpoint/2010/main" val="1354350963"/>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secHead" preserve="1">
  <p:cSld name="Section Header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573882"/>
            <a:ext cx="7487081" cy="602326"/>
          </a:xfrm>
          <a:solidFill>
            <a:srgbClr val="B1059D"/>
          </a:solidFill>
        </p:spPr>
        <p:txBody>
          <a:bodyPr lIns="540000" rIns="540000" anchor="t"/>
          <a:lstStyle>
            <a:lvl1pPr algn="l">
              <a:defRPr sz="3299" b="1" cap="none"/>
            </a:lvl1pPr>
          </a:lstStyle>
          <a:p>
            <a:r>
              <a:rPr lang="en-US" dirty="0"/>
              <a:t>Click to add title</a:t>
            </a:r>
          </a:p>
        </p:txBody>
      </p:sp>
      <p:sp>
        <p:nvSpPr>
          <p:cNvPr id="3" name="Text Placeholder 2"/>
          <p:cNvSpPr>
            <a:spLocks noGrp="1"/>
          </p:cNvSpPr>
          <p:nvPr>
            <p:ph type="body" idx="1" hasCustomPrompt="1"/>
          </p:nvPr>
        </p:nvSpPr>
        <p:spPr>
          <a:xfrm>
            <a:off x="4572001" y="2842022"/>
            <a:ext cx="4572000" cy="567811"/>
          </a:xfrm>
          <a:solidFill>
            <a:srgbClr val="000000">
              <a:alpha val="89804"/>
            </a:srgbClr>
          </a:solidFill>
        </p:spPr>
        <p:txBody>
          <a:bodyPr wrap="square" lIns="324000" tIns="144000" rIns="324000" bIns="144000" anchor="t" anchorCtr="0">
            <a:spAutoFit/>
          </a:bodyPr>
          <a:lstStyle>
            <a:lvl1pPr marL="0" indent="0" algn="r">
              <a:buNone/>
              <a:defRPr sz="1800" b="1" i="0">
                <a:solidFill>
                  <a:schemeClr val="bg1"/>
                </a:solidFill>
              </a:defRPr>
            </a:lvl1pPr>
            <a:lvl2pPr marL="342809" indent="0">
              <a:buNone/>
              <a:defRPr sz="1350">
                <a:solidFill>
                  <a:schemeClr val="tx1">
                    <a:tint val="75000"/>
                  </a:schemeClr>
                </a:solidFill>
              </a:defRPr>
            </a:lvl2pPr>
            <a:lvl3pPr marL="685617" indent="0">
              <a:buNone/>
              <a:defRPr sz="1200">
                <a:solidFill>
                  <a:schemeClr val="tx1">
                    <a:tint val="75000"/>
                  </a:schemeClr>
                </a:solidFill>
              </a:defRPr>
            </a:lvl3pPr>
            <a:lvl4pPr marL="1028426" indent="0">
              <a:buNone/>
              <a:defRPr sz="1050">
                <a:solidFill>
                  <a:schemeClr val="tx1">
                    <a:tint val="75000"/>
                  </a:schemeClr>
                </a:solidFill>
              </a:defRPr>
            </a:lvl4pPr>
            <a:lvl5pPr marL="1371234" indent="0">
              <a:buNone/>
              <a:defRPr sz="1050">
                <a:solidFill>
                  <a:schemeClr val="tx1">
                    <a:tint val="75000"/>
                  </a:schemeClr>
                </a:solidFill>
              </a:defRPr>
            </a:lvl5pPr>
            <a:lvl6pPr marL="1714043" indent="0">
              <a:buNone/>
              <a:defRPr sz="1050">
                <a:solidFill>
                  <a:schemeClr val="tx1">
                    <a:tint val="75000"/>
                  </a:schemeClr>
                </a:solidFill>
              </a:defRPr>
            </a:lvl6pPr>
            <a:lvl7pPr marL="2056851" indent="0">
              <a:buNone/>
              <a:defRPr sz="1050">
                <a:solidFill>
                  <a:schemeClr val="tx1">
                    <a:tint val="75000"/>
                  </a:schemeClr>
                </a:solidFill>
              </a:defRPr>
            </a:lvl7pPr>
            <a:lvl8pPr marL="2399660" indent="0">
              <a:buNone/>
              <a:defRPr sz="1050">
                <a:solidFill>
                  <a:schemeClr val="tx1">
                    <a:tint val="75000"/>
                  </a:schemeClr>
                </a:solidFill>
              </a:defRPr>
            </a:lvl8pPr>
            <a:lvl9pPr marL="2742468" indent="0">
              <a:buNone/>
              <a:defRPr sz="1050">
                <a:solidFill>
                  <a:schemeClr val="tx1">
                    <a:tint val="75000"/>
                  </a:schemeClr>
                </a:solidFill>
              </a:defRPr>
            </a:lvl9pPr>
          </a:lstStyle>
          <a:p>
            <a:pPr lvl="0"/>
            <a:r>
              <a:rPr lang="en-US" dirty="0"/>
              <a:t>Click to add text</a:t>
            </a:r>
          </a:p>
        </p:txBody>
      </p:sp>
      <p:sp>
        <p:nvSpPr>
          <p:cNvPr id="4" name="Date Placeholder 3"/>
          <p:cNvSpPr>
            <a:spLocks noGrp="1"/>
          </p:cNvSpPr>
          <p:nvPr>
            <p:ph type="dt" sz="half" idx="10"/>
          </p:nvPr>
        </p:nvSpPr>
        <p:spPr/>
        <p:txBody>
          <a:bodyPr/>
          <a:lstStyle>
            <a:lvl1pPr>
              <a:defRPr>
                <a:solidFill>
                  <a:schemeClr val="bg1"/>
                </a:solidFill>
              </a:defRPr>
            </a:lvl1pPr>
          </a:lstStyle>
          <a:p>
            <a:fld id="{2D335028-5C11-45D8-9C49-9C21ECA166FC}" type="datetime1">
              <a:rPr lang="fi-FI" smtClean="0"/>
              <a:t>5.11.2023</a:t>
            </a:fld>
            <a:endParaRPr lang="en-US" dirty="0"/>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 Aalto University Executive Education</a:t>
            </a:r>
            <a:endParaRPr lang="en-US"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FCCA222D-FCF7-48C1-A274-EBDDEF75DC66}" type="slidenum">
              <a:rPr lang="en-US" smtClean="0"/>
              <a:pPr/>
              <a:t>‹#›</a:t>
            </a:fld>
            <a:endParaRPr lang="en-US" dirty="0"/>
          </a:p>
        </p:txBody>
      </p:sp>
      <p:grpSp>
        <p:nvGrpSpPr>
          <p:cNvPr id="19" name="Group 18"/>
          <p:cNvGrpSpPr>
            <a:grpSpLocks noChangeAspect="1"/>
          </p:cNvGrpSpPr>
          <p:nvPr userDrawn="1"/>
        </p:nvGrpSpPr>
        <p:grpSpPr>
          <a:xfrm>
            <a:off x="7595548" y="249492"/>
            <a:ext cx="1294116" cy="199800"/>
            <a:chOff x="4067175" y="114301"/>
            <a:chExt cx="3630613" cy="560388"/>
          </a:xfrm>
          <a:solidFill>
            <a:schemeClr val="bg1"/>
          </a:solidFill>
        </p:grpSpPr>
        <p:sp>
          <p:nvSpPr>
            <p:cNvPr id="20" name="Freeform 6"/>
            <p:cNvSpPr>
              <a:spLocks noEditPoints="1"/>
            </p:cNvSpPr>
            <p:nvPr userDrawn="1"/>
          </p:nvSpPr>
          <p:spPr bwMode="auto">
            <a:xfrm>
              <a:off x="5749925" y="114301"/>
              <a:ext cx="1530350" cy="173038"/>
            </a:xfrm>
            <a:custGeom>
              <a:avLst/>
              <a:gdLst>
                <a:gd name="T0" fmla="*/ 922 w 964"/>
                <a:gd name="T1" fmla="*/ 84 h 109"/>
                <a:gd name="T2" fmla="*/ 918 w 964"/>
                <a:gd name="T3" fmla="*/ 109 h 109"/>
                <a:gd name="T4" fmla="*/ 944 w 964"/>
                <a:gd name="T5" fmla="*/ 25 h 109"/>
                <a:gd name="T6" fmla="*/ 860 w 964"/>
                <a:gd name="T7" fmla="*/ 68 h 109"/>
                <a:gd name="T8" fmla="*/ 890 w 964"/>
                <a:gd name="T9" fmla="*/ 89 h 109"/>
                <a:gd name="T10" fmla="*/ 890 w 964"/>
                <a:gd name="T11" fmla="*/ 39 h 109"/>
                <a:gd name="T12" fmla="*/ 819 w 964"/>
                <a:gd name="T13" fmla="*/ 89 h 109"/>
                <a:gd name="T14" fmla="*/ 793 w 964"/>
                <a:gd name="T15" fmla="*/ 26 h 109"/>
                <a:gd name="T16" fmla="*/ 753 w 964"/>
                <a:gd name="T17" fmla="*/ 33 h 109"/>
                <a:gd name="T18" fmla="*/ 757 w 964"/>
                <a:gd name="T19" fmla="*/ 58 h 109"/>
                <a:gd name="T20" fmla="*/ 788 w 964"/>
                <a:gd name="T21" fmla="*/ 72 h 109"/>
                <a:gd name="T22" fmla="*/ 767 w 964"/>
                <a:gd name="T23" fmla="*/ 70 h 109"/>
                <a:gd name="T24" fmla="*/ 772 w 964"/>
                <a:gd name="T25" fmla="*/ 90 h 109"/>
                <a:gd name="T26" fmla="*/ 806 w 964"/>
                <a:gd name="T27" fmla="*/ 73 h 109"/>
                <a:gd name="T28" fmla="*/ 788 w 964"/>
                <a:gd name="T29" fmla="*/ 49 h 109"/>
                <a:gd name="T30" fmla="*/ 777 w 964"/>
                <a:gd name="T31" fmla="*/ 37 h 109"/>
                <a:gd name="T32" fmla="*/ 700 w 964"/>
                <a:gd name="T33" fmla="*/ 89 h 109"/>
                <a:gd name="T34" fmla="*/ 729 w 964"/>
                <a:gd name="T35" fmla="*/ 42 h 109"/>
                <a:gd name="T36" fmla="*/ 723 w 964"/>
                <a:gd name="T37" fmla="*/ 27 h 109"/>
                <a:gd name="T38" fmla="*/ 643 w 964"/>
                <a:gd name="T39" fmla="*/ 42 h 109"/>
                <a:gd name="T40" fmla="*/ 666 w 964"/>
                <a:gd name="T41" fmla="*/ 44 h 109"/>
                <a:gd name="T42" fmla="*/ 682 w 964"/>
                <a:gd name="T43" fmla="*/ 38 h 109"/>
                <a:gd name="T44" fmla="*/ 647 w 964"/>
                <a:gd name="T45" fmla="*/ 24 h 109"/>
                <a:gd name="T46" fmla="*/ 623 w 964"/>
                <a:gd name="T47" fmla="*/ 46 h 109"/>
                <a:gd name="T48" fmla="*/ 641 w 964"/>
                <a:gd name="T49" fmla="*/ 88 h 109"/>
                <a:gd name="T50" fmla="*/ 679 w 964"/>
                <a:gd name="T51" fmla="*/ 82 h 109"/>
                <a:gd name="T52" fmla="*/ 656 w 964"/>
                <a:gd name="T53" fmla="*/ 76 h 109"/>
                <a:gd name="T54" fmla="*/ 687 w 964"/>
                <a:gd name="T55" fmla="*/ 62 h 109"/>
                <a:gd name="T56" fmla="*/ 575 w 964"/>
                <a:gd name="T57" fmla="*/ 89 h 109"/>
                <a:gd name="T58" fmla="*/ 521 w 964"/>
                <a:gd name="T59" fmla="*/ 89 h 109"/>
                <a:gd name="T60" fmla="*/ 467 w 964"/>
                <a:gd name="T61" fmla="*/ 42 h 109"/>
                <a:gd name="T62" fmla="*/ 483 w 964"/>
                <a:gd name="T63" fmla="*/ 44 h 109"/>
                <a:gd name="T64" fmla="*/ 497 w 964"/>
                <a:gd name="T65" fmla="*/ 29 h 109"/>
                <a:gd name="T66" fmla="*/ 463 w 964"/>
                <a:gd name="T67" fmla="*/ 25 h 109"/>
                <a:gd name="T68" fmla="*/ 398 w 964"/>
                <a:gd name="T69" fmla="*/ 73 h 109"/>
                <a:gd name="T70" fmla="*/ 376 w 964"/>
                <a:gd name="T71" fmla="*/ 63 h 109"/>
                <a:gd name="T72" fmla="*/ 364 w 964"/>
                <a:gd name="T73" fmla="*/ 81 h 109"/>
                <a:gd name="T74" fmla="*/ 406 w 964"/>
                <a:gd name="T75" fmla="*/ 89 h 109"/>
                <a:gd name="T76" fmla="*/ 427 w 964"/>
                <a:gd name="T77" fmla="*/ 60 h 109"/>
                <a:gd name="T78" fmla="*/ 292 w 964"/>
                <a:gd name="T79" fmla="*/ 49 h 109"/>
                <a:gd name="T80" fmla="*/ 284 w 964"/>
                <a:gd name="T81" fmla="*/ 74 h 109"/>
                <a:gd name="T82" fmla="*/ 263 w 964"/>
                <a:gd name="T83" fmla="*/ 61 h 109"/>
                <a:gd name="T84" fmla="*/ 274 w 964"/>
                <a:gd name="T85" fmla="*/ 38 h 109"/>
                <a:gd name="T86" fmla="*/ 247 w 964"/>
                <a:gd name="T87" fmla="*/ 40 h 109"/>
                <a:gd name="T88" fmla="*/ 249 w 964"/>
                <a:gd name="T89" fmla="*/ 76 h 109"/>
                <a:gd name="T90" fmla="*/ 291 w 964"/>
                <a:gd name="T91" fmla="*/ 88 h 109"/>
                <a:gd name="T92" fmla="*/ 311 w 964"/>
                <a:gd name="T93" fmla="*/ 57 h 109"/>
                <a:gd name="T94" fmla="*/ 291 w 964"/>
                <a:gd name="T95" fmla="*/ 26 h 109"/>
                <a:gd name="T96" fmla="*/ 196 w 964"/>
                <a:gd name="T97" fmla="*/ 26 h 109"/>
                <a:gd name="T98" fmla="*/ 214 w 964"/>
                <a:gd name="T99" fmla="*/ 88 h 109"/>
                <a:gd name="T100" fmla="*/ 224 w 964"/>
                <a:gd name="T101" fmla="*/ 70 h 109"/>
                <a:gd name="T102" fmla="*/ 184 w 964"/>
                <a:gd name="T103" fmla="*/ 0 h 109"/>
                <a:gd name="T104" fmla="*/ 108 w 964"/>
                <a:gd name="T105" fmla="*/ 71 h 109"/>
                <a:gd name="T106" fmla="*/ 110 w 964"/>
                <a:gd name="T107" fmla="*/ 45 h 109"/>
                <a:gd name="T108" fmla="*/ 130 w 964"/>
                <a:gd name="T109" fmla="*/ 41 h 109"/>
                <a:gd name="T110" fmla="*/ 103 w 964"/>
                <a:gd name="T111" fmla="*/ 52 h 109"/>
                <a:gd name="T112" fmla="*/ 91 w 964"/>
                <a:gd name="T113" fmla="*/ 79 h 109"/>
                <a:gd name="T114" fmla="*/ 123 w 964"/>
                <a:gd name="T115" fmla="*/ 89 h 109"/>
                <a:gd name="T116" fmla="*/ 149 w 964"/>
                <a:gd name="T117" fmla="*/ 42 h 109"/>
                <a:gd name="T118" fmla="*/ 115 w 964"/>
                <a:gd name="T119" fmla="*/ 23 h 109"/>
                <a:gd name="T120" fmla="*/ 93 w 964"/>
                <a:gd name="T121" fmla="*/ 45 h 109"/>
                <a:gd name="T122" fmla="*/ 56 w 964"/>
                <a:gd name="T1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4" h="109">
                  <a:moveTo>
                    <a:pt x="944" y="25"/>
                  </a:moveTo>
                  <a:lnTo>
                    <a:pt x="936" y="54"/>
                  </a:lnTo>
                  <a:lnTo>
                    <a:pt x="933" y="68"/>
                  </a:lnTo>
                  <a:lnTo>
                    <a:pt x="932" y="65"/>
                  </a:lnTo>
                  <a:lnTo>
                    <a:pt x="928" y="54"/>
                  </a:lnTo>
                  <a:lnTo>
                    <a:pt x="919" y="25"/>
                  </a:lnTo>
                  <a:lnTo>
                    <a:pt x="899" y="25"/>
                  </a:lnTo>
                  <a:lnTo>
                    <a:pt x="920" y="79"/>
                  </a:lnTo>
                  <a:lnTo>
                    <a:pt x="922" y="84"/>
                  </a:lnTo>
                  <a:lnTo>
                    <a:pt x="922" y="87"/>
                  </a:lnTo>
                  <a:lnTo>
                    <a:pt x="922" y="90"/>
                  </a:lnTo>
                  <a:lnTo>
                    <a:pt x="920" y="93"/>
                  </a:lnTo>
                  <a:lnTo>
                    <a:pt x="919" y="94"/>
                  </a:lnTo>
                  <a:lnTo>
                    <a:pt x="917" y="94"/>
                  </a:lnTo>
                  <a:lnTo>
                    <a:pt x="913" y="95"/>
                  </a:lnTo>
                  <a:lnTo>
                    <a:pt x="907" y="95"/>
                  </a:lnTo>
                  <a:lnTo>
                    <a:pt x="907" y="109"/>
                  </a:lnTo>
                  <a:lnTo>
                    <a:pt x="918" y="109"/>
                  </a:lnTo>
                  <a:lnTo>
                    <a:pt x="923" y="109"/>
                  </a:lnTo>
                  <a:lnTo>
                    <a:pt x="927" y="108"/>
                  </a:lnTo>
                  <a:lnTo>
                    <a:pt x="930" y="107"/>
                  </a:lnTo>
                  <a:lnTo>
                    <a:pt x="933" y="105"/>
                  </a:lnTo>
                  <a:lnTo>
                    <a:pt x="935" y="103"/>
                  </a:lnTo>
                  <a:lnTo>
                    <a:pt x="937" y="100"/>
                  </a:lnTo>
                  <a:lnTo>
                    <a:pt x="941" y="89"/>
                  </a:lnTo>
                  <a:lnTo>
                    <a:pt x="964" y="25"/>
                  </a:lnTo>
                  <a:lnTo>
                    <a:pt x="944" y="25"/>
                  </a:lnTo>
                  <a:close/>
                  <a:moveTo>
                    <a:pt x="890" y="26"/>
                  </a:moveTo>
                  <a:lnTo>
                    <a:pt x="879" y="26"/>
                  </a:lnTo>
                  <a:lnTo>
                    <a:pt x="879" y="5"/>
                  </a:lnTo>
                  <a:lnTo>
                    <a:pt x="860" y="5"/>
                  </a:lnTo>
                  <a:lnTo>
                    <a:pt x="860" y="26"/>
                  </a:lnTo>
                  <a:lnTo>
                    <a:pt x="851" y="26"/>
                  </a:lnTo>
                  <a:lnTo>
                    <a:pt x="851" y="39"/>
                  </a:lnTo>
                  <a:lnTo>
                    <a:pt x="860" y="39"/>
                  </a:lnTo>
                  <a:lnTo>
                    <a:pt x="860" y="68"/>
                  </a:lnTo>
                  <a:lnTo>
                    <a:pt x="860" y="74"/>
                  </a:lnTo>
                  <a:lnTo>
                    <a:pt x="861" y="79"/>
                  </a:lnTo>
                  <a:lnTo>
                    <a:pt x="862" y="82"/>
                  </a:lnTo>
                  <a:lnTo>
                    <a:pt x="863" y="84"/>
                  </a:lnTo>
                  <a:lnTo>
                    <a:pt x="866" y="86"/>
                  </a:lnTo>
                  <a:lnTo>
                    <a:pt x="869" y="88"/>
                  </a:lnTo>
                  <a:lnTo>
                    <a:pt x="873" y="88"/>
                  </a:lnTo>
                  <a:lnTo>
                    <a:pt x="879" y="89"/>
                  </a:lnTo>
                  <a:lnTo>
                    <a:pt x="890" y="89"/>
                  </a:lnTo>
                  <a:lnTo>
                    <a:pt x="890" y="75"/>
                  </a:lnTo>
                  <a:lnTo>
                    <a:pt x="883" y="75"/>
                  </a:lnTo>
                  <a:lnTo>
                    <a:pt x="881" y="74"/>
                  </a:lnTo>
                  <a:lnTo>
                    <a:pt x="880" y="74"/>
                  </a:lnTo>
                  <a:lnTo>
                    <a:pt x="879" y="73"/>
                  </a:lnTo>
                  <a:lnTo>
                    <a:pt x="879" y="70"/>
                  </a:lnTo>
                  <a:lnTo>
                    <a:pt x="879" y="64"/>
                  </a:lnTo>
                  <a:lnTo>
                    <a:pt x="879" y="39"/>
                  </a:lnTo>
                  <a:lnTo>
                    <a:pt x="890" y="39"/>
                  </a:lnTo>
                  <a:lnTo>
                    <a:pt x="890" y="26"/>
                  </a:lnTo>
                  <a:close/>
                  <a:moveTo>
                    <a:pt x="838" y="0"/>
                  </a:moveTo>
                  <a:lnTo>
                    <a:pt x="819" y="0"/>
                  </a:lnTo>
                  <a:lnTo>
                    <a:pt x="819" y="16"/>
                  </a:lnTo>
                  <a:lnTo>
                    <a:pt x="838" y="16"/>
                  </a:lnTo>
                  <a:lnTo>
                    <a:pt x="838" y="0"/>
                  </a:lnTo>
                  <a:close/>
                  <a:moveTo>
                    <a:pt x="838" y="25"/>
                  </a:moveTo>
                  <a:lnTo>
                    <a:pt x="819" y="25"/>
                  </a:lnTo>
                  <a:lnTo>
                    <a:pt x="819" y="89"/>
                  </a:lnTo>
                  <a:lnTo>
                    <a:pt x="838" y="89"/>
                  </a:lnTo>
                  <a:lnTo>
                    <a:pt x="838" y="25"/>
                  </a:lnTo>
                  <a:close/>
                  <a:moveTo>
                    <a:pt x="806" y="44"/>
                  </a:moveTo>
                  <a:lnTo>
                    <a:pt x="805" y="39"/>
                  </a:lnTo>
                  <a:lnTo>
                    <a:pt x="803" y="35"/>
                  </a:lnTo>
                  <a:lnTo>
                    <a:pt x="800" y="31"/>
                  </a:lnTo>
                  <a:lnTo>
                    <a:pt x="797" y="28"/>
                  </a:lnTo>
                  <a:lnTo>
                    <a:pt x="795" y="27"/>
                  </a:lnTo>
                  <a:lnTo>
                    <a:pt x="793" y="26"/>
                  </a:lnTo>
                  <a:lnTo>
                    <a:pt x="789" y="24"/>
                  </a:lnTo>
                  <a:lnTo>
                    <a:pt x="783" y="23"/>
                  </a:lnTo>
                  <a:lnTo>
                    <a:pt x="777" y="23"/>
                  </a:lnTo>
                  <a:lnTo>
                    <a:pt x="771" y="23"/>
                  </a:lnTo>
                  <a:lnTo>
                    <a:pt x="766" y="24"/>
                  </a:lnTo>
                  <a:lnTo>
                    <a:pt x="761" y="26"/>
                  </a:lnTo>
                  <a:lnTo>
                    <a:pt x="757" y="29"/>
                  </a:lnTo>
                  <a:lnTo>
                    <a:pt x="754" y="32"/>
                  </a:lnTo>
                  <a:lnTo>
                    <a:pt x="753" y="33"/>
                  </a:lnTo>
                  <a:lnTo>
                    <a:pt x="752" y="35"/>
                  </a:lnTo>
                  <a:lnTo>
                    <a:pt x="751" y="39"/>
                  </a:lnTo>
                  <a:lnTo>
                    <a:pt x="750" y="44"/>
                  </a:lnTo>
                  <a:lnTo>
                    <a:pt x="750" y="47"/>
                  </a:lnTo>
                  <a:lnTo>
                    <a:pt x="751" y="50"/>
                  </a:lnTo>
                  <a:lnTo>
                    <a:pt x="752" y="52"/>
                  </a:lnTo>
                  <a:lnTo>
                    <a:pt x="753" y="53"/>
                  </a:lnTo>
                  <a:lnTo>
                    <a:pt x="755" y="56"/>
                  </a:lnTo>
                  <a:lnTo>
                    <a:pt x="757" y="58"/>
                  </a:lnTo>
                  <a:lnTo>
                    <a:pt x="761" y="59"/>
                  </a:lnTo>
                  <a:lnTo>
                    <a:pt x="765" y="61"/>
                  </a:lnTo>
                  <a:lnTo>
                    <a:pt x="770" y="62"/>
                  </a:lnTo>
                  <a:lnTo>
                    <a:pt x="781" y="65"/>
                  </a:lnTo>
                  <a:lnTo>
                    <a:pt x="785" y="66"/>
                  </a:lnTo>
                  <a:lnTo>
                    <a:pt x="787" y="67"/>
                  </a:lnTo>
                  <a:lnTo>
                    <a:pt x="788" y="69"/>
                  </a:lnTo>
                  <a:lnTo>
                    <a:pt x="788" y="71"/>
                  </a:lnTo>
                  <a:lnTo>
                    <a:pt x="788" y="72"/>
                  </a:lnTo>
                  <a:lnTo>
                    <a:pt x="788" y="73"/>
                  </a:lnTo>
                  <a:lnTo>
                    <a:pt x="786" y="75"/>
                  </a:lnTo>
                  <a:lnTo>
                    <a:pt x="783" y="76"/>
                  </a:lnTo>
                  <a:lnTo>
                    <a:pt x="779" y="77"/>
                  </a:lnTo>
                  <a:lnTo>
                    <a:pt x="774" y="76"/>
                  </a:lnTo>
                  <a:lnTo>
                    <a:pt x="772" y="76"/>
                  </a:lnTo>
                  <a:lnTo>
                    <a:pt x="770" y="75"/>
                  </a:lnTo>
                  <a:lnTo>
                    <a:pt x="767" y="72"/>
                  </a:lnTo>
                  <a:lnTo>
                    <a:pt x="767" y="70"/>
                  </a:lnTo>
                  <a:lnTo>
                    <a:pt x="766" y="68"/>
                  </a:lnTo>
                  <a:lnTo>
                    <a:pt x="748" y="68"/>
                  </a:lnTo>
                  <a:lnTo>
                    <a:pt x="749" y="73"/>
                  </a:lnTo>
                  <a:lnTo>
                    <a:pt x="751" y="77"/>
                  </a:lnTo>
                  <a:lnTo>
                    <a:pt x="754" y="81"/>
                  </a:lnTo>
                  <a:lnTo>
                    <a:pt x="757" y="84"/>
                  </a:lnTo>
                  <a:lnTo>
                    <a:pt x="761" y="87"/>
                  </a:lnTo>
                  <a:lnTo>
                    <a:pt x="766" y="89"/>
                  </a:lnTo>
                  <a:lnTo>
                    <a:pt x="772" y="90"/>
                  </a:lnTo>
                  <a:lnTo>
                    <a:pt x="778" y="90"/>
                  </a:lnTo>
                  <a:lnTo>
                    <a:pt x="785" y="90"/>
                  </a:lnTo>
                  <a:lnTo>
                    <a:pt x="790" y="89"/>
                  </a:lnTo>
                  <a:lnTo>
                    <a:pt x="795" y="87"/>
                  </a:lnTo>
                  <a:lnTo>
                    <a:pt x="799" y="84"/>
                  </a:lnTo>
                  <a:lnTo>
                    <a:pt x="803" y="81"/>
                  </a:lnTo>
                  <a:lnTo>
                    <a:pt x="805" y="78"/>
                  </a:lnTo>
                  <a:lnTo>
                    <a:pt x="806" y="75"/>
                  </a:lnTo>
                  <a:lnTo>
                    <a:pt x="806" y="73"/>
                  </a:lnTo>
                  <a:lnTo>
                    <a:pt x="807" y="68"/>
                  </a:lnTo>
                  <a:lnTo>
                    <a:pt x="807" y="65"/>
                  </a:lnTo>
                  <a:lnTo>
                    <a:pt x="806" y="61"/>
                  </a:lnTo>
                  <a:lnTo>
                    <a:pt x="804" y="58"/>
                  </a:lnTo>
                  <a:lnTo>
                    <a:pt x="802" y="56"/>
                  </a:lnTo>
                  <a:lnTo>
                    <a:pt x="800" y="54"/>
                  </a:lnTo>
                  <a:lnTo>
                    <a:pt x="797" y="52"/>
                  </a:lnTo>
                  <a:lnTo>
                    <a:pt x="793" y="51"/>
                  </a:lnTo>
                  <a:lnTo>
                    <a:pt x="788" y="49"/>
                  </a:lnTo>
                  <a:lnTo>
                    <a:pt x="776" y="47"/>
                  </a:lnTo>
                  <a:lnTo>
                    <a:pt x="772" y="46"/>
                  </a:lnTo>
                  <a:lnTo>
                    <a:pt x="770" y="45"/>
                  </a:lnTo>
                  <a:lnTo>
                    <a:pt x="768" y="44"/>
                  </a:lnTo>
                  <a:lnTo>
                    <a:pt x="768" y="42"/>
                  </a:lnTo>
                  <a:lnTo>
                    <a:pt x="769" y="40"/>
                  </a:lnTo>
                  <a:lnTo>
                    <a:pt x="771" y="38"/>
                  </a:lnTo>
                  <a:lnTo>
                    <a:pt x="773" y="37"/>
                  </a:lnTo>
                  <a:lnTo>
                    <a:pt x="777" y="37"/>
                  </a:lnTo>
                  <a:lnTo>
                    <a:pt x="781" y="37"/>
                  </a:lnTo>
                  <a:lnTo>
                    <a:pt x="783" y="38"/>
                  </a:lnTo>
                  <a:lnTo>
                    <a:pt x="785" y="39"/>
                  </a:lnTo>
                  <a:lnTo>
                    <a:pt x="786" y="40"/>
                  </a:lnTo>
                  <a:lnTo>
                    <a:pt x="787" y="41"/>
                  </a:lnTo>
                  <a:lnTo>
                    <a:pt x="788" y="44"/>
                  </a:lnTo>
                  <a:lnTo>
                    <a:pt x="806" y="44"/>
                  </a:lnTo>
                  <a:close/>
                  <a:moveTo>
                    <a:pt x="700" y="25"/>
                  </a:moveTo>
                  <a:lnTo>
                    <a:pt x="700" y="89"/>
                  </a:lnTo>
                  <a:lnTo>
                    <a:pt x="719" y="89"/>
                  </a:lnTo>
                  <a:lnTo>
                    <a:pt x="719" y="71"/>
                  </a:lnTo>
                  <a:lnTo>
                    <a:pt x="719" y="56"/>
                  </a:lnTo>
                  <a:lnTo>
                    <a:pt x="720" y="52"/>
                  </a:lnTo>
                  <a:lnTo>
                    <a:pt x="721" y="48"/>
                  </a:lnTo>
                  <a:lnTo>
                    <a:pt x="722" y="46"/>
                  </a:lnTo>
                  <a:lnTo>
                    <a:pt x="724" y="45"/>
                  </a:lnTo>
                  <a:lnTo>
                    <a:pt x="727" y="42"/>
                  </a:lnTo>
                  <a:lnTo>
                    <a:pt x="729" y="42"/>
                  </a:lnTo>
                  <a:lnTo>
                    <a:pt x="731" y="41"/>
                  </a:lnTo>
                  <a:lnTo>
                    <a:pt x="735" y="40"/>
                  </a:lnTo>
                  <a:lnTo>
                    <a:pt x="740" y="41"/>
                  </a:lnTo>
                  <a:lnTo>
                    <a:pt x="740" y="23"/>
                  </a:lnTo>
                  <a:lnTo>
                    <a:pt x="735" y="23"/>
                  </a:lnTo>
                  <a:lnTo>
                    <a:pt x="731" y="24"/>
                  </a:lnTo>
                  <a:lnTo>
                    <a:pt x="728" y="24"/>
                  </a:lnTo>
                  <a:lnTo>
                    <a:pt x="725" y="26"/>
                  </a:lnTo>
                  <a:lnTo>
                    <a:pt x="723" y="27"/>
                  </a:lnTo>
                  <a:lnTo>
                    <a:pt x="721" y="30"/>
                  </a:lnTo>
                  <a:lnTo>
                    <a:pt x="719" y="33"/>
                  </a:lnTo>
                  <a:lnTo>
                    <a:pt x="718" y="36"/>
                  </a:lnTo>
                  <a:lnTo>
                    <a:pt x="718" y="25"/>
                  </a:lnTo>
                  <a:lnTo>
                    <a:pt x="700" y="25"/>
                  </a:lnTo>
                  <a:close/>
                  <a:moveTo>
                    <a:pt x="640" y="49"/>
                  </a:moveTo>
                  <a:lnTo>
                    <a:pt x="641" y="46"/>
                  </a:lnTo>
                  <a:lnTo>
                    <a:pt x="642" y="44"/>
                  </a:lnTo>
                  <a:lnTo>
                    <a:pt x="643" y="42"/>
                  </a:lnTo>
                  <a:lnTo>
                    <a:pt x="645" y="40"/>
                  </a:lnTo>
                  <a:lnTo>
                    <a:pt x="647" y="39"/>
                  </a:lnTo>
                  <a:lnTo>
                    <a:pt x="649" y="38"/>
                  </a:lnTo>
                  <a:lnTo>
                    <a:pt x="655" y="37"/>
                  </a:lnTo>
                  <a:lnTo>
                    <a:pt x="660" y="38"/>
                  </a:lnTo>
                  <a:lnTo>
                    <a:pt x="662" y="39"/>
                  </a:lnTo>
                  <a:lnTo>
                    <a:pt x="663" y="40"/>
                  </a:lnTo>
                  <a:lnTo>
                    <a:pt x="665" y="42"/>
                  </a:lnTo>
                  <a:lnTo>
                    <a:pt x="666" y="44"/>
                  </a:lnTo>
                  <a:lnTo>
                    <a:pt x="667" y="46"/>
                  </a:lnTo>
                  <a:lnTo>
                    <a:pt x="667" y="49"/>
                  </a:lnTo>
                  <a:lnTo>
                    <a:pt x="640" y="49"/>
                  </a:lnTo>
                  <a:close/>
                  <a:moveTo>
                    <a:pt x="687" y="62"/>
                  </a:moveTo>
                  <a:lnTo>
                    <a:pt x="686" y="56"/>
                  </a:lnTo>
                  <a:lnTo>
                    <a:pt x="686" y="51"/>
                  </a:lnTo>
                  <a:lnTo>
                    <a:pt x="685" y="47"/>
                  </a:lnTo>
                  <a:lnTo>
                    <a:pt x="684" y="43"/>
                  </a:lnTo>
                  <a:lnTo>
                    <a:pt x="682" y="38"/>
                  </a:lnTo>
                  <a:lnTo>
                    <a:pt x="679" y="34"/>
                  </a:lnTo>
                  <a:lnTo>
                    <a:pt x="676" y="31"/>
                  </a:lnTo>
                  <a:lnTo>
                    <a:pt x="673" y="28"/>
                  </a:lnTo>
                  <a:lnTo>
                    <a:pt x="669" y="26"/>
                  </a:lnTo>
                  <a:lnTo>
                    <a:pt x="667" y="25"/>
                  </a:lnTo>
                  <a:lnTo>
                    <a:pt x="665" y="24"/>
                  </a:lnTo>
                  <a:lnTo>
                    <a:pt x="660" y="23"/>
                  </a:lnTo>
                  <a:lnTo>
                    <a:pt x="655" y="23"/>
                  </a:lnTo>
                  <a:lnTo>
                    <a:pt x="647" y="24"/>
                  </a:lnTo>
                  <a:lnTo>
                    <a:pt x="641" y="26"/>
                  </a:lnTo>
                  <a:lnTo>
                    <a:pt x="638" y="27"/>
                  </a:lnTo>
                  <a:lnTo>
                    <a:pt x="635" y="29"/>
                  </a:lnTo>
                  <a:lnTo>
                    <a:pt x="630" y="32"/>
                  </a:lnTo>
                  <a:lnTo>
                    <a:pt x="628" y="35"/>
                  </a:lnTo>
                  <a:lnTo>
                    <a:pt x="627" y="37"/>
                  </a:lnTo>
                  <a:lnTo>
                    <a:pt x="625" y="40"/>
                  </a:lnTo>
                  <a:lnTo>
                    <a:pt x="624" y="43"/>
                  </a:lnTo>
                  <a:lnTo>
                    <a:pt x="623" y="46"/>
                  </a:lnTo>
                  <a:lnTo>
                    <a:pt x="622" y="50"/>
                  </a:lnTo>
                  <a:lnTo>
                    <a:pt x="621" y="53"/>
                  </a:lnTo>
                  <a:lnTo>
                    <a:pt x="621" y="57"/>
                  </a:lnTo>
                  <a:lnTo>
                    <a:pt x="622" y="64"/>
                  </a:lnTo>
                  <a:lnTo>
                    <a:pt x="624" y="71"/>
                  </a:lnTo>
                  <a:lnTo>
                    <a:pt x="626" y="76"/>
                  </a:lnTo>
                  <a:lnTo>
                    <a:pt x="630" y="81"/>
                  </a:lnTo>
                  <a:lnTo>
                    <a:pt x="635" y="85"/>
                  </a:lnTo>
                  <a:lnTo>
                    <a:pt x="641" y="88"/>
                  </a:lnTo>
                  <a:lnTo>
                    <a:pt x="644" y="89"/>
                  </a:lnTo>
                  <a:lnTo>
                    <a:pt x="647" y="90"/>
                  </a:lnTo>
                  <a:lnTo>
                    <a:pt x="650" y="90"/>
                  </a:lnTo>
                  <a:lnTo>
                    <a:pt x="655" y="90"/>
                  </a:lnTo>
                  <a:lnTo>
                    <a:pt x="661" y="90"/>
                  </a:lnTo>
                  <a:lnTo>
                    <a:pt x="666" y="89"/>
                  </a:lnTo>
                  <a:lnTo>
                    <a:pt x="671" y="87"/>
                  </a:lnTo>
                  <a:lnTo>
                    <a:pt x="675" y="85"/>
                  </a:lnTo>
                  <a:lnTo>
                    <a:pt x="679" y="82"/>
                  </a:lnTo>
                  <a:lnTo>
                    <a:pt x="680" y="80"/>
                  </a:lnTo>
                  <a:lnTo>
                    <a:pt x="682" y="78"/>
                  </a:lnTo>
                  <a:lnTo>
                    <a:pt x="684" y="74"/>
                  </a:lnTo>
                  <a:lnTo>
                    <a:pt x="686" y="70"/>
                  </a:lnTo>
                  <a:lnTo>
                    <a:pt x="667" y="70"/>
                  </a:lnTo>
                  <a:lnTo>
                    <a:pt x="665" y="73"/>
                  </a:lnTo>
                  <a:lnTo>
                    <a:pt x="662" y="74"/>
                  </a:lnTo>
                  <a:lnTo>
                    <a:pt x="659" y="75"/>
                  </a:lnTo>
                  <a:lnTo>
                    <a:pt x="656" y="76"/>
                  </a:lnTo>
                  <a:lnTo>
                    <a:pt x="653" y="76"/>
                  </a:lnTo>
                  <a:lnTo>
                    <a:pt x="649" y="75"/>
                  </a:lnTo>
                  <a:lnTo>
                    <a:pt x="647" y="74"/>
                  </a:lnTo>
                  <a:lnTo>
                    <a:pt x="645" y="72"/>
                  </a:lnTo>
                  <a:lnTo>
                    <a:pt x="643" y="70"/>
                  </a:lnTo>
                  <a:lnTo>
                    <a:pt x="642" y="68"/>
                  </a:lnTo>
                  <a:lnTo>
                    <a:pt x="641" y="65"/>
                  </a:lnTo>
                  <a:lnTo>
                    <a:pt x="640" y="62"/>
                  </a:lnTo>
                  <a:lnTo>
                    <a:pt x="687" y="62"/>
                  </a:lnTo>
                  <a:close/>
                  <a:moveTo>
                    <a:pt x="593" y="89"/>
                  </a:moveTo>
                  <a:lnTo>
                    <a:pt x="614" y="25"/>
                  </a:lnTo>
                  <a:lnTo>
                    <a:pt x="594" y="25"/>
                  </a:lnTo>
                  <a:lnTo>
                    <a:pt x="588" y="49"/>
                  </a:lnTo>
                  <a:lnTo>
                    <a:pt x="584" y="68"/>
                  </a:lnTo>
                  <a:lnTo>
                    <a:pt x="579" y="49"/>
                  </a:lnTo>
                  <a:lnTo>
                    <a:pt x="571" y="25"/>
                  </a:lnTo>
                  <a:lnTo>
                    <a:pt x="552" y="25"/>
                  </a:lnTo>
                  <a:lnTo>
                    <a:pt x="575" y="89"/>
                  </a:lnTo>
                  <a:lnTo>
                    <a:pt x="593" y="89"/>
                  </a:lnTo>
                  <a:close/>
                  <a:moveTo>
                    <a:pt x="540" y="0"/>
                  </a:moveTo>
                  <a:lnTo>
                    <a:pt x="521" y="0"/>
                  </a:lnTo>
                  <a:lnTo>
                    <a:pt x="521" y="16"/>
                  </a:lnTo>
                  <a:lnTo>
                    <a:pt x="540" y="16"/>
                  </a:lnTo>
                  <a:lnTo>
                    <a:pt x="540" y="0"/>
                  </a:lnTo>
                  <a:close/>
                  <a:moveTo>
                    <a:pt x="540" y="25"/>
                  </a:moveTo>
                  <a:lnTo>
                    <a:pt x="521" y="25"/>
                  </a:lnTo>
                  <a:lnTo>
                    <a:pt x="521" y="89"/>
                  </a:lnTo>
                  <a:lnTo>
                    <a:pt x="540" y="89"/>
                  </a:lnTo>
                  <a:lnTo>
                    <a:pt x="540" y="25"/>
                  </a:lnTo>
                  <a:close/>
                  <a:moveTo>
                    <a:pt x="445" y="25"/>
                  </a:moveTo>
                  <a:lnTo>
                    <a:pt x="445" y="89"/>
                  </a:lnTo>
                  <a:lnTo>
                    <a:pt x="464" y="89"/>
                  </a:lnTo>
                  <a:lnTo>
                    <a:pt x="464" y="53"/>
                  </a:lnTo>
                  <a:lnTo>
                    <a:pt x="465" y="46"/>
                  </a:lnTo>
                  <a:lnTo>
                    <a:pt x="465" y="44"/>
                  </a:lnTo>
                  <a:lnTo>
                    <a:pt x="467" y="42"/>
                  </a:lnTo>
                  <a:lnTo>
                    <a:pt x="468" y="41"/>
                  </a:lnTo>
                  <a:lnTo>
                    <a:pt x="470" y="40"/>
                  </a:lnTo>
                  <a:lnTo>
                    <a:pt x="472" y="39"/>
                  </a:lnTo>
                  <a:lnTo>
                    <a:pt x="475" y="39"/>
                  </a:lnTo>
                  <a:lnTo>
                    <a:pt x="477" y="39"/>
                  </a:lnTo>
                  <a:lnTo>
                    <a:pt x="479" y="40"/>
                  </a:lnTo>
                  <a:lnTo>
                    <a:pt x="481" y="41"/>
                  </a:lnTo>
                  <a:lnTo>
                    <a:pt x="482" y="43"/>
                  </a:lnTo>
                  <a:lnTo>
                    <a:pt x="483" y="44"/>
                  </a:lnTo>
                  <a:lnTo>
                    <a:pt x="484" y="47"/>
                  </a:lnTo>
                  <a:lnTo>
                    <a:pt x="484" y="54"/>
                  </a:lnTo>
                  <a:lnTo>
                    <a:pt x="484" y="89"/>
                  </a:lnTo>
                  <a:lnTo>
                    <a:pt x="503" y="89"/>
                  </a:lnTo>
                  <a:lnTo>
                    <a:pt x="503" y="47"/>
                  </a:lnTo>
                  <a:lnTo>
                    <a:pt x="503" y="42"/>
                  </a:lnTo>
                  <a:lnTo>
                    <a:pt x="502" y="37"/>
                  </a:lnTo>
                  <a:lnTo>
                    <a:pt x="500" y="33"/>
                  </a:lnTo>
                  <a:lnTo>
                    <a:pt x="497" y="29"/>
                  </a:lnTo>
                  <a:lnTo>
                    <a:pt x="494" y="27"/>
                  </a:lnTo>
                  <a:lnTo>
                    <a:pt x="490" y="25"/>
                  </a:lnTo>
                  <a:lnTo>
                    <a:pt x="486" y="23"/>
                  </a:lnTo>
                  <a:lnTo>
                    <a:pt x="481" y="23"/>
                  </a:lnTo>
                  <a:lnTo>
                    <a:pt x="476" y="23"/>
                  </a:lnTo>
                  <a:lnTo>
                    <a:pt x="472" y="25"/>
                  </a:lnTo>
                  <a:lnTo>
                    <a:pt x="468" y="27"/>
                  </a:lnTo>
                  <a:lnTo>
                    <a:pt x="463" y="31"/>
                  </a:lnTo>
                  <a:lnTo>
                    <a:pt x="463" y="25"/>
                  </a:lnTo>
                  <a:lnTo>
                    <a:pt x="445" y="25"/>
                  </a:lnTo>
                  <a:close/>
                  <a:moveTo>
                    <a:pt x="407" y="0"/>
                  </a:moveTo>
                  <a:lnTo>
                    <a:pt x="407" y="59"/>
                  </a:lnTo>
                  <a:lnTo>
                    <a:pt x="407" y="63"/>
                  </a:lnTo>
                  <a:lnTo>
                    <a:pt x="406" y="66"/>
                  </a:lnTo>
                  <a:lnTo>
                    <a:pt x="405" y="68"/>
                  </a:lnTo>
                  <a:lnTo>
                    <a:pt x="404" y="70"/>
                  </a:lnTo>
                  <a:lnTo>
                    <a:pt x="401" y="72"/>
                  </a:lnTo>
                  <a:lnTo>
                    <a:pt x="398" y="73"/>
                  </a:lnTo>
                  <a:lnTo>
                    <a:pt x="395" y="74"/>
                  </a:lnTo>
                  <a:lnTo>
                    <a:pt x="392" y="74"/>
                  </a:lnTo>
                  <a:lnTo>
                    <a:pt x="388" y="74"/>
                  </a:lnTo>
                  <a:lnTo>
                    <a:pt x="385" y="73"/>
                  </a:lnTo>
                  <a:lnTo>
                    <a:pt x="382" y="72"/>
                  </a:lnTo>
                  <a:lnTo>
                    <a:pt x="380" y="70"/>
                  </a:lnTo>
                  <a:lnTo>
                    <a:pt x="378" y="68"/>
                  </a:lnTo>
                  <a:lnTo>
                    <a:pt x="377" y="66"/>
                  </a:lnTo>
                  <a:lnTo>
                    <a:pt x="376" y="63"/>
                  </a:lnTo>
                  <a:lnTo>
                    <a:pt x="376" y="59"/>
                  </a:lnTo>
                  <a:lnTo>
                    <a:pt x="376" y="0"/>
                  </a:lnTo>
                  <a:lnTo>
                    <a:pt x="356" y="0"/>
                  </a:lnTo>
                  <a:lnTo>
                    <a:pt x="356" y="60"/>
                  </a:lnTo>
                  <a:lnTo>
                    <a:pt x="357" y="68"/>
                  </a:lnTo>
                  <a:lnTo>
                    <a:pt x="359" y="74"/>
                  </a:lnTo>
                  <a:lnTo>
                    <a:pt x="360" y="77"/>
                  </a:lnTo>
                  <a:lnTo>
                    <a:pt x="362" y="79"/>
                  </a:lnTo>
                  <a:lnTo>
                    <a:pt x="364" y="81"/>
                  </a:lnTo>
                  <a:lnTo>
                    <a:pt x="366" y="83"/>
                  </a:lnTo>
                  <a:lnTo>
                    <a:pt x="371" y="86"/>
                  </a:lnTo>
                  <a:lnTo>
                    <a:pt x="374" y="88"/>
                  </a:lnTo>
                  <a:lnTo>
                    <a:pt x="378" y="89"/>
                  </a:lnTo>
                  <a:lnTo>
                    <a:pt x="384" y="90"/>
                  </a:lnTo>
                  <a:lnTo>
                    <a:pt x="392" y="91"/>
                  </a:lnTo>
                  <a:lnTo>
                    <a:pt x="399" y="90"/>
                  </a:lnTo>
                  <a:lnTo>
                    <a:pt x="403" y="90"/>
                  </a:lnTo>
                  <a:lnTo>
                    <a:pt x="406" y="89"/>
                  </a:lnTo>
                  <a:lnTo>
                    <a:pt x="412" y="86"/>
                  </a:lnTo>
                  <a:lnTo>
                    <a:pt x="418" y="83"/>
                  </a:lnTo>
                  <a:lnTo>
                    <a:pt x="420" y="81"/>
                  </a:lnTo>
                  <a:lnTo>
                    <a:pt x="422" y="79"/>
                  </a:lnTo>
                  <a:lnTo>
                    <a:pt x="424" y="77"/>
                  </a:lnTo>
                  <a:lnTo>
                    <a:pt x="425" y="74"/>
                  </a:lnTo>
                  <a:lnTo>
                    <a:pt x="427" y="68"/>
                  </a:lnTo>
                  <a:lnTo>
                    <a:pt x="427" y="64"/>
                  </a:lnTo>
                  <a:lnTo>
                    <a:pt x="427" y="60"/>
                  </a:lnTo>
                  <a:lnTo>
                    <a:pt x="427" y="0"/>
                  </a:lnTo>
                  <a:lnTo>
                    <a:pt x="407" y="0"/>
                  </a:lnTo>
                  <a:close/>
                  <a:moveTo>
                    <a:pt x="277" y="38"/>
                  </a:moveTo>
                  <a:lnTo>
                    <a:pt x="281" y="38"/>
                  </a:lnTo>
                  <a:lnTo>
                    <a:pt x="284" y="39"/>
                  </a:lnTo>
                  <a:lnTo>
                    <a:pt x="286" y="41"/>
                  </a:lnTo>
                  <a:lnTo>
                    <a:pt x="289" y="43"/>
                  </a:lnTo>
                  <a:lnTo>
                    <a:pt x="290" y="46"/>
                  </a:lnTo>
                  <a:lnTo>
                    <a:pt x="292" y="49"/>
                  </a:lnTo>
                  <a:lnTo>
                    <a:pt x="292" y="53"/>
                  </a:lnTo>
                  <a:lnTo>
                    <a:pt x="293" y="57"/>
                  </a:lnTo>
                  <a:lnTo>
                    <a:pt x="292" y="61"/>
                  </a:lnTo>
                  <a:lnTo>
                    <a:pt x="292" y="65"/>
                  </a:lnTo>
                  <a:lnTo>
                    <a:pt x="290" y="68"/>
                  </a:lnTo>
                  <a:lnTo>
                    <a:pt x="289" y="71"/>
                  </a:lnTo>
                  <a:lnTo>
                    <a:pt x="288" y="72"/>
                  </a:lnTo>
                  <a:lnTo>
                    <a:pt x="286" y="73"/>
                  </a:lnTo>
                  <a:lnTo>
                    <a:pt x="284" y="74"/>
                  </a:lnTo>
                  <a:lnTo>
                    <a:pt x="281" y="75"/>
                  </a:lnTo>
                  <a:lnTo>
                    <a:pt x="277" y="75"/>
                  </a:lnTo>
                  <a:lnTo>
                    <a:pt x="274" y="75"/>
                  </a:lnTo>
                  <a:lnTo>
                    <a:pt x="271" y="74"/>
                  </a:lnTo>
                  <a:lnTo>
                    <a:pt x="269" y="73"/>
                  </a:lnTo>
                  <a:lnTo>
                    <a:pt x="266" y="71"/>
                  </a:lnTo>
                  <a:lnTo>
                    <a:pt x="265" y="68"/>
                  </a:lnTo>
                  <a:lnTo>
                    <a:pt x="264" y="65"/>
                  </a:lnTo>
                  <a:lnTo>
                    <a:pt x="263" y="61"/>
                  </a:lnTo>
                  <a:lnTo>
                    <a:pt x="263" y="57"/>
                  </a:lnTo>
                  <a:lnTo>
                    <a:pt x="263" y="52"/>
                  </a:lnTo>
                  <a:lnTo>
                    <a:pt x="264" y="49"/>
                  </a:lnTo>
                  <a:lnTo>
                    <a:pt x="265" y="46"/>
                  </a:lnTo>
                  <a:lnTo>
                    <a:pt x="266" y="43"/>
                  </a:lnTo>
                  <a:lnTo>
                    <a:pt x="267" y="42"/>
                  </a:lnTo>
                  <a:lnTo>
                    <a:pt x="269" y="41"/>
                  </a:lnTo>
                  <a:lnTo>
                    <a:pt x="271" y="39"/>
                  </a:lnTo>
                  <a:lnTo>
                    <a:pt x="274" y="38"/>
                  </a:lnTo>
                  <a:lnTo>
                    <a:pt x="277" y="38"/>
                  </a:lnTo>
                  <a:close/>
                  <a:moveTo>
                    <a:pt x="277" y="23"/>
                  </a:moveTo>
                  <a:lnTo>
                    <a:pt x="270" y="24"/>
                  </a:lnTo>
                  <a:lnTo>
                    <a:pt x="264" y="26"/>
                  </a:lnTo>
                  <a:lnTo>
                    <a:pt x="261" y="27"/>
                  </a:lnTo>
                  <a:lnTo>
                    <a:pt x="258" y="29"/>
                  </a:lnTo>
                  <a:lnTo>
                    <a:pt x="253" y="33"/>
                  </a:lnTo>
                  <a:lnTo>
                    <a:pt x="249" y="37"/>
                  </a:lnTo>
                  <a:lnTo>
                    <a:pt x="247" y="40"/>
                  </a:lnTo>
                  <a:lnTo>
                    <a:pt x="246" y="43"/>
                  </a:lnTo>
                  <a:lnTo>
                    <a:pt x="245" y="46"/>
                  </a:lnTo>
                  <a:lnTo>
                    <a:pt x="244" y="50"/>
                  </a:lnTo>
                  <a:lnTo>
                    <a:pt x="244" y="53"/>
                  </a:lnTo>
                  <a:lnTo>
                    <a:pt x="244" y="57"/>
                  </a:lnTo>
                  <a:lnTo>
                    <a:pt x="244" y="64"/>
                  </a:lnTo>
                  <a:lnTo>
                    <a:pt x="246" y="70"/>
                  </a:lnTo>
                  <a:lnTo>
                    <a:pt x="247" y="73"/>
                  </a:lnTo>
                  <a:lnTo>
                    <a:pt x="249" y="76"/>
                  </a:lnTo>
                  <a:lnTo>
                    <a:pt x="253" y="81"/>
                  </a:lnTo>
                  <a:lnTo>
                    <a:pt x="258" y="85"/>
                  </a:lnTo>
                  <a:lnTo>
                    <a:pt x="261" y="87"/>
                  </a:lnTo>
                  <a:lnTo>
                    <a:pt x="264" y="88"/>
                  </a:lnTo>
                  <a:lnTo>
                    <a:pt x="267" y="89"/>
                  </a:lnTo>
                  <a:lnTo>
                    <a:pt x="270" y="90"/>
                  </a:lnTo>
                  <a:lnTo>
                    <a:pt x="277" y="90"/>
                  </a:lnTo>
                  <a:lnTo>
                    <a:pt x="285" y="90"/>
                  </a:lnTo>
                  <a:lnTo>
                    <a:pt x="291" y="88"/>
                  </a:lnTo>
                  <a:lnTo>
                    <a:pt x="294" y="87"/>
                  </a:lnTo>
                  <a:lnTo>
                    <a:pt x="297" y="85"/>
                  </a:lnTo>
                  <a:lnTo>
                    <a:pt x="302" y="81"/>
                  </a:lnTo>
                  <a:lnTo>
                    <a:pt x="306" y="76"/>
                  </a:lnTo>
                  <a:lnTo>
                    <a:pt x="308" y="73"/>
                  </a:lnTo>
                  <a:lnTo>
                    <a:pt x="309" y="71"/>
                  </a:lnTo>
                  <a:lnTo>
                    <a:pt x="311" y="64"/>
                  </a:lnTo>
                  <a:lnTo>
                    <a:pt x="311" y="61"/>
                  </a:lnTo>
                  <a:lnTo>
                    <a:pt x="311" y="57"/>
                  </a:lnTo>
                  <a:lnTo>
                    <a:pt x="311" y="53"/>
                  </a:lnTo>
                  <a:lnTo>
                    <a:pt x="311" y="50"/>
                  </a:lnTo>
                  <a:lnTo>
                    <a:pt x="309" y="43"/>
                  </a:lnTo>
                  <a:lnTo>
                    <a:pt x="308" y="40"/>
                  </a:lnTo>
                  <a:lnTo>
                    <a:pt x="306" y="37"/>
                  </a:lnTo>
                  <a:lnTo>
                    <a:pt x="302" y="33"/>
                  </a:lnTo>
                  <a:lnTo>
                    <a:pt x="297" y="29"/>
                  </a:lnTo>
                  <a:lnTo>
                    <a:pt x="294" y="27"/>
                  </a:lnTo>
                  <a:lnTo>
                    <a:pt x="291" y="26"/>
                  </a:lnTo>
                  <a:lnTo>
                    <a:pt x="288" y="24"/>
                  </a:lnTo>
                  <a:lnTo>
                    <a:pt x="285" y="24"/>
                  </a:lnTo>
                  <a:lnTo>
                    <a:pt x="277" y="23"/>
                  </a:lnTo>
                  <a:close/>
                  <a:moveTo>
                    <a:pt x="235" y="26"/>
                  </a:moveTo>
                  <a:lnTo>
                    <a:pt x="224" y="26"/>
                  </a:lnTo>
                  <a:lnTo>
                    <a:pt x="224" y="5"/>
                  </a:lnTo>
                  <a:lnTo>
                    <a:pt x="205" y="5"/>
                  </a:lnTo>
                  <a:lnTo>
                    <a:pt x="205" y="26"/>
                  </a:lnTo>
                  <a:lnTo>
                    <a:pt x="196" y="26"/>
                  </a:lnTo>
                  <a:lnTo>
                    <a:pt x="196" y="39"/>
                  </a:lnTo>
                  <a:lnTo>
                    <a:pt x="205" y="39"/>
                  </a:lnTo>
                  <a:lnTo>
                    <a:pt x="205" y="68"/>
                  </a:lnTo>
                  <a:lnTo>
                    <a:pt x="205" y="74"/>
                  </a:lnTo>
                  <a:lnTo>
                    <a:pt x="206" y="79"/>
                  </a:lnTo>
                  <a:lnTo>
                    <a:pt x="207" y="82"/>
                  </a:lnTo>
                  <a:lnTo>
                    <a:pt x="209" y="84"/>
                  </a:lnTo>
                  <a:lnTo>
                    <a:pt x="211" y="86"/>
                  </a:lnTo>
                  <a:lnTo>
                    <a:pt x="214" y="88"/>
                  </a:lnTo>
                  <a:lnTo>
                    <a:pt x="218" y="88"/>
                  </a:lnTo>
                  <a:lnTo>
                    <a:pt x="224" y="89"/>
                  </a:lnTo>
                  <a:lnTo>
                    <a:pt x="235" y="89"/>
                  </a:lnTo>
                  <a:lnTo>
                    <a:pt x="235" y="75"/>
                  </a:lnTo>
                  <a:lnTo>
                    <a:pt x="228" y="75"/>
                  </a:lnTo>
                  <a:lnTo>
                    <a:pt x="226" y="74"/>
                  </a:lnTo>
                  <a:lnTo>
                    <a:pt x="225" y="74"/>
                  </a:lnTo>
                  <a:lnTo>
                    <a:pt x="224" y="73"/>
                  </a:lnTo>
                  <a:lnTo>
                    <a:pt x="224" y="70"/>
                  </a:lnTo>
                  <a:lnTo>
                    <a:pt x="224" y="64"/>
                  </a:lnTo>
                  <a:lnTo>
                    <a:pt x="224" y="39"/>
                  </a:lnTo>
                  <a:lnTo>
                    <a:pt x="235" y="39"/>
                  </a:lnTo>
                  <a:lnTo>
                    <a:pt x="235" y="26"/>
                  </a:lnTo>
                  <a:close/>
                  <a:moveTo>
                    <a:pt x="184" y="0"/>
                  </a:moveTo>
                  <a:lnTo>
                    <a:pt x="166" y="0"/>
                  </a:lnTo>
                  <a:lnTo>
                    <a:pt x="166" y="89"/>
                  </a:lnTo>
                  <a:lnTo>
                    <a:pt x="184" y="89"/>
                  </a:lnTo>
                  <a:lnTo>
                    <a:pt x="184" y="0"/>
                  </a:lnTo>
                  <a:close/>
                  <a:moveTo>
                    <a:pt x="131" y="68"/>
                  </a:moveTo>
                  <a:lnTo>
                    <a:pt x="129" y="72"/>
                  </a:lnTo>
                  <a:lnTo>
                    <a:pt x="126" y="74"/>
                  </a:lnTo>
                  <a:lnTo>
                    <a:pt x="122" y="76"/>
                  </a:lnTo>
                  <a:lnTo>
                    <a:pt x="117" y="76"/>
                  </a:lnTo>
                  <a:lnTo>
                    <a:pt x="114" y="76"/>
                  </a:lnTo>
                  <a:lnTo>
                    <a:pt x="111" y="74"/>
                  </a:lnTo>
                  <a:lnTo>
                    <a:pt x="109" y="72"/>
                  </a:lnTo>
                  <a:lnTo>
                    <a:pt x="108" y="71"/>
                  </a:lnTo>
                  <a:lnTo>
                    <a:pt x="108" y="69"/>
                  </a:lnTo>
                  <a:lnTo>
                    <a:pt x="109" y="67"/>
                  </a:lnTo>
                  <a:lnTo>
                    <a:pt x="110" y="65"/>
                  </a:lnTo>
                  <a:lnTo>
                    <a:pt x="113" y="63"/>
                  </a:lnTo>
                  <a:lnTo>
                    <a:pt x="118" y="62"/>
                  </a:lnTo>
                  <a:lnTo>
                    <a:pt x="124" y="60"/>
                  </a:lnTo>
                  <a:lnTo>
                    <a:pt x="131" y="58"/>
                  </a:lnTo>
                  <a:lnTo>
                    <a:pt x="131" y="68"/>
                  </a:lnTo>
                  <a:close/>
                  <a:moveTo>
                    <a:pt x="110" y="45"/>
                  </a:moveTo>
                  <a:lnTo>
                    <a:pt x="110" y="43"/>
                  </a:lnTo>
                  <a:lnTo>
                    <a:pt x="111" y="42"/>
                  </a:lnTo>
                  <a:lnTo>
                    <a:pt x="112" y="40"/>
                  </a:lnTo>
                  <a:lnTo>
                    <a:pt x="113" y="39"/>
                  </a:lnTo>
                  <a:lnTo>
                    <a:pt x="116" y="38"/>
                  </a:lnTo>
                  <a:lnTo>
                    <a:pt x="121" y="37"/>
                  </a:lnTo>
                  <a:lnTo>
                    <a:pt x="125" y="38"/>
                  </a:lnTo>
                  <a:lnTo>
                    <a:pt x="128" y="39"/>
                  </a:lnTo>
                  <a:lnTo>
                    <a:pt x="130" y="41"/>
                  </a:lnTo>
                  <a:lnTo>
                    <a:pt x="131" y="42"/>
                  </a:lnTo>
                  <a:lnTo>
                    <a:pt x="131" y="43"/>
                  </a:lnTo>
                  <a:lnTo>
                    <a:pt x="130" y="45"/>
                  </a:lnTo>
                  <a:lnTo>
                    <a:pt x="129" y="46"/>
                  </a:lnTo>
                  <a:lnTo>
                    <a:pt x="128" y="47"/>
                  </a:lnTo>
                  <a:lnTo>
                    <a:pt x="125" y="48"/>
                  </a:lnTo>
                  <a:lnTo>
                    <a:pt x="115" y="49"/>
                  </a:lnTo>
                  <a:lnTo>
                    <a:pt x="109" y="51"/>
                  </a:lnTo>
                  <a:lnTo>
                    <a:pt x="103" y="52"/>
                  </a:lnTo>
                  <a:lnTo>
                    <a:pt x="99" y="54"/>
                  </a:lnTo>
                  <a:lnTo>
                    <a:pt x="95" y="56"/>
                  </a:lnTo>
                  <a:lnTo>
                    <a:pt x="93" y="59"/>
                  </a:lnTo>
                  <a:lnTo>
                    <a:pt x="92" y="61"/>
                  </a:lnTo>
                  <a:lnTo>
                    <a:pt x="91" y="62"/>
                  </a:lnTo>
                  <a:lnTo>
                    <a:pt x="90" y="66"/>
                  </a:lnTo>
                  <a:lnTo>
                    <a:pt x="89" y="70"/>
                  </a:lnTo>
                  <a:lnTo>
                    <a:pt x="90" y="75"/>
                  </a:lnTo>
                  <a:lnTo>
                    <a:pt x="91" y="79"/>
                  </a:lnTo>
                  <a:lnTo>
                    <a:pt x="93" y="82"/>
                  </a:lnTo>
                  <a:lnTo>
                    <a:pt x="96" y="85"/>
                  </a:lnTo>
                  <a:lnTo>
                    <a:pt x="97" y="86"/>
                  </a:lnTo>
                  <a:lnTo>
                    <a:pt x="99" y="87"/>
                  </a:lnTo>
                  <a:lnTo>
                    <a:pt x="103" y="89"/>
                  </a:lnTo>
                  <a:lnTo>
                    <a:pt x="108" y="90"/>
                  </a:lnTo>
                  <a:lnTo>
                    <a:pt x="113" y="90"/>
                  </a:lnTo>
                  <a:lnTo>
                    <a:pt x="118" y="90"/>
                  </a:lnTo>
                  <a:lnTo>
                    <a:pt x="123" y="89"/>
                  </a:lnTo>
                  <a:lnTo>
                    <a:pt x="127" y="87"/>
                  </a:lnTo>
                  <a:lnTo>
                    <a:pt x="131" y="84"/>
                  </a:lnTo>
                  <a:lnTo>
                    <a:pt x="133" y="89"/>
                  </a:lnTo>
                  <a:lnTo>
                    <a:pt x="152" y="89"/>
                  </a:lnTo>
                  <a:lnTo>
                    <a:pt x="151" y="87"/>
                  </a:lnTo>
                  <a:lnTo>
                    <a:pt x="150" y="85"/>
                  </a:lnTo>
                  <a:lnTo>
                    <a:pt x="149" y="78"/>
                  </a:lnTo>
                  <a:lnTo>
                    <a:pt x="149" y="48"/>
                  </a:lnTo>
                  <a:lnTo>
                    <a:pt x="149" y="42"/>
                  </a:lnTo>
                  <a:lnTo>
                    <a:pt x="148" y="37"/>
                  </a:lnTo>
                  <a:lnTo>
                    <a:pt x="146" y="33"/>
                  </a:lnTo>
                  <a:lnTo>
                    <a:pt x="145" y="31"/>
                  </a:lnTo>
                  <a:lnTo>
                    <a:pt x="143" y="30"/>
                  </a:lnTo>
                  <a:lnTo>
                    <a:pt x="139" y="27"/>
                  </a:lnTo>
                  <a:lnTo>
                    <a:pt x="134" y="25"/>
                  </a:lnTo>
                  <a:lnTo>
                    <a:pt x="128" y="23"/>
                  </a:lnTo>
                  <a:lnTo>
                    <a:pt x="121" y="23"/>
                  </a:lnTo>
                  <a:lnTo>
                    <a:pt x="115" y="23"/>
                  </a:lnTo>
                  <a:lnTo>
                    <a:pt x="109" y="24"/>
                  </a:lnTo>
                  <a:lnTo>
                    <a:pt x="104" y="26"/>
                  </a:lnTo>
                  <a:lnTo>
                    <a:pt x="101" y="28"/>
                  </a:lnTo>
                  <a:lnTo>
                    <a:pt x="97" y="31"/>
                  </a:lnTo>
                  <a:lnTo>
                    <a:pt x="95" y="35"/>
                  </a:lnTo>
                  <a:lnTo>
                    <a:pt x="94" y="37"/>
                  </a:lnTo>
                  <a:lnTo>
                    <a:pt x="94" y="40"/>
                  </a:lnTo>
                  <a:lnTo>
                    <a:pt x="93" y="42"/>
                  </a:lnTo>
                  <a:lnTo>
                    <a:pt x="93" y="45"/>
                  </a:lnTo>
                  <a:lnTo>
                    <a:pt x="110" y="45"/>
                  </a:lnTo>
                  <a:close/>
                  <a:moveTo>
                    <a:pt x="52" y="55"/>
                  </a:moveTo>
                  <a:lnTo>
                    <a:pt x="32" y="55"/>
                  </a:lnTo>
                  <a:lnTo>
                    <a:pt x="43" y="20"/>
                  </a:lnTo>
                  <a:lnTo>
                    <a:pt x="52" y="55"/>
                  </a:lnTo>
                  <a:close/>
                  <a:moveTo>
                    <a:pt x="57" y="71"/>
                  </a:moveTo>
                  <a:lnTo>
                    <a:pt x="61" y="89"/>
                  </a:lnTo>
                  <a:lnTo>
                    <a:pt x="84" y="89"/>
                  </a:lnTo>
                  <a:lnTo>
                    <a:pt x="56" y="0"/>
                  </a:lnTo>
                  <a:lnTo>
                    <a:pt x="31" y="0"/>
                  </a:lnTo>
                  <a:lnTo>
                    <a:pt x="0" y="89"/>
                  </a:lnTo>
                  <a:lnTo>
                    <a:pt x="22" y="89"/>
                  </a:lnTo>
                  <a:lnTo>
                    <a:pt x="27" y="71"/>
                  </a:lnTo>
                  <a:lnTo>
                    <a:pt x="57"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21" name="Freeform 7"/>
            <p:cNvSpPr>
              <a:spLocks noEditPoints="1"/>
            </p:cNvSpPr>
            <p:nvPr userDrawn="1"/>
          </p:nvSpPr>
          <p:spPr bwMode="auto">
            <a:xfrm>
              <a:off x="5756275" y="325438"/>
              <a:ext cx="1941513" cy="142875"/>
            </a:xfrm>
            <a:custGeom>
              <a:avLst/>
              <a:gdLst>
                <a:gd name="T0" fmla="*/ 1197 w 1223"/>
                <a:gd name="T1" fmla="*/ 38 h 90"/>
                <a:gd name="T2" fmla="*/ 1220 w 1223"/>
                <a:gd name="T3" fmla="*/ 32 h 90"/>
                <a:gd name="T4" fmla="*/ 1120 w 1223"/>
                <a:gd name="T5" fmla="*/ 37 h 90"/>
                <a:gd name="T6" fmla="*/ 1131 w 1223"/>
                <a:gd name="T7" fmla="*/ 70 h 90"/>
                <a:gd name="T8" fmla="*/ 1105 w 1223"/>
                <a:gd name="T9" fmla="*/ 60 h 90"/>
                <a:gd name="T10" fmla="*/ 1112 w 1223"/>
                <a:gd name="T11" fmla="*/ 23 h 90"/>
                <a:gd name="T12" fmla="*/ 1088 w 1223"/>
                <a:gd name="T13" fmla="*/ 70 h 90"/>
                <a:gd name="T14" fmla="*/ 1136 w 1223"/>
                <a:gd name="T15" fmla="*/ 86 h 90"/>
                <a:gd name="T16" fmla="*/ 1150 w 1223"/>
                <a:gd name="T17" fmla="*/ 40 h 90"/>
                <a:gd name="T18" fmla="*/ 1074 w 1223"/>
                <a:gd name="T19" fmla="*/ 15 h 90"/>
                <a:gd name="T20" fmla="*/ 1002 w 1223"/>
                <a:gd name="T21" fmla="*/ 25 h 90"/>
                <a:gd name="T22" fmla="*/ 1041 w 1223"/>
                <a:gd name="T23" fmla="*/ 88 h 90"/>
                <a:gd name="T24" fmla="*/ 967 w 1223"/>
                <a:gd name="T25" fmla="*/ 74 h 90"/>
                <a:gd name="T26" fmla="*/ 966 w 1223"/>
                <a:gd name="T27" fmla="*/ 60 h 90"/>
                <a:gd name="T28" fmla="*/ 971 w 1223"/>
                <a:gd name="T29" fmla="*/ 40 h 90"/>
                <a:gd name="T30" fmla="*/ 934 w 1223"/>
                <a:gd name="T31" fmla="*/ 59 h 90"/>
                <a:gd name="T32" fmla="*/ 954 w 1223"/>
                <a:gd name="T33" fmla="*/ 90 h 90"/>
                <a:gd name="T34" fmla="*/ 990 w 1223"/>
                <a:gd name="T35" fmla="*/ 36 h 90"/>
                <a:gd name="T36" fmla="*/ 939 w 1223"/>
                <a:gd name="T37" fmla="*/ 31 h 90"/>
                <a:gd name="T38" fmla="*/ 907 w 1223"/>
                <a:gd name="T39" fmla="*/ 26 h 90"/>
                <a:gd name="T40" fmla="*/ 859 w 1223"/>
                <a:gd name="T41" fmla="*/ 49 h 90"/>
                <a:gd name="T42" fmla="*/ 891 w 1223"/>
                <a:gd name="T43" fmla="*/ 90 h 90"/>
                <a:gd name="T44" fmla="*/ 899 w 1223"/>
                <a:gd name="T45" fmla="*/ 72 h 90"/>
                <a:gd name="T46" fmla="*/ 878 w 1223"/>
                <a:gd name="T47" fmla="*/ 56 h 90"/>
                <a:gd name="T48" fmla="*/ 900 w 1223"/>
                <a:gd name="T49" fmla="*/ 42 h 90"/>
                <a:gd name="T50" fmla="*/ 823 w 1223"/>
                <a:gd name="T51" fmla="*/ 73 h 90"/>
                <a:gd name="T52" fmla="*/ 790 w 1223"/>
                <a:gd name="T53" fmla="*/ 71 h 90"/>
                <a:gd name="T54" fmla="*/ 828 w 1223"/>
                <a:gd name="T55" fmla="*/ 83 h 90"/>
                <a:gd name="T56" fmla="*/ 756 w 1223"/>
                <a:gd name="T57" fmla="*/ 52 h 90"/>
                <a:gd name="T58" fmla="*/ 735 w 1223"/>
                <a:gd name="T59" fmla="*/ 72 h 90"/>
                <a:gd name="T60" fmla="*/ 740 w 1223"/>
                <a:gd name="T61" fmla="*/ 38 h 90"/>
                <a:gd name="T62" fmla="*/ 719 w 1223"/>
                <a:gd name="T63" fmla="*/ 32 h 90"/>
                <a:gd name="T64" fmla="*/ 723 w 1223"/>
                <a:gd name="T65" fmla="*/ 85 h 90"/>
                <a:gd name="T66" fmla="*/ 757 w 1223"/>
                <a:gd name="T67" fmla="*/ 88 h 90"/>
                <a:gd name="T68" fmla="*/ 655 w 1223"/>
                <a:gd name="T69" fmla="*/ 34 h 90"/>
                <a:gd name="T70" fmla="*/ 556 w 1223"/>
                <a:gd name="T71" fmla="*/ 38 h 90"/>
                <a:gd name="T72" fmla="*/ 580 w 1223"/>
                <a:gd name="T73" fmla="*/ 41 h 90"/>
                <a:gd name="T74" fmla="*/ 533 w 1223"/>
                <a:gd name="T75" fmla="*/ 28 h 90"/>
                <a:gd name="T76" fmla="*/ 528 w 1223"/>
                <a:gd name="T77" fmla="*/ 81 h 90"/>
                <a:gd name="T78" fmla="*/ 577 w 1223"/>
                <a:gd name="T79" fmla="*/ 80 h 90"/>
                <a:gd name="T80" fmla="*/ 543 w 1223"/>
                <a:gd name="T81" fmla="*/ 72 h 90"/>
                <a:gd name="T82" fmla="*/ 471 w 1223"/>
                <a:gd name="T83" fmla="*/ 24 h 90"/>
                <a:gd name="T84" fmla="*/ 440 w 1223"/>
                <a:gd name="T85" fmla="*/ 88 h 90"/>
                <a:gd name="T86" fmla="*/ 376 w 1223"/>
                <a:gd name="T87" fmla="*/ 78 h 90"/>
                <a:gd name="T88" fmla="*/ 394 w 1223"/>
                <a:gd name="T89" fmla="*/ 69 h 90"/>
                <a:gd name="T90" fmla="*/ 329 w 1223"/>
                <a:gd name="T91" fmla="*/ 73 h 90"/>
                <a:gd name="T92" fmla="*/ 295 w 1223"/>
                <a:gd name="T93" fmla="*/ 71 h 90"/>
                <a:gd name="T94" fmla="*/ 333 w 1223"/>
                <a:gd name="T95" fmla="*/ 83 h 90"/>
                <a:gd name="T96" fmla="*/ 259 w 1223"/>
                <a:gd name="T97" fmla="*/ 23 h 90"/>
                <a:gd name="T98" fmla="*/ 221 w 1223"/>
                <a:gd name="T99" fmla="*/ 64 h 90"/>
                <a:gd name="T100" fmla="*/ 264 w 1223"/>
                <a:gd name="T101" fmla="*/ 88 h 90"/>
                <a:gd name="T102" fmla="*/ 257 w 1223"/>
                <a:gd name="T103" fmla="*/ 74 h 90"/>
                <a:gd name="T104" fmla="*/ 240 w 1223"/>
                <a:gd name="T105" fmla="*/ 50 h 90"/>
                <a:gd name="T106" fmla="*/ 264 w 1223"/>
                <a:gd name="T107" fmla="*/ 47 h 90"/>
                <a:gd name="T108" fmla="*/ 186 w 1223"/>
                <a:gd name="T109" fmla="*/ 40 h 90"/>
                <a:gd name="T110" fmla="*/ 202 w 1223"/>
                <a:gd name="T111" fmla="*/ 33 h 90"/>
                <a:gd name="T112" fmla="*/ 152 w 1223"/>
                <a:gd name="T113" fmla="*/ 34 h 90"/>
                <a:gd name="T114" fmla="*/ 165 w 1223"/>
                <a:gd name="T115" fmla="*/ 87 h 90"/>
                <a:gd name="T116" fmla="*/ 207 w 1223"/>
                <a:gd name="T117" fmla="*/ 74 h 90"/>
                <a:gd name="T118" fmla="*/ 166 w 1223"/>
                <a:gd name="T119" fmla="*/ 67 h 90"/>
                <a:gd name="T120" fmla="*/ 96 w 1223"/>
                <a:gd name="T121" fmla="*/ 88 h 90"/>
                <a:gd name="T122" fmla="*/ 60 w 1223"/>
                <a:gd name="T123" fmla="*/ 5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3" h="90">
                  <a:moveTo>
                    <a:pt x="1165" y="24"/>
                  </a:moveTo>
                  <a:lnTo>
                    <a:pt x="1165" y="88"/>
                  </a:lnTo>
                  <a:lnTo>
                    <a:pt x="1184" y="88"/>
                  </a:lnTo>
                  <a:lnTo>
                    <a:pt x="1184" y="52"/>
                  </a:lnTo>
                  <a:lnTo>
                    <a:pt x="1184" y="46"/>
                  </a:lnTo>
                  <a:lnTo>
                    <a:pt x="1185" y="44"/>
                  </a:lnTo>
                  <a:lnTo>
                    <a:pt x="1187" y="42"/>
                  </a:lnTo>
                  <a:lnTo>
                    <a:pt x="1188" y="40"/>
                  </a:lnTo>
                  <a:lnTo>
                    <a:pt x="1190" y="39"/>
                  </a:lnTo>
                  <a:lnTo>
                    <a:pt x="1192" y="38"/>
                  </a:lnTo>
                  <a:lnTo>
                    <a:pt x="1195" y="38"/>
                  </a:lnTo>
                  <a:lnTo>
                    <a:pt x="1197" y="38"/>
                  </a:lnTo>
                  <a:lnTo>
                    <a:pt x="1199" y="39"/>
                  </a:lnTo>
                  <a:lnTo>
                    <a:pt x="1201" y="40"/>
                  </a:lnTo>
                  <a:lnTo>
                    <a:pt x="1202" y="42"/>
                  </a:lnTo>
                  <a:lnTo>
                    <a:pt x="1203" y="44"/>
                  </a:lnTo>
                  <a:lnTo>
                    <a:pt x="1204" y="46"/>
                  </a:lnTo>
                  <a:lnTo>
                    <a:pt x="1204" y="53"/>
                  </a:lnTo>
                  <a:lnTo>
                    <a:pt x="1204" y="88"/>
                  </a:lnTo>
                  <a:lnTo>
                    <a:pt x="1223" y="88"/>
                  </a:lnTo>
                  <a:lnTo>
                    <a:pt x="1223" y="47"/>
                  </a:lnTo>
                  <a:lnTo>
                    <a:pt x="1223" y="41"/>
                  </a:lnTo>
                  <a:lnTo>
                    <a:pt x="1222" y="37"/>
                  </a:lnTo>
                  <a:lnTo>
                    <a:pt x="1220" y="32"/>
                  </a:lnTo>
                  <a:lnTo>
                    <a:pt x="1217" y="29"/>
                  </a:lnTo>
                  <a:lnTo>
                    <a:pt x="1214" y="26"/>
                  </a:lnTo>
                  <a:lnTo>
                    <a:pt x="1210" y="24"/>
                  </a:lnTo>
                  <a:lnTo>
                    <a:pt x="1206" y="23"/>
                  </a:lnTo>
                  <a:lnTo>
                    <a:pt x="1201" y="22"/>
                  </a:lnTo>
                  <a:lnTo>
                    <a:pt x="1196" y="23"/>
                  </a:lnTo>
                  <a:lnTo>
                    <a:pt x="1192" y="24"/>
                  </a:lnTo>
                  <a:lnTo>
                    <a:pt x="1188" y="27"/>
                  </a:lnTo>
                  <a:lnTo>
                    <a:pt x="1183" y="30"/>
                  </a:lnTo>
                  <a:lnTo>
                    <a:pt x="1183" y="24"/>
                  </a:lnTo>
                  <a:lnTo>
                    <a:pt x="1165" y="24"/>
                  </a:lnTo>
                  <a:close/>
                  <a:moveTo>
                    <a:pt x="1120" y="37"/>
                  </a:moveTo>
                  <a:lnTo>
                    <a:pt x="1123" y="38"/>
                  </a:lnTo>
                  <a:lnTo>
                    <a:pt x="1126" y="39"/>
                  </a:lnTo>
                  <a:lnTo>
                    <a:pt x="1129" y="40"/>
                  </a:lnTo>
                  <a:lnTo>
                    <a:pt x="1131" y="42"/>
                  </a:lnTo>
                  <a:lnTo>
                    <a:pt x="1132" y="45"/>
                  </a:lnTo>
                  <a:lnTo>
                    <a:pt x="1134" y="48"/>
                  </a:lnTo>
                  <a:lnTo>
                    <a:pt x="1134" y="52"/>
                  </a:lnTo>
                  <a:lnTo>
                    <a:pt x="1135" y="57"/>
                  </a:lnTo>
                  <a:lnTo>
                    <a:pt x="1134" y="61"/>
                  </a:lnTo>
                  <a:lnTo>
                    <a:pt x="1134" y="64"/>
                  </a:lnTo>
                  <a:lnTo>
                    <a:pt x="1132" y="67"/>
                  </a:lnTo>
                  <a:lnTo>
                    <a:pt x="1131" y="70"/>
                  </a:lnTo>
                  <a:lnTo>
                    <a:pt x="1130" y="71"/>
                  </a:lnTo>
                  <a:lnTo>
                    <a:pt x="1129" y="72"/>
                  </a:lnTo>
                  <a:lnTo>
                    <a:pt x="1126" y="74"/>
                  </a:lnTo>
                  <a:lnTo>
                    <a:pt x="1123" y="75"/>
                  </a:lnTo>
                  <a:lnTo>
                    <a:pt x="1120" y="75"/>
                  </a:lnTo>
                  <a:lnTo>
                    <a:pt x="1116" y="75"/>
                  </a:lnTo>
                  <a:lnTo>
                    <a:pt x="1113" y="74"/>
                  </a:lnTo>
                  <a:lnTo>
                    <a:pt x="1111" y="72"/>
                  </a:lnTo>
                  <a:lnTo>
                    <a:pt x="1109" y="70"/>
                  </a:lnTo>
                  <a:lnTo>
                    <a:pt x="1107" y="67"/>
                  </a:lnTo>
                  <a:lnTo>
                    <a:pt x="1106" y="64"/>
                  </a:lnTo>
                  <a:lnTo>
                    <a:pt x="1105" y="60"/>
                  </a:lnTo>
                  <a:lnTo>
                    <a:pt x="1105" y="56"/>
                  </a:lnTo>
                  <a:lnTo>
                    <a:pt x="1105" y="52"/>
                  </a:lnTo>
                  <a:lnTo>
                    <a:pt x="1106" y="48"/>
                  </a:lnTo>
                  <a:lnTo>
                    <a:pt x="1107" y="45"/>
                  </a:lnTo>
                  <a:lnTo>
                    <a:pt x="1109" y="42"/>
                  </a:lnTo>
                  <a:lnTo>
                    <a:pt x="1110" y="41"/>
                  </a:lnTo>
                  <a:lnTo>
                    <a:pt x="1111" y="40"/>
                  </a:lnTo>
                  <a:lnTo>
                    <a:pt x="1113" y="39"/>
                  </a:lnTo>
                  <a:lnTo>
                    <a:pt x="1116" y="38"/>
                  </a:lnTo>
                  <a:lnTo>
                    <a:pt x="1120" y="37"/>
                  </a:lnTo>
                  <a:close/>
                  <a:moveTo>
                    <a:pt x="1120" y="23"/>
                  </a:moveTo>
                  <a:lnTo>
                    <a:pt x="1112" y="23"/>
                  </a:lnTo>
                  <a:lnTo>
                    <a:pt x="1106" y="25"/>
                  </a:lnTo>
                  <a:lnTo>
                    <a:pt x="1103" y="26"/>
                  </a:lnTo>
                  <a:lnTo>
                    <a:pt x="1100" y="28"/>
                  </a:lnTo>
                  <a:lnTo>
                    <a:pt x="1095" y="32"/>
                  </a:lnTo>
                  <a:lnTo>
                    <a:pt x="1091" y="37"/>
                  </a:lnTo>
                  <a:lnTo>
                    <a:pt x="1090" y="40"/>
                  </a:lnTo>
                  <a:lnTo>
                    <a:pt x="1088" y="43"/>
                  </a:lnTo>
                  <a:lnTo>
                    <a:pt x="1087" y="46"/>
                  </a:lnTo>
                  <a:lnTo>
                    <a:pt x="1086" y="49"/>
                  </a:lnTo>
                  <a:lnTo>
                    <a:pt x="1086" y="56"/>
                  </a:lnTo>
                  <a:lnTo>
                    <a:pt x="1086" y="63"/>
                  </a:lnTo>
                  <a:lnTo>
                    <a:pt x="1088" y="70"/>
                  </a:lnTo>
                  <a:lnTo>
                    <a:pt x="1090" y="73"/>
                  </a:lnTo>
                  <a:lnTo>
                    <a:pt x="1091" y="76"/>
                  </a:lnTo>
                  <a:lnTo>
                    <a:pt x="1095" y="80"/>
                  </a:lnTo>
                  <a:lnTo>
                    <a:pt x="1100" y="84"/>
                  </a:lnTo>
                  <a:lnTo>
                    <a:pt x="1103" y="86"/>
                  </a:lnTo>
                  <a:lnTo>
                    <a:pt x="1106" y="87"/>
                  </a:lnTo>
                  <a:lnTo>
                    <a:pt x="1109" y="88"/>
                  </a:lnTo>
                  <a:lnTo>
                    <a:pt x="1112" y="89"/>
                  </a:lnTo>
                  <a:lnTo>
                    <a:pt x="1120" y="90"/>
                  </a:lnTo>
                  <a:lnTo>
                    <a:pt x="1127" y="89"/>
                  </a:lnTo>
                  <a:lnTo>
                    <a:pt x="1133" y="87"/>
                  </a:lnTo>
                  <a:lnTo>
                    <a:pt x="1136" y="86"/>
                  </a:lnTo>
                  <a:lnTo>
                    <a:pt x="1139" y="84"/>
                  </a:lnTo>
                  <a:lnTo>
                    <a:pt x="1144" y="80"/>
                  </a:lnTo>
                  <a:lnTo>
                    <a:pt x="1148" y="76"/>
                  </a:lnTo>
                  <a:lnTo>
                    <a:pt x="1150" y="73"/>
                  </a:lnTo>
                  <a:lnTo>
                    <a:pt x="1151" y="70"/>
                  </a:lnTo>
                  <a:lnTo>
                    <a:pt x="1153" y="64"/>
                  </a:lnTo>
                  <a:lnTo>
                    <a:pt x="1153" y="60"/>
                  </a:lnTo>
                  <a:lnTo>
                    <a:pt x="1154" y="57"/>
                  </a:lnTo>
                  <a:lnTo>
                    <a:pt x="1153" y="53"/>
                  </a:lnTo>
                  <a:lnTo>
                    <a:pt x="1153" y="49"/>
                  </a:lnTo>
                  <a:lnTo>
                    <a:pt x="1151" y="43"/>
                  </a:lnTo>
                  <a:lnTo>
                    <a:pt x="1150" y="40"/>
                  </a:lnTo>
                  <a:lnTo>
                    <a:pt x="1148" y="37"/>
                  </a:lnTo>
                  <a:lnTo>
                    <a:pt x="1144" y="32"/>
                  </a:lnTo>
                  <a:lnTo>
                    <a:pt x="1139" y="28"/>
                  </a:lnTo>
                  <a:lnTo>
                    <a:pt x="1136" y="26"/>
                  </a:lnTo>
                  <a:lnTo>
                    <a:pt x="1133" y="25"/>
                  </a:lnTo>
                  <a:lnTo>
                    <a:pt x="1130" y="24"/>
                  </a:lnTo>
                  <a:lnTo>
                    <a:pt x="1127" y="23"/>
                  </a:lnTo>
                  <a:lnTo>
                    <a:pt x="1120" y="23"/>
                  </a:lnTo>
                  <a:close/>
                  <a:moveTo>
                    <a:pt x="1074" y="0"/>
                  </a:moveTo>
                  <a:lnTo>
                    <a:pt x="1056" y="0"/>
                  </a:lnTo>
                  <a:lnTo>
                    <a:pt x="1056" y="15"/>
                  </a:lnTo>
                  <a:lnTo>
                    <a:pt x="1074" y="15"/>
                  </a:lnTo>
                  <a:lnTo>
                    <a:pt x="1074" y="0"/>
                  </a:lnTo>
                  <a:close/>
                  <a:moveTo>
                    <a:pt x="1074" y="24"/>
                  </a:moveTo>
                  <a:lnTo>
                    <a:pt x="1056" y="24"/>
                  </a:lnTo>
                  <a:lnTo>
                    <a:pt x="1056" y="88"/>
                  </a:lnTo>
                  <a:lnTo>
                    <a:pt x="1074" y="88"/>
                  </a:lnTo>
                  <a:lnTo>
                    <a:pt x="1074" y="24"/>
                  </a:lnTo>
                  <a:close/>
                  <a:moveTo>
                    <a:pt x="1041" y="25"/>
                  </a:moveTo>
                  <a:lnTo>
                    <a:pt x="1029" y="25"/>
                  </a:lnTo>
                  <a:lnTo>
                    <a:pt x="1029" y="5"/>
                  </a:lnTo>
                  <a:lnTo>
                    <a:pt x="1011" y="5"/>
                  </a:lnTo>
                  <a:lnTo>
                    <a:pt x="1011" y="25"/>
                  </a:lnTo>
                  <a:lnTo>
                    <a:pt x="1002" y="25"/>
                  </a:lnTo>
                  <a:lnTo>
                    <a:pt x="1002" y="38"/>
                  </a:lnTo>
                  <a:lnTo>
                    <a:pt x="1011" y="38"/>
                  </a:lnTo>
                  <a:lnTo>
                    <a:pt x="1011" y="67"/>
                  </a:lnTo>
                  <a:lnTo>
                    <a:pt x="1011" y="74"/>
                  </a:lnTo>
                  <a:lnTo>
                    <a:pt x="1011" y="78"/>
                  </a:lnTo>
                  <a:lnTo>
                    <a:pt x="1012" y="81"/>
                  </a:lnTo>
                  <a:lnTo>
                    <a:pt x="1014" y="84"/>
                  </a:lnTo>
                  <a:lnTo>
                    <a:pt x="1017" y="86"/>
                  </a:lnTo>
                  <a:lnTo>
                    <a:pt x="1020" y="87"/>
                  </a:lnTo>
                  <a:lnTo>
                    <a:pt x="1024" y="88"/>
                  </a:lnTo>
                  <a:lnTo>
                    <a:pt x="1029" y="88"/>
                  </a:lnTo>
                  <a:lnTo>
                    <a:pt x="1041" y="88"/>
                  </a:lnTo>
                  <a:lnTo>
                    <a:pt x="1041" y="74"/>
                  </a:lnTo>
                  <a:lnTo>
                    <a:pt x="1034" y="74"/>
                  </a:lnTo>
                  <a:lnTo>
                    <a:pt x="1032" y="74"/>
                  </a:lnTo>
                  <a:lnTo>
                    <a:pt x="1030" y="72"/>
                  </a:lnTo>
                  <a:lnTo>
                    <a:pt x="1029" y="69"/>
                  </a:lnTo>
                  <a:lnTo>
                    <a:pt x="1029" y="63"/>
                  </a:lnTo>
                  <a:lnTo>
                    <a:pt x="1029" y="38"/>
                  </a:lnTo>
                  <a:lnTo>
                    <a:pt x="1041" y="38"/>
                  </a:lnTo>
                  <a:lnTo>
                    <a:pt x="1041" y="25"/>
                  </a:lnTo>
                  <a:close/>
                  <a:moveTo>
                    <a:pt x="973" y="68"/>
                  </a:moveTo>
                  <a:lnTo>
                    <a:pt x="970" y="71"/>
                  </a:lnTo>
                  <a:lnTo>
                    <a:pt x="967" y="74"/>
                  </a:lnTo>
                  <a:lnTo>
                    <a:pt x="963" y="75"/>
                  </a:lnTo>
                  <a:lnTo>
                    <a:pt x="959" y="76"/>
                  </a:lnTo>
                  <a:lnTo>
                    <a:pt x="955" y="75"/>
                  </a:lnTo>
                  <a:lnTo>
                    <a:pt x="952" y="74"/>
                  </a:lnTo>
                  <a:lnTo>
                    <a:pt x="950" y="72"/>
                  </a:lnTo>
                  <a:lnTo>
                    <a:pt x="950" y="70"/>
                  </a:lnTo>
                  <a:lnTo>
                    <a:pt x="949" y="69"/>
                  </a:lnTo>
                  <a:lnTo>
                    <a:pt x="950" y="66"/>
                  </a:lnTo>
                  <a:lnTo>
                    <a:pt x="952" y="64"/>
                  </a:lnTo>
                  <a:lnTo>
                    <a:pt x="955" y="62"/>
                  </a:lnTo>
                  <a:lnTo>
                    <a:pt x="959" y="61"/>
                  </a:lnTo>
                  <a:lnTo>
                    <a:pt x="966" y="60"/>
                  </a:lnTo>
                  <a:lnTo>
                    <a:pt x="973" y="58"/>
                  </a:lnTo>
                  <a:lnTo>
                    <a:pt x="973" y="68"/>
                  </a:lnTo>
                  <a:close/>
                  <a:moveTo>
                    <a:pt x="951" y="44"/>
                  </a:moveTo>
                  <a:lnTo>
                    <a:pt x="951" y="43"/>
                  </a:lnTo>
                  <a:lnTo>
                    <a:pt x="952" y="41"/>
                  </a:lnTo>
                  <a:lnTo>
                    <a:pt x="953" y="40"/>
                  </a:lnTo>
                  <a:lnTo>
                    <a:pt x="954" y="39"/>
                  </a:lnTo>
                  <a:lnTo>
                    <a:pt x="958" y="37"/>
                  </a:lnTo>
                  <a:lnTo>
                    <a:pt x="962" y="37"/>
                  </a:lnTo>
                  <a:lnTo>
                    <a:pt x="966" y="37"/>
                  </a:lnTo>
                  <a:lnTo>
                    <a:pt x="970" y="38"/>
                  </a:lnTo>
                  <a:lnTo>
                    <a:pt x="971" y="40"/>
                  </a:lnTo>
                  <a:lnTo>
                    <a:pt x="972" y="41"/>
                  </a:lnTo>
                  <a:lnTo>
                    <a:pt x="972" y="43"/>
                  </a:lnTo>
                  <a:lnTo>
                    <a:pt x="972" y="44"/>
                  </a:lnTo>
                  <a:lnTo>
                    <a:pt x="971" y="46"/>
                  </a:lnTo>
                  <a:lnTo>
                    <a:pt x="969" y="46"/>
                  </a:lnTo>
                  <a:lnTo>
                    <a:pt x="966" y="47"/>
                  </a:lnTo>
                  <a:lnTo>
                    <a:pt x="956" y="49"/>
                  </a:lnTo>
                  <a:lnTo>
                    <a:pt x="950" y="50"/>
                  </a:lnTo>
                  <a:lnTo>
                    <a:pt x="945" y="52"/>
                  </a:lnTo>
                  <a:lnTo>
                    <a:pt x="940" y="54"/>
                  </a:lnTo>
                  <a:lnTo>
                    <a:pt x="937" y="56"/>
                  </a:lnTo>
                  <a:lnTo>
                    <a:pt x="934" y="59"/>
                  </a:lnTo>
                  <a:lnTo>
                    <a:pt x="933" y="60"/>
                  </a:lnTo>
                  <a:lnTo>
                    <a:pt x="932" y="62"/>
                  </a:lnTo>
                  <a:lnTo>
                    <a:pt x="931" y="66"/>
                  </a:lnTo>
                  <a:lnTo>
                    <a:pt x="931" y="70"/>
                  </a:lnTo>
                  <a:lnTo>
                    <a:pt x="931" y="74"/>
                  </a:lnTo>
                  <a:lnTo>
                    <a:pt x="933" y="78"/>
                  </a:lnTo>
                  <a:lnTo>
                    <a:pt x="935" y="81"/>
                  </a:lnTo>
                  <a:lnTo>
                    <a:pt x="937" y="84"/>
                  </a:lnTo>
                  <a:lnTo>
                    <a:pt x="941" y="87"/>
                  </a:lnTo>
                  <a:lnTo>
                    <a:pt x="945" y="88"/>
                  </a:lnTo>
                  <a:lnTo>
                    <a:pt x="949" y="89"/>
                  </a:lnTo>
                  <a:lnTo>
                    <a:pt x="954" y="90"/>
                  </a:lnTo>
                  <a:lnTo>
                    <a:pt x="960" y="90"/>
                  </a:lnTo>
                  <a:lnTo>
                    <a:pt x="964" y="88"/>
                  </a:lnTo>
                  <a:lnTo>
                    <a:pt x="968" y="86"/>
                  </a:lnTo>
                  <a:lnTo>
                    <a:pt x="973" y="83"/>
                  </a:lnTo>
                  <a:lnTo>
                    <a:pt x="974" y="88"/>
                  </a:lnTo>
                  <a:lnTo>
                    <a:pt x="993" y="88"/>
                  </a:lnTo>
                  <a:lnTo>
                    <a:pt x="992" y="86"/>
                  </a:lnTo>
                  <a:lnTo>
                    <a:pt x="991" y="84"/>
                  </a:lnTo>
                  <a:lnTo>
                    <a:pt x="991" y="77"/>
                  </a:lnTo>
                  <a:lnTo>
                    <a:pt x="991" y="48"/>
                  </a:lnTo>
                  <a:lnTo>
                    <a:pt x="991" y="41"/>
                  </a:lnTo>
                  <a:lnTo>
                    <a:pt x="990" y="36"/>
                  </a:lnTo>
                  <a:lnTo>
                    <a:pt x="988" y="32"/>
                  </a:lnTo>
                  <a:lnTo>
                    <a:pt x="986" y="31"/>
                  </a:lnTo>
                  <a:lnTo>
                    <a:pt x="985" y="29"/>
                  </a:lnTo>
                  <a:lnTo>
                    <a:pt x="980" y="26"/>
                  </a:lnTo>
                  <a:lnTo>
                    <a:pt x="975" y="24"/>
                  </a:lnTo>
                  <a:lnTo>
                    <a:pt x="969" y="23"/>
                  </a:lnTo>
                  <a:lnTo>
                    <a:pt x="962" y="23"/>
                  </a:lnTo>
                  <a:lnTo>
                    <a:pt x="956" y="23"/>
                  </a:lnTo>
                  <a:lnTo>
                    <a:pt x="951" y="24"/>
                  </a:lnTo>
                  <a:lnTo>
                    <a:pt x="946" y="26"/>
                  </a:lnTo>
                  <a:lnTo>
                    <a:pt x="942" y="28"/>
                  </a:lnTo>
                  <a:lnTo>
                    <a:pt x="939" y="31"/>
                  </a:lnTo>
                  <a:lnTo>
                    <a:pt x="937" y="35"/>
                  </a:lnTo>
                  <a:lnTo>
                    <a:pt x="936" y="37"/>
                  </a:lnTo>
                  <a:lnTo>
                    <a:pt x="935" y="39"/>
                  </a:lnTo>
                  <a:lnTo>
                    <a:pt x="934" y="42"/>
                  </a:lnTo>
                  <a:lnTo>
                    <a:pt x="934" y="44"/>
                  </a:lnTo>
                  <a:lnTo>
                    <a:pt x="951" y="44"/>
                  </a:lnTo>
                  <a:close/>
                  <a:moveTo>
                    <a:pt x="920" y="47"/>
                  </a:moveTo>
                  <a:lnTo>
                    <a:pt x="920" y="42"/>
                  </a:lnTo>
                  <a:lnTo>
                    <a:pt x="918" y="37"/>
                  </a:lnTo>
                  <a:lnTo>
                    <a:pt x="915" y="33"/>
                  </a:lnTo>
                  <a:lnTo>
                    <a:pt x="912" y="29"/>
                  </a:lnTo>
                  <a:lnTo>
                    <a:pt x="907" y="26"/>
                  </a:lnTo>
                  <a:lnTo>
                    <a:pt x="903" y="24"/>
                  </a:lnTo>
                  <a:lnTo>
                    <a:pt x="897" y="23"/>
                  </a:lnTo>
                  <a:lnTo>
                    <a:pt x="891" y="23"/>
                  </a:lnTo>
                  <a:lnTo>
                    <a:pt x="884" y="23"/>
                  </a:lnTo>
                  <a:lnTo>
                    <a:pt x="878" y="25"/>
                  </a:lnTo>
                  <a:lnTo>
                    <a:pt x="872" y="28"/>
                  </a:lnTo>
                  <a:lnTo>
                    <a:pt x="870" y="29"/>
                  </a:lnTo>
                  <a:lnTo>
                    <a:pt x="867" y="32"/>
                  </a:lnTo>
                  <a:lnTo>
                    <a:pt x="865" y="34"/>
                  </a:lnTo>
                  <a:lnTo>
                    <a:pt x="864" y="36"/>
                  </a:lnTo>
                  <a:lnTo>
                    <a:pt x="861" y="42"/>
                  </a:lnTo>
                  <a:lnTo>
                    <a:pt x="859" y="49"/>
                  </a:lnTo>
                  <a:lnTo>
                    <a:pt x="859" y="56"/>
                  </a:lnTo>
                  <a:lnTo>
                    <a:pt x="859" y="64"/>
                  </a:lnTo>
                  <a:lnTo>
                    <a:pt x="860" y="67"/>
                  </a:lnTo>
                  <a:lnTo>
                    <a:pt x="861" y="70"/>
                  </a:lnTo>
                  <a:lnTo>
                    <a:pt x="864" y="76"/>
                  </a:lnTo>
                  <a:lnTo>
                    <a:pt x="865" y="79"/>
                  </a:lnTo>
                  <a:lnTo>
                    <a:pt x="867" y="81"/>
                  </a:lnTo>
                  <a:lnTo>
                    <a:pt x="872" y="85"/>
                  </a:lnTo>
                  <a:lnTo>
                    <a:pt x="877" y="88"/>
                  </a:lnTo>
                  <a:lnTo>
                    <a:pt x="884" y="89"/>
                  </a:lnTo>
                  <a:lnTo>
                    <a:pt x="887" y="90"/>
                  </a:lnTo>
                  <a:lnTo>
                    <a:pt x="891" y="90"/>
                  </a:lnTo>
                  <a:lnTo>
                    <a:pt x="897" y="89"/>
                  </a:lnTo>
                  <a:lnTo>
                    <a:pt x="902" y="88"/>
                  </a:lnTo>
                  <a:lnTo>
                    <a:pt x="907" y="86"/>
                  </a:lnTo>
                  <a:lnTo>
                    <a:pt x="911" y="83"/>
                  </a:lnTo>
                  <a:lnTo>
                    <a:pt x="915" y="80"/>
                  </a:lnTo>
                  <a:lnTo>
                    <a:pt x="918" y="75"/>
                  </a:lnTo>
                  <a:lnTo>
                    <a:pt x="920" y="70"/>
                  </a:lnTo>
                  <a:lnTo>
                    <a:pt x="921" y="65"/>
                  </a:lnTo>
                  <a:lnTo>
                    <a:pt x="903" y="64"/>
                  </a:lnTo>
                  <a:lnTo>
                    <a:pt x="902" y="66"/>
                  </a:lnTo>
                  <a:lnTo>
                    <a:pt x="901" y="69"/>
                  </a:lnTo>
                  <a:lnTo>
                    <a:pt x="899" y="72"/>
                  </a:lnTo>
                  <a:lnTo>
                    <a:pt x="897" y="73"/>
                  </a:lnTo>
                  <a:lnTo>
                    <a:pt x="896" y="74"/>
                  </a:lnTo>
                  <a:lnTo>
                    <a:pt x="893" y="74"/>
                  </a:lnTo>
                  <a:lnTo>
                    <a:pt x="891" y="75"/>
                  </a:lnTo>
                  <a:lnTo>
                    <a:pt x="888" y="74"/>
                  </a:lnTo>
                  <a:lnTo>
                    <a:pt x="885" y="73"/>
                  </a:lnTo>
                  <a:lnTo>
                    <a:pt x="883" y="72"/>
                  </a:lnTo>
                  <a:lnTo>
                    <a:pt x="881" y="70"/>
                  </a:lnTo>
                  <a:lnTo>
                    <a:pt x="880" y="67"/>
                  </a:lnTo>
                  <a:lnTo>
                    <a:pt x="879" y="64"/>
                  </a:lnTo>
                  <a:lnTo>
                    <a:pt x="878" y="60"/>
                  </a:lnTo>
                  <a:lnTo>
                    <a:pt x="878" y="56"/>
                  </a:lnTo>
                  <a:lnTo>
                    <a:pt x="878" y="52"/>
                  </a:lnTo>
                  <a:lnTo>
                    <a:pt x="878" y="50"/>
                  </a:lnTo>
                  <a:lnTo>
                    <a:pt x="879" y="48"/>
                  </a:lnTo>
                  <a:lnTo>
                    <a:pt x="880" y="45"/>
                  </a:lnTo>
                  <a:lnTo>
                    <a:pt x="881" y="42"/>
                  </a:lnTo>
                  <a:lnTo>
                    <a:pt x="883" y="40"/>
                  </a:lnTo>
                  <a:lnTo>
                    <a:pt x="885" y="39"/>
                  </a:lnTo>
                  <a:lnTo>
                    <a:pt x="888" y="38"/>
                  </a:lnTo>
                  <a:lnTo>
                    <a:pt x="891" y="38"/>
                  </a:lnTo>
                  <a:lnTo>
                    <a:pt x="895" y="38"/>
                  </a:lnTo>
                  <a:lnTo>
                    <a:pt x="899" y="40"/>
                  </a:lnTo>
                  <a:lnTo>
                    <a:pt x="900" y="42"/>
                  </a:lnTo>
                  <a:lnTo>
                    <a:pt x="901" y="43"/>
                  </a:lnTo>
                  <a:lnTo>
                    <a:pt x="902" y="45"/>
                  </a:lnTo>
                  <a:lnTo>
                    <a:pt x="903" y="47"/>
                  </a:lnTo>
                  <a:lnTo>
                    <a:pt x="920" y="47"/>
                  </a:lnTo>
                  <a:close/>
                  <a:moveTo>
                    <a:pt x="847" y="24"/>
                  </a:moveTo>
                  <a:lnTo>
                    <a:pt x="828" y="24"/>
                  </a:lnTo>
                  <a:lnTo>
                    <a:pt x="828" y="60"/>
                  </a:lnTo>
                  <a:lnTo>
                    <a:pt x="828" y="67"/>
                  </a:lnTo>
                  <a:lnTo>
                    <a:pt x="827" y="69"/>
                  </a:lnTo>
                  <a:lnTo>
                    <a:pt x="826" y="70"/>
                  </a:lnTo>
                  <a:lnTo>
                    <a:pt x="825" y="72"/>
                  </a:lnTo>
                  <a:lnTo>
                    <a:pt x="823" y="73"/>
                  </a:lnTo>
                  <a:lnTo>
                    <a:pt x="821" y="74"/>
                  </a:lnTo>
                  <a:lnTo>
                    <a:pt x="818" y="74"/>
                  </a:lnTo>
                  <a:lnTo>
                    <a:pt x="816" y="74"/>
                  </a:lnTo>
                  <a:lnTo>
                    <a:pt x="814" y="73"/>
                  </a:lnTo>
                  <a:lnTo>
                    <a:pt x="812" y="72"/>
                  </a:lnTo>
                  <a:lnTo>
                    <a:pt x="810" y="70"/>
                  </a:lnTo>
                  <a:lnTo>
                    <a:pt x="809" y="67"/>
                  </a:lnTo>
                  <a:lnTo>
                    <a:pt x="808" y="60"/>
                  </a:lnTo>
                  <a:lnTo>
                    <a:pt x="808" y="24"/>
                  </a:lnTo>
                  <a:lnTo>
                    <a:pt x="789" y="24"/>
                  </a:lnTo>
                  <a:lnTo>
                    <a:pt x="789" y="64"/>
                  </a:lnTo>
                  <a:lnTo>
                    <a:pt x="790" y="71"/>
                  </a:lnTo>
                  <a:lnTo>
                    <a:pt x="791" y="76"/>
                  </a:lnTo>
                  <a:lnTo>
                    <a:pt x="792" y="78"/>
                  </a:lnTo>
                  <a:lnTo>
                    <a:pt x="793" y="80"/>
                  </a:lnTo>
                  <a:lnTo>
                    <a:pt x="795" y="83"/>
                  </a:lnTo>
                  <a:lnTo>
                    <a:pt x="799" y="86"/>
                  </a:lnTo>
                  <a:lnTo>
                    <a:pt x="803" y="88"/>
                  </a:lnTo>
                  <a:lnTo>
                    <a:pt x="808" y="89"/>
                  </a:lnTo>
                  <a:lnTo>
                    <a:pt x="812" y="90"/>
                  </a:lnTo>
                  <a:lnTo>
                    <a:pt x="818" y="89"/>
                  </a:lnTo>
                  <a:lnTo>
                    <a:pt x="822" y="88"/>
                  </a:lnTo>
                  <a:lnTo>
                    <a:pt x="826" y="85"/>
                  </a:lnTo>
                  <a:lnTo>
                    <a:pt x="828" y="83"/>
                  </a:lnTo>
                  <a:lnTo>
                    <a:pt x="829" y="81"/>
                  </a:lnTo>
                  <a:lnTo>
                    <a:pt x="829" y="88"/>
                  </a:lnTo>
                  <a:lnTo>
                    <a:pt x="847" y="88"/>
                  </a:lnTo>
                  <a:lnTo>
                    <a:pt x="847" y="24"/>
                  </a:lnTo>
                  <a:close/>
                  <a:moveTo>
                    <a:pt x="743" y="38"/>
                  </a:moveTo>
                  <a:lnTo>
                    <a:pt x="746" y="38"/>
                  </a:lnTo>
                  <a:lnTo>
                    <a:pt x="749" y="39"/>
                  </a:lnTo>
                  <a:lnTo>
                    <a:pt x="751" y="41"/>
                  </a:lnTo>
                  <a:lnTo>
                    <a:pt x="753" y="43"/>
                  </a:lnTo>
                  <a:lnTo>
                    <a:pt x="755" y="45"/>
                  </a:lnTo>
                  <a:lnTo>
                    <a:pt x="756" y="49"/>
                  </a:lnTo>
                  <a:lnTo>
                    <a:pt x="756" y="52"/>
                  </a:lnTo>
                  <a:lnTo>
                    <a:pt x="757" y="56"/>
                  </a:lnTo>
                  <a:lnTo>
                    <a:pt x="756" y="60"/>
                  </a:lnTo>
                  <a:lnTo>
                    <a:pt x="756" y="64"/>
                  </a:lnTo>
                  <a:lnTo>
                    <a:pt x="755" y="67"/>
                  </a:lnTo>
                  <a:lnTo>
                    <a:pt x="753" y="70"/>
                  </a:lnTo>
                  <a:lnTo>
                    <a:pt x="751" y="72"/>
                  </a:lnTo>
                  <a:lnTo>
                    <a:pt x="749" y="73"/>
                  </a:lnTo>
                  <a:lnTo>
                    <a:pt x="746" y="74"/>
                  </a:lnTo>
                  <a:lnTo>
                    <a:pt x="743" y="75"/>
                  </a:lnTo>
                  <a:lnTo>
                    <a:pt x="740" y="74"/>
                  </a:lnTo>
                  <a:lnTo>
                    <a:pt x="738" y="73"/>
                  </a:lnTo>
                  <a:lnTo>
                    <a:pt x="735" y="72"/>
                  </a:lnTo>
                  <a:lnTo>
                    <a:pt x="733" y="70"/>
                  </a:lnTo>
                  <a:lnTo>
                    <a:pt x="732" y="67"/>
                  </a:lnTo>
                  <a:lnTo>
                    <a:pt x="731" y="64"/>
                  </a:lnTo>
                  <a:lnTo>
                    <a:pt x="730" y="60"/>
                  </a:lnTo>
                  <a:lnTo>
                    <a:pt x="730" y="56"/>
                  </a:lnTo>
                  <a:lnTo>
                    <a:pt x="730" y="52"/>
                  </a:lnTo>
                  <a:lnTo>
                    <a:pt x="731" y="48"/>
                  </a:lnTo>
                  <a:lnTo>
                    <a:pt x="732" y="45"/>
                  </a:lnTo>
                  <a:lnTo>
                    <a:pt x="733" y="43"/>
                  </a:lnTo>
                  <a:lnTo>
                    <a:pt x="735" y="40"/>
                  </a:lnTo>
                  <a:lnTo>
                    <a:pt x="738" y="39"/>
                  </a:lnTo>
                  <a:lnTo>
                    <a:pt x="740" y="38"/>
                  </a:lnTo>
                  <a:lnTo>
                    <a:pt x="743" y="38"/>
                  </a:lnTo>
                  <a:close/>
                  <a:moveTo>
                    <a:pt x="775" y="0"/>
                  </a:moveTo>
                  <a:lnTo>
                    <a:pt x="756" y="0"/>
                  </a:lnTo>
                  <a:lnTo>
                    <a:pt x="756" y="29"/>
                  </a:lnTo>
                  <a:lnTo>
                    <a:pt x="753" y="26"/>
                  </a:lnTo>
                  <a:lnTo>
                    <a:pt x="749" y="24"/>
                  </a:lnTo>
                  <a:lnTo>
                    <a:pt x="745" y="23"/>
                  </a:lnTo>
                  <a:lnTo>
                    <a:pt x="740" y="22"/>
                  </a:lnTo>
                  <a:lnTo>
                    <a:pt x="734" y="23"/>
                  </a:lnTo>
                  <a:lnTo>
                    <a:pt x="728" y="25"/>
                  </a:lnTo>
                  <a:lnTo>
                    <a:pt x="723" y="28"/>
                  </a:lnTo>
                  <a:lnTo>
                    <a:pt x="719" y="32"/>
                  </a:lnTo>
                  <a:lnTo>
                    <a:pt x="716" y="37"/>
                  </a:lnTo>
                  <a:lnTo>
                    <a:pt x="713" y="42"/>
                  </a:lnTo>
                  <a:lnTo>
                    <a:pt x="712" y="46"/>
                  </a:lnTo>
                  <a:lnTo>
                    <a:pt x="712" y="49"/>
                  </a:lnTo>
                  <a:lnTo>
                    <a:pt x="711" y="56"/>
                  </a:lnTo>
                  <a:lnTo>
                    <a:pt x="712" y="64"/>
                  </a:lnTo>
                  <a:lnTo>
                    <a:pt x="712" y="67"/>
                  </a:lnTo>
                  <a:lnTo>
                    <a:pt x="713" y="70"/>
                  </a:lnTo>
                  <a:lnTo>
                    <a:pt x="716" y="76"/>
                  </a:lnTo>
                  <a:lnTo>
                    <a:pt x="717" y="78"/>
                  </a:lnTo>
                  <a:lnTo>
                    <a:pt x="719" y="81"/>
                  </a:lnTo>
                  <a:lnTo>
                    <a:pt x="723" y="85"/>
                  </a:lnTo>
                  <a:lnTo>
                    <a:pt x="728" y="87"/>
                  </a:lnTo>
                  <a:lnTo>
                    <a:pt x="730" y="88"/>
                  </a:lnTo>
                  <a:lnTo>
                    <a:pt x="733" y="89"/>
                  </a:lnTo>
                  <a:lnTo>
                    <a:pt x="736" y="90"/>
                  </a:lnTo>
                  <a:lnTo>
                    <a:pt x="739" y="90"/>
                  </a:lnTo>
                  <a:lnTo>
                    <a:pt x="745" y="89"/>
                  </a:lnTo>
                  <a:lnTo>
                    <a:pt x="747" y="89"/>
                  </a:lnTo>
                  <a:lnTo>
                    <a:pt x="749" y="88"/>
                  </a:lnTo>
                  <a:lnTo>
                    <a:pt x="751" y="87"/>
                  </a:lnTo>
                  <a:lnTo>
                    <a:pt x="753" y="85"/>
                  </a:lnTo>
                  <a:lnTo>
                    <a:pt x="757" y="81"/>
                  </a:lnTo>
                  <a:lnTo>
                    <a:pt x="757" y="88"/>
                  </a:lnTo>
                  <a:lnTo>
                    <a:pt x="775" y="88"/>
                  </a:lnTo>
                  <a:lnTo>
                    <a:pt x="775" y="0"/>
                  </a:lnTo>
                  <a:close/>
                  <a:moveTo>
                    <a:pt x="701" y="0"/>
                  </a:moveTo>
                  <a:lnTo>
                    <a:pt x="634" y="0"/>
                  </a:lnTo>
                  <a:lnTo>
                    <a:pt x="634" y="88"/>
                  </a:lnTo>
                  <a:lnTo>
                    <a:pt x="702" y="88"/>
                  </a:lnTo>
                  <a:lnTo>
                    <a:pt x="702" y="71"/>
                  </a:lnTo>
                  <a:lnTo>
                    <a:pt x="655" y="71"/>
                  </a:lnTo>
                  <a:lnTo>
                    <a:pt x="655" y="50"/>
                  </a:lnTo>
                  <a:lnTo>
                    <a:pt x="695" y="50"/>
                  </a:lnTo>
                  <a:lnTo>
                    <a:pt x="695" y="34"/>
                  </a:lnTo>
                  <a:lnTo>
                    <a:pt x="655" y="34"/>
                  </a:lnTo>
                  <a:lnTo>
                    <a:pt x="655" y="17"/>
                  </a:lnTo>
                  <a:lnTo>
                    <a:pt x="701" y="17"/>
                  </a:lnTo>
                  <a:lnTo>
                    <a:pt x="701" y="0"/>
                  </a:lnTo>
                  <a:close/>
                  <a:moveTo>
                    <a:pt x="538" y="48"/>
                  </a:moveTo>
                  <a:lnTo>
                    <a:pt x="539" y="46"/>
                  </a:lnTo>
                  <a:lnTo>
                    <a:pt x="540" y="43"/>
                  </a:lnTo>
                  <a:lnTo>
                    <a:pt x="541" y="41"/>
                  </a:lnTo>
                  <a:lnTo>
                    <a:pt x="543" y="40"/>
                  </a:lnTo>
                  <a:lnTo>
                    <a:pt x="544" y="38"/>
                  </a:lnTo>
                  <a:lnTo>
                    <a:pt x="547" y="38"/>
                  </a:lnTo>
                  <a:lnTo>
                    <a:pt x="552" y="37"/>
                  </a:lnTo>
                  <a:lnTo>
                    <a:pt x="556" y="38"/>
                  </a:lnTo>
                  <a:lnTo>
                    <a:pt x="558" y="38"/>
                  </a:lnTo>
                  <a:lnTo>
                    <a:pt x="560" y="40"/>
                  </a:lnTo>
                  <a:lnTo>
                    <a:pt x="562" y="41"/>
                  </a:lnTo>
                  <a:lnTo>
                    <a:pt x="563" y="43"/>
                  </a:lnTo>
                  <a:lnTo>
                    <a:pt x="564" y="46"/>
                  </a:lnTo>
                  <a:lnTo>
                    <a:pt x="564" y="48"/>
                  </a:lnTo>
                  <a:lnTo>
                    <a:pt x="538" y="48"/>
                  </a:lnTo>
                  <a:close/>
                  <a:moveTo>
                    <a:pt x="583" y="62"/>
                  </a:moveTo>
                  <a:lnTo>
                    <a:pt x="583" y="56"/>
                  </a:lnTo>
                  <a:lnTo>
                    <a:pt x="583" y="50"/>
                  </a:lnTo>
                  <a:lnTo>
                    <a:pt x="582" y="46"/>
                  </a:lnTo>
                  <a:lnTo>
                    <a:pt x="580" y="41"/>
                  </a:lnTo>
                  <a:lnTo>
                    <a:pt x="578" y="37"/>
                  </a:lnTo>
                  <a:lnTo>
                    <a:pt x="576" y="33"/>
                  </a:lnTo>
                  <a:lnTo>
                    <a:pt x="573" y="30"/>
                  </a:lnTo>
                  <a:lnTo>
                    <a:pt x="569" y="27"/>
                  </a:lnTo>
                  <a:lnTo>
                    <a:pt x="565" y="25"/>
                  </a:lnTo>
                  <a:lnTo>
                    <a:pt x="561" y="24"/>
                  </a:lnTo>
                  <a:lnTo>
                    <a:pt x="557" y="23"/>
                  </a:lnTo>
                  <a:lnTo>
                    <a:pt x="552" y="23"/>
                  </a:lnTo>
                  <a:lnTo>
                    <a:pt x="545" y="23"/>
                  </a:lnTo>
                  <a:lnTo>
                    <a:pt x="538" y="25"/>
                  </a:lnTo>
                  <a:lnTo>
                    <a:pt x="536" y="26"/>
                  </a:lnTo>
                  <a:lnTo>
                    <a:pt x="533" y="28"/>
                  </a:lnTo>
                  <a:lnTo>
                    <a:pt x="528" y="32"/>
                  </a:lnTo>
                  <a:lnTo>
                    <a:pt x="526" y="34"/>
                  </a:lnTo>
                  <a:lnTo>
                    <a:pt x="524" y="37"/>
                  </a:lnTo>
                  <a:lnTo>
                    <a:pt x="521" y="43"/>
                  </a:lnTo>
                  <a:lnTo>
                    <a:pt x="520" y="49"/>
                  </a:lnTo>
                  <a:lnTo>
                    <a:pt x="519" y="53"/>
                  </a:lnTo>
                  <a:lnTo>
                    <a:pt x="519" y="56"/>
                  </a:lnTo>
                  <a:lnTo>
                    <a:pt x="520" y="63"/>
                  </a:lnTo>
                  <a:lnTo>
                    <a:pt x="521" y="70"/>
                  </a:lnTo>
                  <a:lnTo>
                    <a:pt x="524" y="76"/>
                  </a:lnTo>
                  <a:lnTo>
                    <a:pt x="526" y="78"/>
                  </a:lnTo>
                  <a:lnTo>
                    <a:pt x="528" y="81"/>
                  </a:lnTo>
                  <a:lnTo>
                    <a:pt x="533" y="85"/>
                  </a:lnTo>
                  <a:lnTo>
                    <a:pt x="538" y="87"/>
                  </a:lnTo>
                  <a:lnTo>
                    <a:pt x="541" y="88"/>
                  </a:lnTo>
                  <a:lnTo>
                    <a:pt x="545" y="89"/>
                  </a:lnTo>
                  <a:lnTo>
                    <a:pt x="548" y="90"/>
                  </a:lnTo>
                  <a:lnTo>
                    <a:pt x="552" y="90"/>
                  </a:lnTo>
                  <a:lnTo>
                    <a:pt x="557" y="89"/>
                  </a:lnTo>
                  <a:lnTo>
                    <a:pt x="563" y="88"/>
                  </a:lnTo>
                  <a:lnTo>
                    <a:pt x="567" y="87"/>
                  </a:lnTo>
                  <a:lnTo>
                    <a:pt x="572" y="84"/>
                  </a:lnTo>
                  <a:lnTo>
                    <a:pt x="575" y="81"/>
                  </a:lnTo>
                  <a:lnTo>
                    <a:pt x="577" y="80"/>
                  </a:lnTo>
                  <a:lnTo>
                    <a:pt x="578" y="78"/>
                  </a:lnTo>
                  <a:lnTo>
                    <a:pt x="581" y="74"/>
                  </a:lnTo>
                  <a:lnTo>
                    <a:pt x="583" y="69"/>
                  </a:lnTo>
                  <a:lnTo>
                    <a:pt x="563" y="69"/>
                  </a:lnTo>
                  <a:lnTo>
                    <a:pt x="561" y="72"/>
                  </a:lnTo>
                  <a:lnTo>
                    <a:pt x="559" y="74"/>
                  </a:lnTo>
                  <a:lnTo>
                    <a:pt x="556" y="75"/>
                  </a:lnTo>
                  <a:lnTo>
                    <a:pt x="552" y="75"/>
                  </a:lnTo>
                  <a:lnTo>
                    <a:pt x="549" y="75"/>
                  </a:lnTo>
                  <a:lnTo>
                    <a:pt x="547" y="74"/>
                  </a:lnTo>
                  <a:lnTo>
                    <a:pt x="545" y="73"/>
                  </a:lnTo>
                  <a:lnTo>
                    <a:pt x="543" y="72"/>
                  </a:lnTo>
                  <a:lnTo>
                    <a:pt x="541" y="70"/>
                  </a:lnTo>
                  <a:lnTo>
                    <a:pt x="540" y="67"/>
                  </a:lnTo>
                  <a:lnTo>
                    <a:pt x="539" y="65"/>
                  </a:lnTo>
                  <a:lnTo>
                    <a:pt x="538" y="62"/>
                  </a:lnTo>
                  <a:lnTo>
                    <a:pt x="583" y="62"/>
                  </a:lnTo>
                  <a:close/>
                  <a:moveTo>
                    <a:pt x="493" y="88"/>
                  </a:moveTo>
                  <a:lnTo>
                    <a:pt x="514" y="24"/>
                  </a:lnTo>
                  <a:lnTo>
                    <a:pt x="494" y="24"/>
                  </a:lnTo>
                  <a:lnTo>
                    <a:pt x="488" y="49"/>
                  </a:lnTo>
                  <a:lnTo>
                    <a:pt x="484" y="67"/>
                  </a:lnTo>
                  <a:lnTo>
                    <a:pt x="479" y="49"/>
                  </a:lnTo>
                  <a:lnTo>
                    <a:pt x="471" y="24"/>
                  </a:lnTo>
                  <a:lnTo>
                    <a:pt x="452" y="24"/>
                  </a:lnTo>
                  <a:lnTo>
                    <a:pt x="475" y="88"/>
                  </a:lnTo>
                  <a:lnTo>
                    <a:pt x="493" y="88"/>
                  </a:lnTo>
                  <a:close/>
                  <a:moveTo>
                    <a:pt x="440" y="0"/>
                  </a:moveTo>
                  <a:lnTo>
                    <a:pt x="421" y="0"/>
                  </a:lnTo>
                  <a:lnTo>
                    <a:pt x="421" y="15"/>
                  </a:lnTo>
                  <a:lnTo>
                    <a:pt x="440" y="15"/>
                  </a:lnTo>
                  <a:lnTo>
                    <a:pt x="440" y="0"/>
                  </a:lnTo>
                  <a:close/>
                  <a:moveTo>
                    <a:pt x="440" y="24"/>
                  </a:moveTo>
                  <a:lnTo>
                    <a:pt x="421" y="24"/>
                  </a:lnTo>
                  <a:lnTo>
                    <a:pt x="421" y="88"/>
                  </a:lnTo>
                  <a:lnTo>
                    <a:pt x="440" y="88"/>
                  </a:lnTo>
                  <a:lnTo>
                    <a:pt x="440" y="24"/>
                  </a:lnTo>
                  <a:close/>
                  <a:moveTo>
                    <a:pt x="405" y="25"/>
                  </a:moveTo>
                  <a:lnTo>
                    <a:pt x="394" y="25"/>
                  </a:lnTo>
                  <a:lnTo>
                    <a:pt x="394" y="5"/>
                  </a:lnTo>
                  <a:lnTo>
                    <a:pt x="375" y="5"/>
                  </a:lnTo>
                  <a:lnTo>
                    <a:pt x="375" y="25"/>
                  </a:lnTo>
                  <a:lnTo>
                    <a:pt x="366" y="25"/>
                  </a:lnTo>
                  <a:lnTo>
                    <a:pt x="366" y="38"/>
                  </a:lnTo>
                  <a:lnTo>
                    <a:pt x="375" y="38"/>
                  </a:lnTo>
                  <a:lnTo>
                    <a:pt x="375" y="67"/>
                  </a:lnTo>
                  <a:lnTo>
                    <a:pt x="375" y="74"/>
                  </a:lnTo>
                  <a:lnTo>
                    <a:pt x="376" y="78"/>
                  </a:lnTo>
                  <a:lnTo>
                    <a:pt x="377" y="81"/>
                  </a:lnTo>
                  <a:lnTo>
                    <a:pt x="378" y="84"/>
                  </a:lnTo>
                  <a:lnTo>
                    <a:pt x="381" y="86"/>
                  </a:lnTo>
                  <a:lnTo>
                    <a:pt x="384" y="87"/>
                  </a:lnTo>
                  <a:lnTo>
                    <a:pt x="388" y="88"/>
                  </a:lnTo>
                  <a:lnTo>
                    <a:pt x="394" y="88"/>
                  </a:lnTo>
                  <a:lnTo>
                    <a:pt x="405" y="88"/>
                  </a:lnTo>
                  <a:lnTo>
                    <a:pt x="405" y="74"/>
                  </a:lnTo>
                  <a:lnTo>
                    <a:pt x="398" y="74"/>
                  </a:lnTo>
                  <a:lnTo>
                    <a:pt x="396" y="74"/>
                  </a:lnTo>
                  <a:lnTo>
                    <a:pt x="394" y="72"/>
                  </a:lnTo>
                  <a:lnTo>
                    <a:pt x="394" y="69"/>
                  </a:lnTo>
                  <a:lnTo>
                    <a:pt x="394" y="63"/>
                  </a:lnTo>
                  <a:lnTo>
                    <a:pt x="394" y="38"/>
                  </a:lnTo>
                  <a:lnTo>
                    <a:pt x="405" y="38"/>
                  </a:lnTo>
                  <a:lnTo>
                    <a:pt x="405" y="25"/>
                  </a:lnTo>
                  <a:close/>
                  <a:moveTo>
                    <a:pt x="353" y="24"/>
                  </a:moveTo>
                  <a:lnTo>
                    <a:pt x="334" y="24"/>
                  </a:lnTo>
                  <a:lnTo>
                    <a:pt x="334" y="60"/>
                  </a:lnTo>
                  <a:lnTo>
                    <a:pt x="334" y="67"/>
                  </a:lnTo>
                  <a:lnTo>
                    <a:pt x="333" y="69"/>
                  </a:lnTo>
                  <a:lnTo>
                    <a:pt x="332" y="70"/>
                  </a:lnTo>
                  <a:lnTo>
                    <a:pt x="331" y="72"/>
                  </a:lnTo>
                  <a:lnTo>
                    <a:pt x="329" y="73"/>
                  </a:lnTo>
                  <a:lnTo>
                    <a:pt x="327" y="74"/>
                  </a:lnTo>
                  <a:lnTo>
                    <a:pt x="324" y="74"/>
                  </a:lnTo>
                  <a:lnTo>
                    <a:pt x="322" y="74"/>
                  </a:lnTo>
                  <a:lnTo>
                    <a:pt x="319" y="73"/>
                  </a:lnTo>
                  <a:lnTo>
                    <a:pt x="317" y="72"/>
                  </a:lnTo>
                  <a:lnTo>
                    <a:pt x="316" y="70"/>
                  </a:lnTo>
                  <a:lnTo>
                    <a:pt x="314" y="67"/>
                  </a:lnTo>
                  <a:lnTo>
                    <a:pt x="314" y="60"/>
                  </a:lnTo>
                  <a:lnTo>
                    <a:pt x="314" y="24"/>
                  </a:lnTo>
                  <a:lnTo>
                    <a:pt x="295" y="24"/>
                  </a:lnTo>
                  <a:lnTo>
                    <a:pt x="295" y="64"/>
                  </a:lnTo>
                  <a:lnTo>
                    <a:pt x="295" y="71"/>
                  </a:lnTo>
                  <a:lnTo>
                    <a:pt x="296" y="76"/>
                  </a:lnTo>
                  <a:lnTo>
                    <a:pt x="297" y="78"/>
                  </a:lnTo>
                  <a:lnTo>
                    <a:pt x="298" y="80"/>
                  </a:lnTo>
                  <a:lnTo>
                    <a:pt x="301" y="83"/>
                  </a:lnTo>
                  <a:lnTo>
                    <a:pt x="305" y="86"/>
                  </a:lnTo>
                  <a:lnTo>
                    <a:pt x="309" y="88"/>
                  </a:lnTo>
                  <a:lnTo>
                    <a:pt x="313" y="89"/>
                  </a:lnTo>
                  <a:lnTo>
                    <a:pt x="318" y="90"/>
                  </a:lnTo>
                  <a:lnTo>
                    <a:pt x="323" y="89"/>
                  </a:lnTo>
                  <a:lnTo>
                    <a:pt x="328" y="88"/>
                  </a:lnTo>
                  <a:lnTo>
                    <a:pt x="332" y="85"/>
                  </a:lnTo>
                  <a:lnTo>
                    <a:pt x="333" y="83"/>
                  </a:lnTo>
                  <a:lnTo>
                    <a:pt x="335" y="81"/>
                  </a:lnTo>
                  <a:lnTo>
                    <a:pt x="335" y="88"/>
                  </a:lnTo>
                  <a:lnTo>
                    <a:pt x="353" y="88"/>
                  </a:lnTo>
                  <a:lnTo>
                    <a:pt x="353" y="24"/>
                  </a:lnTo>
                  <a:close/>
                  <a:moveTo>
                    <a:pt x="282" y="47"/>
                  </a:moveTo>
                  <a:lnTo>
                    <a:pt x="281" y="42"/>
                  </a:lnTo>
                  <a:lnTo>
                    <a:pt x="279" y="37"/>
                  </a:lnTo>
                  <a:lnTo>
                    <a:pt x="276" y="33"/>
                  </a:lnTo>
                  <a:lnTo>
                    <a:pt x="273" y="29"/>
                  </a:lnTo>
                  <a:lnTo>
                    <a:pt x="269" y="26"/>
                  </a:lnTo>
                  <a:lnTo>
                    <a:pt x="264" y="24"/>
                  </a:lnTo>
                  <a:lnTo>
                    <a:pt x="259" y="23"/>
                  </a:lnTo>
                  <a:lnTo>
                    <a:pt x="253" y="23"/>
                  </a:lnTo>
                  <a:lnTo>
                    <a:pt x="245" y="23"/>
                  </a:lnTo>
                  <a:lnTo>
                    <a:pt x="239" y="25"/>
                  </a:lnTo>
                  <a:lnTo>
                    <a:pt x="233" y="28"/>
                  </a:lnTo>
                  <a:lnTo>
                    <a:pt x="231" y="29"/>
                  </a:lnTo>
                  <a:lnTo>
                    <a:pt x="229" y="32"/>
                  </a:lnTo>
                  <a:lnTo>
                    <a:pt x="227" y="34"/>
                  </a:lnTo>
                  <a:lnTo>
                    <a:pt x="225" y="36"/>
                  </a:lnTo>
                  <a:lnTo>
                    <a:pt x="222" y="42"/>
                  </a:lnTo>
                  <a:lnTo>
                    <a:pt x="221" y="49"/>
                  </a:lnTo>
                  <a:lnTo>
                    <a:pt x="220" y="56"/>
                  </a:lnTo>
                  <a:lnTo>
                    <a:pt x="221" y="64"/>
                  </a:lnTo>
                  <a:lnTo>
                    <a:pt x="221" y="67"/>
                  </a:lnTo>
                  <a:lnTo>
                    <a:pt x="222" y="70"/>
                  </a:lnTo>
                  <a:lnTo>
                    <a:pt x="225" y="76"/>
                  </a:lnTo>
                  <a:lnTo>
                    <a:pt x="227" y="79"/>
                  </a:lnTo>
                  <a:lnTo>
                    <a:pt x="229" y="81"/>
                  </a:lnTo>
                  <a:lnTo>
                    <a:pt x="233" y="85"/>
                  </a:lnTo>
                  <a:lnTo>
                    <a:pt x="239" y="88"/>
                  </a:lnTo>
                  <a:lnTo>
                    <a:pt x="245" y="89"/>
                  </a:lnTo>
                  <a:lnTo>
                    <a:pt x="248" y="90"/>
                  </a:lnTo>
                  <a:lnTo>
                    <a:pt x="252" y="90"/>
                  </a:lnTo>
                  <a:lnTo>
                    <a:pt x="258" y="89"/>
                  </a:lnTo>
                  <a:lnTo>
                    <a:pt x="264" y="88"/>
                  </a:lnTo>
                  <a:lnTo>
                    <a:pt x="268" y="86"/>
                  </a:lnTo>
                  <a:lnTo>
                    <a:pt x="273" y="83"/>
                  </a:lnTo>
                  <a:lnTo>
                    <a:pt x="276" y="80"/>
                  </a:lnTo>
                  <a:lnTo>
                    <a:pt x="279" y="75"/>
                  </a:lnTo>
                  <a:lnTo>
                    <a:pt x="281" y="70"/>
                  </a:lnTo>
                  <a:lnTo>
                    <a:pt x="283" y="65"/>
                  </a:lnTo>
                  <a:lnTo>
                    <a:pt x="264" y="64"/>
                  </a:lnTo>
                  <a:lnTo>
                    <a:pt x="264" y="66"/>
                  </a:lnTo>
                  <a:lnTo>
                    <a:pt x="263" y="69"/>
                  </a:lnTo>
                  <a:lnTo>
                    <a:pt x="260" y="72"/>
                  </a:lnTo>
                  <a:lnTo>
                    <a:pt x="259" y="73"/>
                  </a:lnTo>
                  <a:lnTo>
                    <a:pt x="257" y="74"/>
                  </a:lnTo>
                  <a:lnTo>
                    <a:pt x="255" y="74"/>
                  </a:lnTo>
                  <a:lnTo>
                    <a:pt x="252" y="75"/>
                  </a:lnTo>
                  <a:lnTo>
                    <a:pt x="249" y="74"/>
                  </a:lnTo>
                  <a:lnTo>
                    <a:pt x="247" y="73"/>
                  </a:lnTo>
                  <a:lnTo>
                    <a:pt x="244" y="72"/>
                  </a:lnTo>
                  <a:lnTo>
                    <a:pt x="243" y="70"/>
                  </a:lnTo>
                  <a:lnTo>
                    <a:pt x="241" y="67"/>
                  </a:lnTo>
                  <a:lnTo>
                    <a:pt x="240" y="64"/>
                  </a:lnTo>
                  <a:lnTo>
                    <a:pt x="239" y="60"/>
                  </a:lnTo>
                  <a:lnTo>
                    <a:pt x="239" y="56"/>
                  </a:lnTo>
                  <a:lnTo>
                    <a:pt x="239" y="52"/>
                  </a:lnTo>
                  <a:lnTo>
                    <a:pt x="240" y="50"/>
                  </a:lnTo>
                  <a:lnTo>
                    <a:pt x="240" y="48"/>
                  </a:lnTo>
                  <a:lnTo>
                    <a:pt x="241" y="45"/>
                  </a:lnTo>
                  <a:lnTo>
                    <a:pt x="242" y="42"/>
                  </a:lnTo>
                  <a:lnTo>
                    <a:pt x="244" y="40"/>
                  </a:lnTo>
                  <a:lnTo>
                    <a:pt x="247" y="39"/>
                  </a:lnTo>
                  <a:lnTo>
                    <a:pt x="249" y="38"/>
                  </a:lnTo>
                  <a:lnTo>
                    <a:pt x="252" y="38"/>
                  </a:lnTo>
                  <a:lnTo>
                    <a:pt x="257" y="38"/>
                  </a:lnTo>
                  <a:lnTo>
                    <a:pt x="260" y="40"/>
                  </a:lnTo>
                  <a:lnTo>
                    <a:pt x="262" y="42"/>
                  </a:lnTo>
                  <a:lnTo>
                    <a:pt x="263" y="43"/>
                  </a:lnTo>
                  <a:lnTo>
                    <a:pt x="264" y="47"/>
                  </a:lnTo>
                  <a:lnTo>
                    <a:pt x="282" y="47"/>
                  </a:lnTo>
                  <a:close/>
                  <a:moveTo>
                    <a:pt x="164" y="48"/>
                  </a:moveTo>
                  <a:lnTo>
                    <a:pt x="165" y="46"/>
                  </a:lnTo>
                  <a:lnTo>
                    <a:pt x="166" y="43"/>
                  </a:lnTo>
                  <a:lnTo>
                    <a:pt x="167" y="41"/>
                  </a:lnTo>
                  <a:lnTo>
                    <a:pt x="169" y="40"/>
                  </a:lnTo>
                  <a:lnTo>
                    <a:pt x="171" y="38"/>
                  </a:lnTo>
                  <a:lnTo>
                    <a:pt x="173" y="38"/>
                  </a:lnTo>
                  <a:lnTo>
                    <a:pt x="178" y="37"/>
                  </a:lnTo>
                  <a:lnTo>
                    <a:pt x="183" y="38"/>
                  </a:lnTo>
                  <a:lnTo>
                    <a:pt x="185" y="38"/>
                  </a:lnTo>
                  <a:lnTo>
                    <a:pt x="186" y="40"/>
                  </a:lnTo>
                  <a:lnTo>
                    <a:pt x="188" y="41"/>
                  </a:lnTo>
                  <a:lnTo>
                    <a:pt x="189" y="43"/>
                  </a:lnTo>
                  <a:lnTo>
                    <a:pt x="190" y="46"/>
                  </a:lnTo>
                  <a:lnTo>
                    <a:pt x="190" y="48"/>
                  </a:lnTo>
                  <a:lnTo>
                    <a:pt x="164" y="48"/>
                  </a:lnTo>
                  <a:close/>
                  <a:moveTo>
                    <a:pt x="209" y="62"/>
                  </a:moveTo>
                  <a:lnTo>
                    <a:pt x="209" y="56"/>
                  </a:lnTo>
                  <a:lnTo>
                    <a:pt x="209" y="50"/>
                  </a:lnTo>
                  <a:lnTo>
                    <a:pt x="208" y="46"/>
                  </a:lnTo>
                  <a:lnTo>
                    <a:pt x="206" y="41"/>
                  </a:lnTo>
                  <a:lnTo>
                    <a:pt x="204" y="37"/>
                  </a:lnTo>
                  <a:lnTo>
                    <a:pt x="202" y="33"/>
                  </a:lnTo>
                  <a:lnTo>
                    <a:pt x="199" y="30"/>
                  </a:lnTo>
                  <a:lnTo>
                    <a:pt x="195" y="27"/>
                  </a:lnTo>
                  <a:lnTo>
                    <a:pt x="192" y="25"/>
                  </a:lnTo>
                  <a:lnTo>
                    <a:pt x="187" y="24"/>
                  </a:lnTo>
                  <a:lnTo>
                    <a:pt x="183" y="23"/>
                  </a:lnTo>
                  <a:lnTo>
                    <a:pt x="178" y="23"/>
                  </a:lnTo>
                  <a:lnTo>
                    <a:pt x="171" y="23"/>
                  </a:lnTo>
                  <a:lnTo>
                    <a:pt x="165" y="25"/>
                  </a:lnTo>
                  <a:lnTo>
                    <a:pt x="162" y="26"/>
                  </a:lnTo>
                  <a:lnTo>
                    <a:pt x="159" y="28"/>
                  </a:lnTo>
                  <a:lnTo>
                    <a:pt x="154" y="32"/>
                  </a:lnTo>
                  <a:lnTo>
                    <a:pt x="152" y="34"/>
                  </a:lnTo>
                  <a:lnTo>
                    <a:pt x="150" y="37"/>
                  </a:lnTo>
                  <a:lnTo>
                    <a:pt x="148" y="43"/>
                  </a:lnTo>
                  <a:lnTo>
                    <a:pt x="146" y="49"/>
                  </a:lnTo>
                  <a:lnTo>
                    <a:pt x="145" y="53"/>
                  </a:lnTo>
                  <a:lnTo>
                    <a:pt x="145" y="56"/>
                  </a:lnTo>
                  <a:lnTo>
                    <a:pt x="146" y="63"/>
                  </a:lnTo>
                  <a:lnTo>
                    <a:pt x="148" y="70"/>
                  </a:lnTo>
                  <a:lnTo>
                    <a:pt x="150" y="76"/>
                  </a:lnTo>
                  <a:lnTo>
                    <a:pt x="152" y="78"/>
                  </a:lnTo>
                  <a:lnTo>
                    <a:pt x="154" y="81"/>
                  </a:lnTo>
                  <a:lnTo>
                    <a:pt x="159" y="85"/>
                  </a:lnTo>
                  <a:lnTo>
                    <a:pt x="165" y="87"/>
                  </a:lnTo>
                  <a:lnTo>
                    <a:pt x="168" y="88"/>
                  </a:lnTo>
                  <a:lnTo>
                    <a:pt x="171" y="89"/>
                  </a:lnTo>
                  <a:lnTo>
                    <a:pt x="174" y="90"/>
                  </a:lnTo>
                  <a:lnTo>
                    <a:pt x="178" y="90"/>
                  </a:lnTo>
                  <a:lnTo>
                    <a:pt x="184" y="89"/>
                  </a:lnTo>
                  <a:lnTo>
                    <a:pt x="189" y="88"/>
                  </a:lnTo>
                  <a:lnTo>
                    <a:pt x="193" y="87"/>
                  </a:lnTo>
                  <a:lnTo>
                    <a:pt x="198" y="84"/>
                  </a:lnTo>
                  <a:lnTo>
                    <a:pt x="201" y="81"/>
                  </a:lnTo>
                  <a:lnTo>
                    <a:pt x="203" y="80"/>
                  </a:lnTo>
                  <a:lnTo>
                    <a:pt x="205" y="78"/>
                  </a:lnTo>
                  <a:lnTo>
                    <a:pt x="207" y="74"/>
                  </a:lnTo>
                  <a:lnTo>
                    <a:pt x="209" y="69"/>
                  </a:lnTo>
                  <a:lnTo>
                    <a:pt x="190" y="69"/>
                  </a:lnTo>
                  <a:lnTo>
                    <a:pt x="188" y="72"/>
                  </a:lnTo>
                  <a:lnTo>
                    <a:pt x="185" y="74"/>
                  </a:lnTo>
                  <a:lnTo>
                    <a:pt x="182" y="75"/>
                  </a:lnTo>
                  <a:lnTo>
                    <a:pt x="178" y="75"/>
                  </a:lnTo>
                  <a:lnTo>
                    <a:pt x="176" y="75"/>
                  </a:lnTo>
                  <a:lnTo>
                    <a:pt x="173" y="74"/>
                  </a:lnTo>
                  <a:lnTo>
                    <a:pt x="171" y="73"/>
                  </a:lnTo>
                  <a:lnTo>
                    <a:pt x="169" y="72"/>
                  </a:lnTo>
                  <a:lnTo>
                    <a:pt x="167" y="70"/>
                  </a:lnTo>
                  <a:lnTo>
                    <a:pt x="166" y="67"/>
                  </a:lnTo>
                  <a:lnTo>
                    <a:pt x="165" y="65"/>
                  </a:lnTo>
                  <a:lnTo>
                    <a:pt x="164" y="62"/>
                  </a:lnTo>
                  <a:lnTo>
                    <a:pt x="209" y="62"/>
                  </a:lnTo>
                  <a:close/>
                  <a:moveTo>
                    <a:pt x="118" y="55"/>
                  </a:moveTo>
                  <a:lnTo>
                    <a:pt x="139" y="24"/>
                  </a:lnTo>
                  <a:lnTo>
                    <a:pt x="118" y="24"/>
                  </a:lnTo>
                  <a:lnTo>
                    <a:pt x="108" y="40"/>
                  </a:lnTo>
                  <a:lnTo>
                    <a:pt x="98" y="24"/>
                  </a:lnTo>
                  <a:lnTo>
                    <a:pt x="77" y="24"/>
                  </a:lnTo>
                  <a:lnTo>
                    <a:pt x="98" y="55"/>
                  </a:lnTo>
                  <a:lnTo>
                    <a:pt x="75" y="88"/>
                  </a:lnTo>
                  <a:lnTo>
                    <a:pt x="96" y="88"/>
                  </a:lnTo>
                  <a:lnTo>
                    <a:pt x="108" y="70"/>
                  </a:lnTo>
                  <a:lnTo>
                    <a:pt x="120" y="88"/>
                  </a:lnTo>
                  <a:lnTo>
                    <a:pt x="142" y="88"/>
                  </a:lnTo>
                  <a:lnTo>
                    <a:pt x="118" y="55"/>
                  </a:lnTo>
                  <a:close/>
                  <a:moveTo>
                    <a:pt x="66" y="0"/>
                  </a:moveTo>
                  <a:lnTo>
                    <a:pt x="0" y="0"/>
                  </a:lnTo>
                  <a:lnTo>
                    <a:pt x="0" y="88"/>
                  </a:lnTo>
                  <a:lnTo>
                    <a:pt x="67" y="88"/>
                  </a:lnTo>
                  <a:lnTo>
                    <a:pt x="67" y="71"/>
                  </a:lnTo>
                  <a:lnTo>
                    <a:pt x="20" y="71"/>
                  </a:lnTo>
                  <a:lnTo>
                    <a:pt x="20" y="50"/>
                  </a:lnTo>
                  <a:lnTo>
                    <a:pt x="60" y="50"/>
                  </a:lnTo>
                  <a:lnTo>
                    <a:pt x="60" y="34"/>
                  </a:lnTo>
                  <a:lnTo>
                    <a:pt x="20" y="34"/>
                  </a:lnTo>
                  <a:lnTo>
                    <a:pt x="20" y="17"/>
                  </a:lnTo>
                  <a:lnTo>
                    <a:pt x="66" y="17"/>
                  </a:lnTo>
                  <a:lnTo>
                    <a:pt x="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22" name="Freeform 8"/>
            <p:cNvSpPr>
              <a:spLocks noEditPoints="1"/>
            </p:cNvSpPr>
            <p:nvPr userDrawn="1"/>
          </p:nvSpPr>
          <p:spPr bwMode="auto">
            <a:xfrm>
              <a:off x="4067175" y="114301"/>
              <a:ext cx="566738" cy="560388"/>
            </a:xfrm>
            <a:custGeom>
              <a:avLst/>
              <a:gdLst>
                <a:gd name="T0" fmla="*/ 223 w 357"/>
                <a:gd name="T1" fmla="*/ 220 h 353"/>
                <a:gd name="T2" fmla="*/ 134 w 357"/>
                <a:gd name="T3" fmla="*/ 220 h 353"/>
                <a:gd name="T4" fmla="*/ 179 w 357"/>
                <a:gd name="T5" fmla="*/ 100 h 353"/>
                <a:gd name="T6" fmla="*/ 223 w 357"/>
                <a:gd name="T7" fmla="*/ 220 h 353"/>
                <a:gd name="T8" fmla="*/ 357 w 357"/>
                <a:gd name="T9" fmla="*/ 353 h 353"/>
                <a:gd name="T10" fmla="*/ 230 w 357"/>
                <a:gd name="T11" fmla="*/ 0 h 353"/>
                <a:gd name="T12" fmla="*/ 127 w 357"/>
                <a:gd name="T13" fmla="*/ 0 h 353"/>
                <a:gd name="T14" fmla="*/ 0 w 357"/>
                <a:gd name="T15" fmla="*/ 353 h 353"/>
                <a:gd name="T16" fmla="*/ 91 w 357"/>
                <a:gd name="T17" fmla="*/ 353 h 353"/>
                <a:gd name="T18" fmla="*/ 113 w 357"/>
                <a:gd name="T19" fmla="*/ 291 h 353"/>
                <a:gd name="T20" fmla="*/ 245 w 357"/>
                <a:gd name="T21" fmla="*/ 291 h 353"/>
                <a:gd name="T22" fmla="*/ 267 w 357"/>
                <a:gd name="T23" fmla="*/ 353 h 353"/>
                <a:gd name="T24" fmla="*/ 357 w 357"/>
                <a:gd name="T25"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7" h="353">
                  <a:moveTo>
                    <a:pt x="223" y="220"/>
                  </a:moveTo>
                  <a:lnTo>
                    <a:pt x="134" y="220"/>
                  </a:lnTo>
                  <a:lnTo>
                    <a:pt x="179" y="100"/>
                  </a:lnTo>
                  <a:lnTo>
                    <a:pt x="223" y="220"/>
                  </a:lnTo>
                  <a:close/>
                  <a:moveTo>
                    <a:pt x="357" y="353"/>
                  </a:moveTo>
                  <a:lnTo>
                    <a:pt x="230" y="0"/>
                  </a:lnTo>
                  <a:lnTo>
                    <a:pt x="127" y="0"/>
                  </a:lnTo>
                  <a:lnTo>
                    <a:pt x="0" y="353"/>
                  </a:lnTo>
                  <a:lnTo>
                    <a:pt x="91" y="353"/>
                  </a:lnTo>
                  <a:lnTo>
                    <a:pt x="113" y="291"/>
                  </a:lnTo>
                  <a:lnTo>
                    <a:pt x="245" y="291"/>
                  </a:lnTo>
                  <a:lnTo>
                    <a:pt x="267" y="353"/>
                  </a:lnTo>
                  <a:lnTo>
                    <a:pt x="357" y="3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23" name="Freeform 9"/>
            <p:cNvSpPr>
              <a:spLocks noEditPoints="1"/>
            </p:cNvSpPr>
            <p:nvPr userDrawn="1"/>
          </p:nvSpPr>
          <p:spPr bwMode="auto">
            <a:xfrm>
              <a:off x="4686300" y="114301"/>
              <a:ext cx="858838" cy="560388"/>
            </a:xfrm>
            <a:custGeom>
              <a:avLst/>
              <a:gdLst>
                <a:gd name="T0" fmla="*/ 541 w 541"/>
                <a:gd name="T1" fmla="*/ 75 h 353"/>
                <a:gd name="T2" fmla="*/ 541 w 541"/>
                <a:gd name="T3" fmla="*/ 0 h 353"/>
                <a:gd name="T4" fmla="*/ 303 w 541"/>
                <a:gd name="T5" fmla="*/ 0 h 353"/>
                <a:gd name="T6" fmla="*/ 303 w 541"/>
                <a:gd name="T7" fmla="*/ 353 h 353"/>
                <a:gd name="T8" fmla="*/ 541 w 541"/>
                <a:gd name="T9" fmla="*/ 353 h 353"/>
                <a:gd name="T10" fmla="*/ 541 w 541"/>
                <a:gd name="T11" fmla="*/ 278 h 353"/>
                <a:gd name="T12" fmla="*/ 388 w 541"/>
                <a:gd name="T13" fmla="*/ 278 h 353"/>
                <a:gd name="T14" fmla="*/ 388 w 541"/>
                <a:gd name="T15" fmla="*/ 210 h 353"/>
                <a:gd name="T16" fmla="*/ 536 w 541"/>
                <a:gd name="T17" fmla="*/ 210 h 353"/>
                <a:gd name="T18" fmla="*/ 536 w 541"/>
                <a:gd name="T19" fmla="*/ 139 h 353"/>
                <a:gd name="T20" fmla="*/ 388 w 541"/>
                <a:gd name="T21" fmla="*/ 139 h 353"/>
                <a:gd name="T22" fmla="*/ 388 w 541"/>
                <a:gd name="T23" fmla="*/ 75 h 353"/>
                <a:gd name="T24" fmla="*/ 541 w 541"/>
                <a:gd name="T25" fmla="*/ 75 h 353"/>
                <a:gd name="T26" fmla="*/ 239 w 541"/>
                <a:gd name="T27" fmla="*/ 75 h 353"/>
                <a:gd name="T28" fmla="*/ 239 w 541"/>
                <a:gd name="T29" fmla="*/ 0 h 353"/>
                <a:gd name="T30" fmla="*/ 0 w 541"/>
                <a:gd name="T31" fmla="*/ 0 h 353"/>
                <a:gd name="T32" fmla="*/ 0 w 541"/>
                <a:gd name="T33" fmla="*/ 353 h 353"/>
                <a:gd name="T34" fmla="*/ 239 w 541"/>
                <a:gd name="T35" fmla="*/ 353 h 353"/>
                <a:gd name="T36" fmla="*/ 239 w 541"/>
                <a:gd name="T37" fmla="*/ 278 h 353"/>
                <a:gd name="T38" fmla="*/ 85 w 541"/>
                <a:gd name="T39" fmla="*/ 278 h 353"/>
                <a:gd name="T40" fmla="*/ 85 w 541"/>
                <a:gd name="T41" fmla="*/ 210 h 353"/>
                <a:gd name="T42" fmla="*/ 235 w 541"/>
                <a:gd name="T43" fmla="*/ 210 h 353"/>
                <a:gd name="T44" fmla="*/ 235 w 541"/>
                <a:gd name="T45" fmla="*/ 139 h 353"/>
                <a:gd name="T46" fmla="*/ 85 w 541"/>
                <a:gd name="T47" fmla="*/ 139 h 353"/>
                <a:gd name="T48" fmla="*/ 85 w 541"/>
                <a:gd name="T49" fmla="*/ 75 h 353"/>
                <a:gd name="T50" fmla="*/ 239 w 541"/>
                <a:gd name="T51" fmla="*/ 75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1" h="353">
                  <a:moveTo>
                    <a:pt x="541" y="75"/>
                  </a:moveTo>
                  <a:lnTo>
                    <a:pt x="541" y="0"/>
                  </a:lnTo>
                  <a:lnTo>
                    <a:pt x="303" y="0"/>
                  </a:lnTo>
                  <a:lnTo>
                    <a:pt x="303" y="353"/>
                  </a:lnTo>
                  <a:lnTo>
                    <a:pt x="541" y="353"/>
                  </a:lnTo>
                  <a:lnTo>
                    <a:pt x="541" y="278"/>
                  </a:lnTo>
                  <a:lnTo>
                    <a:pt x="388" y="278"/>
                  </a:lnTo>
                  <a:lnTo>
                    <a:pt x="388" y="210"/>
                  </a:lnTo>
                  <a:lnTo>
                    <a:pt x="536" y="210"/>
                  </a:lnTo>
                  <a:lnTo>
                    <a:pt x="536" y="139"/>
                  </a:lnTo>
                  <a:lnTo>
                    <a:pt x="388" y="139"/>
                  </a:lnTo>
                  <a:lnTo>
                    <a:pt x="388" y="75"/>
                  </a:lnTo>
                  <a:lnTo>
                    <a:pt x="541" y="75"/>
                  </a:lnTo>
                  <a:close/>
                  <a:moveTo>
                    <a:pt x="239" y="75"/>
                  </a:moveTo>
                  <a:lnTo>
                    <a:pt x="239" y="0"/>
                  </a:lnTo>
                  <a:lnTo>
                    <a:pt x="0" y="0"/>
                  </a:lnTo>
                  <a:lnTo>
                    <a:pt x="0" y="353"/>
                  </a:lnTo>
                  <a:lnTo>
                    <a:pt x="239" y="353"/>
                  </a:lnTo>
                  <a:lnTo>
                    <a:pt x="239" y="278"/>
                  </a:lnTo>
                  <a:lnTo>
                    <a:pt x="85" y="278"/>
                  </a:lnTo>
                  <a:lnTo>
                    <a:pt x="85" y="210"/>
                  </a:lnTo>
                  <a:lnTo>
                    <a:pt x="235" y="210"/>
                  </a:lnTo>
                  <a:lnTo>
                    <a:pt x="235" y="139"/>
                  </a:lnTo>
                  <a:lnTo>
                    <a:pt x="85" y="139"/>
                  </a:lnTo>
                  <a:lnTo>
                    <a:pt x="85" y="75"/>
                  </a:lnTo>
                  <a:lnTo>
                    <a:pt x="23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grpSp>
    </p:spTree>
    <p:extLst>
      <p:ext uri="{BB962C8B-B14F-4D97-AF65-F5344CB8AC3E}">
        <p14:creationId xmlns:p14="http://schemas.microsoft.com/office/powerpoint/2010/main" val="3450656780"/>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secHead" preserve="1">
  <p:cSld name="Section Header 2n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573882"/>
            <a:ext cx="7487081" cy="602326"/>
          </a:xfrm>
          <a:solidFill>
            <a:srgbClr val="B1059D"/>
          </a:solidFill>
        </p:spPr>
        <p:txBody>
          <a:bodyPr lIns="540000" rIns="540000" anchor="t"/>
          <a:lstStyle>
            <a:lvl1pPr algn="l">
              <a:defRPr sz="3299" b="1" cap="none"/>
            </a:lvl1pPr>
          </a:lstStyle>
          <a:p>
            <a:r>
              <a:rPr lang="en-US" dirty="0"/>
              <a:t>Click to add title</a:t>
            </a:r>
          </a:p>
        </p:txBody>
      </p:sp>
      <p:sp>
        <p:nvSpPr>
          <p:cNvPr id="3" name="Text Placeholder 2"/>
          <p:cNvSpPr>
            <a:spLocks noGrp="1"/>
          </p:cNvSpPr>
          <p:nvPr>
            <p:ph type="body" idx="1" hasCustomPrompt="1"/>
          </p:nvPr>
        </p:nvSpPr>
        <p:spPr>
          <a:xfrm>
            <a:off x="4572001" y="2842022"/>
            <a:ext cx="4572000" cy="567811"/>
          </a:xfrm>
          <a:solidFill>
            <a:srgbClr val="000000">
              <a:alpha val="89804"/>
            </a:srgbClr>
          </a:solidFill>
        </p:spPr>
        <p:txBody>
          <a:bodyPr wrap="square" lIns="324000" tIns="144000" rIns="324000" bIns="144000" anchor="t" anchorCtr="0">
            <a:spAutoFit/>
          </a:bodyPr>
          <a:lstStyle>
            <a:lvl1pPr marL="0" indent="0" algn="r">
              <a:buNone/>
              <a:defRPr sz="1800" b="1" i="0">
                <a:solidFill>
                  <a:schemeClr val="bg1"/>
                </a:solidFill>
              </a:defRPr>
            </a:lvl1pPr>
            <a:lvl2pPr marL="342809" indent="0">
              <a:buNone/>
              <a:defRPr sz="1350">
                <a:solidFill>
                  <a:schemeClr val="tx1">
                    <a:tint val="75000"/>
                  </a:schemeClr>
                </a:solidFill>
              </a:defRPr>
            </a:lvl2pPr>
            <a:lvl3pPr marL="685617" indent="0">
              <a:buNone/>
              <a:defRPr sz="1200">
                <a:solidFill>
                  <a:schemeClr val="tx1">
                    <a:tint val="75000"/>
                  </a:schemeClr>
                </a:solidFill>
              </a:defRPr>
            </a:lvl3pPr>
            <a:lvl4pPr marL="1028426" indent="0">
              <a:buNone/>
              <a:defRPr sz="1050">
                <a:solidFill>
                  <a:schemeClr val="tx1">
                    <a:tint val="75000"/>
                  </a:schemeClr>
                </a:solidFill>
              </a:defRPr>
            </a:lvl4pPr>
            <a:lvl5pPr marL="1371234" indent="0">
              <a:buNone/>
              <a:defRPr sz="1050">
                <a:solidFill>
                  <a:schemeClr val="tx1">
                    <a:tint val="75000"/>
                  </a:schemeClr>
                </a:solidFill>
              </a:defRPr>
            </a:lvl5pPr>
            <a:lvl6pPr marL="1714043" indent="0">
              <a:buNone/>
              <a:defRPr sz="1050">
                <a:solidFill>
                  <a:schemeClr val="tx1">
                    <a:tint val="75000"/>
                  </a:schemeClr>
                </a:solidFill>
              </a:defRPr>
            </a:lvl6pPr>
            <a:lvl7pPr marL="2056851" indent="0">
              <a:buNone/>
              <a:defRPr sz="1050">
                <a:solidFill>
                  <a:schemeClr val="tx1">
                    <a:tint val="75000"/>
                  </a:schemeClr>
                </a:solidFill>
              </a:defRPr>
            </a:lvl7pPr>
            <a:lvl8pPr marL="2399660" indent="0">
              <a:buNone/>
              <a:defRPr sz="1050">
                <a:solidFill>
                  <a:schemeClr val="tx1">
                    <a:tint val="75000"/>
                  </a:schemeClr>
                </a:solidFill>
              </a:defRPr>
            </a:lvl8pPr>
            <a:lvl9pPr marL="2742468" indent="0">
              <a:buNone/>
              <a:defRPr sz="1050">
                <a:solidFill>
                  <a:schemeClr val="tx1">
                    <a:tint val="75000"/>
                  </a:schemeClr>
                </a:solidFill>
              </a:defRPr>
            </a:lvl9pPr>
          </a:lstStyle>
          <a:p>
            <a:pPr lvl="0"/>
            <a:r>
              <a:rPr lang="en-US" dirty="0"/>
              <a:t>Click to add text</a:t>
            </a:r>
          </a:p>
        </p:txBody>
      </p:sp>
      <p:sp>
        <p:nvSpPr>
          <p:cNvPr id="4" name="Date Placeholder 3"/>
          <p:cNvSpPr>
            <a:spLocks noGrp="1"/>
          </p:cNvSpPr>
          <p:nvPr>
            <p:ph type="dt" sz="half" idx="10"/>
          </p:nvPr>
        </p:nvSpPr>
        <p:spPr/>
        <p:txBody>
          <a:bodyPr/>
          <a:lstStyle>
            <a:lvl1pPr>
              <a:defRPr>
                <a:solidFill>
                  <a:schemeClr val="bg1"/>
                </a:solidFill>
              </a:defRPr>
            </a:lvl1pPr>
          </a:lstStyle>
          <a:p>
            <a:fld id="{9CED520D-8421-4CF6-AF1D-0C747F0DA6FC}" type="datetime1">
              <a:rPr lang="fi-FI" smtClean="0"/>
              <a:t>5.11.2023</a:t>
            </a:fld>
            <a:endParaRPr lang="en-US" dirty="0"/>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 Aalto University Executive Education</a:t>
            </a:r>
            <a:endParaRPr lang="en-US"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FCCA222D-FCF7-48C1-A274-EBDDEF75DC66}" type="slidenum">
              <a:rPr lang="en-US" smtClean="0"/>
              <a:pPr/>
              <a:t>‹#›</a:t>
            </a:fld>
            <a:endParaRPr lang="en-US" dirty="0"/>
          </a:p>
        </p:txBody>
      </p:sp>
      <p:grpSp>
        <p:nvGrpSpPr>
          <p:cNvPr id="12" name="Group 11"/>
          <p:cNvGrpSpPr>
            <a:grpSpLocks noChangeAspect="1"/>
          </p:cNvGrpSpPr>
          <p:nvPr userDrawn="1"/>
        </p:nvGrpSpPr>
        <p:grpSpPr>
          <a:xfrm>
            <a:off x="7595548" y="249492"/>
            <a:ext cx="1294116" cy="199800"/>
            <a:chOff x="4067175" y="114301"/>
            <a:chExt cx="3630613" cy="560388"/>
          </a:xfrm>
          <a:solidFill>
            <a:schemeClr val="bg1"/>
          </a:solidFill>
          <a:effectLst>
            <a:outerShdw blurRad="190500" algn="ctr" rotWithShape="0">
              <a:prstClr val="black">
                <a:alpha val="30000"/>
              </a:prstClr>
            </a:outerShdw>
          </a:effectLst>
        </p:grpSpPr>
        <p:sp>
          <p:nvSpPr>
            <p:cNvPr id="13" name="Freeform 6"/>
            <p:cNvSpPr>
              <a:spLocks noEditPoints="1"/>
            </p:cNvSpPr>
            <p:nvPr userDrawn="1"/>
          </p:nvSpPr>
          <p:spPr bwMode="auto">
            <a:xfrm>
              <a:off x="5749925" y="114301"/>
              <a:ext cx="1530350" cy="173038"/>
            </a:xfrm>
            <a:custGeom>
              <a:avLst/>
              <a:gdLst>
                <a:gd name="T0" fmla="*/ 922 w 964"/>
                <a:gd name="T1" fmla="*/ 84 h 109"/>
                <a:gd name="T2" fmla="*/ 918 w 964"/>
                <a:gd name="T3" fmla="*/ 109 h 109"/>
                <a:gd name="T4" fmla="*/ 944 w 964"/>
                <a:gd name="T5" fmla="*/ 25 h 109"/>
                <a:gd name="T6" fmla="*/ 860 w 964"/>
                <a:gd name="T7" fmla="*/ 68 h 109"/>
                <a:gd name="T8" fmla="*/ 890 w 964"/>
                <a:gd name="T9" fmla="*/ 89 h 109"/>
                <a:gd name="T10" fmla="*/ 890 w 964"/>
                <a:gd name="T11" fmla="*/ 39 h 109"/>
                <a:gd name="T12" fmla="*/ 819 w 964"/>
                <a:gd name="T13" fmla="*/ 89 h 109"/>
                <a:gd name="T14" fmla="*/ 793 w 964"/>
                <a:gd name="T15" fmla="*/ 26 h 109"/>
                <a:gd name="T16" fmla="*/ 753 w 964"/>
                <a:gd name="T17" fmla="*/ 33 h 109"/>
                <a:gd name="T18" fmla="*/ 757 w 964"/>
                <a:gd name="T19" fmla="*/ 58 h 109"/>
                <a:gd name="T20" fmla="*/ 788 w 964"/>
                <a:gd name="T21" fmla="*/ 72 h 109"/>
                <a:gd name="T22" fmla="*/ 767 w 964"/>
                <a:gd name="T23" fmla="*/ 70 h 109"/>
                <a:gd name="T24" fmla="*/ 772 w 964"/>
                <a:gd name="T25" fmla="*/ 90 h 109"/>
                <a:gd name="T26" fmla="*/ 806 w 964"/>
                <a:gd name="T27" fmla="*/ 73 h 109"/>
                <a:gd name="T28" fmla="*/ 788 w 964"/>
                <a:gd name="T29" fmla="*/ 49 h 109"/>
                <a:gd name="T30" fmla="*/ 777 w 964"/>
                <a:gd name="T31" fmla="*/ 37 h 109"/>
                <a:gd name="T32" fmla="*/ 700 w 964"/>
                <a:gd name="T33" fmla="*/ 89 h 109"/>
                <a:gd name="T34" fmla="*/ 729 w 964"/>
                <a:gd name="T35" fmla="*/ 42 h 109"/>
                <a:gd name="T36" fmla="*/ 723 w 964"/>
                <a:gd name="T37" fmla="*/ 27 h 109"/>
                <a:gd name="T38" fmla="*/ 643 w 964"/>
                <a:gd name="T39" fmla="*/ 42 h 109"/>
                <a:gd name="T40" fmla="*/ 666 w 964"/>
                <a:gd name="T41" fmla="*/ 44 h 109"/>
                <a:gd name="T42" fmla="*/ 682 w 964"/>
                <a:gd name="T43" fmla="*/ 38 h 109"/>
                <a:gd name="T44" fmla="*/ 647 w 964"/>
                <a:gd name="T45" fmla="*/ 24 h 109"/>
                <a:gd name="T46" fmla="*/ 623 w 964"/>
                <a:gd name="T47" fmla="*/ 46 h 109"/>
                <a:gd name="T48" fmla="*/ 641 w 964"/>
                <a:gd name="T49" fmla="*/ 88 h 109"/>
                <a:gd name="T50" fmla="*/ 679 w 964"/>
                <a:gd name="T51" fmla="*/ 82 h 109"/>
                <a:gd name="T52" fmla="*/ 656 w 964"/>
                <a:gd name="T53" fmla="*/ 76 h 109"/>
                <a:gd name="T54" fmla="*/ 687 w 964"/>
                <a:gd name="T55" fmla="*/ 62 h 109"/>
                <a:gd name="T56" fmla="*/ 575 w 964"/>
                <a:gd name="T57" fmla="*/ 89 h 109"/>
                <a:gd name="T58" fmla="*/ 521 w 964"/>
                <a:gd name="T59" fmla="*/ 89 h 109"/>
                <a:gd name="T60" fmla="*/ 467 w 964"/>
                <a:gd name="T61" fmla="*/ 42 h 109"/>
                <a:gd name="T62" fmla="*/ 483 w 964"/>
                <a:gd name="T63" fmla="*/ 44 h 109"/>
                <a:gd name="T64" fmla="*/ 497 w 964"/>
                <a:gd name="T65" fmla="*/ 29 h 109"/>
                <a:gd name="T66" fmla="*/ 463 w 964"/>
                <a:gd name="T67" fmla="*/ 25 h 109"/>
                <a:gd name="T68" fmla="*/ 398 w 964"/>
                <a:gd name="T69" fmla="*/ 73 h 109"/>
                <a:gd name="T70" fmla="*/ 376 w 964"/>
                <a:gd name="T71" fmla="*/ 63 h 109"/>
                <a:gd name="T72" fmla="*/ 364 w 964"/>
                <a:gd name="T73" fmla="*/ 81 h 109"/>
                <a:gd name="T74" fmla="*/ 406 w 964"/>
                <a:gd name="T75" fmla="*/ 89 h 109"/>
                <a:gd name="T76" fmla="*/ 427 w 964"/>
                <a:gd name="T77" fmla="*/ 60 h 109"/>
                <a:gd name="T78" fmla="*/ 292 w 964"/>
                <a:gd name="T79" fmla="*/ 49 h 109"/>
                <a:gd name="T80" fmla="*/ 284 w 964"/>
                <a:gd name="T81" fmla="*/ 74 h 109"/>
                <a:gd name="T82" fmla="*/ 263 w 964"/>
                <a:gd name="T83" fmla="*/ 61 h 109"/>
                <a:gd name="T84" fmla="*/ 274 w 964"/>
                <a:gd name="T85" fmla="*/ 38 h 109"/>
                <a:gd name="T86" fmla="*/ 247 w 964"/>
                <a:gd name="T87" fmla="*/ 40 h 109"/>
                <a:gd name="T88" fmla="*/ 249 w 964"/>
                <a:gd name="T89" fmla="*/ 76 h 109"/>
                <a:gd name="T90" fmla="*/ 291 w 964"/>
                <a:gd name="T91" fmla="*/ 88 h 109"/>
                <a:gd name="T92" fmla="*/ 311 w 964"/>
                <a:gd name="T93" fmla="*/ 57 h 109"/>
                <a:gd name="T94" fmla="*/ 291 w 964"/>
                <a:gd name="T95" fmla="*/ 26 h 109"/>
                <a:gd name="T96" fmla="*/ 196 w 964"/>
                <a:gd name="T97" fmla="*/ 26 h 109"/>
                <a:gd name="T98" fmla="*/ 214 w 964"/>
                <a:gd name="T99" fmla="*/ 88 h 109"/>
                <a:gd name="T100" fmla="*/ 224 w 964"/>
                <a:gd name="T101" fmla="*/ 70 h 109"/>
                <a:gd name="T102" fmla="*/ 184 w 964"/>
                <a:gd name="T103" fmla="*/ 0 h 109"/>
                <a:gd name="T104" fmla="*/ 108 w 964"/>
                <a:gd name="T105" fmla="*/ 71 h 109"/>
                <a:gd name="T106" fmla="*/ 110 w 964"/>
                <a:gd name="T107" fmla="*/ 45 h 109"/>
                <a:gd name="T108" fmla="*/ 130 w 964"/>
                <a:gd name="T109" fmla="*/ 41 h 109"/>
                <a:gd name="T110" fmla="*/ 103 w 964"/>
                <a:gd name="T111" fmla="*/ 52 h 109"/>
                <a:gd name="T112" fmla="*/ 91 w 964"/>
                <a:gd name="T113" fmla="*/ 79 h 109"/>
                <a:gd name="T114" fmla="*/ 123 w 964"/>
                <a:gd name="T115" fmla="*/ 89 h 109"/>
                <a:gd name="T116" fmla="*/ 149 w 964"/>
                <a:gd name="T117" fmla="*/ 42 h 109"/>
                <a:gd name="T118" fmla="*/ 115 w 964"/>
                <a:gd name="T119" fmla="*/ 23 h 109"/>
                <a:gd name="T120" fmla="*/ 93 w 964"/>
                <a:gd name="T121" fmla="*/ 45 h 109"/>
                <a:gd name="T122" fmla="*/ 56 w 964"/>
                <a:gd name="T1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4" h="109">
                  <a:moveTo>
                    <a:pt x="944" y="25"/>
                  </a:moveTo>
                  <a:lnTo>
                    <a:pt x="936" y="54"/>
                  </a:lnTo>
                  <a:lnTo>
                    <a:pt x="933" y="68"/>
                  </a:lnTo>
                  <a:lnTo>
                    <a:pt x="932" y="65"/>
                  </a:lnTo>
                  <a:lnTo>
                    <a:pt x="928" y="54"/>
                  </a:lnTo>
                  <a:lnTo>
                    <a:pt x="919" y="25"/>
                  </a:lnTo>
                  <a:lnTo>
                    <a:pt x="899" y="25"/>
                  </a:lnTo>
                  <a:lnTo>
                    <a:pt x="920" y="79"/>
                  </a:lnTo>
                  <a:lnTo>
                    <a:pt x="922" y="84"/>
                  </a:lnTo>
                  <a:lnTo>
                    <a:pt x="922" y="87"/>
                  </a:lnTo>
                  <a:lnTo>
                    <a:pt x="922" y="90"/>
                  </a:lnTo>
                  <a:lnTo>
                    <a:pt x="920" y="93"/>
                  </a:lnTo>
                  <a:lnTo>
                    <a:pt x="919" y="94"/>
                  </a:lnTo>
                  <a:lnTo>
                    <a:pt x="917" y="94"/>
                  </a:lnTo>
                  <a:lnTo>
                    <a:pt x="913" y="95"/>
                  </a:lnTo>
                  <a:lnTo>
                    <a:pt x="907" y="95"/>
                  </a:lnTo>
                  <a:lnTo>
                    <a:pt x="907" y="109"/>
                  </a:lnTo>
                  <a:lnTo>
                    <a:pt x="918" y="109"/>
                  </a:lnTo>
                  <a:lnTo>
                    <a:pt x="923" y="109"/>
                  </a:lnTo>
                  <a:lnTo>
                    <a:pt x="927" y="108"/>
                  </a:lnTo>
                  <a:lnTo>
                    <a:pt x="930" y="107"/>
                  </a:lnTo>
                  <a:lnTo>
                    <a:pt x="933" y="105"/>
                  </a:lnTo>
                  <a:lnTo>
                    <a:pt x="935" y="103"/>
                  </a:lnTo>
                  <a:lnTo>
                    <a:pt x="937" y="100"/>
                  </a:lnTo>
                  <a:lnTo>
                    <a:pt x="941" y="89"/>
                  </a:lnTo>
                  <a:lnTo>
                    <a:pt x="964" y="25"/>
                  </a:lnTo>
                  <a:lnTo>
                    <a:pt x="944" y="25"/>
                  </a:lnTo>
                  <a:close/>
                  <a:moveTo>
                    <a:pt x="890" y="26"/>
                  </a:moveTo>
                  <a:lnTo>
                    <a:pt x="879" y="26"/>
                  </a:lnTo>
                  <a:lnTo>
                    <a:pt x="879" y="5"/>
                  </a:lnTo>
                  <a:lnTo>
                    <a:pt x="860" y="5"/>
                  </a:lnTo>
                  <a:lnTo>
                    <a:pt x="860" y="26"/>
                  </a:lnTo>
                  <a:lnTo>
                    <a:pt x="851" y="26"/>
                  </a:lnTo>
                  <a:lnTo>
                    <a:pt x="851" y="39"/>
                  </a:lnTo>
                  <a:lnTo>
                    <a:pt x="860" y="39"/>
                  </a:lnTo>
                  <a:lnTo>
                    <a:pt x="860" y="68"/>
                  </a:lnTo>
                  <a:lnTo>
                    <a:pt x="860" y="74"/>
                  </a:lnTo>
                  <a:lnTo>
                    <a:pt x="861" y="79"/>
                  </a:lnTo>
                  <a:lnTo>
                    <a:pt x="862" y="82"/>
                  </a:lnTo>
                  <a:lnTo>
                    <a:pt x="863" y="84"/>
                  </a:lnTo>
                  <a:lnTo>
                    <a:pt x="866" y="86"/>
                  </a:lnTo>
                  <a:lnTo>
                    <a:pt x="869" y="88"/>
                  </a:lnTo>
                  <a:lnTo>
                    <a:pt x="873" y="88"/>
                  </a:lnTo>
                  <a:lnTo>
                    <a:pt x="879" y="89"/>
                  </a:lnTo>
                  <a:lnTo>
                    <a:pt x="890" y="89"/>
                  </a:lnTo>
                  <a:lnTo>
                    <a:pt x="890" y="75"/>
                  </a:lnTo>
                  <a:lnTo>
                    <a:pt x="883" y="75"/>
                  </a:lnTo>
                  <a:lnTo>
                    <a:pt x="881" y="74"/>
                  </a:lnTo>
                  <a:lnTo>
                    <a:pt x="880" y="74"/>
                  </a:lnTo>
                  <a:lnTo>
                    <a:pt x="879" y="73"/>
                  </a:lnTo>
                  <a:lnTo>
                    <a:pt x="879" y="70"/>
                  </a:lnTo>
                  <a:lnTo>
                    <a:pt x="879" y="64"/>
                  </a:lnTo>
                  <a:lnTo>
                    <a:pt x="879" y="39"/>
                  </a:lnTo>
                  <a:lnTo>
                    <a:pt x="890" y="39"/>
                  </a:lnTo>
                  <a:lnTo>
                    <a:pt x="890" y="26"/>
                  </a:lnTo>
                  <a:close/>
                  <a:moveTo>
                    <a:pt x="838" y="0"/>
                  </a:moveTo>
                  <a:lnTo>
                    <a:pt x="819" y="0"/>
                  </a:lnTo>
                  <a:lnTo>
                    <a:pt x="819" y="16"/>
                  </a:lnTo>
                  <a:lnTo>
                    <a:pt x="838" y="16"/>
                  </a:lnTo>
                  <a:lnTo>
                    <a:pt x="838" y="0"/>
                  </a:lnTo>
                  <a:close/>
                  <a:moveTo>
                    <a:pt x="838" y="25"/>
                  </a:moveTo>
                  <a:lnTo>
                    <a:pt x="819" y="25"/>
                  </a:lnTo>
                  <a:lnTo>
                    <a:pt x="819" y="89"/>
                  </a:lnTo>
                  <a:lnTo>
                    <a:pt x="838" y="89"/>
                  </a:lnTo>
                  <a:lnTo>
                    <a:pt x="838" y="25"/>
                  </a:lnTo>
                  <a:close/>
                  <a:moveTo>
                    <a:pt x="806" y="44"/>
                  </a:moveTo>
                  <a:lnTo>
                    <a:pt x="805" y="39"/>
                  </a:lnTo>
                  <a:lnTo>
                    <a:pt x="803" y="35"/>
                  </a:lnTo>
                  <a:lnTo>
                    <a:pt x="800" y="31"/>
                  </a:lnTo>
                  <a:lnTo>
                    <a:pt x="797" y="28"/>
                  </a:lnTo>
                  <a:lnTo>
                    <a:pt x="795" y="27"/>
                  </a:lnTo>
                  <a:lnTo>
                    <a:pt x="793" y="26"/>
                  </a:lnTo>
                  <a:lnTo>
                    <a:pt x="789" y="24"/>
                  </a:lnTo>
                  <a:lnTo>
                    <a:pt x="783" y="23"/>
                  </a:lnTo>
                  <a:lnTo>
                    <a:pt x="777" y="23"/>
                  </a:lnTo>
                  <a:lnTo>
                    <a:pt x="771" y="23"/>
                  </a:lnTo>
                  <a:lnTo>
                    <a:pt x="766" y="24"/>
                  </a:lnTo>
                  <a:lnTo>
                    <a:pt x="761" y="26"/>
                  </a:lnTo>
                  <a:lnTo>
                    <a:pt x="757" y="29"/>
                  </a:lnTo>
                  <a:lnTo>
                    <a:pt x="754" y="32"/>
                  </a:lnTo>
                  <a:lnTo>
                    <a:pt x="753" y="33"/>
                  </a:lnTo>
                  <a:lnTo>
                    <a:pt x="752" y="35"/>
                  </a:lnTo>
                  <a:lnTo>
                    <a:pt x="751" y="39"/>
                  </a:lnTo>
                  <a:lnTo>
                    <a:pt x="750" y="44"/>
                  </a:lnTo>
                  <a:lnTo>
                    <a:pt x="750" y="47"/>
                  </a:lnTo>
                  <a:lnTo>
                    <a:pt x="751" y="50"/>
                  </a:lnTo>
                  <a:lnTo>
                    <a:pt x="752" y="52"/>
                  </a:lnTo>
                  <a:lnTo>
                    <a:pt x="753" y="53"/>
                  </a:lnTo>
                  <a:lnTo>
                    <a:pt x="755" y="56"/>
                  </a:lnTo>
                  <a:lnTo>
                    <a:pt x="757" y="58"/>
                  </a:lnTo>
                  <a:lnTo>
                    <a:pt x="761" y="59"/>
                  </a:lnTo>
                  <a:lnTo>
                    <a:pt x="765" y="61"/>
                  </a:lnTo>
                  <a:lnTo>
                    <a:pt x="770" y="62"/>
                  </a:lnTo>
                  <a:lnTo>
                    <a:pt x="781" y="65"/>
                  </a:lnTo>
                  <a:lnTo>
                    <a:pt x="785" y="66"/>
                  </a:lnTo>
                  <a:lnTo>
                    <a:pt x="787" y="67"/>
                  </a:lnTo>
                  <a:lnTo>
                    <a:pt x="788" y="69"/>
                  </a:lnTo>
                  <a:lnTo>
                    <a:pt x="788" y="71"/>
                  </a:lnTo>
                  <a:lnTo>
                    <a:pt x="788" y="72"/>
                  </a:lnTo>
                  <a:lnTo>
                    <a:pt x="788" y="73"/>
                  </a:lnTo>
                  <a:lnTo>
                    <a:pt x="786" y="75"/>
                  </a:lnTo>
                  <a:lnTo>
                    <a:pt x="783" y="76"/>
                  </a:lnTo>
                  <a:lnTo>
                    <a:pt x="779" y="77"/>
                  </a:lnTo>
                  <a:lnTo>
                    <a:pt x="774" y="76"/>
                  </a:lnTo>
                  <a:lnTo>
                    <a:pt x="772" y="76"/>
                  </a:lnTo>
                  <a:lnTo>
                    <a:pt x="770" y="75"/>
                  </a:lnTo>
                  <a:lnTo>
                    <a:pt x="767" y="72"/>
                  </a:lnTo>
                  <a:lnTo>
                    <a:pt x="767" y="70"/>
                  </a:lnTo>
                  <a:lnTo>
                    <a:pt x="766" y="68"/>
                  </a:lnTo>
                  <a:lnTo>
                    <a:pt x="748" y="68"/>
                  </a:lnTo>
                  <a:lnTo>
                    <a:pt x="749" y="73"/>
                  </a:lnTo>
                  <a:lnTo>
                    <a:pt x="751" y="77"/>
                  </a:lnTo>
                  <a:lnTo>
                    <a:pt x="754" y="81"/>
                  </a:lnTo>
                  <a:lnTo>
                    <a:pt x="757" y="84"/>
                  </a:lnTo>
                  <a:lnTo>
                    <a:pt x="761" y="87"/>
                  </a:lnTo>
                  <a:lnTo>
                    <a:pt x="766" y="89"/>
                  </a:lnTo>
                  <a:lnTo>
                    <a:pt x="772" y="90"/>
                  </a:lnTo>
                  <a:lnTo>
                    <a:pt x="778" y="90"/>
                  </a:lnTo>
                  <a:lnTo>
                    <a:pt x="785" y="90"/>
                  </a:lnTo>
                  <a:lnTo>
                    <a:pt x="790" y="89"/>
                  </a:lnTo>
                  <a:lnTo>
                    <a:pt x="795" y="87"/>
                  </a:lnTo>
                  <a:lnTo>
                    <a:pt x="799" y="84"/>
                  </a:lnTo>
                  <a:lnTo>
                    <a:pt x="803" y="81"/>
                  </a:lnTo>
                  <a:lnTo>
                    <a:pt x="805" y="78"/>
                  </a:lnTo>
                  <a:lnTo>
                    <a:pt x="806" y="75"/>
                  </a:lnTo>
                  <a:lnTo>
                    <a:pt x="806" y="73"/>
                  </a:lnTo>
                  <a:lnTo>
                    <a:pt x="807" y="68"/>
                  </a:lnTo>
                  <a:lnTo>
                    <a:pt x="807" y="65"/>
                  </a:lnTo>
                  <a:lnTo>
                    <a:pt x="806" y="61"/>
                  </a:lnTo>
                  <a:lnTo>
                    <a:pt x="804" y="58"/>
                  </a:lnTo>
                  <a:lnTo>
                    <a:pt x="802" y="56"/>
                  </a:lnTo>
                  <a:lnTo>
                    <a:pt x="800" y="54"/>
                  </a:lnTo>
                  <a:lnTo>
                    <a:pt x="797" y="52"/>
                  </a:lnTo>
                  <a:lnTo>
                    <a:pt x="793" y="51"/>
                  </a:lnTo>
                  <a:lnTo>
                    <a:pt x="788" y="49"/>
                  </a:lnTo>
                  <a:lnTo>
                    <a:pt x="776" y="47"/>
                  </a:lnTo>
                  <a:lnTo>
                    <a:pt x="772" y="46"/>
                  </a:lnTo>
                  <a:lnTo>
                    <a:pt x="770" y="45"/>
                  </a:lnTo>
                  <a:lnTo>
                    <a:pt x="768" y="44"/>
                  </a:lnTo>
                  <a:lnTo>
                    <a:pt x="768" y="42"/>
                  </a:lnTo>
                  <a:lnTo>
                    <a:pt x="769" y="40"/>
                  </a:lnTo>
                  <a:lnTo>
                    <a:pt x="771" y="38"/>
                  </a:lnTo>
                  <a:lnTo>
                    <a:pt x="773" y="37"/>
                  </a:lnTo>
                  <a:lnTo>
                    <a:pt x="777" y="37"/>
                  </a:lnTo>
                  <a:lnTo>
                    <a:pt x="781" y="37"/>
                  </a:lnTo>
                  <a:lnTo>
                    <a:pt x="783" y="38"/>
                  </a:lnTo>
                  <a:lnTo>
                    <a:pt x="785" y="39"/>
                  </a:lnTo>
                  <a:lnTo>
                    <a:pt x="786" y="40"/>
                  </a:lnTo>
                  <a:lnTo>
                    <a:pt x="787" y="41"/>
                  </a:lnTo>
                  <a:lnTo>
                    <a:pt x="788" y="44"/>
                  </a:lnTo>
                  <a:lnTo>
                    <a:pt x="806" y="44"/>
                  </a:lnTo>
                  <a:close/>
                  <a:moveTo>
                    <a:pt x="700" y="25"/>
                  </a:moveTo>
                  <a:lnTo>
                    <a:pt x="700" y="89"/>
                  </a:lnTo>
                  <a:lnTo>
                    <a:pt x="719" y="89"/>
                  </a:lnTo>
                  <a:lnTo>
                    <a:pt x="719" y="71"/>
                  </a:lnTo>
                  <a:lnTo>
                    <a:pt x="719" y="56"/>
                  </a:lnTo>
                  <a:lnTo>
                    <a:pt x="720" y="52"/>
                  </a:lnTo>
                  <a:lnTo>
                    <a:pt x="721" y="48"/>
                  </a:lnTo>
                  <a:lnTo>
                    <a:pt x="722" y="46"/>
                  </a:lnTo>
                  <a:lnTo>
                    <a:pt x="724" y="45"/>
                  </a:lnTo>
                  <a:lnTo>
                    <a:pt x="727" y="42"/>
                  </a:lnTo>
                  <a:lnTo>
                    <a:pt x="729" y="42"/>
                  </a:lnTo>
                  <a:lnTo>
                    <a:pt x="731" y="41"/>
                  </a:lnTo>
                  <a:lnTo>
                    <a:pt x="735" y="40"/>
                  </a:lnTo>
                  <a:lnTo>
                    <a:pt x="740" y="41"/>
                  </a:lnTo>
                  <a:lnTo>
                    <a:pt x="740" y="23"/>
                  </a:lnTo>
                  <a:lnTo>
                    <a:pt x="735" y="23"/>
                  </a:lnTo>
                  <a:lnTo>
                    <a:pt x="731" y="24"/>
                  </a:lnTo>
                  <a:lnTo>
                    <a:pt x="728" y="24"/>
                  </a:lnTo>
                  <a:lnTo>
                    <a:pt x="725" y="26"/>
                  </a:lnTo>
                  <a:lnTo>
                    <a:pt x="723" y="27"/>
                  </a:lnTo>
                  <a:lnTo>
                    <a:pt x="721" y="30"/>
                  </a:lnTo>
                  <a:lnTo>
                    <a:pt x="719" y="33"/>
                  </a:lnTo>
                  <a:lnTo>
                    <a:pt x="718" y="36"/>
                  </a:lnTo>
                  <a:lnTo>
                    <a:pt x="718" y="25"/>
                  </a:lnTo>
                  <a:lnTo>
                    <a:pt x="700" y="25"/>
                  </a:lnTo>
                  <a:close/>
                  <a:moveTo>
                    <a:pt x="640" y="49"/>
                  </a:moveTo>
                  <a:lnTo>
                    <a:pt x="641" y="46"/>
                  </a:lnTo>
                  <a:lnTo>
                    <a:pt x="642" y="44"/>
                  </a:lnTo>
                  <a:lnTo>
                    <a:pt x="643" y="42"/>
                  </a:lnTo>
                  <a:lnTo>
                    <a:pt x="645" y="40"/>
                  </a:lnTo>
                  <a:lnTo>
                    <a:pt x="647" y="39"/>
                  </a:lnTo>
                  <a:lnTo>
                    <a:pt x="649" y="38"/>
                  </a:lnTo>
                  <a:lnTo>
                    <a:pt x="655" y="37"/>
                  </a:lnTo>
                  <a:lnTo>
                    <a:pt x="660" y="38"/>
                  </a:lnTo>
                  <a:lnTo>
                    <a:pt x="662" y="39"/>
                  </a:lnTo>
                  <a:lnTo>
                    <a:pt x="663" y="40"/>
                  </a:lnTo>
                  <a:lnTo>
                    <a:pt x="665" y="42"/>
                  </a:lnTo>
                  <a:lnTo>
                    <a:pt x="666" y="44"/>
                  </a:lnTo>
                  <a:lnTo>
                    <a:pt x="667" y="46"/>
                  </a:lnTo>
                  <a:lnTo>
                    <a:pt x="667" y="49"/>
                  </a:lnTo>
                  <a:lnTo>
                    <a:pt x="640" y="49"/>
                  </a:lnTo>
                  <a:close/>
                  <a:moveTo>
                    <a:pt x="687" y="62"/>
                  </a:moveTo>
                  <a:lnTo>
                    <a:pt x="686" y="56"/>
                  </a:lnTo>
                  <a:lnTo>
                    <a:pt x="686" y="51"/>
                  </a:lnTo>
                  <a:lnTo>
                    <a:pt x="685" y="47"/>
                  </a:lnTo>
                  <a:lnTo>
                    <a:pt x="684" y="43"/>
                  </a:lnTo>
                  <a:lnTo>
                    <a:pt x="682" y="38"/>
                  </a:lnTo>
                  <a:lnTo>
                    <a:pt x="679" y="34"/>
                  </a:lnTo>
                  <a:lnTo>
                    <a:pt x="676" y="31"/>
                  </a:lnTo>
                  <a:lnTo>
                    <a:pt x="673" y="28"/>
                  </a:lnTo>
                  <a:lnTo>
                    <a:pt x="669" y="26"/>
                  </a:lnTo>
                  <a:lnTo>
                    <a:pt x="667" y="25"/>
                  </a:lnTo>
                  <a:lnTo>
                    <a:pt x="665" y="24"/>
                  </a:lnTo>
                  <a:lnTo>
                    <a:pt x="660" y="23"/>
                  </a:lnTo>
                  <a:lnTo>
                    <a:pt x="655" y="23"/>
                  </a:lnTo>
                  <a:lnTo>
                    <a:pt x="647" y="24"/>
                  </a:lnTo>
                  <a:lnTo>
                    <a:pt x="641" y="26"/>
                  </a:lnTo>
                  <a:lnTo>
                    <a:pt x="638" y="27"/>
                  </a:lnTo>
                  <a:lnTo>
                    <a:pt x="635" y="29"/>
                  </a:lnTo>
                  <a:lnTo>
                    <a:pt x="630" y="32"/>
                  </a:lnTo>
                  <a:lnTo>
                    <a:pt x="628" y="35"/>
                  </a:lnTo>
                  <a:lnTo>
                    <a:pt x="627" y="37"/>
                  </a:lnTo>
                  <a:lnTo>
                    <a:pt x="625" y="40"/>
                  </a:lnTo>
                  <a:lnTo>
                    <a:pt x="624" y="43"/>
                  </a:lnTo>
                  <a:lnTo>
                    <a:pt x="623" y="46"/>
                  </a:lnTo>
                  <a:lnTo>
                    <a:pt x="622" y="50"/>
                  </a:lnTo>
                  <a:lnTo>
                    <a:pt x="621" y="53"/>
                  </a:lnTo>
                  <a:lnTo>
                    <a:pt x="621" y="57"/>
                  </a:lnTo>
                  <a:lnTo>
                    <a:pt x="622" y="64"/>
                  </a:lnTo>
                  <a:lnTo>
                    <a:pt x="624" y="71"/>
                  </a:lnTo>
                  <a:lnTo>
                    <a:pt x="626" y="76"/>
                  </a:lnTo>
                  <a:lnTo>
                    <a:pt x="630" y="81"/>
                  </a:lnTo>
                  <a:lnTo>
                    <a:pt x="635" y="85"/>
                  </a:lnTo>
                  <a:lnTo>
                    <a:pt x="641" y="88"/>
                  </a:lnTo>
                  <a:lnTo>
                    <a:pt x="644" y="89"/>
                  </a:lnTo>
                  <a:lnTo>
                    <a:pt x="647" y="90"/>
                  </a:lnTo>
                  <a:lnTo>
                    <a:pt x="650" y="90"/>
                  </a:lnTo>
                  <a:lnTo>
                    <a:pt x="655" y="90"/>
                  </a:lnTo>
                  <a:lnTo>
                    <a:pt x="661" y="90"/>
                  </a:lnTo>
                  <a:lnTo>
                    <a:pt x="666" y="89"/>
                  </a:lnTo>
                  <a:lnTo>
                    <a:pt x="671" y="87"/>
                  </a:lnTo>
                  <a:lnTo>
                    <a:pt x="675" y="85"/>
                  </a:lnTo>
                  <a:lnTo>
                    <a:pt x="679" y="82"/>
                  </a:lnTo>
                  <a:lnTo>
                    <a:pt x="680" y="80"/>
                  </a:lnTo>
                  <a:lnTo>
                    <a:pt x="682" y="78"/>
                  </a:lnTo>
                  <a:lnTo>
                    <a:pt x="684" y="74"/>
                  </a:lnTo>
                  <a:lnTo>
                    <a:pt x="686" y="70"/>
                  </a:lnTo>
                  <a:lnTo>
                    <a:pt x="667" y="70"/>
                  </a:lnTo>
                  <a:lnTo>
                    <a:pt x="665" y="73"/>
                  </a:lnTo>
                  <a:lnTo>
                    <a:pt x="662" y="74"/>
                  </a:lnTo>
                  <a:lnTo>
                    <a:pt x="659" y="75"/>
                  </a:lnTo>
                  <a:lnTo>
                    <a:pt x="656" y="76"/>
                  </a:lnTo>
                  <a:lnTo>
                    <a:pt x="653" y="76"/>
                  </a:lnTo>
                  <a:lnTo>
                    <a:pt x="649" y="75"/>
                  </a:lnTo>
                  <a:lnTo>
                    <a:pt x="647" y="74"/>
                  </a:lnTo>
                  <a:lnTo>
                    <a:pt x="645" y="72"/>
                  </a:lnTo>
                  <a:lnTo>
                    <a:pt x="643" y="70"/>
                  </a:lnTo>
                  <a:lnTo>
                    <a:pt x="642" y="68"/>
                  </a:lnTo>
                  <a:lnTo>
                    <a:pt x="641" y="65"/>
                  </a:lnTo>
                  <a:lnTo>
                    <a:pt x="640" y="62"/>
                  </a:lnTo>
                  <a:lnTo>
                    <a:pt x="687" y="62"/>
                  </a:lnTo>
                  <a:close/>
                  <a:moveTo>
                    <a:pt x="593" y="89"/>
                  </a:moveTo>
                  <a:lnTo>
                    <a:pt x="614" y="25"/>
                  </a:lnTo>
                  <a:lnTo>
                    <a:pt x="594" y="25"/>
                  </a:lnTo>
                  <a:lnTo>
                    <a:pt x="588" y="49"/>
                  </a:lnTo>
                  <a:lnTo>
                    <a:pt x="584" y="68"/>
                  </a:lnTo>
                  <a:lnTo>
                    <a:pt x="579" y="49"/>
                  </a:lnTo>
                  <a:lnTo>
                    <a:pt x="571" y="25"/>
                  </a:lnTo>
                  <a:lnTo>
                    <a:pt x="552" y="25"/>
                  </a:lnTo>
                  <a:lnTo>
                    <a:pt x="575" y="89"/>
                  </a:lnTo>
                  <a:lnTo>
                    <a:pt x="593" y="89"/>
                  </a:lnTo>
                  <a:close/>
                  <a:moveTo>
                    <a:pt x="540" y="0"/>
                  </a:moveTo>
                  <a:lnTo>
                    <a:pt x="521" y="0"/>
                  </a:lnTo>
                  <a:lnTo>
                    <a:pt x="521" y="16"/>
                  </a:lnTo>
                  <a:lnTo>
                    <a:pt x="540" y="16"/>
                  </a:lnTo>
                  <a:lnTo>
                    <a:pt x="540" y="0"/>
                  </a:lnTo>
                  <a:close/>
                  <a:moveTo>
                    <a:pt x="540" y="25"/>
                  </a:moveTo>
                  <a:lnTo>
                    <a:pt x="521" y="25"/>
                  </a:lnTo>
                  <a:lnTo>
                    <a:pt x="521" y="89"/>
                  </a:lnTo>
                  <a:lnTo>
                    <a:pt x="540" y="89"/>
                  </a:lnTo>
                  <a:lnTo>
                    <a:pt x="540" y="25"/>
                  </a:lnTo>
                  <a:close/>
                  <a:moveTo>
                    <a:pt x="445" y="25"/>
                  </a:moveTo>
                  <a:lnTo>
                    <a:pt x="445" y="89"/>
                  </a:lnTo>
                  <a:lnTo>
                    <a:pt x="464" y="89"/>
                  </a:lnTo>
                  <a:lnTo>
                    <a:pt x="464" y="53"/>
                  </a:lnTo>
                  <a:lnTo>
                    <a:pt x="465" y="46"/>
                  </a:lnTo>
                  <a:lnTo>
                    <a:pt x="465" y="44"/>
                  </a:lnTo>
                  <a:lnTo>
                    <a:pt x="467" y="42"/>
                  </a:lnTo>
                  <a:lnTo>
                    <a:pt x="468" y="41"/>
                  </a:lnTo>
                  <a:lnTo>
                    <a:pt x="470" y="40"/>
                  </a:lnTo>
                  <a:lnTo>
                    <a:pt x="472" y="39"/>
                  </a:lnTo>
                  <a:lnTo>
                    <a:pt x="475" y="39"/>
                  </a:lnTo>
                  <a:lnTo>
                    <a:pt x="477" y="39"/>
                  </a:lnTo>
                  <a:lnTo>
                    <a:pt x="479" y="40"/>
                  </a:lnTo>
                  <a:lnTo>
                    <a:pt x="481" y="41"/>
                  </a:lnTo>
                  <a:lnTo>
                    <a:pt x="482" y="43"/>
                  </a:lnTo>
                  <a:lnTo>
                    <a:pt x="483" y="44"/>
                  </a:lnTo>
                  <a:lnTo>
                    <a:pt x="484" y="47"/>
                  </a:lnTo>
                  <a:lnTo>
                    <a:pt x="484" y="54"/>
                  </a:lnTo>
                  <a:lnTo>
                    <a:pt x="484" y="89"/>
                  </a:lnTo>
                  <a:lnTo>
                    <a:pt x="503" y="89"/>
                  </a:lnTo>
                  <a:lnTo>
                    <a:pt x="503" y="47"/>
                  </a:lnTo>
                  <a:lnTo>
                    <a:pt x="503" y="42"/>
                  </a:lnTo>
                  <a:lnTo>
                    <a:pt x="502" y="37"/>
                  </a:lnTo>
                  <a:lnTo>
                    <a:pt x="500" y="33"/>
                  </a:lnTo>
                  <a:lnTo>
                    <a:pt x="497" y="29"/>
                  </a:lnTo>
                  <a:lnTo>
                    <a:pt x="494" y="27"/>
                  </a:lnTo>
                  <a:lnTo>
                    <a:pt x="490" y="25"/>
                  </a:lnTo>
                  <a:lnTo>
                    <a:pt x="486" y="23"/>
                  </a:lnTo>
                  <a:lnTo>
                    <a:pt x="481" y="23"/>
                  </a:lnTo>
                  <a:lnTo>
                    <a:pt x="476" y="23"/>
                  </a:lnTo>
                  <a:lnTo>
                    <a:pt x="472" y="25"/>
                  </a:lnTo>
                  <a:lnTo>
                    <a:pt x="468" y="27"/>
                  </a:lnTo>
                  <a:lnTo>
                    <a:pt x="463" y="31"/>
                  </a:lnTo>
                  <a:lnTo>
                    <a:pt x="463" y="25"/>
                  </a:lnTo>
                  <a:lnTo>
                    <a:pt x="445" y="25"/>
                  </a:lnTo>
                  <a:close/>
                  <a:moveTo>
                    <a:pt x="407" y="0"/>
                  </a:moveTo>
                  <a:lnTo>
                    <a:pt x="407" y="59"/>
                  </a:lnTo>
                  <a:lnTo>
                    <a:pt x="407" y="63"/>
                  </a:lnTo>
                  <a:lnTo>
                    <a:pt x="406" y="66"/>
                  </a:lnTo>
                  <a:lnTo>
                    <a:pt x="405" y="68"/>
                  </a:lnTo>
                  <a:lnTo>
                    <a:pt x="404" y="70"/>
                  </a:lnTo>
                  <a:lnTo>
                    <a:pt x="401" y="72"/>
                  </a:lnTo>
                  <a:lnTo>
                    <a:pt x="398" y="73"/>
                  </a:lnTo>
                  <a:lnTo>
                    <a:pt x="395" y="74"/>
                  </a:lnTo>
                  <a:lnTo>
                    <a:pt x="392" y="74"/>
                  </a:lnTo>
                  <a:lnTo>
                    <a:pt x="388" y="74"/>
                  </a:lnTo>
                  <a:lnTo>
                    <a:pt x="385" y="73"/>
                  </a:lnTo>
                  <a:lnTo>
                    <a:pt x="382" y="72"/>
                  </a:lnTo>
                  <a:lnTo>
                    <a:pt x="380" y="70"/>
                  </a:lnTo>
                  <a:lnTo>
                    <a:pt x="378" y="68"/>
                  </a:lnTo>
                  <a:lnTo>
                    <a:pt x="377" y="66"/>
                  </a:lnTo>
                  <a:lnTo>
                    <a:pt x="376" y="63"/>
                  </a:lnTo>
                  <a:lnTo>
                    <a:pt x="376" y="59"/>
                  </a:lnTo>
                  <a:lnTo>
                    <a:pt x="376" y="0"/>
                  </a:lnTo>
                  <a:lnTo>
                    <a:pt x="356" y="0"/>
                  </a:lnTo>
                  <a:lnTo>
                    <a:pt x="356" y="60"/>
                  </a:lnTo>
                  <a:lnTo>
                    <a:pt x="357" y="68"/>
                  </a:lnTo>
                  <a:lnTo>
                    <a:pt x="359" y="74"/>
                  </a:lnTo>
                  <a:lnTo>
                    <a:pt x="360" y="77"/>
                  </a:lnTo>
                  <a:lnTo>
                    <a:pt x="362" y="79"/>
                  </a:lnTo>
                  <a:lnTo>
                    <a:pt x="364" y="81"/>
                  </a:lnTo>
                  <a:lnTo>
                    <a:pt x="366" y="83"/>
                  </a:lnTo>
                  <a:lnTo>
                    <a:pt x="371" y="86"/>
                  </a:lnTo>
                  <a:lnTo>
                    <a:pt x="374" y="88"/>
                  </a:lnTo>
                  <a:lnTo>
                    <a:pt x="378" y="89"/>
                  </a:lnTo>
                  <a:lnTo>
                    <a:pt x="384" y="90"/>
                  </a:lnTo>
                  <a:lnTo>
                    <a:pt x="392" y="91"/>
                  </a:lnTo>
                  <a:lnTo>
                    <a:pt x="399" y="90"/>
                  </a:lnTo>
                  <a:lnTo>
                    <a:pt x="403" y="90"/>
                  </a:lnTo>
                  <a:lnTo>
                    <a:pt x="406" y="89"/>
                  </a:lnTo>
                  <a:lnTo>
                    <a:pt x="412" y="86"/>
                  </a:lnTo>
                  <a:lnTo>
                    <a:pt x="418" y="83"/>
                  </a:lnTo>
                  <a:lnTo>
                    <a:pt x="420" y="81"/>
                  </a:lnTo>
                  <a:lnTo>
                    <a:pt x="422" y="79"/>
                  </a:lnTo>
                  <a:lnTo>
                    <a:pt x="424" y="77"/>
                  </a:lnTo>
                  <a:lnTo>
                    <a:pt x="425" y="74"/>
                  </a:lnTo>
                  <a:lnTo>
                    <a:pt x="427" y="68"/>
                  </a:lnTo>
                  <a:lnTo>
                    <a:pt x="427" y="64"/>
                  </a:lnTo>
                  <a:lnTo>
                    <a:pt x="427" y="60"/>
                  </a:lnTo>
                  <a:lnTo>
                    <a:pt x="427" y="0"/>
                  </a:lnTo>
                  <a:lnTo>
                    <a:pt x="407" y="0"/>
                  </a:lnTo>
                  <a:close/>
                  <a:moveTo>
                    <a:pt x="277" y="38"/>
                  </a:moveTo>
                  <a:lnTo>
                    <a:pt x="281" y="38"/>
                  </a:lnTo>
                  <a:lnTo>
                    <a:pt x="284" y="39"/>
                  </a:lnTo>
                  <a:lnTo>
                    <a:pt x="286" y="41"/>
                  </a:lnTo>
                  <a:lnTo>
                    <a:pt x="289" y="43"/>
                  </a:lnTo>
                  <a:lnTo>
                    <a:pt x="290" y="46"/>
                  </a:lnTo>
                  <a:lnTo>
                    <a:pt x="292" y="49"/>
                  </a:lnTo>
                  <a:lnTo>
                    <a:pt x="292" y="53"/>
                  </a:lnTo>
                  <a:lnTo>
                    <a:pt x="293" y="57"/>
                  </a:lnTo>
                  <a:lnTo>
                    <a:pt x="292" y="61"/>
                  </a:lnTo>
                  <a:lnTo>
                    <a:pt x="292" y="65"/>
                  </a:lnTo>
                  <a:lnTo>
                    <a:pt x="290" y="68"/>
                  </a:lnTo>
                  <a:lnTo>
                    <a:pt x="289" y="71"/>
                  </a:lnTo>
                  <a:lnTo>
                    <a:pt x="288" y="72"/>
                  </a:lnTo>
                  <a:lnTo>
                    <a:pt x="286" y="73"/>
                  </a:lnTo>
                  <a:lnTo>
                    <a:pt x="284" y="74"/>
                  </a:lnTo>
                  <a:lnTo>
                    <a:pt x="281" y="75"/>
                  </a:lnTo>
                  <a:lnTo>
                    <a:pt x="277" y="75"/>
                  </a:lnTo>
                  <a:lnTo>
                    <a:pt x="274" y="75"/>
                  </a:lnTo>
                  <a:lnTo>
                    <a:pt x="271" y="74"/>
                  </a:lnTo>
                  <a:lnTo>
                    <a:pt x="269" y="73"/>
                  </a:lnTo>
                  <a:lnTo>
                    <a:pt x="266" y="71"/>
                  </a:lnTo>
                  <a:lnTo>
                    <a:pt x="265" y="68"/>
                  </a:lnTo>
                  <a:lnTo>
                    <a:pt x="264" y="65"/>
                  </a:lnTo>
                  <a:lnTo>
                    <a:pt x="263" y="61"/>
                  </a:lnTo>
                  <a:lnTo>
                    <a:pt x="263" y="57"/>
                  </a:lnTo>
                  <a:lnTo>
                    <a:pt x="263" y="52"/>
                  </a:lnTo>
                  <a:lnTo>
                    <a:pt x="264" y="49"/>
                  </a:lnTo>
                  <a:lnTo>
                    <a:pt x="265" y="46"/>
                  </a:lnTo>
                  <a:lnTo>
                    <a:pt x="266" y="43"/>
                  </a:lnTo>
                  <a:lnTo>
                    <a:pt x="267" y="42"/>
                  </a:lnTo>
                  <a:lnTo>
                    <a:pt x="269" y="41"/>
                  </a:lnTo>
                  <a:lnTo>
                    <a:pt x="271" y="39"/>
                  </a:lnTo>
                  <a:lnTo>
                    <a:pt x="274" y="38"/>
                  </a:lnTo>
                  <a:lnTo>
                    <a:pt x="277" y="38"/>
                  </a:lnTo>
                  <a:close/>
                  <a:moveTo>
                    <a:pt x="277" y="23"/>
                  </a:moveTo>
                  <a:lnTo>
                    <a:pt x="270" y="24"/>
                  </a:lnTo>
                  <a:lnTo>
                    <a:pt x="264" y="26"/>
                  </a:lnTo>
                  <a:lnTo>
                    <a:pt x="261" y="27"/>
                  </a:lnTo>
                  <a:lnTo>
                    <a:pt x="258" y="29"/>
                  </a:lnTo>
                  <a:lnTo>
                    <a:pt x="253" y="33"/>
                  </a:lnTo>
                  <a:lnTo>
                    <a:pt x="249" y="37"/>
                  </a:lnTo>
                  <a:lnTo>
                    <a:pt x="247" y="40"/>
                  </a:lnTo>
                  <a:lnTo>
                    <a:pt x="246" y="43"/>
                  </a:lnTo>
                  <a:lnTo>
                    <a:pt x="245" y="46"/>
                  </a:lnTo>
                  <a:lnTo>
                    <a:pt x="244" y="50"/>
                  </a:lnTo>
                  <a:lnTo>
                    <a:pt x="244" y="53"/>
                  </a:lnTo>
                  <a:lnTo>
                    <a:pt x="244" y="57"/>
                  </a:lnTo>
                  <a:lnTo>
                    <a:pt x="244" y="64"/>
                  </a:lnTo>
                  <a:lnTo>
                    <a:pt x="246" y="70"/>
                  </a:lnTo>
                  <a:lnTo>
                    <a:pt x="247" y="73"/>
                  </a:lnTo>
                  <a:lnTo>
                    <a:pt x="249" y="76"/>
                  </a:lnTo>
                  <a:lnTo>
                    <a:pt x="253" y="81"/>
                  </a:lnTo>
                  <a:lnTo>
                    <a:pt x="258" y="85"/>
                  </a:lnTo>
                  <a:lnTo>
                    <a:pt x="261" y="87"/>
                  </a:lnTo>
                  <a:lnTo>
                    <a:pt x="264" y="88"/>
                  </a:lnTo>
                  <a:lnTo>
                    <a:pt x="267" y="89"/>
                  </a:lnTo>
                  <a:lnTo>
                    <a:pt x="270" y="90"/>
                  </a:lnTo>
                  <a:lnTo>
                    <a:pt x="277" y="90"/>
                  </a:lnTo>
                  <a:lnTo>
                    <a:pt x="285" y="90"/>
                  </a:lnTo>
                  <a:lnTo>
                    <a:pt x="291" y="88"/>
                  </a:lnTo>
                  <a:lnTo>
                    <a:pt x="294" y="87"/>
                  </a:lnTo>
                  <a:lnTo>
                    <a:pt x="297" y="85"/>
                  </a:lnTo>
                  <a:lnTo>
                    <a:pt x="302" y="81"/>
                  </a:lnTo>
                  <a:lnTo>
                    <a:pt x="306" y="76"/>
                  </a:lnTo>
                  <a:lnTo>
                    <a:pt x="308" y="73"/>
                  </a:lnTo>
                  <a:lnTo>
                    <a:pt x="309" y="71"/>
                  </a:lnTo>
                  <a:lnTo>
                    <a:pt x="311" y="64"/>
                  </a:lnTo>
                  <a:lnTo>
                    <a:pt x="311" y="61"/>
                  </a:lnTo>
                  <a:lnTo>
                    <a:pt x="311" y="57"/>
                  </a:lnTo>
                  <a:lnTo>
                    <a:pt x="311" y="53"/>
                  </a:lnTo>
                  <a:lnTo>
                    <a:pt x="311" y="50"/>
                  </a:lnTo>
                  <a:lnTo>
                    <a:pt x="309" y="43"/>
                  </a:lnTo>
                  <a:lnTo>
                    <a:pt x="308" y="40"/>
                  </a:lnTo>
                  <a:lnTo>
                    <a:pt x="306" y="37"/>
                  </a:lnTo>
                  <a:lnTo>
                    <a:pt x="302" y="33"/>
                  </a:lnTo>
                  <a:lnTo>
                    <a:pt x="297" y="29"/>
                  </a:lnTo>
                  <a:lnTo>
                    <a:pt x="294" y="27"/>
                  </a:lnTo>
                  <a:lnTo>
                    <a:pt x="291" y="26"/>
                  </a:lnTo>
                  <a:lnTo>
                    <a:pt x="288" y="24"/>
                  </a:lnTo>
                  <a:lnTo>
                    <a:pt x="285" y="24"/>
                  </a:lnTo>
                  <a:lnTo>
                    <a:pt x="277" y="23"/>
                  </a:lnTo>
                  <a:close/>
                  <a:moveTo>
                    <a:pt x="235" y="26"/>
                  </a:moveTo>
                  <a:lnTo>
                    <a:pt x="224" y="26"/>
                  </a:lnTo>
                  <a:lnTo>
                    <a:pt x="224" y="5"/>
                  </a:lnTo>
                  <a:lnTo>
                    <a:pt x="205" y="5"/>
                  </a:lnTo>
                  <a:lnTo>
                    <a:pt x="205" y="26"/>
                  </a:lnTo>
                  <a:lnTo>
                    <a:pt x="196" y="26"/>
                  </a:lnTo>
                  <a:lnTo>
                    <a:pt x="196" y="39"/>
                  </a:lnTo>
                  <a:lnTo>
                    <a:pt x="205" y="39"/>
                  </a:lnTo>
                  <a:lnTo>
                    <a:pt x="205" y="68"/>
                  </a:lnTo>
                  <a:lnTo>
                    <a:pt x="205" y="74"/>
                  </a:lnTo>
                  <a:lnTo>
                    <a:pt x="206" y="79"/>
                  </a:lnTo>
                  <a:lnTo>
                    <a:pt x="207" y="82"/>
                  </a:lnTo>
                  <a:lnTo>
                    <a:pt x="209" y="84"/>
                  </a:lnTo>
                  <a:lnTo>
                    <a:pt x="211" y="86"/>
                  </a:lnTo>
                  <a:lnTo>
                    <a:pt x="214" y="88"/>
                  </a:lnTo>
                  <a:lnTo>
                    <a:pt x="218" y="88"/>
                  </a:lnTo>
                  <a:lnTo>
                    <a:pt x="224" y="89"/>
                  </a:lnTo>
                  <a:lnTo>
                    <a:pt x="235" y="89"/>
                  </a:lnTo>
                  <a:lnTo>
                    <a:pt x="235" y="75"/>
                  </a:lnTo>
                  <a:lnTo>
                    <a:pt x="228" y="75"/>
                  </a:lnTo>
                  <a:lnTo>
                    <a:pt x="226" y="74"/>
                  </a:lnTo>
                  <a:lnTo>
                    <a:pt x="225" y="74"/>
                  </a:lnTo>
                  <a:lnTo>
                    <a:pt x="224" y="73"/>
                  </a:lnTo>
                  <a:lnTo>
                    <a:pt x="224" y="70"/>
                  </a:lnTo>
                  <a:lnTo>
                    <a:pt x="224" y="64"/>
                  </a:lnTo>
                  <a:lnTo>
                    <a:pt x="224" y="39"/>
                  </a:lnTo>
                  <a:lnTo>
                    <a:pt x="235" y="39"/>
                  </a:lnTo>
                  <a:lnTo>
                    <a:pt x="235" y="26"/>
                  </a:lnTo>
                  <a:close/>
                  <a:moveTo>
                    <a:pt x="184" y="0"/>
                  </a:moveTo>
                  <a:lnTo>
                    <a:pt x="166" y="0"/>
                  </a:lnTo>
                  <a:lnTo>
                    <a:pt x="166" y="89"/>
                  </a:lnTo>
                  <a:lnTo>
                    <a:pt x="184" y="89"/>
                  </a:lnTo>
                  <a:lnTo>
                    <a:pt x="184" y="0"/>
                  </a:lnTo>
                  <a:close/>
                  <a:moveTo>
                    <a:pt x="131" y="68"/>
                  </a:moveTo>
                  <a:lnTo>
                    <a:pt x="129" y="72"/>
                  </a:lnTo>
                  <a:lnTo>
                    <a:pt x="126" y="74"/>
                  </a:lnTo>
                  <a:lnTo>
                    <a:pt x="122" y="76"/>
                  </a:lnTo>
                  <a:lnTo>
                    <a:pt x="117" y="76"/>
                  </a:lnTo>
                  <a:lnTo>
                    <a:pt x="114" y="76"/>
                  </a:lnTo>
                  <a:lnTo>
                    <a:pt x="111" y="74"/>
                  </a:lnTo>
                  <a:lnTo>
                    <a:pt x="109" y="72"/>
                  </a:lnTo>
                  <a:lnTo>
                    <a:pt x="108" y="71"/>
                  </a:lnTo>
                  <a:lnTo>
                    <a:pt x="108" y="69"/>
                  </a:lnTo>
                  <a:lnTo>
                    <a:pt x="109" y="67"/>
                  </a:lnTo>
                  <a:lnTo>
                    <a:pt x="110" y="65"/>
                  </a:lnTo>
                  <a:lnTo>
                    <a:pt x="113" y="63"/>
                  </a:lnTo>
                  <a:lnTo>
                    <a:pt x="118" y="62"/>
                  </a:lnTo>
                  <a:lnTo>
                    <a:pt x="124" y="60"/>
                  </a:lnTo>
                  <a:lnTo>
                    <a:pt x="131" y="58"/>
                  </a:lnTo>
                  <a:lnTo>
                    <a:pt x="131" y="68"/>
                  </a:lnTo>
                  <a:close/>
                  <a:moveTo>
                    <a:pt x="110" y="45"/>
                  </a:moveTo>
                  <a:lnTo>
                    <a:pt x="110" y="43"/>
                  </a:lnTo>
                  <a:lnTo>
                    <a:pt x="111" y="42"/>
                  </a:lnTo>
                  <a:lnTo>
                    <a:pt x="112" y="40"/>
                  </a:lnTo>
                  <a:lnTo>
                    <a:pt x="113" y="39"/>
                  </a:lnTo>
                  <a:lnTo>
                    <a:pt x="116" y="38"/>
                  </a:lnTo>
                  <a:lnTo>
                    <a:pt x="121" y="37"/>
                  </a:lnTo>
                  <a:lnTo>
                    <a:pt x="125" y="38"/>
                  </a:lnTo>
                  <a:lnTo>
                    <a:pt x="128" y="39"/>
                  </a:lnTo>
                  <a:lnTo>
                    <a:pt x="130" y="41"/>
                  </a:lnTo>
                  <a:lnTo>
                    <a:pt x="131" y="42"/>
                  </a:lnTo>
                  <a:lnTo>
                    <a:pt x="131" y="43"/>
                  </a:lnTo>
                  <a:lnTo>
                    <a:pt x="130" y="45"/>
                  </a:lnTo>
                  <a:lnTo>
                    <a:pt x="129" y="46"/>
                  </a:lnTo>
                  <a:lnTo>
                    <a:pt x="128" y="47"/>
                  </a:lnTo>
                  <a:lnTo>
                    <a:pt x="125" y="48"/>
                  </a:lnTo>
                  <a:lnTo>
                    <a:pt x="115" y="49"/>
                  </a:lnTo>
                  <a:lnTo>
                    <a:pt x="109" y="51"/>
                  </a:lnTo>
                  <a:lnTo>
                    <a:pt x="103" y="52"/>
                  </a:lnTo>
                  <a:lnTo>
                    <a:pt x="99" y="54"/>
                  </a:lnTo>
                  <a:lnTo>
                    <a:pt x="95" y="56"/>
                  </a:lnTo>
                  <a:lnTo>
                    <a:pt x="93" y="59"/>
                  </a:lnTo>
                  <a:lnTo>
                    <a:pt x="92" y="61"/>
                  </a:lnTo>
                  <a:lnTo>
                    <a:pt x="91" y="62"/>
                  </a:lnTo>
                  <a:lnTo>
                    <a:pt x="90" y="66"/>
                  </a:lnTo>
                  <a:lnTo>
                    <a:pt x="89" y="70"/>
                  </a:lnTo>
                  <a:lnTo>
                    <a:pt x="90" y="75"/>
                  </a:lnTo>
                  <a:lnTo>
                    <a:pt x="91" y="79"/>
                  </a:lnTo>
                  <a:lnTo>
                    <a:pt x="93" y="82"/>
                  </a:lnTo>
                  <a:lnTo>
                    <a:pt x="96" y="85"/>
                  </a:lnTo>
                  <a:lnTo>
                    <a:pt x="97" y="86"/>
                  </a:lnTo>
                  <a:lnTo>
                    <a:pt x="99" y="87"/>
                  </a:lnTo>
                  <a:lnTo>
                    <a:pt x="103" y="89"/>
                  </a:lnTo>
                  <a:lnTo>
                    <a:pt x="108" y="90"/>
                  </a:lnTo>
                  <a:lnTo>
                    <a:pt x="113" y="90"/>
                  </a:lnTo>
                  <a:lnTo>
                    <a:pt x="118" y="90"/>
                  </a:lnTo>
                  <a:lnTo>
                    <a:pt x="123" y="89"/>
                  </a:lnTo>
                  <a:lnTo>
                    <a:pt x="127" y="87"/>
                  </a:lnTo>
                  <a:lnTo>
                    <a:pt x="131" y="84"/>
                  </a:lnTo>
                  <a:lnTo>
                    <a:pt x="133" y="89"/>
                  </a:lnTo>
                  <a:lnTo>
                    <a:pt x="152" y="89"/>
                  </a:lnTo>
                  <a:lnTo>
                    <a:pt x="151" y="87"/>
                  </a:lnTo>
                  <a:lnTo>
                    <a:pt x="150" y="85"/>
                  </a:lnTo>
                  <a:lnTo>
                    <a:pt x="149" y="78"/>
                  </a:lnTo>
                  <a:lnTo>
                    <a:pt x="149" y="48"/>
                  </a:lnTo>
                  <a:lnTo>
                    <a:pt x="149" y="42"/>
                  </a:lnTo>
                  <a:lnTo>
                    <a:pt x="148" y="37"/>
                  </a:lnTo>
                  <a:lnTo>
                    <a:pt x="146" y="33"/>
                  </a:lnTo>
                  <a:lnTo>
                    <a:pt x="145" y="31"/>
                  </a:lnTo>
                  <a:lnTo>
                    <a:pt x="143" y="30"/>
                  </a:lnTo>
                  <a:lnTo>
                    <a:pt x="139" y="27"/>
                  </a:lnTo>
                  <a:lnTo>
                    <a:pt x="134" y="25"/>
                  </a:lnTo>
                  <a:lnTo>
                    <a:pt x="128" y="23"/>
                  </a:lnTo>
                  <a:lnTo>
                    <a:pt x="121" y="23"/>
                  </a:lnTo>
                  <a:lnTo>
                    <a:pt x="115" y="23"/>
                  </a:lnTo>
                  <a:lnTo>
                    <a:pt x="109" y="24"/>
                  </a:lnTo>
                  <a:lnTo>
                    <a:pt x="104" y="26"/>
                  </a:lnTo>
                  <a:lnTo>
                    <a:pt x="101" y="28"/>
                  </a:lnTo>
                  <a:lnTo>
                    <a:pt x="97" y="31"/>
                  </a:lnTo>
                  <a:lnTo>
                    <a:pt x="95" y="35"/>
                  </a:lnTo>
                  <a:lnTo>
                    <a:pt x="94" y="37"/>
                  </a:lnTo>
                  <a:lnTo>
                    <a:pt x="94" y="40"/>
                  </a:lnTo>
                  <a:lnTo>
                    <a:pt x="93" y="42"/>
                  </a:lnTo>
                  <a:lnTo>
                    <a:pt x="93" y="45"/>
                  </a:lnTo>
                  <a:lnTo>
                    <a:pt x="110" y="45"/>
                  </a:lnTo>
                  <a:close/>
                  <a:moveTo>
                    <a:pt x="52" y="55"/>
                  </a:moveTo>
                  <a:lnTo>
                    <a:pt x="32" y="55"/>
                  </a:lnTo>
                  <a:lnTo>
                    <a:pt x="43" y="20"/>
                  </a:lnTo>
                  <a:lnTo>
                    <a:pt x="52" y="55"/>
                  </a:lnTo>
                  <a:close/>
                  <a:moveTo>
                    <a:pt x="57" y="71"/>
                  </a:moveTo>
                  <a:lnTo>
                    <a:pt x="61" y="89"/>
                  </a:lnTo>
                  <a:lnTo>
                    <a:pt x="84" y="89"/>
                  </a:lnTo>
                  <a:lnTo>
                    <a:pt x="56" y="0"/>
                  </a:lnTo>
                  <a:lnTo>
                    <a:pt x="31" y="0"/>
                  </a:lnTo>
                  <a:lnTo>
                    <a:pt x="0" y="89"/>
                  </a:lnTo>
                  <a:lnTo>
                    <a:pt x="22" y="89"/>
                  </a:lnTo>
                  <a:lnTo>
                    <a:pt x="27" y="71"/>
                  </a:lnTo>
                  <a:lnTo>
                    <a:pt x="57"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14" name="Freeform 7"/>
            <p:cNvSpPr>
              <a:spLocks noEditPoints="1"/>
            </p:cNvSpPr>
            <p:nvPr userDrawn="1"/>
          </p:nvSpPr>
          <p:spPr bwMode="auto">
            <a:xfrm>
              <a:off x="5756275" y="325438"/>
              <a:ext cx="1941513" cy="142875"/>
            </a:xfrm>
            <a:custGeom>
              <a:avLst/>
              <a:gdLst>
                <a:gd name="T0" fmla="*/ 1197 w 1223"/>
                <a:gd name="T1" fmla="*/ 38 h 90"/>
                <a:gd name="T2" fmla="*/ 1220 w 1223"/>
                <a:gd name="T3" fmla="*/ 32 h 90"/>
                <a:gd name="T4" fmla="*/ 1120 w 1223"/>
                <a:gd name="T5" fmla="*/ 37 h 90"/>
                <a:gd name="T6" fmla="*/ 1131 w 1223"/>
                <a:gd name="T7" fmla="*/ 70 h 90"/>
                <a:gd name="T8" fmla="*/ 1105 w 1223"/>
                <a:gd name="T9" fmla="*/ 60 h 90"/>
                <a:gd name="T10" fmla="*/ 1112 w 1223"/>
                <a:gd name="T11" fmla="*/ 23 h 90"/>
                <a:gd name="T12" fmla="*/ 1088 w 1223"/>
                <a:gd name="T13" fmla="*/ 70 h 90"/>
                <a:gd name="T14" fmla="*/ 1136 w 1223"/>
                <a:gd name="T15" fmla="*/ 86 h 90"/>
                <a:gd name="T16" fmla="*/ 1150 w 1223"/>
                <a:gd name="T17" fmla="*/ 40 h 90"/>
                <a:gd name="T18" fmla="*/ 1074 w 1223"/>
                <a:gd name="T19" fmla="*/ 15 h 90"/>
                <a:gd name="T20" fmla="*/ 1002 w 1223"/>
                <a:gd name="T21" fmla="*/ 25 h 90"/>
                <a:gd name="T22" fmla="*/ 1041 w 1223"/>
                <a:gd name="T23" fmla="*/ 88 h 90"/>
                <a:gd name="T24" fmla="*/ 967 w 1223"/>
                <a:gd name="T25" fmla="*/ 74 h 90"/>
                <a:gd name="T26" fmla="*/ 966 w 1223"/>
                <a:gd name="T27" fmla="*/ 60 h 90"/>
                <a:gd name="T28" fmla="*/ 971 w 1223"/>
                <a:gd name="T29" fmla="*/ 40 h 90"/>
                <a:gd name="T30" fmla="*/ 934 w 1223"/>
                <a:gd name="T31" fmla="*/ 59 h 90"/>
                <a:gd name="T32" fmla="*/ 954 w 1223"/>
                <a:gd name="T33" fmla="*/ 90 h 90"/>
                <a:gd name="T34" fmla="*/ 990 w 1223"/>
                <a:gd name="T35" fmla="*/ 36 h 90"/>
                <a:gd name="T36" fmla="*/ 939 w 1223"/>
                <a:gd name="T37" fmla="*/ 31 h 90"/>
                <a:gd name="T38" fmla="*/ 907 w 1223"/>
                <a:gd name="T39" fmla="*/ 26 h 90"/>
                <a:gd name="T40" fmla="*/ 859 w 1223"/>
                <a:gd name="T41" fmla="*/ 49 h 90"/>
                <a:gd name="T42" fmla="*/ 891 w 1223"/>
                <a:gd name="T43" fmla="*/ 90 h 90"/>
                <a:gd name="T44" fmla="*/ 899 w 1223"/>
                <a:gd name="T45" fmla="*/ 72 h 90"/>
                <a:gd name="T46" fmla="*/ 878 w 1223"/>
                <a:gd name="T47" fmla="*/ 56 h 90"/>
                <a:gd name="T48" fmla="*/ 900 w 1223"/>
                <a:gd name="T49" fmla="*/ 42 h 90"/>
                <a:gd name="T50" fmla="*/ 823 w 1223"/>
                <a:gd name="T51" fmla="*/ 73 h 90"/>
                <a:gd name="T52" fmla="*/ 790 w 1223"/>
                <a:gd name="T53" fmla="*/ 71 h 90"/>
                <a:gd name="T54" fmla="*/ 828 w 1223"/>
                <a:gd name="T55" fmla="*/ 83 h 90"/>
                <a:gd name="T56" fmla="*/ 756 w 1223"/>
                <a:gd name="T57" fmla="*/ 52 h 90"/>
                <a:gd name="T58" fmla="*/ 735 w 1223"/>
                <a:gd name="T59" fmla="*/ 72 h 90"/>
                <a:gd name="T60" fmla="*/ 740 w 1223"/>
                <a:gd name="T61" fmla="*/ 38 h 90"/>
                <a:gd name="T62" fmla="*/ 719 w 1223"/>
                <a:gd name="T63" fmla="*/ 32 h 90"/>
                <a:gd name="T64" fmla="*/ 723 w 1223"/>
                <a:gd name="T65" fmla="*/ 85 h 90"/>
                <a:gd name="T66" fmla="*/ 757 w 1223"/>
                <a:gd name="T67" fmla="*/ 88 h 90"/>
                <a:gd name="T68" fmla="*/ 655 w 1223"/>
                <a:gd name="T69" fmla="*/ 34 h 90"/>
                <a:gd name="T70" fmla="*/ 556 w 1223"/>
                <a:gd name="T71" fmla="*/ 38 h 90"/>
                <a:gd name="T72" fmla="*/ 580 w 1223"/>
                <a:gd name="T73" fmla="*/ 41 h 90"/>
                <a:gd name="T74" fmla="*/ 533 w 1223"/>
                <a:gd name="T75" fmla="*/ 28 h 90"/>
                <a:gd name="T76" fmla="*/ 528 w 1223"/>
                <a:gd name="T77" fmla="*/ 81 h 90"/>
                <a:gd name="T78" fmla="*/ 577 w 1223"/>
                <a:gd name="T79" fmla="*/ 80 h 90"/>
                <a:gd name="T80" fmla="*/ 543 w 1223"/>
                <a:gd name="T81" fmla="*/ 72 h 90"/>
                <a:gd name="T82" fmla="*/ 471 w 1223"/>
                <a:gd name="T83" fmla="*/ 24 h 90"/>
                <a:gd name="T84" fmla="*/ 440 w 1223"/>
                <a:gd name="T85" fmla="*/ 88 h 90"/>
                <a:gd name="T86" fmla="*/ 376 w 1223"/>
                <a:gd name="T87" fmla="*/ 78 h 90"/>
                <a:gd name="T88" fmla="*/ 394 w 1223"/>
                <a:gd name="T89" fmla="*/ 69 h 90"/>
                <a:gd name="T90" fmla="*/ 329 w 1223"/>
                <a:gd name="T91" fmla="*/ 73 h 90"/>
                <a:gd name="T92" fmla="*/ 295 w 1223"/>
                <a:gd name="T93" fmla="*/ 71 h 90"/>
                <a:gd name="T94" fmla="*/ 333 w 1223"/>
                <a:gd name="T95" fmla="*/ 83 h 90"/>
                <a:gd name="T96" fmla="*/ 259 w 1223"/>
                <a:gd name="T97" fmla="*/ 23 h 90"/>
                <a:gd name="T98" fmla="*/ 221 w 1223"/>
                <a:gd name="T99" fmla="*/ 64 h 90"/>
                <a:gd name="T100" fmla="*/ 264 w 1223"/>
                <a:gd name="T101" fmla="*/ 88 h 90"/>
                <a:gd name="T102" fmla="*/ 257 w 1223"/>
                <a:gd name="T103" fmla="*/ 74 h 90"/>
                <a:gd name="T104" fmla="*/ 240 w 1223"/>
                <a:gd name="T105" fmla="*/ 50 h 90"/>
                <a:gd name="T106" fmla="*/ 264 w 1223"/>
                <a:gd name="T107" fmla="*/ 47 h 90"/>
                <a:gd name="T108" fmla="*/ 186 w 1223"/>
                <a:gd name="T109" fmla="*/ 40 h 90"/>
                <a:gd name="T110" fmla="*/ 202 w 1223"/>
                <a:gd name="T111" fmla="*/ 33 h 90"/>
                <a:gd name="T112" fmla="*/ 152 w 1223"/>
                <a:gd name="T113" fmla="*/ 34 h 90"/>
                <a:gd name="T114" fmla="*/ 165 w 1223"/>
                <a:gd name="T115" fmla="*/ 87 h 90"/>
                <a:gd name="T116" fmla="*/ 207 w 1223"/>
                <a:gd name="T117" fmla="*/ 74 h 90"/>
                <a:gd name="T118" fmla="*/ 166 w 1223"/>
                <a:gd name="T119" fmla="*/ 67 h 90"/>
                <a:gd name="T120" fmla="*/ 96 w 1223"/>
                <a:gd name="T121" fmla="*/ 88 h 90"/>
                <a:gd name="T122" fmla="*/ 60 w 1223"/>
                <a:gd name="T123" fmla="*/ 5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3" h="90">
                  <a:moveTo>
                    <a:pt x="1165" y="24"/>
                  </a:moveTo>
                  <a:lnTo>
                    <a:pt x="1165" y="88"/>
                  </a:lnTo>
                  <a:lnTo>
                    <a:pt x="1184" y="88"/>
                  </a:lnTo>
                  <a:lnTo>
                    <a:pt x="1184" y="52"/>
                  </a:lnTo>
                  <a:lnTo>
                    <a:pt x="1184" y="46"/>
                  </a:lnTo>
                  <a:lnTo>
                    <a:pt x="1185" y="44"/>
                  </a:lnTo>
                  <a:lnTo>
                    <a:pt x="1187" y="42"/>
                  </a:lnTo>
                  <a:lnTo>
                    <a:pt x="1188" y="40"/>
                  </a:lnTo>
                  <a:lnTo>
                    <a:pt x="1190" y="39"/>
                  </a:lnTo>
                  <a:lnTo>
                    <a:pt x="1192" y="38"/>
                  </a:lnTo>
                  <a:lnTo>
                    <a:pt x="1195" y="38"/>
                  </a:lnTo>
                  <a:lnTo>
                    <a:pt x="1197" y="38"/>
                  </a:lnTo>
                  <a:lnTo>
                    <a:pt x="1199" y="39"/>
                  </a:lnTo>
                  <a:lnTo>
                    <a:pt x="1201" y="40"/>
                  </a:lnTo>
                  <a:lnTo>
                    <a:pt x="1202" y="42"/>
                  </a:lnTo>
                  <a:lnTo>
                    <a:pt x="1203" y="44"/>
                  </a:lnTo>
                  <a:lnTo>
                    <a:pt x="1204" y="46"/>
                  </a:lnTo>
                  <a:lnTo>
                    <a:pt x="1204" y="53"/>
                  </a:lnTo>
                  <a:lnTo>
                    <a:pt x="1204" y="88"/>
                  </a:lnTo>
                  <a:lnTo>
                    <a:pt x="1223" y="88"/>
                  </a:lnTo>
                  <a:lnTo>
                    <a:pt x="1223" y="47"/>
                  </a:lnTo>
                  <a:lnTo>
                    <a:pt x="1223" y="41"/>
                  </a:lnTo>
                  <a:lnTo>
                    <a:pt x="1222" y="37"/>
                  </a:lnTo>
                  <a:lnTo>
                    <a:pt x="1220" y="32"/>
                  </a:lnTo>
                  <a:lnTo>
                    <a:pt x="1217" y="29"/>
                  </a:lnTo>
                  <a:lnTo>
                    <a:pt x="1214" y="26"/>
                  </a:lnTo>
                  <a:lnTo>
                    <a:pt x="1210" y="24"/>
                  </a:lnTo>
                  <a:lnTo>
                    <a:pt x="1206" y="23"/>
                  </a:lnTo>
                  <a:lnTo>
                    <a:pt x="1201" y="22"/>
                  </a:lnTo>
                  <a:lnTo>
                    <a:pt x="1196" y="23"/>
                  </a:lnTo>
                  <a:lnTo>
                    <a:pt x="1192" y="24"/>
                  </a:lnTo>
                  <a:lnTo>
                    <a:pt x="1188" y="27"/>
                  </a:lnTo>
                  <a:lnTo>
                    <a:pt x="1183" y="30"/>
                  </a:lnTo>
                  <a:lnTo>
                    <a:pt x="1183" y="24"/>
                  </a:lnTo>
                  <a:lnTo>
                    <a:pt x="1165" y="24"/>
                  </a:lnTo>
                  <a:close/>
                  <a:moveTo>
                    <a:pt x="1120" y="37"/>
                  </a:moveTo>
                  <a:lnTo>
                    <a:pt x="1123" y="38"/>
                  </a:lnTo>
                  <a:lnTo>
                    <a:pt x="1126" y="39"/>
                  </a:lnTo>
                  <a:lnTo>
                    <a:pt x="1129" y="40"/>
                  </a:lnTo>
                  <a:lnTo>
                    <a:pt x="1131" y="42"/>
                  </a:lnTo>
                  <a:lnTo>
                    <a:pt x="1132" y="45"/>
                  </a:lnTo>
                  <a:lnTo>
                    <a:pt x="1134" y="48"/>
                  </a:lnTo>
                  <a:lnTo>
                    <a:pt x="1134" y="52"/>
                  </a:lnTo>
                  <a:lnTo>
                    <a:pt x="1135" y="57"/>
                  </a:lnTo>
                  <a:lnTo>
                    <a:pt x="1134" y="61"/>
                  </a:lnTo>
                  <a:lnTo>
                    <a:pt x="1134" y="64"/>
                  </a:lnTo>
                  <a:lnTo>
                    <a:pt x="1132" y="67"/>
                  </a:lnTo>
                  <a:lnTo>
                    <a:pt x="1131" y="70"/>
                  </a:lnTo>
                  <a:lnTo>
                    <a:pt x="1130" y="71"/>
                  </a:lnTo>
                  <a:lnTo>
                    <a:pt x="1129" y="72"/>
                  </a:lnTo>
                  <a:lnTo>
                    <a:pt x="1126" y="74"/>
                  </a:lnTo>
                  <a:lnTo>
                    <a:pt x="1123" y="75"/>
                  </a:lnTo>
                  <a:lnTo>
                    <a:pt x="1120" y="75"/>
                  </a:lnTo>
                  <a:lnTo>
                    <a:pt x="1116" y="75"/>
                  </a:lnTo>
                  <a:lnTo>
                    <a:pt x="1113" y="74"/>
                  </a:lnTo>
                  <a:lnTo>
                    <a:pt x="1111" y="72"/>
                  </a:lnTo>
                  <a:lnTo>
                    <a:pt x="1109" y="70"/>
                  </a:lnTo>
                  <a:lnTo>
                    <a:pt x="1107" y="67"/>
                  </a:lnTo>
                  <a:lnTo>
                    <a:pt x="1106" y="64"/>
                  </a:lnTo>
                  <a:lnTo>
                    <a:pt x="1105" y="60"/>
                  </a:lnTo>
                  <a:lnTo>
                    <a:pt x="1105" y="56"/>
                  </a:lnTo>
                  <a:lnTo>
                    <a:pt x="1105" y="52"/>
                  </a:lnTo>
                  <a:lnTo>
                    <a:pt x="1106" y="48"/>
                  </a:lnTo>
                  <a:lnTo>
                    <a:pt x="1107" y="45"/>
                  </a:lnTo>
                  <a:lnTo>
                    <a:pt x="1109" y="42"/>
                  </a:lnTo>
                  <a:lnTo>
                    <a:pt x="1110" y="41"/>
                  </a:lnTo>
                  <a:lnTo>
                    <a:pt x="1111" y="40"/>
                  </a:lnTo>
                  <a:lnTo>
                    <a:pt x="1113" y="39"/>
                  </a:lnTo>
                  <a:lnTo>
                    <a:pt x="1116" y="38"/>
                  </a:lnTo>
                  <a:lnTo>
                    <a:pt x="1120" y="37"/>
                  </a:lnTo>
                  <a:close/>
                  <a:moveTo>
                    <a:pt x="1120" y="23"/>
                  </a:moveTo>
                  <a:lnTo>
                    <a:pt x="1112" y="23"/>
                  </a:lnTo>
                  <a:lnTo>
                    <a:pt x="1106" y="25"/>
                  </a:lnTo>
                  <a:lnTo>
                    <a:pt x="1103" y="26"/>
                  </a:lnTo>
                  <a:lnTo>
                    <a:pt x="1100" y="28"/>
                  </a:lnTo>
                  <a:lnTo>
                    <a:pt x="1095" y="32"/>
                  </a:lnTo>
                  <a:lnTo>
                    <a:pt x="1091" y="37"/>
                  </a:lnTo>
                  <a:lnTo>
                    <a:pt x="1090" y="40"/>
                  </a:lnTo>
                  <a:lnTo>
                    <a:pt x="1088" y="43"/>
                  </a:lnTo>
                  <a:lnTo>
                    <a:pt x="1087" y="46"/>
                  </a:lnTo>
                  <a:lnTo>
                    <a:pt x="1086" y="49"/>
                  </a:lnTo>
                  <a:lnTo>
                    <a:pt x="1086" y="56"/>
                  </a:lnTo>
                  <a:lnTo>
                    <a:pt x="1086" y="63"/>
                  </a:lnTo>
                  <a:lnTo>
                    <a:pt x="1088" y="70"/>
                  </a:lnTo>
                  <a:lnTo>
                    <a:pt x="1090" y="73"/>
                  </a:lnTo>
                  <a:lnTo>
                    <a:pt x="1091" y="76"/>
                  </a:lnTo>
                  <a:lnTo>
                    <a:pt x="1095" y="80"/>
                  </a:lnTo>
                  <a:lnTo>
                    <a:pt x="1100" y="84"/>
                  </a:lnTo>
                  <a:lnTo>
                    <a:pt x="1103" y="86"/>
                  </a:lnTo>
                  <a:lnTo>
                    <a:pt x="1106" y="87"/>
                  </a:lnTo>
                  <a:lnTo>
                    <a:pt x="1109" y="88"/>
                  </a:lnTo>
                  <a:lnTo>
                    <a:pt x="1112" y="89"/>
                  </a:lnTo>
                  <a:lnTo>
                    <a:pt x="1120" y="90"/>
                  </a:lnTo>
                  <a:lnTo>
                    <a:pt x="1127" y="89"/>
                  </a:lnTo>
                  <a:lnTo>
                    <a:pt x="1133" y="87"/>
                  </a:lnTo>
                  <a:lnTo>
                    <a:pt x="1136" y="86"/>
                  </a:lnTo>
                  <a:lnTo>
                    <a:pt x="1139" y="84"/>
                  </a:lnTo>
                  <a:lnTo>
                    <a:pt x="1144" y="80"/>
                  </a:lnTo>
                  <a:lnTo>
                    <a:pt x="1148" y="76"/>
                  </a:lnTo>
                  <a:lnTo>
                    <a:pt x="1150" y="73"/>
                  </a:lnTo>
                  <a:lnTo>
                    <a:pt x="1151" y="70"/>
                  </a:lnTo>
                  <a:lnTo>
                    <a:pt x="1153" y="64"/>
                  </a:lnTo>
                  <a:lnTo>
                    <a:pt x="1153" y="60"/>
                  </a:lnTo>
                  <a:lnTo>
                    <a:pt x="1154" y="57"/>
                  </a:lnTo>
                  <a:lnTo>
                    <a:pt x="1153" y="53"/>
                  </a:lnTo>
                  <a:lnTo>
                    <a:pt x="1153" y="49"/>
                  </a:lnTo>
                  <a:lnTo>
                    <a:pt x="1151" y="43"/>
                  </a:lnTo>
                  <a:lnTo>
                    <a:pt x="1150" y="40"/>
                  </a:lnTo>
                  <a:lnTo>
                    <a:pt x="1148" y="37"/>
                  </a:lnTo>
                  <a:lnTo>
                    <a:pt x="1144" y="32"/>
                  </a:lnTo>
                  <a:lnTo>
                    <a:pt x="1139" y="28"/>
                  </a:lnTo>
                  <a:lnTo>
                    <a:pt x="1136" y="26"/>
                  </a:lnTo>
                  <a:lnTo>
                    <a:pt x="1133" y="25"/>
                  </a:lnTo>
                  <a:lnTo>
                    <a:pt x="1130" y="24"/>
                  </a:lnTo>
                  <a:lnTo>
                    <a:pt x="1127" y="23"/>
                  </a:lnTo>
                  <a:lnTo>
                    <a:pt x="1120" y="23"/>
                  </a:lnTo>
                  <a:close/>
                  <a:moveTo>
                    <a:pt x="1074" y="0"/>
                  </a:moveTo>
                  <a:lnTo>
                    <a:pt x="1056" y="0"/>
                  </a:lnTo>
                  <a:lnTo>
                    <a:pt x="1056" y="15"/>
                  </a:lnTo>
                  <a:lnTo>
                    <a:pt x="1074" y="15"/>
                  </a:lnTo>
                  <a:lnTo>
                    <a:pt x="1074" y="0"/>
                  </a:lnTo>
                  <a:close/>
                  <a:moveTo>
                    <a:pt x="1074" y="24"/>
                  </a:moveTo>
                  <a:lnTo>
                    <a:pt x="1056" y="24"/>
                  </a:lnTo>
                  <a:lnTo>
                    <a:pt x="1056" y="88"/>
                  </a:lnTo>
                  <a:lnTo>
                    <a:pt x="1074" y="88"/>
                  </a:lnTo>
                  <a:lnTo>
                    <a:pt x="1074" y="24"/>
                  </a:lnTo>
                  <a:close/>
                  <a:moveTo>
                    <a:pt x="1041" y="25"/>
                  </a:moveTo>
                  <a:lnTo>
                    <a:pt x="1029" y="25"/>
                  </a:lnTo>
                  <a:lnTo>
                    <a:pt x="1029" y="5"/>
                  </a:lnTo>
                  <a:lnTo>
                    <a:pt x="1011" y="5"/>
                  </a:lnTo>
                  <a:lnTo>
                    <a:pt x="1011" y="25"/>
                  </a:lnTo>
                  <a:lnTo>
                    <a:pt x="1002" y="25"/>
                  </a:lnTo>
                  <a:lnTo>
                    <a:pt x="1002" y="38"/>
                  </a:lnTo>
                  <a:lnTo>
                    <a:pt x="1011" y="38"/>
                  </a:lnTo>
                  <a:lnTo>
                    <a:pt x="1011" y="67"/>
                  </a:lnTo>
                  <a:lnTo>
                    <a:pt x="1011" y="74"/>
                  </a:lnTo>
                  <a:lnTo>
                    <a:pt x="1011" y="78"/>
                  </a:lnTo>
                  <a:lnTo>
                    <a:pt x="1012" y="81"/>
                  </a:lnTo>
                  <a:lnTo>
                    <a:pt x="1014" y="84"/>
                  </a:lnTo>
                  <a:lnTo>
                    <a:pt x="1017" y="86"/>
                  </a:lnTo>
                  <a:lnTo>
                    <a:pt x="1020" y="87"/>
                  </a:lnTo>
                  <a:lnTo>
                    <a:pt x="1024" y="88"/>
                  </a:lnTo>
                  <a:lnTo>
                    <a:pt x="1029" y="88"/>
                  </a:lnTo>
                  <a:lnTo>
                    <a:pt x="1041" y="88"/>
                  </a:lnTo>
                  <a:lnTo>
                    <a:pt x="1041" y="74"/>
                  </a:lnTo>
                  <a:lnTo>
                    <a:pt x="1034" y="74"/>
                  </a:lnTo>
                  <a:lnTo>
                    <a:pt x="1032" y="74"/>
                  </a:lnTo>
                  <a:lnTo>
                    <a:pt x="1030" y="72"/>
                  </a:lnTo>
                  <a:lnTo>
                    <a:pt x="1029" y="69"/>
                  </a:lnTo>
                  <a:lnTo>
                    <a:pt x="1029" y="63"/>
                  </a:lnTo>
                  <a:lnTo>
                    <a:pt x="1029" y="38"/>
                  </a:lnTo>
                  <a:lnTo>
                    <a:pt x="1041" y="38"/>
                  </a:lnTo>
                  <a:lnTo>
                    <a:pt x="1041" y="25"/>
                  </a:lnTo>
                  <a:close/>
                  <a:moveTo>
                    <a:pt x="973" y="68"/>
                  </a:moveTo>
                  <a:lnTo>
                    <a:pt x="970" y="71"/>
                  </a:lnTo>
                  <a:lnTo>
                    <a:pt x="967" y="74"/>
                  </a:lnTo>
                  <a:lnTo>
                    <a:pt x="963" y="75"/>
                  </a:lnTo>
                  <a:lnTo>
                    <a:pt x="959" y="76"/>
                  </a:lnTo>
                  <a:lnTo>
                    <a:pt x="955" y="75"/>
                  </a:lnTo>
                  <a:lnTo>
                    <a:pt x="952" y="74"/>
                  </a:lnTo>
                  <a:lnTo>
                    <a:pt x="950" y="72"/>
                  </a:lnTo>
                  <a:lnTo>
                    <a:pt x="950" y="70"/>
                  </a:lnTo>
                  <a:lnTo>
                    <a:pt x="949" y="69"/>
                  </a:lnTo>
                  <a:lnTo>
                    <a:pt x="950" y="66"/>
                  </a:lnTo>
                  <a:lnTo>
                    <a:pt x="952" y="64"/>
                  </a:lnTo>
                  <a:lnTo>
                    <a:pt x="955" y="62"/>
                  </a:lnTo>
                  <a:lnTo>
                    <a:pt x="959" y="61"/>
                  </a:lnTo>
                  <a:lnTo>
                    <a:pt x="966" y="60"/>
                  </a:lnTo>
                  <a:lnTo>
                    <a:pt x="973" y="58"/>
                  </a:lnTo>
                  <a:lnTo>
                    <a:pt x="973" y="68"/>
                  </a:lnTo>
                  <a:close/>
                  <a:moveTo>
                    <a:pt x="951" y="44"/>
                  </a:moveTo>
                  <a:lnTo>
                    <a:pt x="951" y="43"/>
                  </a:lnTo>
                  <a:lnTo>
                    <a:pt x="952" y="41"/>
                  </a:lnTo>
                  <a:lnTo>
                    <a:pt x="953" y="40"/>
                  </a:lnTo>
                  <a:lnTo>
                    <a:pt x="954" y="39"/>
                  </a:lnTo>
                  <a:lnTo>
                    <a:pt x="958" y="37"/>
                  </a:lnTo>
                  <a:lnTo>
                    <a:pt x="962" y="37"/>
                  </a:lnTo>
                  <a:lnTo>
                    <a:pt x="966" y="37"/>
                  </a:lnTo>
                  <a:lnTo>
                    <a:pt x="970" y="38"/>
                  </a:lnTo>
                  <a:lnTo>
                    <a:pt x="971" y="40"/>
                  </a:lnTo>
                  <a:lnTo>
                    <a:pt x="972" y="41"/>
                  </a:lnTo>
                  <a:lnTo>
                    <a:pt x="972" y="43"/>
                  </a:lnTo>
                  <a:lnTo>
                    <a:pt x="972" y="44"/>
                  </a:lnTo>
                  <a:lnTo>
                    <a:pt x="971" y="46"/>
                  </a:lnTo>
                  <a:lnTo>
                    <a:pt x="969" y="46"/>
                  </a:lnTo>
                  <a:lnTo>
                    <a:pt x="966" y="47"/>
                  </a:lnTo>
                  <a:lnTo>
                    <a:pt x="956" y="49"/>
                  </a:lnTo>
                  <a:lnTo>
                    <a:pt x="950" y="50"/>
                  </a:lnTo>
                  <a:lnTo>
                    <a:pt x="945" y="52"/>
                  </a:lnTo>
                  <a:lnTo>
                    <a:pt x="940" y="54"/>
                  </a:lnTo>
                  <a:lnTo>
                    <a:pt x="937" y="56"/>
                  </a:lnTo>
                  <a:lnTo>
                    <a:pt x="934" y="59"/>
                  </a:lnTo>
                  <a:lnTo>
                    <a:pt x="933" y="60"/>
                  </a:lnTo>
                  <a:lnTo>
                    <a:pt x="932" y="62"/>
                  </a:lnTo>
                  <a:lnTo>
                    <a:pt x="931" y="66"/>
                  </a:lnTo>
                  <a:lnTo>
                    <a:pt x="931" y="70"/>
                  </a:lnTo>
                  <a:lnTo>
                    <a:pt x="931" y="74"/>
                  </a:lnTo>
                  <a:lnTo>
                    <a:pt x="933" y="78"/>
                  </a:lnTo>
                  <a:lnTo>
                    <a:pt x="935" y="81"/>
                  </a:lnTo>
                  <a:lnTo>
                    <a:pt x="937" y="84"/>
                  </a:lnTo>
                  <a:lnTo>
                    <a:pt x="941" y="87"/>
                  </a:lnTo>
                  <a:lnTo>
                    <a:pt x="945" y="88"/>
                  </a:lnTo>
                  <a:lnTo>
                    <a:pt x="949" y="89"/>
                  </a:lnTo>
                  <a:lnTo>
                    <a:pt x="954" y="90"/>
                  </a:lnTo>
                  <a:lnTo>
                    <a:pt x="960" y="90"/>
                  </a:lnTo>
                  <a:lnTo>
                    <a:pt x="964" y="88"/>
                  </a:lnTo>
                  <a:lnTo>
                    <a:pt x="968" y="86"/>
                  </a:lnTo>
                  <a:lnTo>
                    <a:pt x="973" y="83"/>
                  </a:lnTo>
                  <a:lnTo>
                    <a:pt x="974" y="88"/>
                  </a:lnTo>
                  <a:lnTo>
                    <a:pt x="993" y="88"/>
                  </a:lnTo>
                  <a:lnTo>
                    <a:pt x="992" y="86"/>
                  </a:lnTo>
                  <a:lnTo>
                    <a:pt x="991" y="84"/>
                  </a:lnTo>
                  <a:lnTo>
                    <a:pt x="991" y="77"/>
                  </a:lnTo>
                  <a:lnTo>
                    <a:pt x="991" y="48"/>
                  </a:lnTo>
                  <a:lnTo>
                    <a:pt x="991" y="41"/>
                  </a:lnTo>
                  <a:lnTo>
                    <a:pt x="990" y="36"/>
                  </a:lnTo>
                  <a:lnTo>
                    <a:pt x="988" y="32"/>
                  </a:lnTo>
                  <a:lnTo>
                    <a:pt x="986" y="31"/>
                  </a:lnTo>
                  <a:lnTo>
                    <a:pt x="985" y="29"/>
                  </a:lnTo>
                  <a:lnTo>
                    <a:pt x="980" y="26"/>
                  </a:lnTo>
                  <a:lnTo>
                    <a:pt x="975" y="24"/>
                  </a:lnTo>
                  <a:lnTo>
                    <a:pt x="969" y="23"/>
                  </a:lnTo>
                  <a:lnTo>
                    <a:pt x="962" y="23"/>
                  </a:lnTo>
                  <a:lnTo>
                    <a:pt x="956" y="23"/>
                  </a:lnTo>
                  <a:lnTo>
                    <a:pt x="951" y="24"/>
                  </a:lnTo>
                  <a:lnTo>
                    <a:pt x="946" y="26"/>
                  </a:lnTo>
                  <a:lnTo>
                    <a:pt x="942" y="28"/>
                  </a:lnTo>
                  <a:lnTo>
                    <a:pt x="939" y="31"/>
                  </a:lnTo>
                  <a:lnTo>
                    <a:pt x="937" y="35"/>
                  </a:lnTo>
                  <a:lnTo>
                    <a:pt x="936" y="37"/>
                  </a:lnTo>
                  <a:lnTo>
                    <a:pt x="935" y="39"/>
                  </a:lnTo>
                  <a:lnTo>
                    <a:pt x="934" y="42"/>
                  </a:lnTo>
                  <a:lnTo>
                    <a:pt x="934" y="44"/>
                  </a:lnTo>
                  <a:lnTo>
                    <a:pt x="951" y="44"/>
                  </a:lnTo>
                  <a:close/>
                  <a:moveTo>
                    <a:pt x="920" y="47"/>
                  </a:moveTo>
                  <a:lnTo>
                    <a:pt x="920" y="42"/>
                  </a:lnTo>
                  <a:lnTo>
                    <a:pt x="918" y="37"/>
                  </a:lnTo>
                  <a:lnTo>
                    <a:pt x="915" y="33"/>
                  </a:lnTo>
                  <a:lnTo>
                    <a:pt x="912" y="29"/>
                  </a:lnTo>
                  <a:lnTo>
                    <a:pt x="907" y="26"/>
                  </a:lnTo>
                  <a:lnTo>
                    <a:pt x="903" y="24"/>
                  </a:lnTo>
                  <a:lnTo>
                    <a:pt x="897" y="23"/>
                  </a:lnTo>
                  <a:lnTo>
                    <a:pt x="891" y="23"/>
                  </a:lnTo>
                  <a:lnTo>
                    <a:pt x="884" y="23"/>
                  </a:lnTo>
                  <a:lnTo>
                    <a:pt x="878" y="25"/>
                  </a:lnTo>
                  <a:lnTo>
                    <a:pt x="872" y="28"/>
                  </a:lnTo>
                  <a:lnTo>
                    <a:pt x="870" y="29"/>
                  </a:lnTo>
                  <a:lnTo>
                    <a:pt x="867" y="32"/>
                  </a:lnTo>
                  <a:lnTo>
                    <a:pt x="865" y="34"/>
                  </a:lnTo>
                  <a:lnTo>
                    <a:pt x="864" y="36"/>
                  </a:lnTo>
                  <a:lnTo>
                    <a:pt x="861" y="42"/>
                  </a:lnTo>
                  <a:lnTo>
                    <a:pt x="859" y="49"/>
                  </a:lnTo>
                  <a:lnTo>
                    <a:pt x="859" y="56"/>
                  </a:lnTo>
                  <a:lnTo>
                    <a:pt x="859" y="64"/>
                  </a:lnTo>
                  <a:lnTo>
                    <a:pt x="860" y="67"/>
                  </a:lnTo>
                  <a:lnTo>
                    <a:pt x="861" y="70"/>
                  </a:lnTo>
                  <a:lnTo>
                    <a:pt x="864" y="76"/>
                  </a:lnTo>
                  <a:lnTo>
                    <a:pt x="865" y="79"/>
                  </a:lnTo>
                  <a:lnTo>
                    <a:pt x="867" y="81"/>
                  </a:lnTo>
                  <a:lnTo>
                    <a:pt x="872" y="85"/>
                  </a:lnTo>
                  <a:lnTo>
                    <a:pt x="877" y="88"/>
                  </a:lnTo>
                  <a:lnTo>
                    <a:pt x="884" y="89"/>
                  </a:lnTo>
                  <a:lnTo>
                    <a:pt x="887" y="90"/>
                  </a:lnTo>
                  <a:lnTo>
                    <a:pt x="891" y="90"/>
                  </a:lnTo>
                  <a:lnTo>
                    <a:pt x="897" y="89"/>
                  </a:lnTo>
                  <a:lnTo>
                    <a:pt x="902" y="88"/>
                  </a:lnTo>
                  <a:lnTo>
                    <a:pt x="907" y="86"/>
                  </a:lnTo>
                  <a:lnTo>
                    <a:pt x="911" y="83"/>
                  </a:lnTo>
                  <a:lnTo>
                    <a:pt x="915" y="80"/>
                  </a:lnTo>
                  <a:lnTo>
                    <a:pt x="918" y="75"/>
                  </a:lnTo>
                  <a:lnTo>
                    <a:pt x="920" y="70"/>
                  </a:lnTo>
                  <a:lnTo>
                    <a:pt x="921" y="65"/>
                  </a:lnTo>
                  <a:lnTo>
                    <a:pt x="903" y="64"/>
                  </a:lnTo>
                  <a:lnTo>
                    <a:pt x="902" y="66"/>
                  </a:lnTo>
                  <a:lnTo>
                    <a:pt x="901" y="69"/>
                  </a:lnTo>
                  <a:lnTo>
                    <a:pt x="899" y="72"/>
                  </a:lnTo>
                  <a:lnTo>
                    <a:pt x="897" y="73"/>
                  </a:lnTo>
                  <a:lnTo>
                    <a:pt x="896" y="74"/>
                  </a:lnTo>
                  <a:lnTo>
                    <a:pt x="893" y="74"/>
                  </a:lnTo>
                  <a:lnTo>
                    <a:pt x="891" y="75"/>
                  </a:lnTo>
                  <a:lnTo>
                    <a:pt x="888" y="74"/>
                  </a:lnTo>
                  <a:lnTo>
                    <a:pt x="885" y="73"/>
                  </a:lnTo>
                  <a:lnTo>
                    <a:pt x="883" y="72"/>
                  </a:lnTo>
                  <a:lnTo>
                    <a:pt x="881" y="70"/>
                  </a:lnTo>
                  <a:lnTo>
                    <a:pt x="880" y="67"/>
                  </a:lnTo>
                  <a:lnTo>
                    <a:pt x="879" y="64"/>
                  </a:lnTo>
                  <a:lnTo>
                    <a:pt x="878" y="60"/>
                  </a:lnTo>
                  <a:lnTo>
                    <a:pt x="878" y="56"/>
                  </a:lnTo>
                  <a:lnTo>
                    <a:pt x="878" y="52"/>
                  </a:lnTo>
                  <a:lnTo>
                    <a:pt x="878" y="50"/>
                  </a:lnTo>
                  <a:lnTo>
                    <a:pt x="879" y="48"/>
                  </a:lnTo>
                  <a:lnTo>
                    <a:pt x="880" y="45"/>
                  </a:lnTo>
                  <a:lnTo>
                    <a:pt x="881" y="42"/>
                  </a:lnTo>
                  <a:lnTo>
                    <a:pt x="883" y="40"/>
                  </a:lnTo>
                  <a:lnTo>
                    <a:pt x="885" y="39"/>
                  </a:lnTo>
                  <a:lnTo>
                    <a:pt x="888" y="38"/>
                  </a:lnTo>
                  <a:lnTo>
                    <a:pt x="891" y="38"/>
                  </a:lnTo>
                  <a:lnTo>
                    <a:pt x="895" y="38"/>
                  </a:lnTo>
                  <a:lnTo>
                    <a:pt x="899" y="40"/>
                  </a:lnTo>
                  <a:lnTo>
                    <a:pt x="900" y="42"/>
                  </a:lnTo>
                  <a:lnTo>
                    <a:pt x="901" y="43"/>
                  </a:lnTo>
                  <a:lnTo>
                    <a:pt x="902" y="45"/>
                  </a:lnTo>
                  <a:lnTo>
                    <a:pt x="903" y="47"/>
                  </a:lnTo>
                  <a:lnTo>
                    <a:pt x="920" y="47"/>
                  </a:lnTo>
                  <a:close/>
                  <a:moveTo>
                    <a:pt x="847" y="24"/>
                  </a:moveTo>
                  <a:lnTo>
                    <a:pt x="828" y="24"/>
                  </a:lnTo>
                  <a:lnTo>
                    <a:pt x="828" y="60"/>
                  </a:lnTo>
                  <a:lnTo>
                    <a:pt x="828" y="67"/>
                  </a:lnTo>
                  <a:lnTo>
                    <a:pt x="827" y="69"/>
                  </a:lnTo>
                  <a:lnTo>
                    <a:pt x="826" y="70"/>
                  </a:lnTo>
                  <a:lnTo>
                    <a:pt x="825" y="72"/>
                  </a:lnTo>
                  <a:lnTo>
                    <a:pt x="823" y="73"/>
                  </a:lnTo>
                  <a:lnTo>
                    <a:pt x="821" y="74"/>
                  </a:lnTo>
                  <a:lnTo>
                    <a:pt x="818" y="74"/>
                  </a:lnTo>
                  <a:lnTo>
                    <a:pt x="816" y="74"/>
                  </a:lnTo>
                  <a:lnTo>
                    <a:pt x="814" y="73"/>
                  </a:lnTo>
                  <a:lnTo>
                    <a:pt x="812" y="72"/>
                  </a:lnTo>
                  <a:lnTo>
                    <a:pt x="810" y="70"/>
                  </a:lnTo>
                  <a:lnTo>
                    <a:pt x="809" y="67"/>
                  </a:lnTo>
                  <a:lnTo>
                    <a:pt x="808" y="60"/>
                  </a:lnTo>
                  <a:lnTo>
                    <a:pt x="808" y="24"/>
                  </a:lnTo>
                  <a:lnTo>
                    <a:pt x="789" y="24"/>
                  </a:lnTo>
                  <a:lnTo>
                    <a:pt x="789" y="64"/>
                  </a:lnTo>
                  <a:lnTo>
                    <a:pt x="790" y="71"/>
                  </a:lnTo>
                  <a:lnTo>
                    <a:pt x="791" y="76"/>
                  </a:lnTo>
                  <a:lnTo>
                    <a:pt x="792" y="78"/>
                  </a:lnTo>
                  <a:lnTo>
                    <a:pt x="793" y="80"/>
                  </a:lnTo>
                  <a:lnTo>
                    <a:pt x="795" y="83"/>
                  </a:lnTo>
                  <a:lnTo>
                    <a:pt x="799" y="86"/>
                  </a:lnTo>
                  <a:lnTo>
                    <a:pt x="803" y="88"/>
                  </a:lnTo>
                  <a:lnTo>
                    <a:pt x="808" y="89"/>
                  </a:lnTo>
                  <a:lnTo>
                    <a:pt x="812" y="90"/>
                  </a:lnTo>
                  <a:lnTo>
                    <a:pt x="818" y="89"/>
                  </a:lnTo>
                  <a:lnTo>
                    <a:pt x="822" y="88"/>
                  </a:lnTo>
                  <a:lnTo>
                    <a:pt x="826" y="85"/>
                  </a:lnTo>
                  <a:lnTo>
                    <a:pt x="828" y="83"/>
                  </a:lnTo>
                  <a:lnTo>
                    <a:pt x="829" y="81"/>
                  </a:lnTo>
                  <a:lnTo>
                    <a:pt x="829" y="88"/>
                  </a:lnTo>
                  <a:lnTo>
                    <a:pt x="847" y="88"/>
                  </a:lnTo>
                  <a:lnTo>
                    <a:pt x="847" y="24"/>
                  </a:lnTo>
                  <a:close/>
                  <a:moveTo>
                    <a:pt x="743" y="38"/>
                  </a:moveTo>
                  <a:lnTo>
                    <a:pt x="746" y="38"/>
                  </a:lnTo>
                  <a:lnTo>
                    <a:pt x="749" y="39"/>
                  </a:lnTo>
                  <a:lnTo>
                    <a:pt x="751" y="41"/>
                  </a:lnTo>
                  <a:lnTo>
                    <a:pt x="753" y="43"/>
                  </a:lnTo>
                  <a:lnTo>
                    <a:pt x="755" y="45"/>
                  </a:lnTo>
                  <a:lnTo>
                    <a:pt x="756" y="49"/>
                  </a:lnTo>
                  <a:lnTo>
                    <a:pt x="756" y="52"/>
                  </a:lnTo>
                  <a:lnTo>
                    <a:pt x="757" y="56"/>
                  </a:lnTo>
                  <a:lnTo>
                    <a:pt x="756" y="60"/>
                  </a:lnTo>
                  <a:lnTo>
                    <a:pt x="756" y="64"/>
                  </a:lnTo>
                  <a:lnTo>
                    <a:pt x="755" y="67"/>
                  </a:lnTo>
                  <a:lnTo>
                    <a:pt x="753" y="70"/>
                  </a:lnTo>
                  <a:lnTo>
                    <a:pt x="751" y="72"/>
                  </a:lnTo>
                  <a:lnTo>
                    <a:pt x="749" y="73"/>
                  </a:lnTo>
                  <a:lnTo>
                    <a:pt x="746" y="74"/>
                  </a:lnTo>
                  <a:lnTo>
                    <a:pt x="743" y="75"/>
                  </a:lnTo>
                  <a:lnTo>
                    <a:pt x="740" y="74"/>
                  </a:lnTo>
                  <a:lnTo>
                    <a:pt x="738" y="73"/>
                  </a:lnTo>
                  <a:lnTo>
                    <a:pt x="735" y="72"/>
                  </a:lnTo>
                  <a:lnTo>
                    <a:pt x="733" y="70"/>
                  </a:lnTo>
                  <a:lnTo>
                    <a:pt x="732" y="67"/>
                  </a:lnTo>
                  <a:lnTo>
                    <a:pt x="731" y="64"/>
                  </a:lnTo>
                  <a:lnTo>
                    <a:pt x="730" y="60"/>
                  </a:lnTo>
                  <a:lnTo>
                    <a:pt x="730" y="56"/>
                  </a:lnTo>
                  <a:lnTo>
                    <a:pt x="730" y="52"/>
                  </a:lnTo>
                  <a:lnTo>
                    <a:pt x="731" y="48"/>
                  </a:lnTo>
                  <a:lnTo>
                    <a:pt x="732" y="45"/>
                  </a:lnTo>
                  <a:lnTo>
                    <a:pt x="733" y="43"/>
                  </a:lnTo>
                  <a:lnTo>
                    <a:pt x="735" y="40"/>
                  </a:lnTo>
                  <a:lnTo>
                    <a:pt x="738" y="39"/>
                  </a:lnTo>
                  <a:lnTo>
                    <a:pt x="740" y="38"/>
                  </a:lnTo>
                  <a:lnTo>
                    <a:pt x="743" y="38"/>
                  </a:lnTo>
                  <a:close/>
                  <a:moveTo>
                    <a:pt x="775" y="0"/>
                  </a:moveTo>
                  <a:lnTo>
                    <a:pt x="756" y="0"/>
                  </a:lnTo>
                  <a:lnTo>
                    <a:pt x="756" y="29"/>
                  </a:lnTo>
                  <a:lnTo>
                    <a:pt x="753" y="26"/>
                  </a:lnTo>
                  <a:lnTo>
                    <a:pt x="749" y="24"/>
                  </a:lnTo>
                  <a:lnTo>
                    <a:pt x="745" y="23"/>
                  </a:lnTo>
                  <a:lnTo>
                    <a:pt x="740" y="22"/>
                  </a:lnTo>
                  <a:lnTo>
                    <a:pt x="734" y="23"/>
                  </a:lnTo>
                  <a:lnTo>
                    <a:pt x="728" y="25"/>
                  </a:lnTo>
                  <a:lnTo>
                    <a:pt x="723" y="28"/>
                  </a:lnTo>
                  <a:lnTo>
                    <a:pt x="719" y="32"/>
                  </a:lnTo>
                  <a:lnTo>
                    <a:pt x="716" y="37"/>
                  </a:lnTo>
                  <a:lnTo>
                    <a:pt x="713" y="42"/>
                  </a:lnTo>
                  <a:lnTo>
                    <a:pt x="712" y="46"/>
                  </a:lnTo>
                  <a:lnTo>
                    <a:pt x="712" y="49"/>
                  </a:lnTo>
                  <a:lnTo>
                    <a:pt x="711" y="56"/>
                  </a:lnTo>
                  <a:lnTo>
                    <a:pt x="712" y="64"/>
                  </a:lnTo>
                  <a:lnTo>
                    <a:pt x="712" y="67"/>
                  </a:lnTo>
                  <a:lnTo>
                    <a:pt x="713" y="70"/>
                  </a:lnTo>
                  <a:lnTo>
                    <a:pt x="716" y="76"/>
                  </a:lnTo>
                  <a:lnTo>
                    <a:pt x="717" y="78"/>
                  </a:lnTo>
                  <a:lnTo>
                    <a:pt x="719" y="81"/>
                  </a:lnTo>
                  <a:lnTo>
                    <a:pt x="723" y="85"/>
                  </a:lnTo>
                  <a:lnTo>
                    <a:pt x="728" y="87"/>
                  </a:lnTo>
                  <a:lnTo>
                    <a:pt x="730" y="88"/>
                  </a:lnTo>
                  <a:lnTo>
                    <a:pt x="733" y="89"/>
                  </a:lnTo>
                  <a:lnTo>
                    <a:pt x="736" y="90"/>
                  </a:lnTo>
                  <a:lnTo>
                    <a:pt x="739" y="90"/>
                  </a:lnTo>
                  <a:lnTo>
                    <a:pt x="745" y="89"/>
                  </a:lnTo>
                  <a:lnTo>
                    <a:pt x="747" y="89"/>
                  </a:lnTo>
                  <a:lnTo>
                    <a:pt x="749" y="88"/>
                  </a:lnTo>
                  <a:lnTo>
                    <a:pt x="751" y="87"/>
                  </a:lnTo>
                  <a:lnTo>
                    <a:pt x="753" y="85"/>
                  </a:lnTo>
                  <a:lnTo>
                    <a:pt x="757" y="81"/>
                  </a:lnTo>
                  <a:lnTo>
                    <a:pt x="757" y="88"/>
                  </a:lnTo>
                  <a:lnTo>
                    <a:pt x="775" y="88"/>
                  </a:lnTo>
                  <a:lnTo>
                    <a:pt x="775" y="0"/>
                  </a:lnTo>
                  <a:close/>
                  <a:moveTo>
                    <a:pt x="701" y="0"/>
                  </a:moveTo>
                  <a:lnTo>
                    <a:pt x="634" y="0"/>
                  </a:lnTo>
                  <a:lnTo>
                    <a:pt x="634" y="88"/>
                  </a:lnTo>
                  <a:lnTo>
                    <a:pt x="702" y="88"/>
                  </a:lnTo>
                  <a:lnTo>
                    <a:pt x="702" y="71"/>
                  </a:lnTo>
                  <a:lnTo>
                    <a:pt x="655" y="71"/>
                  </a:lnTo>
                  <a:lnTo>
                    <a:pt x="655" y="50"/>
                  </a:lnTo>
                  <a:lnTo>
                    <a:pt x="695" y="50"/>
                  </a:lnTo>
                  <a:lnTo>
                    <a:pt x="695" y="34"/>
                  </a:lnTo>
                  <a:lnTo>
                    <a:pt x="655" y="34"/>
                  </a:lnTo>
                  <a:lnTo>
                    <a:pt x="655" y="17"/>
                  </a:lnTo>
                  <a:lnTo>
                    <a:pt x="701" y="17"/>
                  </a:lnTo>
                  <a:lnTo>
                    <a:pt x="701" y="0"/>
                  </a:lnTo>
                  <a:close/>
                  <a:moveTo>
                    <a:pt x="538" y="48"/>
                  </a:moveTo>
                  <a:lnTo>
                    <a:pt x="539" y="46"/>
                  </a:lnTo>
                  <a:lnTo>
                    <a:pt x="540" y="43"/>
                  </a:lnTo>
                  <a:lnTo>
                    <a:pt x="541" y="41"/>
                  </a:lnTo>
                  <a:lnTo>
                    <a:pt x="543" y="40"/>
                  </a:lnTo>
                  <a:lnTo>
                    <a:pt x="544" y="38"/>
                  </a:lnTo>
                  <a:lnTo>
                    <a:pt x="547" y="38"/>
                  </a:lnTo>
                  <a:lnTo>
                    <a:pt x="552" y="37"/>
                  </a:lnTo>
                  <a:lnTo>
                    <a:pt x="556" y="38"/>
                  </a:lnTo>
                  <a:lnTo>
                    <a:pt x="558" y="38"/>
                  </a:lnTo>
                  <a:lnTo>
                    <a:pt x="560" y="40"/>
                  </a:lnTo>
                  <a:lnTo>
                    <a:pt x="562" y="41"/>
                  </a:lnTo>
                  <a:lnTo>
                    <a:pt x="563" y="43"/>
                  </a:lnTo>
                  <a:lnTo>
                    <a:pt x="564" y="46"/>
                  </a:lnTo>
                  <a:lnTo>
                    <a:pt x="564" y="48"/>
                  </a:lnTo>
                  <a:lnTo>
                    <a:pt x="538" y="48"/>
                  </a:lnTo>
                  <a:close/>
                  <a:moveTo>
                    <a:pt x="583" y="62"/>
                  </a:moveTo>
                  <a:lnTo>
                    <a:pt x="583" y="56"/>
                  </a:lnTo>
                  <a:lnTo>
                    <a:pt x="583" y="50"/>
                  </a:lnTo>
                  <a:lnTo>
                    <a:pt x="582" y="46"/>
                  </a:lnTo>
                  <a:lnTo>
                    <a:pt x="580" y="41"/>
                  </a:lnTo>
                  <a:lnTo>
                    <a:pt x="578" y="37"/>
                  </a:lnTo>
                  <a:lnTo>
                    <a:pt x="576" y="33"/>
                  </a:lnTo>
                  <a:lnTo>
                    <a:pt x="573" y="30"/>
                  </a:lnTo>
                  <a:lnTo>
                    <a:pt x="569" y="27"/>
                  </a:lnTo>
                  <a:lnTo>
                    <a:pt x="565" y="25"/>
                  </a:lnTo>
                  <a:lnTo>
                    <a:pt x="561" y="24"/>
                  </a:lnTo>
                  <a:lnTo>
                    <a:pt x="557" y="23"/>
                  </a:lnTo>
                  <a:lnTo>
                    <a:pt x="552" y="23"/>
                  </a:lnTo>
                  <a:lnTo>
                    <a:pt x="545" y="23"/>
                  </a:lnTo>
                  <a:lnTo>
                    <a:pt x="538" y="25"/>
                  </a:lnTo>
                  <a:lnTo>
                    <a:pt x="536" y="26"/>
                  </a:lnTo>
                  <a:lnTo>
                    <a:pt x="533" y="28"/>
                  </a:lnTo>
                  <a:lnTo>
                    <a:pt x="528" y="32"/>
                  </a:lnTo>
                  <a:lnTo>
                    <a:pt x="526" y="34"/>
                  </a:lnTo>
                  <a:lnTo>
                    <a:pt x="524" y="37"/>
                  </a:lnTo>
                  <a:lnTo>
                    <a:pt x="521" y="43"/>
                  </a:lnTo>
                  <a:lnTo>
                    <a:pt x="520" y="49"/>
                  </a:lnTo>
                  <a:lnTo>
                    <a:pt x="519" y="53"/>
                  </a:lnTo>
                  <a:lnTo>
                    <a:pt x="519" y="56"/>
                  </a:lnTo>
                  <a:lnTo>
                    <a:pt x="520" y="63"/>
                  </a:lnTo>
                  <a:lnTo>
                    <a:pt x="521" y="70"/>
                  </a:lnTo>
                  <a:lnTo>
                    <a:pt x="524" y="76"/>
                  </a:lnTo>
                  <a:lnTo>
                    <a:pt x="526" y="78"/>
                  </a:lnTo>
                  <a:lnTo>
                    <a:pt x="528" y="81"/>
                  </a:lnTo>
                  <a:lnTo>
                    <a:pt x="533" y="85"/>
                  </a:lnTo>
                  <a:lnTo>
                    <a:pt x="538" y="87"/>
                  </a:lnTo>
                  <a:lnTo>
                    <a:pt x="541" y="88"/>
                  </a:lnTo>
                  <a:lnTo>
                    <a:pt x="545" y="89"/>
                  </a:lnTo>
                  <a:lnTo>
                    <a:pt x="548" y="90"/>
                  </a:lnTo>
                  <a:lnTo>
                    <a:pt x="552" y="90"/>
                  </a:lnTo>
                  <a:lnTo>
                    <a:pt x="557" y="89"/>
                  </a:lnTo>
                  <a:lnTo>
                    <a:pt x="563" y="88"/>
                  </a:lnTo>
                  <a:lnTo>
                    <a:pt x="567" y="87"/>
                  </a:lnTo>
                  <a:lnTo>
                    <a:pt x="572" y="84"/>
                  </a:lnTo>
                  <a:lnTo>
                    <a:pt x="575" y="81"/>
                  </a:lnTo>
                  <a:lnTo>
                    <a:pt x="577" y="80"/>
                  </a:lnTo>
                  <a:lnTo>
                    <a:pt x="578" y="78"/>
                  </a:lnTo>
                  <a:lnTo>
                    <a:pt x="581" y="74"/>
                  </a:lnTo>
                  <a:lnTo>
                    <a:pt x="583" y="69"/>
                  </a:lnTo>
                  <a:lnTo>
                    <a:pt x="563" y="69"/>
                  </a:lnTo>
                  <a:lnTo>
                    <a:pt x="561" y="72"/>
                  </a:lnTo>
                  <a:lnTo>
                    <a:pt x="559" y="74"/>
                  </a:lnTo>
                  <a:lnTo>
                    <a:pt x="556" y="75"/>
                  </a:lnTo>
                  <a:lnTo>
                    <a:pt x="552" y="75"/>
                  </a:lnTo>
                  <a:lnTo>
                    <a:pt x="549" y="75"/>
                  </a:lnTo>
                  <a:lnTo>
                    <a:pt x="547" y="74"/>
                  </a:lnTo>
                  <a:lnTo>
                    <a:pt x="545" y="73"/>
                  </a:lnTo>
                  <a:lnTo>
                    <a:pt x="543" y="72"/>
                  </a:lnTo>
                  <a:lnTo>
                    <a:pt x="541" y="70"/>
                  </a:lnTo>
                  <a:lnTo>
                    <a:pt x="540" y="67"/>
                  </a:lnTo>
                  <a:lnTo>
                    <a:pt x="539" y="65"/>
                  </a:lnTo>
                  <a:lnTo>
                    <a:pt x="538" y="62"/>
                  </a:lnTo>
                  <a:lnTo>
                    <a:pt x="583" y="62"/>
                  </a:lnTo>
                  <a:close/>
                  <a:moveTo>
                    <a:pt x="493" y="88"/>
                  </a:moveTo>
                  <a:lnTo>
                    <a:pt x="514" y="24"/>
                  </a:lnTo>
                  <a:lnTo>
                    <a:pt x="494" y="24"/>
                  </a:lnTo>
                  <a:lnTo>
                    <a:pt x="488" y="49"/>
                  </a:lnTo>
                  <a:lnTo>
                    <a:pt x="484" y="67"/>
                  </a:lnTo>
                  <a:lnTo>
                    <a:pt x="479" y="49"/>
                  </a:lnTo>
                  <a:lnTo>
                    <a:pt x="471" y="24"/>
                  </a:lnTo>
                  <a:lnTo>
                    <a:pt x="452" y="24"/>
                  </a:lnTo>
                  <a:lnTo>
                    <a:pt x="475" y="88"/>
                  </a:lnTo>
                  <a:lnTo>
                    <a:pt x="493" y="88"/>
                  </a:lnTo>
                  <a:close/>
                  <a:moveTo>
                    <a:pt x="440" y="0"/>
                  </a:moveTo>
                  <a:lnTo>
                    <a:pt x="421" y="0"/>
                  </a:lnTo>
                  <a:lnTo>
                    <a:pt x="421" y="15"/>
                  </a:lnTo>
                  <a:lnTo>
                    <a:pt x="440" y="15"/>
                  </a:lnTo>
                  <a:lnTo>
                    <a:pt x="440" y="0"/>
                  </a:lnTo>
                  <a:close/>
                  <a:moveTo>
                    <a:pt x="440" y="24"/>
                  </a:moveTo>
                  <a:lnTo>
                    <a:pt x="421" y="24"/>
                  </a:lnTo>
                  <a:lnTo>
                    <a:pt x="421" y="88"/>
                  </a:lnTo>
                  <a:lnTo>
                    <a:pt x="440" y="88"/>
                  </a:lnTo>
                  <a:lnTo>
                    <a:pt x="440" y="24"/>
                  </a:lnTo>
                  <a:close/>
                  <a:moveTo>
                    <a:pt x="405" y="25"/>
                  </a:moveTo>
                  <a:lnTo>
                    <a:pt x="394" y="25"/>
                  </a:lnTo>
                  <a:lnTo>
                    <a:pt x="394" y="5"/>
                  </a:lnTo>
                  <a:lnTo>
                    <a:pt x="375" y="5"/>
                  </a:lnTo>
                  <a:lnTo>
                    <a:pt x="375" y="25"/>
                  </a:lnTo>
                  <a:lnTo>
                    <a:pt x="366" y="25"/>
                  </a:lnTo>
                  <a:lnTo>
                    <a:pt x="366" y="38"/>
                  </a:lnTo>
                  <a:lnTo>
                    <a:pt x="375" y="38"/>
                  </a:lnTo>
                  <a:lnTo>
                    <a:pt x="375" y="67"/>
                  </a:lnTo>
                  <a:lnTo>
                    <a:pt x="375" y="74"/>
                  </a:lnTo>
                  <a:lnTo>
                    <a:pt x="376" y="78"/>
                  </a:lnTo>
                  <a:lnTo>
                    <a:pt x="377" y="81"/>
                  </a:lnTo>
                  <a:lnTo>
                    <a:pt x="378" y="84"/>
                  </a:lnTo>
                  <a:lnTo>
                    <a:pt x="381" y="86"/>
                  </a:lnTo>
                  <a:lnTo>
                    <a:pt x="384" y="87"/>
                  </a:lnTo>
                  <a:lnTo>
                    <a:pt x="388" y="88"/>
                  </a:lnTo>
                  <a:lnTo>
                    <a:pt x="394" y="88"/>
                  </a:lnTo>
                  <a:lnTo>
                    <a:pt x="405" y="88"/>
                  </a:lnTo>
                  <a:lnTo>
                    <a:pt x="405" y="74"/>
                  </a:lnTo>
                  <a:lnTo>
                    <a:pt x="398" y="74"/>
                  </a:lnTo>
                  <a:lnTo>
                    <a:pt x="396" y="74"/>
                  </a:lnTo>
                  <a:lnTo>
                    <a:pt x="394" y="72"/>
                  </a:lnTo>
                  <a:lnTo>
                    <a:pt x="394" y="69"/>
                  </a:lnTo>
                  <a:lnTo>
                    <a:pt x="394" y="63"/>
                  </a:lnTo>
                  <a:lnTo>
                    <a:pt x="394" y="38"/>
                  </a:lnTo>
                  <a:lnTo>
                    <a:pt x="405" y="38"/>
                  </a:lnTo>
                  <a:lnTo>
                    <a:pt x="405" y="25"/>
                  </a:lnTo>
                  <a:close/>
                  <a:moveTo>
                    <a:pt x="353" y="24"/>
                  </a:moveTo>
                  <a:lnTo>
                    <a:pt x="334" y="24"/>
                  </a:lnTo>
                  <a:lnTo>
                    <a:pt x="334" y="60"/>
                  </a:lnTo>
                  <a:lnTo>
                    <a:pt x="334" y="67"/>
                  </a:lnTo>
                  <a:lnTo>
                    <a:pt x="333" y="69"/>
                  </a:lnTo>
                  <a:lnTo>
                    <a:pt x="332" y="70"/>
                  </a:lnTo>
                  <a:lnTo>
                    <a:pt x="331" y="72"/>
                  </a:lnTo>
                  <a:lnTo>
                    <a:pt x="329" y="73"/>
                  </a:lnTo>
                  <a:lnTo>
                    <a:pt x="327" y="74"/>
                  </a:lnTo>
                  <a:lnTo>
                    <a:pt x="324" y="74"/>
                  </a:lnTo>
                  <a:lnTo>
                    <a:pt x="322" y="74"/>
                  </a:lnTo>
                  <a:lnTo>
                    <a:pt x="319" y="73"/>
                  </a:lnTo>
                  <a:lnTo>
                    <a:pt x="317" y="72"/>
                  </a:lnTo>
                  <a:lnTo>
                    <a:pt x="316" y="70"/>
                  </a:lnTo>
                  <a:lnTo>
                    <a:pt x="314" y="67"/>
                  </a:lnTo>
                  <a:lnTo>
                    <a:pt x="314" y="60"/>
                  </a:lnTo>
                  <a:lnTo>
                    <a:pt x="314" y="24"/>
                  </a:lnTo>
                  <a:lnTo>
                    <a:pt x="295" y="24"/>
                  </a:lnTo>
                  <a:lnTo>
                    <a:pt x="295" y="64"/>
                  </a:lnTo>
                  <a:lnTo>
                    <a:pt x="295" y="71"/>
                  </a:lnTo>
                  <a:lnTo>
                    <a:pt x="296" y="76"/>
                  </a:lnTo>
                  <a:lnTo>
                    <a:pt x="297" y="78"/>
                  </a:lnTo>
                  <a:lnTo>
                    <a:pt x="298" y="80"/>
                  </a:lnTo>
                  <a:lnTo>
                    <a:pt x="301" y="83"/>
                  </a:lnTo>
                  <a:lnTo>
                    <a:pt x="305" y="86"/>
                  </a:lnTo>
                  <a:lnTo>
                    <a:pt x="309" y="88"/>
                  </a:lnTo>
                  <a:lnTo>
                    <a:pt x="313" y="89"/>
                  </a:lnTo>
                  <a:lnTo>
                    <a:pt x="318" y="90"/>
                  </a:lnTo>
                  <a:lnTo>
                    <a:pt x="323" y="89"/>
                  </a:lnTo>
                  <a:lnTo>
                    <a:pt x="328" y="88"/>
                  </a:lnTo>
                  <a:lnTo>
                    <a:pt x="332" y="85"/>
                  </a:lnTo>
                  <a:lnTo>
                    <a:pt x="333" y="83"/>
                  </a:lnTo>
                  <a:lnTo>
                    <a:pt x="335" y="81"/>
                  </a:lnTo>
                  <a:lnTo>
                    <a:pt x="335" y="88"/>
                  </a:lnTo>
                  <a:lnTo>
                    <a:pt x="353" y="88"/>
                  </a:lnTo>
                  <a:lnTo>
                    <a:pt x="353" y="24"/>
                  </a:lnTo>
                  <a:close/>
                  <a:moveTo>
                    <a:pt x="282" y="47"/>
                  </a:moveTo>
                  <a:lnTo>
                    <a:pt x="281" y="42"/>
                  </a:lnTo>
                  <a:lnTo>
                    <a:pt x="279" y="37"/>
                  </a:lnTo>
                  <a:lnTo>
                    <a:pt x="276" y="33"/>
                  </a:lnTo>
                  <a:lnTo>
                    <a:pt x="273" y="29"/>
                  </a:lnTo>
                  <a:lnTo>
                    <a:pt x="269" y="26"/>
                  </a:lnTo>
                  <a:lnTo>
                    <a:pt x="264" y="24"/>
                  </a:lnTo>
                  <a:lnTo>
                    <a:pt x="259" y="23"/>
                  </a:lnTo>
                  <a:lnTo>
                    <a:pt x="253" y="23"/>
                  </a:lnTo>
                  <a:lnTo>
                    <a:pt x="245" y="23"/>
                  </a:lnTo>
                  <a:lnTo>
                    <a:pt x="239" y="25"/>
                  </a:lnTo>
                  <a:lnTo>
                    <a:pt x="233" y="28"/>
                  </a:lnTo>
                  <a:lnTo>
                    <a:pt x="231" y="29"/>
                  </a:lnTo>
                  <a:lnTo>
                    <a:pt x="229" y="32"/>
                  </a:lnTo>
                  <a:lnTo>
                    <a:pt x="227" y="34"/>
                  </a:lnTo>
                  <a:lnTo>
                    <a:pt x="225" y="36"/>
                  </a:lnTo>
                  <a:lnTo>
                    <a:pt x="222" y="42"/>
                  </a:lnTo>
                  <a:lnTo>
                    <a:pt x="221" y="49"/>
                  </a:lnTo>
                  <a:lnTo>
                    <a:pt x="220" y="56"/>
                  </a:lnTo>
                  <a:lnTo>
                    <a:pt x="221" y="64"/>
                  </a:lnTo>
                  <a:lnTo>
                    <a:pt x="221" y="67"/>
                  </a:lnTo>
                  <a:lnTo>
                    <a:pt x="222" y="70"/>
                  </a:lnTo>
                  <a:lnTo>
                    <a:pt x="225" y="76"/>
                  </a:lnTo>
                  <a:lnTo>
                    <a:pt x="227" y="79"/>
                  </a:lnTo>
                  <a:lnTo>
                    <a:pt x="229" y="81"/>
                  </a:lnTo>
                  <a:lnTo>
                    <a:pt x="233" y="85"/>
                  </a:lnTo>
                  <a:lnTo>
                    <a:pt x="239" y="88"/>
                  </a:lnTo>
                  <a:lnTo>
                    <a:pt x="245" y="89"/>
                  </a:lnTo>
                  <a:lnTo>
                    <a:pt x="248" y="90"/>
                  </a:lnTo>
                  <a:lnTo>
                    <a:pt x="252" y="90"/>
                  </a:lnTo>
                  <a:lnTo>
                    <a:pt x="258" y="89"/>
                  </a:lnTo>
                  <a:lnTo>
                    <a:pt x="264" y="88"/>
                  </a:lnTo>
                  <a:lnTo>
                    <a:pt x="268" y="86"/>
                  </a:lnTo>
                  <a:lnTo>
                    <a:pt x="273" y="83"/>
                  </a:lnTo>
                  <a:lnTo>
                    <a:pt x="276" y="80"/>
                  </a:lnTo>
                  <a:lnTo>
                    <a:pt x="279" y="75"/>
                  </a:lnTo>
                  <a:lnTo>
                    <a:pt x="281" y="70"/>
                  </a:lnTo>
                  <a:lnTo>
                    <a:pt x="283" y="65"/>
                  </a:lnTo>
                  <a:lnTo>
                    <a:pt x="264" y="64"/>
                  </a:lnTo>
                  <a:lnTo>
                    <a:pt x="264" y="66"/>
                  </a:lnTo>
                  <a:lnTo>
                    <a:pt x="263" y="69"/>
                  </a:lnTo>
                  <a:lnTo>
                    <a:pt x="260" y="72"/>
                  </a:lnTo>
                  <a:lnTo>
                    <a:pt x="259" y="73"/>
                  </a:lnTo>
                  <a:lnTo>
                    <a:pt x="257" y="74"/>
                  </a:lnTo>
                  <a:lnTo>
                    <a:pt x="255" y="74"/>
                  </a:lnTo>
                  <a:lnTo>
                    <a:pt x="252" y="75"/>
                  </a:lnTo>
                  <a:lnTo>
                    <a:pt x="249" y="74"/>
                  </a:lnTo>
                  <a:lnTo>
                    <a:pt x="247" y="73"/>
                  </a:lnTo>
                  <a:lnTo>
                    <a:pt x="244" y="72"/>
                  </a:lnTo>
                  <a:lnTo>
                    <a:pt x="243" y="70"/>
                  </a:lnTo>
                  <a:lnTo>
                    <a:pt x="241" y="67"/>
                  </a:lnTo>
                  <a:lnTo>
                    <a:pt x="240" y="64"/>
                  </a:lnTo>
                  <a:lnTo>
                    <a:pt x="239" y="60"/>
                  </a:lnTo>
                  <a:lnTo>
                    <a:pt x="239" y="56"/>
                  </a:lnTo>
                  <a:lnTo>
                    <a:pt x="239" y="52"/>
                  </a:lnTo>
                  <a:lnTo>
                    <a:pt x="240" y="50"/>
                  </a:lnTo>
                  <a:lnTo>
                    <a:pt x="240" y="48"/>
                  </a:lnTo>
                  <a:lnTo>
                    <a:pt x="241" y="45"/>
                  </a:lnTo>
                  <a:lnTo>
                    <a:pt x="242" y="42"/>
                  </a:lnTo>
                  <a:lnTo>
                    <a:pt x="244" y="40"/>
                  </a:lnTo>
                  <a:lnTo>
                    <a:pt x="247" y="39"/>
                  </a:lnTo>
                  <a:lnTo>
                    <a:pt x="249" y="38"/>
                  </a:lnTo>
                  <a:lnTo>
                    <a:pt x="252" y="38"/>
                  </a:lnTo>
                  <a:lnTo>
                    <a:pt x="257" y="38"/>
                  </a:lnTo>
                  <a:lnTo>
                    <a:pt x="260" y="40"/>
                  </a:lnTo>
                  <a:lnTo>
                    <a:pt x="262" y="42"/>
                  </a:lnTo>
                  <a:lnTo>
                    <a:pt x="263" y="43"/>
                  </a:lnTo>
                  <a:lnTo>
                    <a:pt x="264" y="47"/>
                  </a:lnTo>
                  <a:lnTo>
                    <a:pt x="282" y="47"/>
                  </a:lnTo>
                  <a:close/>
                  <a:moveTo>
                    <a:pt x="164" y="48"/>
                  </a:moveTo>
                  <a:lnTo>
                    <a:pt x="165" y="46"/>
                  </a:lnTo>
                  <a:lnTo>
                    <a:pt x="166" y="43"/>
                  </a:lnTo>
                  <a:lnTo>
                    <a:pt x="167" y="41"/>
                  </a:lnTo>
                  <a:lnTo>
                    <a:pt x="169" y="40"/>
                  </a:lnTo>
                  <a:lnTo>
                    <a:pt x="171" y="38"/>
                  </a:lnTo>
                  <a:lnTo>
                    <a:pt x="173" y="38"/>
                  </a:lnTo>
                  <a:lnTo>
                    <a:pt x="178" y="37"/>
                  </a:lnTo>
                  <a:lnTo>
                    <a:pt x="183" y="38"/>
                  </a:lnTo>
                  <a:lnTo>
                    <a:pt x="185" y="38"/>
                  </a:lnTo>
                  <a:lnTo>
                    <a:pt x="186" y="40"/>
                  </a:lnTo>
                  <a:lnTo>
                    <a:pt x="188" y="41"/>
                  </a:lnTo>
                  <a:lnTo>
                    <a:pt x="189" y="43"/>
                  </a:lnTo>
                  <a:lnTo>
                    <a:pt x="190" y="46"/>
                  </a:lnTo>
                  <a:lnTo>
                    <a:pt x="190" y="48"/>
                  </a:lnTo>
                  <a:lnTo>
                    <a:pt x="164" y="48"/>
                  </a:lnTo>
                  <a:close/>
                  <a:moveTo>
                    <a:pt x="209" y="62"/>
                  </a:moveTo>
                  <a:lnTo>
                    <a:pt x="209" y="56"/>
                  </a:lnTo>
                  <a:lnTo>
                    <a:pt x="209" y="50"/>
                  </a:lnTo>
                  <a:lnTo>
                    <a:pt x="208" y="46"/>
                  </a:lnTo>
                  <a:lnTo>
                    <a:pt x="206" y="41"/>
                  </a:lnTo>
                  <a:lnTo>
                    <a:pt x="204" y="37"/>
                  </a:lnTo>
                  <a:lnTo>
                    <a:pt x="202" y="33"/>
                  </a:lnTo>
                  <a:lnTo>
                    <a:pt x="199" y="30"/>
                  </a:lnTo>
                  <a:lnTo>
                    <a:pt x="195" y="27"/>
                  </a:lnTo>
                  <a:lnTo>
                    <a:pt x="192" y="25"/>
                  </a:lnTo>
                  <a:lnTo>
                    <a:pt x="187" y="24"/>
                  </a:lnTo>
                  <a:lnTo>
                    <a:pt x="183" y="23"/>
                  </a:lnTo>
                  <a:lnTo>
                    <a:pt x="178" y="23"/>
                  </a:lnTo>
                  <a:lnTo>
                    <a:pt x="171" y="23"/>
                  </a:lnTo>
                  <a:lnTo>
                    <a:pt x="165" y="25"/>
                  </a:lnTo>
                  <a:lnTo>
                    <a:pt x="162" y="26"/>
                  </a:lnTo>
                  <a:lnTo>
                    <a:pt x="159" y="28"/>
                  </a:lnTo>
                  <a:lnTo>
                    <a:pt x="154" y="32"/>
                  </a:lnTo>
                  <a:lnTo>
                    <a:pt x="152" y="34"/>
                  </a:lnTo>
                  <a:lnTo>
                    <a:pt x="150" y="37"/>
                  </a:lnTo>
                  <a:lnTo>
                    <a:pt x="148" y="43"/>
                  </a:lnTo>
                  <a:lnTo>
                    <a:pt x="146" y="49"/>
                  </a:lnTo>
                  <a:lnTo>
                    <a:pt x="145" y="53"/>
                  </a:lnTo>
                  <a:lnTo>
                    <a:pt x="145" y="56"/>
                  </a:lnTo>
                  <a:lnTo>
                    <a:pt x="146" y="63"/>
                  </a:lnTo>
                  <a:lnTo>
                    <a:pt x="148" y="70"/>
                  </a:lnTo>
                  <a:lnTo>
                    <a:pt x="150" y="76"/>
                  </a:lnTo>
                  <a:lnTo>
                    <a:pt x="152" y="78"/>
                  </a:lnTo>
                  <a:lnTo>
                    <a:pt x="154" y="81"/>
                  </a:lnTo>
                  <a:lnTo>
                    <a:pt x="159" y="85"/>
                  </a:lnTo>
                  <a:lnTo>
                    <a:pt x="165" y="87"/>
                  </a:lnTo>
                  <a:lnTo>
                    <a:pt x="168" y="88"/>
                  </a:lnTo>
                  <a:lnTo>
                    <a:pt x="171" y="89"/>
                  </a:lnTo>
                  <a:lnTo>
                    <a:pt x="174" y="90"/>
                  </a:lnTo>
                  <a:lnTo>
                    <a:pt x="178" y="90"/>
                  </a:lnTo>
                  <a:lnTo>
                    <a:pt x="184" y="89"/>
                  </a:lnTo>
                  <a:lnTo>
                    <a:pt x="189" y="88"/>
                  </a:lnTo>
                  <a:lnTo>
                    <a:pt x="193" y="87"/>
                  </a:lnTo>
                  <a:lnTo>
                    <a:pt x="198" y="84"/>
                  </a:lnTo>
                  <a:lnTo>
                    <a:pt x="201" y="81"/>
                  </a:lnTo>
                  <a:lnTo>
                    <a:pt x="203" y="80"/>
                  </a:lnTo>
                  <a:lnTo>
                    <a:pt x="205" y="78"/>
                  </a:lnTo>
                  <a:lnTo>
                    <a:pt x="207" y="74"/>
                  </a:lnTo>
                  <a:lnTo>
                    <a:pt x="209" y="69"/>
                  </a:lnTo>
                  <a:lnTo>
                    <a:pt x="190" y="69"/>
                  </a:lnTo>
                  <a:lnTo>
                    <a:pt x="188" y="72"/>
                  </a:lnTo>
                  <a:lnTo>
                    <a:pt x="185" y="74"/>
                  </a:lnTo>
                  <a:lnTo>
                    <a:pt x="182" y="75"/>
                  </a:lnTo>
                  <a:lnTo>
                    <a:pt x="178" y="75"/>
                  </a:lnTo>
                  <a:lnTo>
                    <a:pt x="176" y="75"/>
                  </a:lnTo>
                  <a:lnTo>
                    <a:pt x="173" y="74"/>
                  </a:lnTo>
                  <a:lnTo>
                    <a:pt x="171" y="73"/>
                  </a:lnTo>
                  <a:lnTo>
                    <a:pt x="169" y="72"/>
                  </a:lnTo>
                  <a:lnTo>
                    <a:pt x="167" y="70"/>
                  </a:lnTo>
                  <a:lnTo>
                    <a:pt x="166" y="67"/>
                  </a:lnTo>
                  <a:lnTo>
                    <a:pt x="165" y="65"/>
                  </a:lnTo>
                  <a:lnTo>
                    <a:pt x="164" y="62"/>
                  </a:lnTo>
                  <a:lnTo>
                    <a:pt x="209" y="62"/>
                  </a:lnTo>
                  <a:close/>
                  <a:moveTo>
                    <a:pt x="118" y="55"/>
                  </a:moveTo>
                  <a:lnTo>
                    <a:pt x="139" y="24"/>
                  </a:lnTo>
                  <a:lnTo>
                    <a:pt x="118" y="24"/>
                  </a:lnTo>
                  <a:lnTo>
                    <a:pt x="108" y="40"/>
                  </a:lnTo>
                  <a:lnTo>
                    <a:pt x="98" y="24"/>
                  </a:lnTo>
                  <a:lnTo>
                    <a:pt x="77" y="24"/>
                  </a:lnTo>
                  <a:lnTo>
                    <a:pt x="98" y="55"/>
                  </a:lnTo>
                  <a:lnTo>
                    <a:pt x="75" y="88"/>
                  </a:lnTo>
                  <a:lnTo>
                    <a:pt x="96" y="88"/>
                  </a:lnTo>
                  <a:lnTo>
                    <a:pt x="108" y="70"/>
                  </a:lnTo>
                  <a:lnTo>
                    <a:pt x="120" y="88"/>
                  </a:lnTo>
                  <a:lnTo>
                    <a:pt x="142" y="88"/>
                  </a:lnTo>
                  <a:lnTo>
                    <a:pt x="118" y="55"/>
                  </a:lnTo>
                  <a:close/>
                  <a:moveTo>
                    <a:pt x="66" y="0"/>
                  </a:moveTo>
                  <a:lnTo>
                    <a:pt x="0" y="0"/>
                  </a:lnTo>
                  <a:lnTo>
                    <a:pt x="0" y="88"/>
                  </a:lnTo>
                  <a:lnTo>
                    <a:pt x="67" y="88"/>
                  </a:lnTo>
                  <a:lnTo>
                    <a:pt x="67" y="71"/>
                  </a:lnTo>
                  <a:lnTo>
                    <a:pt x="20" y="71"/>
                  </a:lnTo>
                  <a:lnTo>
                    <a:pt x="20" y="50"/>
                  </a:lnTo>
                  <a:lnTo>
                    <a:pt x="60" y="50"/>
                  </a:lnTo>
                  <a:lnTo>
                    <a:pt x="60" y="34"/>
                  </a:lnTo>
                  <a:lnTo>
                    <a:pt x="20" y="34"/>
                  </a:lnTo>
                  <a:lnTo>
                    <a:pt x="20" y="17"/>
                  </a:lnTo>
                  <a:lnTo>
                    <a:pt x="66" y="17"/>
                  </a:lnTo>
                  <a:lnTo>
                    <a:pt x="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15" name="Freeform 8"/>
            <p:cNvSpPr>
              <a:spLocks noEditPoints="1"/>
            </p:cNvSpPr>
            <p:nvPr userDrawn="1"/>
          </p:nvSpPr>
          <p:spPr bwMode="auto">
            <a:xfrm>
              <a:off x="4067175" y="114301"/>
              <a:ext cx="566738" cy="560388"/>
            </a:xfrm>
            <a:custGeom>
              <a:avLst/>
              <a:gdLst>
                <a:gd name="T0" fmla="*/ 223 w 357"/>
                <a:gd name="T1" fmla="*/ 220 h 353"/>
                <a:gd name="T2" fmla="*/ 134 w 357"/>
                <a:gd name="T3" fmla="*/ 220 h 353"/>
                <a:gd name="T4" fmla="*/ 179 w 357"/>
                <a:gd name="T5" fmla="*/ 100 h 353"/>
                <a:gd name="T6" fmla="*/ 223 w 357"/>
                <a:gd name="T7" fmla="*/ 220 h 353"/>
                <a:gd name="T8" fmla="*/ 357 w 357"/>
                <a:gd name="T9" fmla="*/ 353 h 353"/>
                <a:gd name="T10" fmla="*/ 230 w 357"/>
                <a:gd name="T11" fmla="*/ 0 h 353"/>
                <a:gd name="T12" fmla="*/ 127 w 357"/>
                <a:gd name="T13" fmla="*/ 0 h 353"/>
                <a:gd name="T14" fmla="*/ 0 w 357"/>
                <a:gd name="T15" fmla="*/ 353 h 353"/>
                <a:gd name="T16" fmla="*/ 91 w 357"/>
                <a:gd name="T17" fmla="*/ 353 h 353"/>
                <a:gd name="T18" fmla="*/ 113 w 357"/>
                <a:gd name="T19" fmla="*/ 291 h 353"/>
                <a:gd name="T20" fmla="*/ 245 w 357"/>
                <a:gd name="T21" fmla="*/ 291 h 353"/>
                <a:gd name="T22" fmla="*/ 267 w 357"/>
                <a:gd name="T23" fmla="*/ 353 h 353"/>
                <a:gd name="T24" fmla="*/ 357 w 357"/>
                <a:gd name="T25"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7" h="353">
                  <a:moveTo>
                    <a:pt x="223" y="220"/>
                  </a:moveTo>
                  <a:lnTo>
                    <a:pt x="134" y="220"/>
                  </a:lnTo>
                  <a:lnTo>
                    <a:pt x="179" y="100"/>
                  </a:lnTo>
                  <a:lnTo>
                    <a:pt x="223" y="220"/>
                  </a:lnTo>
                  <a:close/>
                  <a:moveTo>
                    <a:pt x="357" y="353"/>
                  </a:moveTo>
                  <a:lnTo>
                    <a:pt x="230" y="0"/>
                  </a:lnTo>
                  <a:lnTo>
                    <a:pt x="127" y="0"/>
                  </a:lnTo>
                  <a:lnTo>
                    <a:pt x="0" y="353"/>
                  </a:lnTo>
                  <a:lnTo>
                    <a:pt x="91" y="353"/>
                  </a:lnTo>
                  <a:lnTo>
                    <a:pt x="113" y="291"/>
                  </a:lnTo>
                  <a:lnTo>
                    <a:pt x="245" y="291"/>
                  </a:lnTo>
                  <a:lnTo>
                    <a:pt x="267" y="353"/>
                  </a:lnTo>
                  <a:lnTo>
                    <a:pt x="357" y="3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16" name="Freeform 9"/>
            <p:cNvSpPr>
              <a:spLocks noEditPoints="1"/>
            </p:cNvSpPr>
            <p:nvPr userDrawn="1"/>
          </p:nvSpPr>
          <p:spPr bwMode="auto">
            <a:xfrm>
              <a:off x="4686300" y="114301"/>
              <a:ext cx="858838" cy="560388"/>
            </a:xfrm>
            <a:custGeom>
              <a:avLst/>
              <a:gdLst>
                <a:gd name="T0" fmla="*/ 541 w 541"/>
                <a:gd name="T1" fmla="*/ 75 h 353"/>
                <a:gd name="T2" fmla="*/ 541 w 541"/>
                <a:gd name="T3" fmla="*/ 0 h 353"/>
                <a:gd name="T4" fmla="*/ 303 w 541"/>
                <a:gd name="T5" fmla="*/ 0 h 353"/>
                <a:gd name="T6" fmla="*/ 303 w 541"/>
                <a:gd name="T7" fmla="*/ 353 h 353"/>
                <a:gd name="T8" fmla="*/ 541 w 541"/>
                <a:gd name="T9" fmla="*/ 353 h 353"/>
                <a:gd name="T10" fmla="*/ 541 w 541"/>
                <a:gd name="T11" fmla="*/ 278 h 353"/>
                <a:gd name="T12" fmla="*/ 388 w 541"/>
                <a:gd name="T13" fmla="*/ 278 h 353"/>
                <a:gd name="T14" fmla="*/ 388 w 541"/>
                <a:gd name="T15" fmla="*/ 210 h 353"/>
                <a:gd name="T16" fmla="*/ 536 w 541"/>
                <a:gd name="T17" fmla="*/ 210 h 353"/>
                <a:gd name="T18" fmla="*/ 536 w 541"/>
                <a:gd name="T19" fmla="*/ 139 h 353"/>
                <a:gd name="T20" fmla="*/ 388 w 541"/>
                <a:gd name="T21" fmla="*/ 139 h 353"/>
                <a:gd name="T22" fmla="*/ 388 w 541"/>
                <a:gd name="T23" fmla="*/ 75 h 353"/>
                <a:gd name="T24" fmla="*/ 541 w 541"/>
                <a:gd name="T25" fmla="*/ 75 h 353"/>
                <a:gd name="T26" fmla="*/ 239 w 541"/>
                <a:gd name="T27" fmla="*/ 75 h 353"/>
                <a:gd name="T28" fmla="*/ 239 w 541"/>
                <a:gd name="T29" fmla="*/ 0 h 353"/>
                <a:gd name="T30" fmla="*/ 0 w 541"/>
                <a:gd name="T31" fmla="*/ 0 h 353"/>
                <a:gd name="T32" fmla="*/ 0 w 541"/>
                <a:gd name="T33" fmla="*/ 353 h 353"/>
                <a:gd name="T34" fmla="*/ 239 w 541"/>
                <a:gd name="T35" fmla="*/ 353 h 353"/>
                <a:gd name="T36" fmla="*/ 239 w 541"/>
                <a:gd name="T37" fmla="*/ 278 h 353"/>
                <a:gd name="T38" fmla="*/ 85 w 541"/>
                <a:gd name="T39" fmla="*/ 278 h 353"/>
                <a:gd name="T40" fmla="*/ 85 w 541"/>
                <a:gd name="T41" fmla="*/ 210 h 353"/>
                <a:gd name="T42" fmla="*/ 235 w 541"/>
                <a:gd name="T43" fmla="*/ 210 h 353"/>
                <a:gd name="T44" fmla="*/ 235 w 541"/>
                <a:gd name="T45" fmla="*/ 139 h 353"/>
                <a:gd name="T46" fmla="*/ 85 w 541"/>
                <a:gd name="T47" fmla="*/ 139 h 353"/>
                <a:gd name="T48" fmla="*/ 85 w 541"/>
                <a:gd name="T49" fmla="*/ 75 h 353"/>
                <a:gd name="T50" fmla="*/ 239 w 541"/>
                <a:gd name="T51" fmla="*/ 75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1" h="353">
                  <a:moveTo>
                    <a:pt x="541" y="75"/>
                  </a:moveTo>
                  <a:lnTo>
                    <a:pt x="541" y="0"/>
                  </a:lnTo>
                  <a:lnTo>
                    <a:pt x="303" y="0"/>
                  </a:lnTo>
                  <a:lnTo>
                    <a:pt x="303" y="353"/>
                  </a:lnTo>
                  <a:lnTo>
                    <a:pt x="541" y="353"/>
                  </a:lnTo>
                  <a:lnTo>
                    <a:pt x="541" y="278"/>
                  </a:lnTo>
                  <a:lnTo>
                    <a:pt x="388" y="278"/>
                  </a:lnTo>
                  <a:lnTo>
                    <a:pt x="388" y="210"/>
                  </a:lnTo>
                  <a:lnTo>
                    <a:pt x="536" y="210"/>
                  </a:lnTo>
                  <a:lnTo>
                    <a:pt x="536" y="139"/>
                  </a:lnTo>
                  <a:lnTo>
                    <a:pt x="388" y="139"/>
                  </a:lnTo>
                  <a:lnTo>
                    <a:pt x="388" y="75"/>
                  </a:lnTo>
                  <a:lnTo>
                    <a:pt x="541" y="75"/>
                  </a:lnTo>
                  <a:close/>
                  <a:moveTo>
                    <a:pt x="239" y="75"/>
                  </a:moveTo>
                  <a:lnTo>
                    <a:pt x="239" y="0"/>
                  </a:lnTo>
                  <a:lnTo>
                    <a:pt x="0" y="0"/>
                  </a:lnTo>
                  <a:lnTo>
                    <a:pt x="0" y="353"/>
                  </a:lnTo>
                  <a:lnTo>
                    <a:pt x="239" y="353"/>
                  </a:lnTo>
                  <a:lnTo>
                    <a:pt x="239" y="278"/>
                  </a:lnTo>
                  <a:lnTo>
                    <a:pt x="85" y="278"/>
                  </a:lnTo>
                  <a:lnTo>
                    <a:pt x="85" y="210"/>
                  </a:lnTo>
                  <a:lnTo>
                    <a:pt x="235" y="210"/>
                  </a:lnTo>
                  <a:lnTo>
                    <a:pt x="235" y="139"/>
                  </a:lnTo>
                  <a:lnTo>
                    <a:pt x="85" y="139"/>
                  </a:lnTo>
                  <a:lnTo>
                    <a:pt x="85" y="75"/>
                  </a:lnTo>
                  <a:lnTo>
                    <a:pt x="23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grpSp>
    </p:spTree>
    <p:extLst>
      <p:ext uri="{BB962C8B-B14F-4D97-AF65-F5344CB8AC3E}">
        <p14:creationId xmlns:p14="http://schemas.microsoft.com/office/powerpoint/2010/main" val="831161656"/>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secHead" preserve="1">
  <p:cSld name="Section Header 3r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573882"/>
            <a:ext cx="7487081" cy="602326"/>
          </a:xfrm>
          <a:solidFill>
            <a:srgbClr val="B1059D"/>
          </a:solidFill>
        </p:spPr>
        <p:txBody>
          <a:bodyPr lIns="540000" rIns="540000" anchor="t"/>
          <a:lstStyle>
            <a:lvl1pPr algn="l">
              <a:defRPr sz="3299" b="1" cap="none"/>
            </a:lvl1pPr>
          </a:lstStyle>
          <a:p>
            <a:r>
              <a:rPr lang="en-US" dirty="0"/>
              <a:t>Click to add title</a:t>
            </a:r>
          </a:p>
        </p:txBody>
      </p:sp>
      <p:sp>
        <p:nvSpPr>
          <p:cNvPr id="3" name="Text Placeholder 2"/>
          <p:cNvSpPr>
            <a:spLocks noGrp="1"/>
          </p:cNvSpPr>
          <p:nvPr>
            <p:ph type="body" idx="1" hasCustomPrompt="1"/>
          </p:nvPr>
        </p:nvSpPr>
        <p:spPr>
          <a:xfrm>
            <a:off x="4572001" y="2842022"/>
            <a:ext cx="4572000" cy="567811"/>
          </a:xfrm>
          <a:solidFill>
            <a:srgbClr val="000000">
              <a:alpha val="89804"/>
            </a:srgbClr>
          </a:solidFill>
        </p:spPr>
        <p:txBody>
          <a:bodyPr wrap="square" lIns="324000" tIns="144000" rIns="324000" bIns="144000" anchor="t" anchorCtr="0">
            <a:spAutoFit/>
          </a:bodyPr>
          <a:lstStyle>
            <a:lvl1pPr marL="0" indent="0" algn="r">
              <a:buNone/>
              <a:defRPr sz="1800" b="1" i="0">
                <a:solidFill>
                  <a:schemeClr val="bg1"/>
                </a:solidFill>
              </a:defRPr>
            </a:lvl1pPr>
            <a:lvl2pPr marL="342809" indent="0">
              <a:buNone/>
              <a:defRPr sz="1350">
                <a:solidFill>
                  <a:schemeClr val="tx1">
                    <a:tint val="75000"/>
                  </a:schemeClr>
                </a:solidFill>
              </a:defRPr>
            </a:lvl2pPr>
            <a:lvl3pPr marL="685617" indent="0">
              <a:buNone/>
              <a:defRPr sz="1200">
                <a:solidFill>
                  <a:schemeClr val="tx1">
                    <a:tint val="75000"/>
                  </a:schemeClr>
                </a:solidFill>
              </a:defRPr>
            </a:lvl3pPr>
            <a:lvl4pPr marL="1028426" indent="0">
              <a:buNone/>
              <a:defRPr sz="1050">
                <a:solidFill>
                  <a:schemeClr val="tx1">
                    <a:tint val="75000"/>
                  </a:schemeClr>
                </a:solidFill>
              </a:defRPr>
            </a:lvl4pPr>
            <a:lvl5pPr marL="1371234" indent="0">
              <a:buNone/>
              <a:defRPr sz="1050">
                <a:solidFill>
                  <a:schemeClr val="tx1">
                    <a:tint val="75000"/>
                  </a:schemeClr>
                </a:solidFill>
              </a:defRPr>
            </a:lvl5pPr>
            <a:lvl6pPr marL="1714043" indent="0">
              <a:buNone/>
              <a:defRPr sz="1050">
                <a:solidFill>
                  <a:schemeClr val="tx1">
                    <a:tint val="75000"/>
                  </a:schemeClr>
                </a:solidFill>
              </a:defRPr>
            </a:lvl6pPr>
            <a:lvl7pPr marL="2056851" indent="0">
              <a:buNone/>
              <a:defRPr sz="1050">
                <a:solidFill>
                  <a:schemeClr val="tx1">
                    <a:tint val="75000"/>
                  </a:schemeClr>
                </a:solidFill>
              </a:defRPr>
            </a:lvl7pPr>
            <a:lvl8pPr marL="2399660" indent="0">
              <a:buNone/>
              <a:defRPr sz="1050">
                <a:solidFill>
                  <a:schemeClr val="tx1">
                    <a:tint val="75000"/>
                  </a:schemeClr>
                </a:solidFill>
              </a:defRPr>
            </a:lvl8pPr>
            <a:lvl9pPr marL="2742468" indent="0">
              <a:buNone/>
              <a:defRPr sz="1050">
                <a:solidFill>
                  <a:schemeClr val="tx1">
                    <a:tint val="75000"/>
                  </a:schemeClr>
                </a:solidFill>
              </a:defRPr>
            </a:lvl9pPr>
          </a:lstStyle>
          <a:p>
            <a:pPr lvl="0"/>
            <a:r>
              <a:rPr lang="en-US" dirty="0"/>
              <a:t>Click to add text</a:t>
            </a:r>
          </a:p>
        </p:txBody>
      </p:sp>
      <p:sp>
        <p:nvSpPr>
          <p:cNvPr id="4" name="Date Placeholder 3"/>
          <p:cNvSpPr>
            <a:spLocks noGrp="1"/>
          </p:cNvSpPr>
          <p:nvPr>
            <p:ph type="dt" sz="half" idx="10"/>
          </p:nvPr>
        </p:nvSpPr>
        <p:spPr/>
        <p:txBody>
          <a:bodyPr/>
          <a:lstStyle>
            <a:lvl1pPr>
              <a:defRPr>
                <a:solidFill>
                  <a:schemeClr val="bg1"/>
                </a:solidFill>
              </a:defRPr>
            </a:lvl1pPr>
          </a:lstStyle>
          <a:p>
            <a:fld id="{B8709EDD-CFFC-4EFE-A246-61EE6663AA23}" type="datetime1">
              <a:rPr lang="fi-FI" smtClean="0"/>
              <a:t>5.11.2023</a:t>
            </a:fld>
            <a:endParaRPr lang="en-US" dirty="0"/>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 Aalto University Executive Education</a:t>
            </a:r>
            <a:endParaRPr lang="en-US"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FCCA222D-FCF7-48C1-A274-EBDDEF75DC66}" type="slidenum">
              <a:rPr lang="en-US" smtClean="0"/>
              <a:pPr/>
              <a:t>‹#›</a:t>
            </a:fld>
            <a:endParaRPr lang="en-US" dirty="0"/>
          </a:p>
        </p:txBody>
      </p:sp>
      <p:grpSp>
        <p:nvGrpSpPr>
          <p:cNvPr id="12" name="Group 11"/>
          <p:cNvGrpSpPr>
            <a:grpSpLocks noChangeAspect="1"/>
          </p:cNvGrpSpPr>
          <p:nvPr userDrawn="1"/>
        </p:nvGrpSpPr>
        <p:grpSpPr>
          <a:xfrm>
            <a:off x="7595548" y="249492"/>
            <a:ext cx="1294116" cy="199800"/>
            <a:chOff x="4067175" y="114301"/>
            <a:chExt cx="3630613" cy="560388"/>
          </a:xfrm>
          <a:solidFill>
            <a:schemeClr val="bg1"/>
          </a:solidFill>
          <a:effectLst>
            <a:outerShdw blurRad="190500" algn="ctr" rotWithShape="0">
              <a:prstClr val="black">
                <a:alpha val="30000"/>
              </a:prstClr>
            </a:outerShdw>
          </a:effectLst>
        </p:grpSpPr>
        <p:sp>
          <p:nvSpPr>
            <p:cNvPr id="13" name="Freeform 6"/>
            <p:cNvSpPr>
              <a:spLocks noEditPoints="1"/>
            </p:cNvSpPr>
            <p:nvPr userDrawn="1"/>
          </p:nvSpPr>
          <p:spPr bwMode="auto">
            <a:xfrm>
              <a:off x="5749925" y="114301"/>
              <a:ext cx="1530350" cy="173038"/>
            </a:xfrm>
            <a:custGeom>
              <a:avLst/>
              <a:gdLst>
                <a:gd name="T0" fmla="*/ 922 w 964"/>
                <a:gd name="T1" fmla="*/ 84 h 109"/>
                <a:gd name="T2" fmla="*/ 918 w 964"/>
                <a:gd name="T3" fmla="*/ 109 h 109"/>
                <a:gd name="T4" fmla="*/ 944 w 964"/>
                <a:gd name="T5" fmla="*/ 25 h 109"/>
                <a:gd name="T6" fmla="*/ 860 w 964"/>
                <a:gd name="T7" fmla="*/ 68 h 109"/>
                <a:gd name="T8" fmla="*/ 890 w 964"/>
                <a:gd name="T9" fmla="*/ 89 h 109"/>
                <a:gd name="T10" fmla="*/ 890 w 964"/>
                <a:gd name="T11" fmla="*/ 39 h 109"/>
                <a:gd name="T12" fmla="*/ 819 w 964"/>
                <a:gd name="T13" fmla="*/ 89 h 109"/>
                <a:gd name="T14" fmla="*/ 793 w 964"/>
                <a:gd name="T15" fmla="*/ 26 h 109"/>
                <a:gd name="T16" fmla="*/ 753 w 964"/>
                <a:gd name="T17" fmla="*/ 33 h 109"/>
                <a:gd name="T18" fmla="*/ 757 w 964"/>
                <a:gd name="T19" fmla="*/ 58 h 109"/>
                <a:gd name="T20" fmla="*/ 788 w 964"/>
                <a:gd name="T21" fmla="*/ 72 h 109"/>
                <a:gd name="T22" fmla="*/ 767 w 964"/>
                <a:gd name="T23" fmla="*/ 70 h 109"/>
                <a:gd name="T24" fmla="*/ 772 w 964"/>
                <a:gd name="T25" fmla="*/ 90 h 109"/>
                <a:gd name="T26" fmla="*/ 806 w 964"/>
                <a:gd name="T27" fmla="*/ 73 h 109"/>
                <a:gd name="T28" fmla="*/ 788 w 964"/>
                <a:gd name="T29" fmla="*/ 49 h 109"/>
                <a:gd name="T30" fmla="*/ 777 w 964"/>
                <a:gd name="T31" fmla="*/ 37 h 109"/>
                <a:gd name="T32" fmla="*/ 700 w 964"/>
                <a:gd name="T33" fmla="*/ 89 h 109"/>
                <a:gd name="T34" fmla="*/ 729 w 964"/>
                <a:gd name="T35" fmla="*/ 42 h 109"/>
                <a:gd name="T36" fmla="*/ 723 w 964"/>
                <a:gd name="T37" fmla="*/ 27 h 109"/>
                <a:gd name="T38" fmla="*/ 643 w 964"/>
                <a:gd name="T39" fmla="*/ 42 h 109"/>
                <a:gd name="T40" fmla="*/ 666 w 964"/>
                <a:gd name="T41" fmla="*/ 44 h 109"/>
                <a:gd name="T42" fmla="*/ 682 w 964"/>
                <a:gd name="T43" fmla="*/ 38 h 109"/>
                <a:gd name="T44" fmla="*/ 647 w 964"/>
                <a:gd name="T45" fmla="*/ 24 h 109"/>
                <a:gd name="T46" fmla="*/ 623 w 964"/>
                <a:gd name="T47" fmla="*/ 46 h 109"/>
                <a:gd name="T48" fmla="*/ 641 w 964"/>
                <a:gd name="T49" fmla="*/ 88 h 109"/>
                <a:gd name="T50" fmla="*/ 679 w 964"/>
                <a:gd name="T51" fmla="*/ 82 h 109"/>
                <a:gd name="T52" fmla="*/ 656 w 964"/>
                <a:gd name="T53" fmla="*/ 76 h 109"/>
                <a:gd name="T54" fmla="*/ 687 w 964"/>
                <a:gd name="T55" fmla="*/ 62 h 109"/>
                <a:gd name="T56" fmla="*/ 575 w 964"/>
                <a:gd name="T57" fmla="*/ 89 h 109"/>
                <a:gd name="T58" fmla="*/ 521 w 964"/>
                <a:gd name="T59" fmla="*/ 89 h 109"/>
                <a:gd name="T60" fmla="*/ 467 w 964"/>
                <a:gd name="T61" fmla="*/ 42 h 109"/>
                <a:gd name="T62" fmla="*/ 483 w 964"/>
                <a:gd name="T63" fmla="*/ 44 h 109"/>
                <a:gd name="T64" fmla="*/ 497 w 964"/>
                <a:gd name="T65" fmla="*/ 29 h 109"/>
                <a:gd name="T66" fmla="*/ 463 w 964"/>
                <a:gd name="T67" fmla="*/ 25 h 109"/>
                <a:gd name="T68" fmla="*/ 398 w 964"/>
                <a:gd name="T69" fmla="*/ 73 h 109"/>
                <a:gd name="T70" fmla="*/ 376 w 964"/>
                <a:gd name="T71" fmla="*/ 63 h 109"/>
                <a:gd name="T72" fmla="*/ 364 w 964"/>
                <a:gd name="T73" fmla="*/ 81 h 109"/>
                <a:gd name="T74" fmla="*/ 406 w 964"/>
                <a:gd name="T75" fmla="*/ 89 h 109"/>
                <a:gd name="T76" fmla="*/ 427 w 964"/>
                <a:gd name="T77" fmla="*/ 60 h 109"/>
                <a:gd name="T78" fmla="*/ 292 w 964"/>
                <a:gd name="T79" fmla="*/ 49 h 109"/>
                <a:gd name="T80" fmla="*/ 284 w 964"/>
                <a:gd name="T81" fmla="*/ 74 h 109"/>
                <a:gd name="T82" fmla="*/ 263 w 964"/>
                <a:gd name="T83" fmla="*/ 61 h 109"/>
                <a:gd name="T84" fmla="*/ 274 w 964"/>
                <a:gd name="T85" fmla="*/ 38 h 109"/>
                <a:gd name="T86" fmla="*/ 247 w 964"/>
                <a:gd name="T87" fmla="*/ 40 h 109"/>
                <a:gd name="T88" fmla="*/ 249 w 964"/>
                <a:gd name="T89" fmla="*/ 76 h 109"/>
                <a:gd name="T90" fmla="*/ 291 w 964"/>
                <a:gd name="T91" fmla="*/ 88 h 109"/>
                <a:gd name="T92" fmla="*/ 311 w 964"/>
                <a:gd name="T93" fmla="*/ 57 h 109"/>
                <a:gd name="T94" fmla="*/ 291 w 964"/>
                <a:gd name="T95" fmla="*/ 26 h 109"/>
                <a:gd name="T96" fmla="*/ 196 w 964"/>
                <a:gd name="T97" fmla="*/ 26 h 109"/>
                <a:gd name="T98" fmla="*/ 214 w 964"/>
                <a:gd name="T99" fmla="*/ 88 h 109"/>
                <a:gd name="T100" fmla="*/ 224 w 964"/>
                <a:gd name="T101" fmla="*/ 70 h 109"/>
                <a:gd name="T102" fmla="*/ 184 w 964"/>
                <a:gd name="T103" fmla="*/ 0 h 109"/>
                <a:gd name="T104" fmla="*/ 108 w 964"/>
                <a:gd name="T105" fmla="*/ 71 h 109"/>
                <a:gd name="T106" fmla="*/ 110 w 964"/>
                <a:gd name="T107" fmla="*/ 45 h 109"/>
                <a:gd name="T108" fmla="*/ 130 w 964"/>
                <a:gd name="T109" fmla="*/ 41 h 109"/>
                <a:gd name="T110" fmla="*/ 103 w 964"/>
                <a:gd name="T111" fmla="*/ 52 h 109"/>
                <a:gd name="T112" fmla="*/ 91 w 964"/>
                <a:gd name="T113" fmla="*/ 79 h 109"/>
                <a:gd name="T114" fmla="*/ 123 w 964"/>
                <a:gd name="T115" fmla="*/ 89 h 109"/>
                <a:gd name="T116" fmla="*/ 149 w 964"/>
                <a:gd name="T117" fmla="*/ 42 h 109"/>
                <a:gd name="T118" fmla="*/ 115 w 964"/>
                <a:gd name="T119" fmla="*/ 23 h 109"/>
                <a:gd name="T120" fmla="*/ 93 w 964"/>
                <a:gd name="T121" fmla="*/ 45 h 109"/>
                <a:gd name="T122" fmla="*/ 56 w 964"/>
                <a:gd name="T1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4" h="109">
                  <a:moveTo>
                    <a:pt x="944" y="25"/>
                  </a:moveTo>
                  <a:lnTo>
                    <a:pt x="936" y="54"/>
                  </a:lnTo>
                  <a:lnTo>
                    <a:pt x="933" y="68"/>
                  </a:lnTo>
                  <a:lnTo>
                    <a:pt x="932" y="65"/>
                  </a:lnTo>
                  <a:lnTo>
                    <a:pt x="928" y="54"/>
                  </a:lnTo>
                  <a:lnTo>
                    <a:pt x="919" y="25"/>
                  </a:lnTo>
                  <a:lnTo>
                    <a:pt x="899" y="25"/>
                  </a:lnTo>
                  <a:lnTo>
                    <a:pt x="920" y="79"/>
                  </a:lnTo>
                  <a:lnTo>
                    <a:pt x="922" y="84"/>
                  </a:lnTo>
                  <a:lnTo>
                    <a:pt x="922" y="87"/>
                  </a:lnTo>
                  <a:lnTo>
                    <a:pt x="922" y="90"/>
                  </a:lnTo>
                  <a:lnTo>
                    <a:pt x="920" y="93"/>
                  </a:lnTo>
                  <a:lnTo>
                    <a:pt x="919" y="94"/>
                  </a:lnTo>
                  <a:lnTo>
                    <a:pt x="917" y="94"/>
                  </a:lnTo>
                  <a:lnTo>
                    <a:pt x="913" y="95"/>
                  </a:lnTo>
                  <a:lnTo>
                    <a:pt x="907" y="95"/>
                  </a:lnTo>
                  <a:lnTo>
                    <a:pt x="907" y="109"/>
                  </a:lnTo>
                  <a:lnTo>
                    <a:pt x="918" y="109"/>
                  </a:lnTo>
                  <a:lnTo>
                    <a:pt x="923" y="109"/>
                  </a:lnTo>
                  <a:lnTo>
                    <a:pt x="927" y="108"/>
                  </a:lnTo>
                  <a:lnTo>
                    <a:pt x="930" y="107"/>
                  </a:lnTo>
                  <a:lnTo>
                    <a:pt x="933" y="105"/>
                  </a:lnTo>
                  <a:lnTo>
                    <a:pt x="935" y="103"/>
                  </a:lnTo>
                  <a:lnTo>
                    <a:pt x="937" y="100"/>
                  </a:lnTo>
                  <a:lnTo>
                    <a:pt x="941" y="89"/>
                  </a:lnTo>
                  <a:lnTo>
                    <a:pt x="964" y="25"/>
                  </a:lnTo>
                  <a:lnTo>
                    <a:pt x="944" y="25"/>
                  </a:lnTo>
                  <a:close/>
                  <a:moveTo>
                    <a:pt x="890" y="26"/>
                  </a:moveTo>
                  <a:lnTo>
                    <a:pt x="879" y="26"/>
                  </a:lnTo>
                  <a:lnTo>
                    <a:pt x="879" y="5"/>
                  </a:lnTo>
                  <a:lnTo>
                    <a:pt x="860" y="5"/>
                  </a:lnTo>
                  <a:lnTo>
                    <a:pt x="860" y="26"/>
                  </a:lnTo>
                  <a:lnTo>
                    <a:pt x="851" y="26"/>
                  </a:lnTo>
                  <a:lnTo>
                    <a:pt x="851" y="39"/>
                  </a:lnTo>
                  <a:lnTo>
                    <a:pt x="860" y="39"/>
                  </a:lnTo>
                  <a:lnTo>
                    <a:pt x="860" y="68"/>
                  </a:lnTo>
                  <a:lnTo>
                    <a:pt x="860" y="74"/>
                  </a:lnTo>
                  <a:lnTo>
                    <a:pt x="861" y="79"/>
                  </a:lnTo>
                  <a:lnTo>
                    <a:pt x="862" y="82"/>
                  </a:lnTo>
                  <a:lnTo>
                    <a:pt x="863" y="84"/>
                  </a:lnTo>
                  <a:lnTo>
                    <a:pt x="866" y="86"/>
                  </a:lnTo>
                  <a:lnTo>
                    <a:pt x="869" y="88"/>
                  </a:lnTo>
                  <a:lnTo>
                    <a:pt x="873" y="88"/>
                  </a:lnTo>
                  <a:lnTo>
                    <a:pt x="879" y="89"/>
                  </a:lnTo>
                  <a:lnTo>
                    <a:pt x="890" y="89"/>
                  </a:lnTo>
                  <a:lnTo>
                    <a:pt x="890" y="75"/>
                  </a:lnTo>
                  <a:lnTo>
                    <a:pt x="883" y="75"/>
                  </a:lnTo>
                  <a:lnTo>
                    <a:pt x="881" y="74"/>
                  </a:lnTo>
                  <a:lnTo>
                    <a:pt x="880" y="74"/>
                  </a:lnTo>
                  <a:lnTo>
                    <a:pt x="879" y="73"/>
                  </a:lnTo>
                  <a:lnTo>
                    <a:pt x="879" y="70"/>
                  </a:lnTo>
                  <a:lnTo>
                    <a:pt x="879" y="64"/>
                  </a:lnTo>
                  <a:lnTo>
                    <a:pt x="879" y="39"/>
                  </a:lnTo>
                  <a:lnTo>
                    <a:pt x="890" y="39"/>
                  </a:lnTo>
                  <a:lnTo>
                    <a:pt x="890" y="26"/>
                  </a:lnTo>
                  <a:close/>
                  <a:moveTo>
                    <a:pt x="838" y="0"/>
                  </a:moveTo>
                  <a:lnTo>
                    <a:pt x="819" y="0"/>
                  </a:lnTo>
                  <a:lnTo>
                    <a:pt x="819" y="16"/>
                  </a:lnTo>
                  <a:lnTo>
                    <a:pt x="838" y="16"/>
                  </a:lnTo>
                  <a:lnTo>
                    <a:pt x="838" y="0"/>
                  </a:lnTo>
                  <a:close/>
                  <a:moveTo>
                    <a:pt x="838" y="25"/>
                  </a:moveTo>
                  <a:lnTo>
                    <a:pt x="819" y="25"/>
                  </a:lnTo>
                  <a:lnTo>
                    <a:pt x="819" y="89"/>
                  </a:lnTo>
                  <a:lnTo>
                    <a:pt x="838" y="89"/>
                  </a:lnTo>
                  <a:lnTo>
                    <a:pt x="838" y="25"/>
                  </a:lnTo>
                  <a:close/>
                  <a:moveTo>
                    <a:pt x="806" y="44"/>
                  </a:moveTo>
                  <a:lnTo>
                    <a:pt x="805" y="39"/>
                  </a:lnTo>
                  <a:lnTo>
                    <a:pt x="803" y="35"/>
                  </a:lnTo>
                  <a:lnTo>
                    <a:pt x="800" y="31"/>
                  </a:lnTo>
                  <a:lnTo>
                    <a:pt x="797" y="28"/>
                  </a:lnTo>
                  <a:lnTo>
                    <a:pt x="795" y="27"/>
                  </a:lnTo>
                  <a:lnTo>
                    <a:pt x="793" y="26"/>
                  </a:lnTo>
                  <a:lnTo>
                    <a:pt x="789" y="24"/>
                  </a:lnTo>
                  <a:lnTo>
                    <a:pt x="783" y="23"/>
                  </a:lnTo>
                  <a:lnTo>
                    <a:pt x="777" y="23"/>
                  </a:lnTo>
                  <a:lnTo>
                    <a:pt x="771" y="23"/>
                  </a:lnTo>
                  <a:lnTo>
                    <a:pt x="766" y="24"/>
                  </a:lnTo>
                  <a:lnTo>
                    <a:pt x="761" y="26"/>
                  </a:lnTo>
                  <a:lnTo>
                    <a:pt x="757" y="29"/>
                  </a:lnTo>
                  <a:lnTo>
                    <a:pt x="754" y="32"/>
                  </a:lnTo>
                  <a:lnTo>
                    <a:pt x="753" y="33"/>
                  </a:lnTo>
                  <a:lnTo>
                    <a:pt x="752" y="35"/>
                  </a:lnTo>
                  <a:lnTo>
                    <a:pt x="751" y="39"/>
                  </a:lnTo>
                  <a:lnTo>
                    <a:pt x="750" y="44"/>
                  </a:lnTo>
                  <a:lnTo>
                    <a:pt x="750" y="47"/>
                  </a:lnTo>
                  <a:lnTo>
                    <a:pt x="751" y="50"/>
                  </a:lnTo>
                  <a:lnTo>
                    <a:pt x="752" y="52"/>
                  </a:lnTo>
                  <a:lnTo>
                    <a:pt x="753" y="53"/>
                  </a:lnTo>
                  <a:lnTo>
                    <a:pt x="755" y="56"/>
                  </a:lnTo>
                  <a:lnTo>
                    <a:pt x="757" y="58"/>
                  </a:lnTo>
                  <a:lnTo>
                    <a:pt x="761" y="59"/>
                  </a:lnTo>
                  <a:lnTo>
                    <a:pt x="765" y="61"/>
                  </a:lnTo>
                  <a:lnTo>
                    <a:pt x="770" y="62"/>
                  </a:lnTo>
                  <a:lnTo>
                    <a:pt x="781" y="65"/>
                  </a:lnTo>
                  <a:lnTo>
                    <a:pt x="785" y="66"/>
                  </a:lnTo>
                  <a:lnTo>
                    <a:pt x="787" y="67"/>
                  </a:lnTo>
                  <a:lnTo>
                    <a:pt x="788" y="69"/>
                  </a:lnTo>
                  <a:lnTo>
                    <a:pt x="788" y="71"/>
                  </a:lnTo>
                  <a:lnTo>
                    <a:pt x="788" y="72"/>
                  </a:lnTo>
                  <a:lnTo>
                    <a:pt x="788" y="73"/>
                  </a:lnTo>
                  <a:lnTo>
                    <a:pt x="786" y="75"/>
                  </a:lnTo>
                  <a:lnTo>
                    <a:pt x="783" y="76"/>
                  </a:lnTo>
                  <a:lnTo>
                    <a:pt x="779" y="77"/>
                  </a:lnTo>
                  <a:lnTo>
                    <a:pt x="774" y="76"/>
                  </a:lnTo>
                  <a:lnTo>
                    <a:pt x="772" y="76"/>
                  </a:lnTo>
                  <a:lnTo>
                    <a:pt x="770" y="75"/>
                  </a:lnTo>
                  <a:lnTo>
                    <a:pt x="767" y="72"/>
                  </a:lnTo>
                  <a:lnTo>
                    <a:pt x="767" y="70"/>
                  </a:lnTo>
                  <a:lnTo>
                    <a:pt x="766" y="68"/>
                  </a:lnTo>
                  <a:lnTo>
                    <a:pt x="748" y="68"/>
                  </a:lnTo>
                  <a:lnTo>
                    <a:pt x="749" y="73"/>
                  </a:lnTo>
                  <a:lnTo>
                    <a:pt x="751" y="77"/>
                  </a:lnTo>
                  <a:lnTo>
                    <a:pt x="754" y="81"/>
                  </a:lnTo>
                  <a:lnTo>
                    <a:pt x="757" y="84"/>
                  </a:lnTo>
                  <a:lnTo>
                    <a:pt x="761" y="87"/>
                  </a:lnTo>
                  <a:lnTo>
                    <a:pt x="766" y="89"/>
                  </a:lnTo>
                  <a:lnTo>
                    <a:pt x="772" y="90"/>
                  </a:lnTo>
                  <a:lnTo>
                    <a:pt x="778" y="90"/>
                  </a:lnTo>
                  <a:lnTo>
                    <a:pt x="785" y="90"/>
                  </a:lnTo>
                  <a:lnTo>
                    <a:pt x="790" y="89"/>
                  </a:lnTo>
                  <a:lnTo>
                    <a:pt x="795" y="87"/>
                  </a:lnTo>
                  <a:lnTo>
                    <a:pt x="799" y="84"/>
                  </a:lnTo>
                  <a:lnTo>
                    <a:pt x="803" y="81"/>
                  </a:lnTo>
                  <a:lnTo>
                    <a:pt x="805" y="78"/>
                  </a:lnTo>
                  <a:lnTo>
                    <a:pt x="806" y="75"/>
                  </a:lnTo>
                  <a:lnTo>
                    <a:pt x="806" y="73"/>
                  </a:lnTo>
                  <a:lnTo>
                    <a:pt x="807" y="68"/>
                  </a:lnTo>
                  <a:lnTo>
                    <a:pt x="807" y="65"/>
                  </a:lnTo>
                  <a:lnTo>
                    <a:pt x="806" y="61"/>
                  </a:lnTo>
                  <a:lnTo>
                    <a:pt x="804" y="58"/>
                  </a:lnTo>
                  <a:lnTo>
                    <a:pt x="802" y="56"/>
                  </a:lnTo>
                  <a:lnTo>
                    <a:pt x="800" y="54"/>
                  </a:lnTo>
                  <a:lnTo>
                    <a:pt x="797" y="52"/>
                  </a:lnTo>
                  <a:lnTo>
                    <a:pt x="793" y="51"/>
                  </a:lnTo>
                  <a:lnTo>
                    <a:pt x="788" y="49"/>
                  </a:lnTo>
                  <a:lnTo>
                    <a:pt x="776" y="47"/>
                  </a:lnTo>
                  <a:lnTo>
                    <a:pt x="772" y="46"/>
                  </a:lnTo>
                  <a:lnTo>
                    <a:pt x="770" y="45"/>
                  </a:lnTo>
                  <a:lnTo>
                    <a:pt x="768" y="44"/>
                  </a:lnTo>
                  <a:lnTo>
                    <a:pt x="768" y="42"/>
                  </a:lnTo>
                  <a:lnTo>
                    <a:pt x="769" y="40"/>
                  </a:lnTo>
                  <a:lnTo>
                    <a:pt x="771" y="38"/>
                  </a:lnTo>
                  <a:lnTo>
                    <a:pt x="773" y="37"/>
                  </a:lnTo>
                  <a:lnTo>
                    <a:pt x="777" y="37"/>
                  </a:lnTo>
                  <a:lnTo>
                    <a:pt x="781" y="37"/>
                  </a:lnTo>
                  <a:lnTo>
                    <a:pt x="783" y="38"/>
                  </a:lnTo>
                  <a:lnTo>
                    <a:pt x="785" y="39"/>
                  </a:lnTo>
                  <a:lnTo>
                    <a:pt x="786" y="40"/>
                  </a:lnTo>
                  <a:lnTo>
                    <a:pt x="787" y="41"/>
                  </a:lnTo>
                  <a:lnTo>
                    <a:pt x="788" y="44"/>
                  </a:lnTo>
                  <a:lnTo>
                    <a:pt x="806" y="44"/>
                  </a:lnTo>
                  <a:close/>
                  <a:moveTo>
                    <a:pt x="700" y="25"/>
                  </a:moveTo>
                  <a:lnTo>
                    <a:pt x="700" y="89"/>
                  </a:lnTo>
                  <a:lnTo>
                    <a:pt x="719" y="89"/>
                  </a:lnTo>
                  <a:lnTo>
                    <a:pt x="719" y="71"/>
                  </a:lnTo>
                  <a:lnTo>
                    <a:pt x="719" y="56"/>
                  </a:lnTo>
                  <a:lnTo>
                    <a:pt x="720" y="52"/>
                  </a:lnTo>
                  <a:lnTo>
                    <a:pt x="721" y="48"/>
                  </a:lnTo>
                  <a:lnTo>
                    <a:pt x="722" y="46"/>
                  </a:lnTo>
                  <a:lnTo>
                    <a:pt x="724" y="45"/>
                  </a:lnTo>
                  <a:lnTo>
                    <a:pt x="727" y="42"/>
                  </a:lnTo>
                  <a:lnTo>
                    <a:pt x="729" y="42"/>
                  </a:lnTo>
                  <a:lnTo>
                    <a:pt x="731" y="41"/>
                  </a:lnTo>
                  <a:lnTo>
                    <a:pt x="735" y="40"/>
                  </a:lnTo>
                  <a:lnTo>
                    <a:pt x="740" y="41"/>
                  </a:lnTo>
                  <a:lnTo>
                    <a:pt x="740" y="23"/>
                  </a:lnTo>
                  <a:lnTo>
                    <a:pt x="735" y="23"/>
                  </a:lnTo>
                  <a:lnTo>
                    <a:pt x="731" y="24"/>
                  </a:lnTo>
                  <a:lnTo>
                    <a:pt x="728" y="24"/>
                  </a:lnTo>
                  <a:lnTo>
                    <a:pt x="725" y="26"/>
                  </a:lnTo>
                  <a:lnTo>
                    <a:pt x="723" y="27"/>
                  </a:lnTo>
                  <a:lnTo>
                    <a:pt x="721" y="30"/>
                  </a:lnTo>
                  <a:lnTo>
                    <a:pt x="719" y="33"/>
                  </a:lnTo>
                  <a:lnTo>
                    <a:pt x="718" y="36"/>
                  </a:lnTo>
                  <a:lnTo>
                    <a:pt x="718" y="25"/>
                  </a:lnTo>
                  <a:lnTo>
                    <a:pt x="700" y="25"/>
                  </a:lnTo>
                  <a:close/>
                  <a:moveTo>
                    <a:pt x="640" y="49"/>
                  </a:moveTo>
                  <a:lnTo>
                    <a:pt x="641" y="46"/>
                  </a:lnTo>
                  <a:lnTo>
                    <a:pt x="642" y="44"/>
                  </a:lnTo>
                  <a:lnTo>
                    <a:pt x="643" y="42"/>
                  </a:lnTo>
                  <a:lnTo>
                    <a:pt x="645" y="40"/>
                  </a:lnTo>
                  <a:lnTo>
                    <a:pt x="647" y="39"/>
                  </a:lnTo>
                  <a:lnTo>
                    <a:pt x="649" y="38"/>
                  </a:lnTo>
                  <a:lnTo>
                    <a:pt x="655" y="37"/>
                  </a:lnTo>
                  <a:lnTo>
                    <a:pt x="660" y="38"/>
                  </a:lnTo>
                  <a:lnTo>
                    <a:pt x="662" y="39"/>
                  </a:lnTo>
                  <a:lnTo>
                    <a:pt x="663" y="40"/>
                  </a:lnTo>
                  <a:lnTo>
                    <a:pt x="665" y="42"/>
                  </a:lnTo>
                  <a:lnTo>
                    <a:pt x="666" y="44"/>
                  </a:lnTo>
                  <a:lnTo>
                    <a:pt x="667" y="46"/>
                  </a:lnTo>
                  <a:lnTo>
                    <a:pt x="667" y="49"/>
                  </a:lnTo>
                  <a:lnTo>
                    <a:pt x="640" y="49"/>
                  </a:lnTo>
                  <a:close/>
                  <a:moveTo>
                    <a:pt x="687" y="62"/>
                  </a:moveTo>
                  <a:lnTo>
                    <a:pt x="686" y="56"/>
                  </a:lnTo>
                  <a:lnTo>
                    <a:pt x="686" y="51"/>
                  </a:lnTo>
                  <a:lnTo>
                    <a:pt x="685" y="47"/>
                  </a:lnTo>
                  <a:lnTo>
                    <a:pt x="684" y="43"/>
                  </a:lnTo>
                  <a:lnTo>
                    <a:pt x="682" y="38"/>
                  </a:lnTo>
                  <a:lnTo>
                    <a:pt x="679" y="34"/>
                  </a:lnTo>
                  <a:lnTo>
                    <a:pt x="676" y="31"/>
                  </a:lnTo>
                  <a:lnTo>
                    <a:pt x="673" y="28"/>
                  </a:lnTo>
                  <a:lnTo>
                    <a:pt x="669" y="26"/>
                  </a:lnTo>
                  <a:lnTo>
                    <a:pt x="667" y="25"/>
                  </a:lnTo>
                  <a:lnTo>
                    <a:pt x="665" y="24"/>
                  </a:lnTo>
                  <a:lnTo>
                    <a:pt x="660" y="23"/>
                  </a:lnTo>
                  <a:lnTo>
                    <a:pt x="655" y="23"/>
                  </a:lnTo>
                  <a:lnTo>
                    <a:pt x="647" y="24"/>
                  </a:lnTo>
                  <a:lnTo>
                    <a:pt x="641" y="26"/>
                  </a:lnTo>
                  <a:lnTo>
                    <a:pt x="638" y="27"/>
                  </a:lnTo>
                  <a:lnTo>
                    <a:pt x="635" y="29"/>
                  </a:lnTo>
                  <a:lnTo>
                    <a:pt x="630" y="32"/>
                  </a:lnTo>
                  <a:lnTo>
                    <a:pt x="628" y="35"/>
                  </a:lnTo>
                  <a:lnTo>
                    <a:pt x="627" y="37"/>
                  </a:lnTo>
                  <a:lnTo>
                    <a:pt x="625" y="40"/>
                  </a:lnTo>
                  <a:lnTo>
                    <a:pt x="624" y="43"/>
                  </a:lnTo>
                  <a:lnTo>
                    <a:pt x="623" y="46"/>
                  </a:lnTo>
                  <a:lnTo>
                    <a:pt x="622" y="50"/>
                  </a:lnTo>
                  <a:lnTo>
                    <a:pt x="621" y="53"/>
                  </a:lnTo>
                  <a:lnTo>
                    <a:pt x="621" y="57"/>
                  </a:lnTo>
                  <a:lnTo>
                    <a:pt x="622" y="64"/>
                  </a:lnTo>
                  <a:lnTo>
                    <a:pt x="624" y="71"/>
                  </a:lnTo>
                  <a:lnTo>
                    <a:pt x="626" y="76"/>
                  </a:lnTo>
                  <a:lnTo>
                    <a:pt x="630" y="81"/>
                  </a:lnTo>
                  <a:lnTo>
                    <a:pt x="635" y="85"/>
                  </a:lnTo>
                  <a:lnTo>
                    <a:pt x="641" y="88"/>
                  </a:lnTo>
                  <a:lnTo>
                    <a:pt x="644" y="89"/>
                  </a:lnTo>
                  <a:lnTo>
                    <a:pt x="647" y="90"/>
                  </a:lnTo>
                  <a:lnTo>
                    <a:pt x="650" y="90"/>
                  </a:lnTo>
                  <a:lnTo>
                    <a:pt x="655" y="90"/>
                  </a:lnTo>
                  <a:lnTo>
                    <a:pt x="661" y="90"/>
                  </a:lnTo>
                  <a:lnTo>
                    <a:pt x="666" y="89"/>
                  </a:lnTo>
                  <a:lnTo>
                    <a:pt x="671" y="87"/>
                  </a:lnTo>
                  <a:lnTo>
                    <a:pt x="675" y="85"/>
                  </a:lnTo>
                  <a:lnTo>
                    <a:pt x="679" y="82"/>
                  </a:lnTo>
                  <a:lnTo>
                    <a:pt x="680" y="80"/>
                  </a:lnTo>
                  <a:lnTo>
                    <a:pt x="682" y="78"/>
                  </a:lnTo>
                  <a:lnTo>
                    <a:pt x="684" y="74"/>
                  </a:lnTo>
                  <a:lnTo>
                    <a:pt x="686" y="70"/>
                  </a:lnTo>
                  <a:lnTo>
                    <a:pt x="667" y="70"/>
                  </a:lnTo>
                  <a:lnTo>
                    <a:pt x="665" y="73"/>
                  </a:lnTo>
                  <a:lnTo>
                    <a:pt x="662" y="74"/>
                  </a:lnTo>
                  <a:lnTo>
                    <a:pt x="659" y="75"/>
                  </a:lnTo>
                  <a:lnTo>
                    <a:pt x="656" y="76"/>
                  </a:lnTo>
                  <a:lnTo>
                    <a:pt x="653" y="76"/>
                  </a:lnTo>
                  <a:lnTo>
                    <a:pt x="649" y="75"/>
                  </a:lnTo>
                  <a:lnTo>
                    <a:pt x="647" y="74"/>
                  </a:lnTo>
                  <a:lnTo>
                    <a:pt x="645" y="72"/>
                  </a:lnTo>
                  <a:lnTo>
                    <a:pt x="643" y="70"/>
                  </a:lnTo>
                  <a:lnTo>
                    <a:pt x="642" y="68"/>
                  </a:lnTo>
                  <a:lnTo>
                    <a:pt x="641" y="65"/>
                  </a:lnTo>
                  <a:lnTo>
                    <a:pt x="640" y="62"/>
                  </a:lnTo>
                  <a:lnTo>
                    <a:pt x="687" y="62"/>
                  </a:lnTo>
                  <a:close/>
                  <a:moveTo>
                    <a:pt x="593" y="89"/>
                  </a:moveTo>
                  <a:lnTo>
                    <a:pt x="614" y="25"/>
                  </a:lnTo>
                  <a:lnTo>
                    <a:pt x="594" y="25"/>
                  </a:lnTo>
                  <a:lnTo>
                    <a:pt x="588" y="49"/>
                  </a:lnTo>
                  <a:lnTo>
                    <a:pt x="584" y="68"/>
                  </a:lnTo>
                  <a:lnTo>
                    <a:pt x="579" y="49"/>
                  </a:lnTo>
                  <a:lnTo>
                    <a:pt x="571" y="25"/>
                  </a:lnTo>
                  <a:lnTo>
                    <a:pt x="552" y="25"/>
                  </a:lnTo>
                  <a:lnTo>
                    <a:pt x="575" y="89"/>
                  </a:lnTo>
                  <a:lnTo>
                    <a:pt x="593" y="89"/>
                  </a:lnTo>
                  <a:close/>
                  <a:moveTo>
                    <a:pt x="540" y="0"/>
                  </a:moveTo>
                  <a:lnTo>
                    <a:pt x="521" y="0"/>
                  </a:lnTo>
                  <a:lnTo>
                    <a:pt x="521" y="16"/>
                  </a:lnTo>
                  <a:lnTo>
                    <a:pt x="540" y="16"/>
                  </a:lnTo>
                  <a:lnTo>
                    <a:pt x="540" y="0"/>
                  </a:lnTo>
                  <a:close/>
                  <a:moveTo>
                    <a:pt x="540" y="25"/>
                  </a:moveTo>
                  <a:lnTo>
                    <a:pt x="521" y="25"/>
                  </a:lnTo>
                  <a:lnTo>
                    <a:pt x="521" y="89"/>
                  </a:lnTo>
                  <a:lnTo>
                    <a:pt x="540" y="89"/>
                  </a:lnTo>
                  <a:lnTo>
                    <a:pt x="540" y="25"/>
                  </a:lnTo>
                  <a:close/>
                  <a:moveTo>
                    <a:pt x="445" y="25"/>
                  </a:moveTo>
                  <a:lnTo>
                    <a:pt x="445" y="89"/>
                  </a:lnTo>
                  <a:lnTo>
                    <a:pt x="464" y="89"/>
                  </a:lnTo>
                  <a:lnTo>
                    <a:pt x="464" y="53"/>
                  </a:lnTo>
                  <a:lnTo>
                    <a:pt x="465" y="46"/>
                  </a:lnTo>
                  <a:lnTo>
                    <a:pt x="465" y="44"/>
                  </a:lnTo>
                  <a:lnTo>
                    <a:pt x="467" y="42"/>
                  </a:lnTo>
                  <a:lnTo>
                    <a:pt x="468" y="41"/>
                  </a:lnTo>
                  <a:lnTo>
                    <a:pt x="470" y="40"/>
                  </a:lnTo>
                  <a:lnTo>
                    <a:pt x="472" y="39"/>
                  </a:lnTo>
                  <a:lnTo>
                    <a:pt x="475" y="39"/>
                  </a:lnTo>
                  <a:lnTo>
                    <a:pt x="477" y="39"/>
                  </a:lnTo>
                  <a:lnTo>
                    <a:pt x="479" y="40"/>
                  </a:lnTo>
                  <a:lnTo>
                    <a:pt x="481" y="41"/>
                  </a:lnTo>
                  <a:lnTo>
                    <a:pt x="482" y="43"/>
                  </a:lnTo>
                  <a:lnTo>
                    <a:pt x="483" y="44"/>
                  </a:lnTo>
                  <a:lnTo>
                    <a:pt x="484" y="47"/>
                  </a:lnTo>
                  <a:lnTo>
                    <a:pt x="484" y="54"/>
                  </a:lnTo>
                  <a:lnTo>
                    <a:pt x="484" y="89"/>
                  </a:lnTo>
                  <a:lnTo>
                    <a:pt x="503" y="89"/>
                  </a:lnTo>
                  <a:lnTo>
                    <a:pt x="503" y="47"/>
                  </a:lnTo>
                  <a:lnTo>
                    <a:pt x="503" y="42"/>
                  </a:lnTo>
                  <a:lnTo>
                    <a:pt x="502" y="37"/>
                  </a:lnTo>
                  <a:lnTo>
                    <a:pt x="500" y="33"/>
                  </a:lnTo>
                  <a:lnTo>
                    <a:pt x="497" y="29"/>
                  </a:lnTo>
                  <a:lnTo>
                    <a:pt x="494" y="27"/>
                  </a:lnTo>
                  <a:lnTo>
                    <a:pt x="490" y="25"/>
                  </a:lnTo>
                  <a:lnTo>
                    <a:pt x="486" y="23"/>
                  </a:lnTo>
                  <a:lnTo>
                    <a:pt x="481" y="23"/>
                  </a:lnTo>
                  <a:lnTo>
                    <a:pt x="476" y="23"/>
                  </a:lnTo>
                  <a:lnTo>
                    <a:pt x="472" y="25"/>
                  </a:lnTo>
                  <a:lnTo>
                    <a:pt x="468" y="27"/>
                  </a:lnTo>
                  <a:lnTo>
                    <a:pt x="463" y="31"/>
                  </a:lnTo>
                  <a:lnTo>
                    <a:pt x="463" y="25"/>
                  </a:lnTo>
                  <a:lnTo>
                    <a:pt x="445" y="25"/>
                  </a:lnTo>
                  <a:close/>
                  <a:moveTo>
                    <a:pt x="407" y="0"/>
                  </a:moveTo>
                  <a:lnTo>
                    <a:pt x="407" y="59"/>
                  </a:lnTo>
                  <a:lnTo>
                    <a:pt x="407" y="63"/>
                  </a:lnTo>
                  <a:lnTo>
                    <a:pt x="406" y="66"/>
                  </a:lnTo>
                  <a:lnTo>
                    <a:pt x="405" y="68"/>
                  </a:lnTo>
                  <a:lnTo>
                    <a:pt x="404" y="70"/>
                  </a:lnTo>
                  <a:lnTo>
                    <a:pt x="401" y="72"/>
                  </a:lnTo>
                  <a:lnTo>
                    <a:pt x="398" y="73"/>
                  </a:lnTo>
                  <a:lnTo>
                    <a:pt x="395" y="74"/>
                  </a:lnTo>
                  <a:lnTo>
                    <a:pt x="392" y="74"/>
                  </a:lnTo>
                  <a:lnTo>
                    <a:pt x="388" y="74"/>
                  </a:lnTo>
                  <a:lnTo>
                    <a:pt x="385" y="73"/>
                  </a:lnTo>
                  <a:lnTo>
                    <a:pt x="382" y="72"/>
                  </a:lnTo>
                  <a:lnTo>
                    <a:pt x="380" y="70"/>
                  </a:lnTo>
                  <a:lnTo>
                    <a:pt x="378" y="68"/>
                  </a:lnTo>
                  <a:lnTo>
                    <a:pt x="377" y="66"/>
                  </a:lnTo>
                  <a:lnTo>
                    <a:pt x="376" y="63"/>
                  </a:lnTo>
                  <a:lnTo>
                    <a:pt x="376" y="59"/>
                  </a:lnTo>
                  <a:lnTo>
                    <a:pt x="376" y="0"/>
                  </a:lnTo>
                  <a:lnTo>
                    <a:pt x="356" y="0"/>
                  </a:lnTo>
                  <a:lnTo>
                    <a:pt x="356" y="60"/>
                  </a:lnTo>
                  <a:lnTo>
                    <a:pt x="357" y="68"/>
                  </a:lnTo>
                  <a:lnTo>
                    <a:pt x="359" y="74"/>
                  </a:lnTo>
                  <a:lnTo>
                    <a:pt x="360" y="77"/>
                  </a:lnTo>
                  <a:lnTo>
                    <a:pt x="362" y="79"/>
                  </a:lnTo>
                  <a:lnTo>
                    <a:pt x="364" y="81"/>
                  </a:lnTo>
                  <a:lnTo>
                    <a:pt x="366" y="83"/>
                  </a:lnTo>
                  <a:lnTo>
                    <a:pt x="371" y="86"/>
                  </a:lnTo>
                  <a:lnTo>
                    <a:pt x="374" y="88"/>
                  </a:lnTo>
                  <a:lnTo>
                    <a:pt x="378" y="89"/>
                  </a:lnTo>
                  <a:lnTo>
                    <a:pt x="384" y="90"/>
                  </a:lnTo>
                  <a:lnTo>
                    <a:pt x="392" y="91"/>
                  </a:lnTo>
                  <a:lnTo>
                    <a:pt x="399" y="90"/>
                  </a:lnTo>
                  <a:lnTo>
                    <a:pt x="403" y="90"/>
                  </a:lnTo>
                  <a:lnTo>
                    <a:pt x="406" y="89"/>
                  </a:lnTo>
                  <a:lnTo>
                    <a:pt x="412" y="86"/>
                  </a:lnTo>
                  <a:lnTo>
                    <a:pt x="418" y="83"/>
                  </a:lnTo>
                  <a:lnTo>
                    <a:pt x="420" y="81"/>
                  </a:lnTo>
                  <a:lnTo>
                    <a:pt x="422" y="79"/>
                  </a:lnTo>
                  <a:lnTo>
                    <a:pt x="424" y="77"/>
                  </a:lnTo>
                  <a:lnTo>
                    <a:pt x="425" y="74"/>
                  </a:lnTo>
                  <a:lnTo>
                    <a:pt x="427" y="68"/>
                  </a:lnTo>
                  <a:lnTo>
                    <a:pt x="427" y="64"/>
                  </a:lnTo>
                  <a:lnTo>
                    <a:pt x="427" y="60"/>
                  </a:lnTo>
                  <a:lnTo>
                    <a:pt x="427" y="0"/>
                  </a:lnTo>
                  <a:lnTo>
                    <a:pt x="407" y="0"/>
                  </a:lnTo>
                  <a:close/>
                  <a:moveTo>
                    <a:pt x="277" y="38"/>
                  </a:moveTo>
                  <a:lnTo>
                    <a:pt x="281" y="38"/>
                  </a:lnTo>
                  <a:lnTo>
                    <a:pt x="284" y="39"/>
                  </a:lnTo>
                  <a:lnTo>
                    <a:pt x="286" y="41"/>
                  </a:lnTo>
                  <a:lnTo>
                    <a:pt x="289" y="43"/>
                  </a:lnTo>
                  <a:lnTo>
                    <a:pt x="290" y="46"/>
                  </a:lnTo>
                  <a:lnTo>
                    <a:pt x="292" y="49"/>
                  </a:lnTo>
                  <a:lnTo>
                    <a:pt x="292" y="53"/>
                  </a:lnTo>
                  <a:lnTo>
                    <a:pt x="293" y="57"/>
                  </a:lnTo>
                  <a:lnTo>
                    <a:pt x="292" y="61"/>
                  </a:lnTo>
                  <a:lnTo>
                    <a:pt x="292" y="65"/>
                  </a:lnTo>
                  <a:lnTo>
                    <a:pt x="290" y="68"/>
                  </a:lnTo>
                  <a:lnTo>
                    <a:pt x="289" y="71"/>
                  </a:lnTo>
                  <a:lnTo>
                    <a:pt x="288" y="72"/>
                  </a:lnTo>
                  <a:lnTo>
                    <a:pt x="286" y="73"/>
                  </a:lnTo>
                  <a:lnTo>
                    <a:pt x="284" y="74"/>
                  </a:lnTo>
                  <a:lnTo>
                    <a:pt x="281" y="75"/>
                  </a:lnTo>
                  <a:lnTo>
                    <a:pt x="277" y="75"/>
                  </a:lnTo>
                  <a:lnTo>
                    <a:pt x="274" y="75"/>
                  </a:lnTo>
                  <a:lnTo>
                    <a:pt x="271" y="74"/>
                  </a:lnTo>
                  <a:lnTo>
                    <a:pt x="269" y="73"/>
                  </a:lnTo>
                  <a:lnTo>
                    <a:pt x="266" y="71"/>
                  </a:lnTo>
                  <a:lnTo>
                    <a:pt x="265" y="68"/>
                  </a:lnTo>
                  <a:lnTo>
                    <a:pt x="264" y="65"/>
                  </a:lnTo>
                  <a:lnTo>
                    <a:pt x="263" y="61"/>
                  </a:lnTo>
                  <a:lnTo>
                    <a:pt x="263" y="57"/>
                  </a:lnTo>
                  <a:lnTo>
                    <a:pt x="263" y="52"/>
                  </a:lnTo>
                  <a:lnTo>
                    <a:pt x="264" y="49"/>
                  </a:lnTo>
                  <a:lnTo>
                    <a:pt x="265" y="46"/>
                  </a:lnTo>
                  <a:lnTo>
                    <a:pt x="266" y="43"/>
                  </a:lnTo>
                  <a:lnTo>
                    <a:pt x="267" y="42"/>
                  </a:lnTo>
                  <a:lnTo>
                    <a:pt x="269" y="41"/>
                  </a:lnTo>
                  <a:lnTo>
                    <a:pt x="271" y="39"/>
                  </a:lnTo>
                  <a:lnTo>
                    <a:pt x="274" y="38"/>
                  </a:lnTo>
                  <a:lnTo>
                    <a:pt x="277" y="38"/>
                  </a:lnTo>
                  <a:close/>
                  <a:moveTo>
                    <a:pt x="277" y="23"/>
                  </a:moveTo>
                  <a:lnTo>
                    <a:pt x="270" y="24"/>
                  </a:lnTo>
                  <a:lnTo>
                    <a:pt x="264" y="26"/>
                  </a:lnTo>
                  <a:lnTo>
                    <a:pt x="261" y="27"/>
                  </a:lnTo>
                  <a:lnTo>
                    <a:pt x="258" y="29"/>
                  </a:lnTo>
                  <a:lnTo>
                    <a:pt x="253" y="33"/>
                  </a:lnTo>
                  <a:lnTo>
                    <a:pt x="249" y="37"/>
                  </a:lnTo>
                  <a:lnTo>
                    <a:pt x="247" y="40"/>
                  </a:lnTo>
                  <a:lnTo>
                    <a:pt x="246" y="43"/>
                  </a:lnTo>
                  <a:lnTo>
                    <a:pt x="245" y="46"/>
                  </a:lnTo>
                  <a:lnTo>
                    <a:pt x="244" y="50"/>
                  </a:lnTo>
                  <a:lnTo>
                    <a:pt x="244" y="53"/>
                  </a:lnTo>
                  <a:lnTo>
                    <a:pt x="244" y="57"/>
                  </a:lnTo>
                  <a:lnTo>
                    <a:pt x="244" y="64"/>
                  </a:lnTo>
                  <a:lnTo>
                    <a:pt x="246" y="70"/>
                  </a:lnTo>
                  <a:lnTo>
                    <a:pt x="247" y="73"/>
                  </a:lnTo>
                  <a:lnTo>
                    <a:pt x="249" y="76"/>
                  </a:lnTo>
                  <a:lnTo>
                    <a:pt x="253" y="81"/>
                  </a:lnTo>
                  <a:lnTo>
                    <a:pt x="258" y="85"/>
                  </a:lnTo>
                  <a:lnTo>
                    <a:pt x="261" y="87"/>
                  </a:lnTo>
                  <a:lnTo>
                    <a:pt x="264" y="88"/>
                  </a:lnTo>
                  <a:lnTo>
                    <a:pt x="267" y="89"/>
                  </a:lnTo>
                  <a:lnTo>
                    <a:pt x="270" y="90"/>
                  </a:lnTo>
                  <a:lnTo>
                    <a:pt x="277" y="90"/>
                  </a:lnTo>
                  <a:lnTo>
                    <a:pt x="285" y="90"/>
                  </a:lnTo>
                  <a:lnTo>
                    <a:pt x="291" y="88"/>
                  </a:lnTo>
                  <a:lnTo>
                    <a:pt x="294" y="87"/>
                  </a:lnTo>
                  <a:lnTo>
                    <a:pt x="297" y="85"/>
                  </a:lnTo>
                  <a:lnTo>
                    <a:pt x="302" y="81"/>
                  </a:lnTo>
                  <a:lnTo>
                    <a:pt x="306" y="76"/>
                  </a:lnTo>
                  <a:lnTo>
                    <a:pt x="308" y="73"/>
                  </a:lnTo>
                  <a:lnTo>
                    <a:pt x="309" y="71"/>
                  </a:lnTo>
                  <a:lnTo>
                    <a:pt x="311" y="64"/>
                  </a:lnTo>
                  <a:lnTo>
                    <a:pt x="311" y="61"/>
                  </a:lnTo>
                  <a:lnTo>
                    <a:pt x="311" y="57"/>
                  </a:lnTo>
                  <a:lnTo>
                    <a:pt x="311" y="53"/>
                  </a:lnTo>
                  <a:lnTo>
                    <a:pt x="311" y="50"/>
                  </a:lnTo>
                  <a:lnTo>
                    <a:pt x="309" y="43"/>
                  </a:lnTo>
                  <a:lnTo>
                    <a:pt x="308" y="40"/>
                  </a:lnTo>
                  <a:lnTo>
                    <a:pt x="306" y="37"/>
                  </a:lnTo>
                  <a:lnTo>
                    <a:pt x="302" y="33"/>
                  </a:lnTo>
                  <a:lnTo>
                    <a:pt x="297" y="29"/>
                  </a:lnTo>
                  <a:lnTo>
                    <a:pt x="294" y="27"/>
                  </a:lnTo>
                  <a:lnTo>
                    <a:pt x="291" y="26"/>
                  </a:lnTo>
                  <a:lnTo>
                    <a:pt x="288" y="24"/>
                  </a:lnTo>
                  <a:lnTo>
                    <a:pt x="285" y="24"/>
                  </a:lnTo>
                  <a:lnTo>
                    <a:pt x="277" y="23"/>
                  </a:lnTo>
                  <a:close/>
                  <a:moveTo>
                    <a:pt x="235" y="26"/>
                  </a:moveTo>
                  <a:lnTo>
                    <a:pt x="224" y="26"/>
                  </a:lnTo>
                  <a:lnTo>
                    <a:pt x="224" y="5"/>
                  </a:lnTo>
                  <a:lnTo>
                    <a:pt x="205" y="5"/>
                  </a:lnTo>
                  <a:lnTo>
                    <a:pt x="205" y="26"/>
                  </a:lnTo>
                  <a:lnTo>
                    <a:pt x="196" y="26"/>
                  </a:lnTo>
                  <a:lnTo>
                    <a:pt x="196" y="39"/>
                  </a:lnTo>
                  <a:lnTo>
                    <a:pt x="205" y="39"/>
                  </a:lnTo>
                  <a:lnTo>
                    <a:pt x="205" y="68"/>
                  </a:lnTo>
                  <a:lnTo>
                    <a:pt x="205" y="74"/>
                  </a:lnTo>
                  <a:lnTo>
                    <a:pt x="206" y="79"/>
                  </a:lnTo>
                  <a:lnTo>
                    <a:pt x="207" y="82"/>
                  </a:lnTo>
                  <a:lnTo>
                    <a:pt x="209" y="84"/>
                  </a:lnTo>
                  <a:lnTo>
                    <a:pt x="211" y="86"/>
                  </a:lnTo>
                  <a:lnTo>
                    <a:pt x="214" y="88"/>
                  </a:lnTo>
                  <a:lnTo>
                    <a:pt x="218" y="88"/>
                  </a:lnTo>
                  <a:lnTo>
                    <a:pt x="224" y="89"/>
                  </a:lnTo>
                  <a:lnTo>
                    <a:pt x="235" y="89"/>
                  </a:lnTo>
                  <a:lnTo>
                    <a:pt x="235" y="75"/>
                  </a:lnTo>
                  <a:lnTo>
                    <a:pt x="228" y="75"/>
                  </a:lnTo>
                  <a:lnTo>
                    <a:pt x="226" y="74"/>
                  </a:lnTo>
                  <a:lnTo>
                    <a:pt x="225" y="74"/>
                  </a:lnTo>
                  <a:lnTo>
                    <a:pt x="224" y="73"/>
                  </a:lnTo>
                  <a:lnTo>
                    <a:pt x="224" y="70"/>
                  </a:lnTo>
                  <a:lnTo>
                    <a:pt x="224" y="64"/>
                  </a:lnTo>
                  <a:lnTo>
                    <a:pt x="224" y="39"/>
                  </a:lnTo>
                  <a:lnTo>
                    <a:pt x="235" y="39"/>
                  </a:lnTo>
                  <a:lnTo>
                    <a:pt x="235" y="26"/>
                  </a:lnTo>
                  <a:close/>
                  <a:moveTo>
                    <a:pt x="184" y="0"/>
                  </a:moveTo>
                  <a:lnTo>
                    <a:pt x="166" y="0"/>
                  </a:lnTo>
                  <a:lnTo>
                    <a:pt x="166" y="89"/>
                  </a:lnTo>
                  <a:lnTo>
                    <a:pt x="184" y="89"/>
                  </a:lnTo>
                  <a:lnTo>
                    <a:pt x="184" y="0"/>
                  </a:lnTo>
                  <a:close/>
                  <a:moveTo>
                    <a:pt x="131" y="68"/>
                  </a:moveTo>
                  <a:lnTo>
                    <a:pt x="129" y="72"/>
                  </a:lnTo>
                  <a:lnTo>
                    <a:pt x="126" y="74"/>
                  </a:lnTo>
                  <a:lnTo>
                    <a:pt x="122" y="76"/>
                  </a:lnTo>
                  <a:lnTo>
                    <a:pt x="117" y="76"/>
                  </a:lnTo>
                  <a:lnTo>
                    <a:pt x="114" y="76"/>
                  </a:lnTo>
                  <a:lnTo>
                    <a:pt x="111" y="74"/>
                  </a:lnTo>
                  <a:lnTo>
                    <a:pt x="109" y="72"/>
                  </a:lnTo>
                  <a:lnTo>
                    <a:pt x="108" y="71"/>
                  </a:lnTo>
                  <a:lnTo>
                    <a:pt x="108" y="69"/>
                  </a:lnTo>
                  <a:lnTo>
                    <a:pt x="109" y="67"/>
                  </a:lnTo>
                  <a:lnTo>
                    <a:pt x="110" y="65"/>
                  </a:lnTo>
                  <a:lnTo>
                    <a:pt x="113" y="63"/>
                  </a:lnTo>
                  <a:lnTo>
                    <a:pt x="118" y="62"/>
                  </a:lnTo>
                  <a:lnTo>
                    <a:pt x="124" y="60"/>
                  </a:lnTo>
                  <a:lnTo>
                    <a:pt x="131" y="58"/>
                  </a:lnTo>
                  <a:lnTo>
                    <a:pt x="131" y="68"/>
                  </a:lnTo>
                  <a:close/>
                  <a:moveTo>
                    <a:pt x="110" y="45"/>
                  </a:moveTo>
                  <a:lnTo>
                    <a:pt x="110" y="43"/>
                  </a:lnTo>
                  <a:lnTo>
                    <a:pt x="111" y="42"/>
                  </a:lnTo>
                  <a:lnTo>
                    <a:pt x="112" y="40"/>
                  </a:lnTo>
                  <a:lnTo>
                    <a:pt x="113" y="39"/>
                  </a:lnTo>
                  <a:lnTo>
                    <a:pt x="116" y="38"/>
                  </a:lnTo>
                  <a:lnTo>
                    <a:pt x="121" y="37"/>
                  </a:lnTo>
                  <a:lnTo>
                    <a:pt x="125" y="38"/>
                  </a:lnTo>
                  <a:lnTo>
                    <a:pt x="128" y="39"/>
                  </a:lnTo>
                  <a:lnTo>
                    <a:pt x="130" y="41"/>
                  </a:lnTo>
                  <a:lnTo>
                    <a:pt x="131" y="42"/>
                  </a:lnTo>
                  <a:lnTo>
                    <a:pt x="131" y="43"/>
                  </a:lnTo>
                  <a:lnTo>
                    <a:pt x="130" y="45"/>
                  </a:lnTo>
                  <a:lnTo>
                    <a:pt x="129" y="46"/>
                  </a:lnTo>
                  <a:lnTo>
                    <a:pt x="128" y="47"/>
                  </a:lnTo>
                  <a:lnTo>
                    <a:pt x="125" y="48"/>
                  </a:lnTo>
                  <a:lnTo>
                    <a:pt x="115" y="49"/>
                  </a:lnTo>
                  <a:lnTo>
                    <a:pt x="109" y="51"/>
                  </a:lnTo>
                  <a:lnTo>
                    <a:pt x="103" y="52"/>
                  </a:lnTo>
                  <a:lnTo>
                    <a:pt x="99" y="54"/>
                  </a:lnTo>
                  <a:lnTo>
                    <a:pt x="95" y="56"/>
                  </a:lnTo>
                  <a:lnTo>
                    <a:pt x="93" y="59"/>
                  </a:lnTo>
                  <a:lnTo>
                    <a:pt x="92" y="61"/>
                  </a:lnTo>
                  <a:lnTo>
                    <a:pt x="91" y="62"/>
                  </a:lnTo>
                  <a:lnTo>
                    <a:pt x="90" y="66"/>
                  </a:lnTo>
                  <a:lnTo>
                    <a:pt x="89" y="70"/>
                  </a:lnTo>
                  <a:lnTo>
                    <a:pt x="90" y="75"/>
                  </a:lnTo>
                  <a:lnTo>
                    <a:pt x="91" y="79"/>
                  </a:lnTo>
                  <a:lnTo>
                    <a:pt x="93" y="82"/>
                  </a:lnTo>
                  <a:lnTo>
                    <a:pt x="96" y="85"/>
                  </a:lnTo>
                  <a:lnTo>
                    <a:pt x="97" y="86"/>
                  </a:lnTo>
                  <a:lnTo>
                    <a:pt x="99" y="87"/>
                  </a:lnTo>
                  <a:lnTo>
                    <a:pt x="103" y="89"/>
                  </a:lnTo>
                  <a:lnTo>
                    <a:pt x="108" y="90"/>
                  </a:lnTo>
                  <a:lnTo>
                    <a:pt x="113" y="90"/>
                  </a:lnTo>
                  <a:lnTo>
                    <a:pt x="118" y="90"/>
                  </a:lnTo>
                  <a:lnTo>
                    <a:pt x="123" y="89"/>
                  </a:lnTo>
                  <a:lnTo>
                    <a:pt x="127" y="87"/>
                  </a:lnTo>
                  <a:lnTo>
                    <a:pt x="131" y="84"/>
                  </a:lnTo>
                  <a:lnTo>
                    <a:pt x="133" y="89"/>
                  </a:lnTo>
                  <a:lnTo>
                    <a:pt x="152" y="89"/>
                  </a:lnTo>
                  <a:lnTo>
                    <a:pt x="151" y="87"/>
                  </a:lnTo>
                  <a:lnTo>
                    <a:pt x="150" y="85"/>
                  </a:lnTo>
                  <a:lnTo>
                    <a:pt x="149" y="78"/>
                  </a:lnTo>
                  <a:lnTo>
                    <a:pt x="149" y="48"/>
                  </a:lnTo>
                  <a:lnTo>
                    <a:pt x="149" y="42"/>
                  </a:lnTo>
                  <a:lnTo>
                    <a:pt x="148" y="37"/>
                  </a:lnTo>
                  <a:lnTo>
                    <a:pt x="146" y="33"/>
                  </a:lnTo>
                  <a:lnTo>
                    <a:pt x="145" y="31"/>
                  </a:lnTo>
                  <a:lnTo>
                    <a:pt x="143" y="30"/>
                  </a:lnTo>
                  <a:lnTo>
                    <a:pt x="139" y="27"/>
                  </a:lnTo>
                  <a:lnTo>
                    <a:pt x="134" y="25"/>
                  </a:lnTo>
                  <a:lnTo>
                    <a:pt x="128" y="23"/>
                  </a:lnTo>
                  <a:lnTo>
                    <a:pt x="121" y="23"/>
                  </a:lnTo>
                  <a:lnTo>
                    <a:pt x="115" y="23"/>
                  </a:lnTo>
                  <a:lnTo>
                    <a:pt x="109" y="24"/>
                  </a:lnTo>
                  <a:lnTo>
                    <a:pt x="104" y="26"/>
                  </a:lnTo>
                  <a:lnTo>
                    <a:pt x="101" y="28"/>
                  </a:lnTo>
                  <a:lnTo>
                    <a:pt x="97" y="31"/>
                  </a:lnTo>
                  <a:lnTo>
                    <a:pt x="95" y="35"/>
                  </a:lnTo>
                  <a:lnTo>
                    <a:pt x="94" y="37"/>
                  </a:lnTo>
                  <a:lnTo>
                    <a:pt x="94" y="40"/>
                  </a:lnTo>
                  <a:lnTo>
                    <a:pt x="93" y="42"/>
                  </a:lnTo>
                  <a:lnTo>
                    <a:pt x="93" y="45"/>
                  </a:lnTo>
                  <a:lnTo>
                    <a:pt x="110" y="45"/>
                  </a:lnTo>
                  <a:close/>
                  <a:moveTo>
                    <a:pt x="52" y="55"/>
                  </a:moveTo>
                  <a:lnTo>
                    <a:pt x="32" y="55"/>
                  </a:lnTo>
                  <a:lnTo>
                    <a:pt x="43" y="20"/>
                  </a:lnTo>
                  <a:lnTo>
                    <a:pt x="52" y="55"/>
                  </a:lnTo>
                  <a:close/>
                  <a:moveTo>
                    <a:pt x="57" y="71"/>
                  </a:moveTo>
                  <a:lnTo>
                    <a:pt x="61" y="89"/>
                  </a:lnTo>
                  <a:lnTo>
                    <a:pt x="84" y="89"/>
                  </a:lnTo>
                  <a:lnTo>
                    <a:pt x="56" y="0"/>
                  </a:lnTo>
                  <a:lnTo>
                    <a:pt x="31" y="0"/>
                  </a:lnTo>
                  <a:lnTo>
                    <a:pt x="0" y="89"/>
                  </a:lnTo>
                  <a:lnTo>
                    <a:pt x="22" y="89"/>
                  </a:lnTo>
                  <a:lnTo>
                    <a:pt x="27" y="71"/>
                  </a:lnTo>
                  <a:lnTo>
                    <a:pt x="57"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14" name="Freeform 7"/>
            <p:cNvSpPr>
              <a:spLocks noEditPoints="1"/>
            </p:cNvSpPr>
            <p:nvPr userDrawn="1"/>
          </p:nvSpPr>
          <p:spPr bwMode="auto">
            <a:xfrm>
              <a:off x="5756275" y="325438"/>
              <a:ext cx="1941513" cy="142875"/>
            </a:xfrm>
            <a:custGeom>
              <a:avLst/>
              <a:gdLst>
                <a:gd name="T0" fmla="*/ 1197 w 1223"/>
                <a:gd name="T1" fmla="*/ 38 h 90"/>
                <a:gd name="T2" fmla="*/ 1220 w 1223"/>
                <a:gd name="T3" fmla="*/ 32 h 90"/>
                <a:gd name="T4" fmla="*/ 1120 w 1223"/>
                <a:gd name="T5" fmla="*/ 37 h 90"/>
                <a:gd name="T6" fmla="*/ 1131 w 1223"/>
                <a:gd name="T7" fmla="*/ 70 h 90"/>
                <a:gd name="T8" fmla="*/ 1105 w 1223"/>
                <a:gd name="T9" fmla="*/ 60 h 90"/>
                <a:gd name="T10" fmla="*/ 1112 w 1223"/>
                <a:gd name="T11" fmla="*/ 23 h 90"/>
                <a:gd name="T12" fmla="*/ 1088 w 1223"/>
                <a:gd name="T13" fmla="*/ 70 h 90"/>
                <a:gd name="T14" fmla="*/ 1136 w 1223"/>
                <a:gd name="T15" fmla="*/ 86 h 90"/>
                <a:gd name="T16" fmla="*/ 1150 w 1223"/>
                <a:gd name="T17" fmla="*/ 40 h 90"/>
                <a:gd name="T18" fmla="*/ 1074 w 1223"/>
                <a:gd name="T19" fmla="*/ 15 h 90"/>
                <a:gd name="T20" fmla="*/ 1002 w 1223"/>
                <a:gd name="T21" fmla="*/ 25 h 90"/>
                <a:gd name="T22" fmla="*/ 1041 w 1223"/>
                <a:gd name="T23" fmla="*/ 88 h 90"/>
                <a:gd name="T24" fmla="*/ 967 w 1223"/>
                <a:gd name="T25" fmla="*/ 74 h 90"/>
                <a:gd name="T26" fmla="*/ 966 w 1223"/>
                <a:gd name="T27" fmla="*/ 60 h 90"/>
                <a:gd name="T28" fmla="*/ 971 w 1223"/>
                <a:gd name="T29" fmla="*/ 40 h 90"/>
                <a:gd name="T30" fmla="*/ 934 w 1223"/>
                <a:gd name="T31" fmla="*/ 59 h 90"/>
                <a:gd name="T32" fmla="*/ 954 w 1223"/>
                <a:gd name="T33" fmla="*/ 90 h 90"/>
                <a:gd name="T34" fmla="*/ 990 w 1223"/>
                <a:gd name="T35" fmla="*/ 36 h 90"/>
                <a:gd name="T36" fmla="*/ 939 w 1223"/>
                <a:gd name="T37" fmla="*/ 31 h 90"/>
                <a:gd name="T38" fmla="*/ 907 w 1223"/>
                <a:gd name="T39" fmla="*/ 26 h 90"/>
                <a:gd name="T40" fmla="*/ 859 w 1223"/>
                <a:gd name="T41" fmla="*/ 49 h 90"/>
                <a:gd name="T42" fmla="*/ 891 w 1223"/>
                <a:gd name="T43" fmla="*/ 90 h 90"/>
                <a:gd name="T44" fmla="*/ 899 w 1223"/>
                <a:gd name="T45" fmla="*/ 72 h 90"/>
                <a:gd name="T46" fmla="*/ 878 w 1223"/>
                <a:gd name="T47" fmla="*/ 56 h 90"/>
                <a:gd name="T48" fmla="*/ 900 w 1223"/>
                <a:gd name="T49" fmla="*/ 42 h 90"/>
                <a:gd name="T50" fmla="*/ 823 w 1223"/>
                <a:gd name="T51" fmla="*/ 73 h 90"/>
                <a:gd name="T52" fmla="*/ 790 w 1223"/>
                <a:gd name="T53" fmla="*/ 71 h 90"/>
                <a:gd name="T54" fmla="*/ 828 w 1223"/>
                <a:gd name="T55" fmla="*/ 83 h 90"/>
                <a:gd name="T56" fmla="*/ 756 w 1223"/>
                <a:gd name="T57" fmla="*/ 52 h 90"/>
                <a:gd name="T58" fmla="*/ 735 w 1223"/>
                <a:gd name="T59" fmla="*/ 72 h 90"/>
                <a:gd name="T60" fmla="*/ 740 w 1223"/>
                <a:gd name="T61" fmla="*/ 38 h 90"/>
                <a:gd name="T62" fmla="*/ 719 w 1223"/>
                <a:gd name="T63" fmla="*/ 32 h 90"/>
                <a:gd name="T64" fmla="*/ 723 w 1223"/>
                <a:gd name="T65" fmla="*/ 85 h 90"/>
                <a:gd name="T66" fmla="*/ 757 w 1223"/>
                <a:gd name="T67" fmla="*/ 88 h 90"/>
                <a:gd name="T68" fmla="*/ 655 w 1223"/>
                <a:gd name="T69" fmla="*/ 34 h 90"/>
                <a:gd name="T70" fmla="*/ 556 w 1223"/>
                <a:gd name="T71" fmla="*/ 38 h 90"/>
                <a:gd name="T72" fmla="*/ 580 w 1223"/>
                <a:gd name="T73" fmla="*/ 41 h 90"/>
                <a:gd name="T74" fmla="*/ 533 w 1223"/>
                <a:gd name="T75" fmla="*/ 28 h 90"/>
                <a:gd name="T76" fmla="*/ 528 w 1223"/>
                <a:gd name="T77" fmla="*/ 81 h 90"/>
                <a:gd name="T78" fmla="*/ 577 w 1223"/>
                <a:gd name="T79" fmla="*/ 80 h 90"/>
                <a:gd name="T80" fmla="*/ 543 w 1223"/>
                <a:gd name="T81" fmla="*/ 72 h 90"/>
                <a:gd name="T82" fmla="*/ 471 w 1223"/>
                <a:gd name="T83" fmla="*/ 24 h 90"/>
                <a:gd name="T84" fmla="*/ 440 w 1223"/>
                <a:gd name="T85" fmla="*/ 88 h 90"/>
                <a:gd name="T86" fmla="*/ 376 w 1223"/>
                <a:gd name="T87" fmla="*/ 78 h 90"/>
                <a:gd name="T88" fmla="*/ 394 w 1223"/>
                <a:gd name="T89" fmla="*/ 69 h 90"/>
                <a:gd name="T90" fmla="*/ 329 w 1223"/>
                <a:gd name="T91" fmla="*/ 73 h 90"/>
                <a:gd name="T92" fmla="*/ 295 w 1223"/>
                <a:gd name="T93" fmla="*/ 71 h 90"/>
                <a:gd name="T94" fmla="*/ 333 w 1223"/>
                <a:gd name="T95" fmla="*/ 83 h 90"/>
                <a:gd name="T96" fmla="*/ 259 w 1223"/>
                <a:gd name="T97" fmla="*/ 23 h 90"/>
                <a:gd name="T98" fmla="*/ 221 w 1223"/>
                <a:gd name="T99" fmla="*/ 64 h 90"/>
                <a:gd name="T100" fmla="*/ 264 w 1223"/>
                <a:gd name="T101" fmla="*/ 88 h 90"/>
                <a:gd name="T102" fmla="*/ 257 w 1223"/>
                <a:gd name="T103" fmla="*/ 74 h 90"/>
                <a:gd name="T104" fmla="*/ 240 w 1223"/>
                <a:gd name="T105" fmla="*/ 50 h 90"/>
                <a:gd name="T106" fmla="*/ 264 w 1223"/>
                <a:gd name="T107" fmla="*/ 47 h 90"/>
                <a:gd name="T108" fmla="*/ 186 w 1223"/>
                <a:gd name="T109" fmla="*/ 40 h 90"/>
                <a:gd name="T110" fmla="*/ 202 w 1223"/>
                <a:gd name="T111" fmla="*/ 33 h 90"/>
                <a:gd name="T112" fmla="*/ 152 w 1223"/>
                <a:gd name="T113" fmla="*/ 34 h 90"/>
                <a:gd name="T114" fmla="*/ 165 w 1223"/>
                <a:gd name="T115" fmla="*/ 87 h 90"/>
                <a:gd name="T116" fmla="*/ 207 w 1223"/>
                <a:gd name="T117" fmla="*/ 74 h 90"/>
                <a:gd name="T118" fmla="*/ 166 w 1223"/>
                <a:gd name="T119" fmla="*/ 67 h 90"/>
                <a:gd name="T120" fmla="*/ 96 w 1223"/>
                <a:gd name="T121" fmla="*/ 88 h 90"/>
                <a:gd name="T122" fmla="*/ 60 w 1223"/>
                <a:gd name="T123" fmla="*/ 5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3" h="90">
                  <a:moveTo>
                    <a:pt x="1165" y="24"/>
                  </a:moveTo>
                  <a:lnTo>
                    <a:pt x="1165" y="88"/>
                  </a:lnTo>
                  <a:lnTo>
                    <a:pt x="1184" y="88"/>
                  </a:lnTo>
                  <a:lnTo>
                    <a:pt x="1184" y="52"/>
                  </a:lnTo>
                  <a:lnTo>
                    <a:pt x="1184" y="46"/>
                  </a:lnTo>
                  <a:lnTo>
                    <a:pt x="1185" y="44"/>
                  </a:lnTo>
                  <a:lnTo>
                    <a:pt x="1187" y="42"/>
                  </a:lnTo>
                  <a:lnTo>
                    <a:pt x="1188" y="40"/>
                  </a:lnTo>
                  <a:lnTo>
                    <a:pt x="1190" y="39"/>
                  </a:lnTo>
                  <a:lnTo>
                    <a:pt x="1192" y="38"/>
                  </a:lnTo>
                  <a:lnTo>
                    <a:pt x="1195" y="38"/>
                  </a:lnTo>
                  <a:lnTo>
                    <a:pt x="1197" y="38"/>
                  </a:lnTo>
                  <a:lnTo>
                    <a:pt x="1199" y="39"/>
                  </a:lnTo>
                  <a:lnTo>
                    <a:pt x="1201" y="40"/>
                  </a:lnTo>
                  <a:lnTo>
                    <a:pt x="1202" y="42"/>
                  </a:lnTo>
                  <a:lnTo>
                    <a:pt x="1203" y="44"/>
                  </a:lnTo>
                  <a:lnTo>
                    <a:pt x="1204" y="46"/>
                  </a:lnTo>
                  <a:lnTo>
                    <a:pt x="1204" y="53"/>
                  </a:lnTo>
                  <a:lnTo>
                    <a:pt x="1204" y="88"/>
                  </a:lnTo>
                  <a:lnTo>
                    <a:pt x="1223" y="88"/>
                  </a:lnTo>
                  <a:lnTo>
                    <a:pt x="1223" y="47"/>
                  </a:lnTo>
                  <a:lnTo>
                    <a:pt x="1223" y="41"/>
                  </a:lnTo>
                  <a:lnTo>
                    <a:pt x="1222" y="37"/>
                  </a:lnTo>
                  <a:lnTo>
                    <a:pt x="1220" y="32"/>
                  </a:lnTo>
                  <a:lnTo>
                    <a:pt x="1217" y="29"/>
                  </a:lnTo>
                  <a:lnTo>
                    <a:pt x="1214" y="26"/>
                  </a:lnTo>
                  <a:lnTo>
                    <a:pt x="1210" y="24"/>
                  </a:lnTo>
                  <a:lnTo>
                    <a:pt x="1206" y="23"/>
                  </a:lnTo>
                  <a:lnTo>
                    <a:pt x="1201" y="22"/>
                  </a:lnTo>
                  <a:lnTo>
                    <a:pt x="1196" y="23"/>
                  </a:lnTo>
                  <a:lnTo>
                    <a:pt x="1192" y="24"/>
                  </a:lnTo>
                  <a:lnTo>
                    <a:pt x="1188" y="27"/>
                  </a:lnTo>
                  <a:lnTo>
                    <a:pt x="1183" y="30"/>
                  </a:lnTo>
                  <a:lnTo>
                    <a:pt x="1183" y="24"/>
                  </a:lnTo>
                  <a:lnTo>
                    <a:pt x="1165" y="24"/>
                  </a:lnTo>
                  <a:close/>
                  <a:moveTo>
                    <a:pt x="1120" y="37"/>
                  </a:moveTo>
                  <a:lnTo>
                    <a:pt x="1123" y="38"/>
                  </a:lnTo>
                  <a:lnTo>
                    <a:pt x="1126" y="39"/>
                  </a:lnTo>
                  <a:lnTo>
                    <a:pt x="1129" y="40"/>
                  </a:lnTo>
                  <a:lnTo>
                    <a:pt x="1131" y="42"/>
                  </a:lnTo>
                  <a:lnTo>
                    <a:pt x="1132" y="45"/>
                  </a:lnTo>
                  <a:lnTo>
                    <a:pt x="1134" y="48"/>
                  </a:lnTo>
                  <a:lnTo>
                    <a:pt x="1134" y="52"/>
                  </a:lnTo>
                  <a:lnTo>
                    <a:pt x="1135" y="57"/>
                  </a:lnTo>
                  <a:lnTo>
                    <a:pt x="1134" y="61"/>
                  </a:lnTo>
                  <a:lnTo>
                    <a:pt x="1134" y="64"/>
                  </a:lnTo>
                  <a:lnTo>
                    <a:pt x="1132" y="67"/>
                  </a:lnTo>
                  <a:lnTo>
                    <a:pt x="1131" y="70"/>
                  </a:lnTo>
                  <a:lnTo>
                    <a:pt x="1130" y="71"/>
                  </a:lnTo>
                  <a:lnTo>
                    <a:pt x="1129" y="72"/>
                  </a:lnTo>
                  <a:lnTo>
                    <a:pt x="1126" y="74"/>
                  </a:lnTo>
                  <a:lnTo>
                    <a:pt x="1123" y="75"/>
                  </a:lnTo>
                  <a:lnTo>
                    <a:pt x="1120" y="75"/>
                  </a:lnTo>
                  <a:lnTo>
                    <a:pt x="1116" y="75"/>
                  </a:lnTo>
                  <a:lnTo>
                    <a:pt x="1113" y="74"/>
                  </a:lnTo>
                  <a:lnTo>
                    <a:pt x="1111" y="72"/>
                  </a:lnTo>
                  <a:lnTo>
                    <a:pt x="1109" y="70"/>
                  </a:lnTo>
                  <a:lnTo>
                    <a:pt x="1107" y="67"/>
                  </a:lnTo>
                  <a:lnTo>
                    <a:pt x="1106" y="64"/>
                  </a:lnTo>
                  <a:lnTo>
                    <a:pt x="1105" y="60"/>
                  </a:lnTo>
                  <a:lnTo>
                    <a:pt x="1105" y="56"/>
                  </a:lnTo>
                  <a:lnTo>
                    <a:pt x="1105" y="52"/>
                  </a:lnTo>
                  <a:lnTo>
                    <a:pt x="1106" y="48"/>
                  </a:lnTo>
                  <a:lnTo>
                    <a:pt x="1107" y="45"/>
                  </a:lnTo>
                  <a:lnTo>
                    <a:pt x="1109" y="42"/>
                  </a:lnTo>
                  <a:lnTo>
                    <a:pt x="1110" y="41"/>
                  </a:lnTo>
                  <a:lnTo>
                    <a:pt x="1111" y="40"/>
                  </a:lnTo>
                  <a:lnTo>
                    <a:pt x="1113" y="39"/>
                  </a:lnTo>
                  <a:lnTo>
                    <a:pt x="1116" y="38"/>
                  </a:lnTo>
                  <a:lnTo>
                    <a:pt x="1120" y="37"/>
                  </a:lnTo>
                  <a:close/>
                  <a:moveTo>
                    <a:pt x="1120" y="23"/>
                  </a:moveTo>
                  <a:lnTo>
                    <a:pt x="1112" y="23"/>
                  </a:lnTo>
                  <a:lnTo>
                    <a:pt x="1106" y="25"/>
                  </a:lnTo>
                  <a:lnTo>
                    <a:pt x="1103" y="26"/>
                  </a:lnTo>
                  <a:lnTo>
                    <a:pt x="1100" y="28"/>
                  </a:lnTo>
                  <a:lnTo>
                    <a:pt x="1095" y="32"/>
                  </a:lnTo>
                  <a:lnTo>
                    <a:pt x="1091" y="37"/>
                  </a:lnTo>
                  <a:lnTo>
                    <a:pt x="1090" y="40"/>
                  </a:lnTo>
                  <a:lnTo>
                    <a:pt x="1088" y="43"/>
                  </a:lnTo>
                  <a:lnTo>
                    <a:pt x="1087" y="46"/>
                  </a:lnTo>
                  <a:lnTo>
                    <a:pt x="1086" y="49"/>
                  </a:lnTo>
                  <a:lnTo>
                    <a:pt x="1086" y="56"/>
                  </a:lnTo>
                  <a:lnTo>
                    <a:pt x="1086" y="63"/>
                  </a:lnTo>
                  <a:lnTo>
                    <a:pt x="1088" y="70"/>
                  </a:lnTo>
                  <a:lnTo>
                    <a:pt x="1090" y="73"/>
                  </a:lnTo>
                  <a:lnTo>
                    <a:pt x="1091" y="76"/>
                  </a:lnTo>
                  <a:lnTo>
                    <a:pt x="1095" y="80"/>
                  </a:lnTo>
                  <a:lnTo>
                    <a:pt x="1100" y="84"/>
                  </a:lnTo>
                  <a:lnTo>
                    <a:pt x="1103" y="86"/>
                  </a:lnTo>
                  <a:lnTo>
                    <a:pt x="1106" y="87"/>
                  </a:lnTo>
                  <a:lnTo>
                    <a:pt x="1109" y="88"/>
                  </a:lnTo>
                  <a:lnTo>
                    <a:pt x="1112" y="89"/>
                  </a:lnTo>
                  <a:lnTo>
                    <a:pt x="1120" y="90"/>
                  </a:lnTo>
                  <a:lnTo>
                    <a:pt x="1127" y="89"/>
                  </a:lnTo>
                  <a:lnTo>
                    <a:pt x="1133" y="87"/>
                  </a:lnTo>
                  <a:lnTo>
                    <a:pt x="1136" y="86"/>
                  </a:lnTo>
                  <a:lnTo>
                    <a:pt x="1139" y="84"/>
                  </a:lnTo>
                  <a:lnTo>
                    <a:pt x="1144" y="80"/>
                  </a:lnTo>
                  <a:lnTo>
                    <a:pt x="1148" y="76"/>
                  </a:lnTo>
                  <a:lnTo>
                    <a:pt x="1150" y="73"/>
                  </a:lnTo>
                  <a:lnTo>
                    <a:pt x="1151" y="70"/>
                  </a:lnTo>
                  <a:lnTo>
                    <a:pt x="1153" y="64"/>
                  </a:lnTo>
                  <a:lnTo>
                    <a:pt x="1153" y="60"/>
                  </a:lnTo>
                  <a:lnTo>
                    <a:pt x="1154" y="57"/>
                  </a:lnTo>
                  <a:lnTo>
                    <a:pt x="1153" y="53"/>
                  </a:lnTo>
                  <a:lnTo>
                    <a:pt x="1153" y="49"/>
                  </a:lnTo>
                  <a:lnTo>
                    <a:pt x="1151" y="43"/>
                  </a:lnTo>
                  <a:lnTo>
                    <a:pt x="1150" y="40"/>
                  </a:lnTo>
                  <a:lnTo>
                    <a:pt x="1148" y="37"/>
                  </a:lnTo>
                  <a:lnTo>
                    <a:pt x="1144" y="32"/>
                  </a:lnTo>
                  <a:lnTo>
                    <a:pt x="1139" y="28"/>
                  </a:lnTo>
                  <a:lnTo>
                    <a:pt x="1136" y="26"/>
                  </a:lnTo>
                  <a:lnTo>
                    <a:pt x="1133" y="25"/>
                  </a:lnTo>
                  <a:lnTo>
                    <a:pt x="1130" y="24"/>
                  </a:lnTo>
                  <a:lnTo>
                    <a:pt x="1127" y="23"/>
                  </a:lnTo>
                  <a:lnTo>
                    <a:pt x="1120" y="23"/>
                  </a:lnTo>
                  <a:close/>
                  <a:moveTo>
                    <a:pt x="1074" y="0"/>
                  </a:moveTo>
                  <a:lnTo>
                    <a:pt x="1056" y="0"/>
                  </a:lnTo>
                  <a:lnTo>
                    <a:pt x="1056" y="15"/>
                  </a:lnTo>
                  <a:lnTo>
                    <a:pt x="1074" y="15"/>
                  </a:lnTo>
                  <a:lnTo>
                    <a:pt x="1074" y="0"/>
                  </a:lnTo>
                  <a:close/>
                  <a:moveTo>
                    <a:pt x="1074" y="24"/>
                  </a:moveTo>
                  <a:lnTo>
                    <a:pt x="1056" y="24"/>
                  </a:lnTo>
                  <a:lnTo>
                    <a:pt x="1056" y="88"/>
                  </a:lnTo>
                  <a:lnTo>
                    <a:pt x="1074" y="88"/>
                  </a:lnTo>
                  <a:lnTo>
                    <a:pt x="1074" y="24"/>
                  </a:lnTo>
                  <a:close/>
                  <a:moveTo>
                    <a:pt x="1041" y="25"/>
                  </a:moveTo>
                  <a:lnTo>
                    <a:pt x="1029" y="25"/>
                  </a:lnTo>
                  <a:lnTo>
                    <a:pt x="1029" y="5"/>
                  </a:lnTo>
                  <a:lnTo>
                    <a:pt x="1011" y="5"/>
                  </a:lnTo>
                  <a:lnTo>
                    <a:pt x="1011" y="25"/>
                  </a:lnTo>
                  <a:lnTo>
                    <a:pt x="1002" y="25"/>
                  </a:lnTo>
                  <a:lnTo>
                    <a:pt x="1002" y="38"/>
                  </a:lnTo>
                  <a:lnTo>
                    <a:pt x="1011" y="38"/>
                  </a:lnTo>
                  <a:lnTo>
                    <a:pt x="1011" y="67"/>
                  </a:lnTo>
                  <a:lnTo>
                    <a:pt x="1011" y="74"/>
                  </a:lnTo>
                  <a:lnTo>
                    <a:pt x="1011" y="78"/>
                  </a:lnTo>
                  <a:lnTo>
                    <a:pt x="1012" y="81"/>
                  </a:lnTo>
                  <a:lnTo>
                    <a:pt x="1014" y="84"/>
                  </a:lnTo>
                  <a:lnTo>
                    <a:pt x="1017" y="86"/>
                  </a:lnTo>
                  <a:lnTo>
                    <a:pt x="1020" y="87"/>
                  </a:lnTo>
                  <a:lnTo>
                    <a:pt x="1024" y="88"/>
                  </a:lnTo>
                  <a:lnTo>
                    <a:pt x="1029" y="88"/>
                  </a:lnTo>
                  <a:lnTo>
                    <a:pt x="1041" y="88"/>
                  </a:lnTo>
                  <a:lnTo>
                    <a:pt x="1041" y="74"/>
                  </a:lnTo>
                  <a:lnTo>
                    <a:pt x="1034" y="74"/>
                  </a:lnTo>
                  <a:lnTo>
                    <a:pt x="1032" y="74"/>
                  </a:lnTo>
                  <a:lnTo>
                    <a:pt x="1030" y="72"/>
                  </a:lnTo>
                  <a:lnTo>
                    <a:pt x="1029" y="69"/>
                  </a:lnTo>
                  <a:lnTo>
                    <a:pt x="1029" y="63"/>
                  </a:lnTo>
                  <a:lnTo>
                    <a:pt x="1029" y="38"/>
                  </a:lnTo>
                  <a:lnTo>
                    <a:pt x="1041" y="38"/>
                  </a:lnTo>
                  <a:lnTo>
                    <a:pt x="1041" y="25"/>
                  </a:lnTo>
                  <a:close/>
                  <a:moveTo>
                    <a:pt x="973" y="68"/>
                  </a:moveTo>
                  <a:lnTo>
                    <a:pt x="970" y="71"/>
                  </a:lnTo>
                  <a:lnTo>
                    <a:pt x="967" y="74"/>
                  </a:lnTo>
                  <a:lnTo>
                    <a:pt x="963" y="75"/>
                  </a:lnTo>
                  <a:lnTo>
                    <a:pt x="959" y="76"/>
                  </a:lnTo>
                  <a:lnTo>
                    <a:pt x="955" y="75"/>
                  </a:lnTo>
                  <a:lnTo>
                    <a:pt x="952" y="74"/>
                  </a:lnTo>
                  <a:lnTo>
                    <a:pt x="950" y="72"/>
                  </a:lnTo>
                  <a:lnTo>
                    <a:pt x="950" y="70"/>
                  </a:lnTo>
                  <a:lnTo>
                    <a:pt x="949" y="69"/>
                  </a:lnTo>
                  <a:lnTo>
                    <a:pt x="950" y="66"/>
                  </a:lnTo>
                  <a:lnTo>
                    <a:pt x="952" y="64"/>
                  </a:lnTo>
                  <a:lnTo>
                    <a:pt x="955" y="62"/>
                  </a:lnTo>
                  <a:lnTo>
                    <a:pt x="959" y="61"/>
                  </a:lnTo>
                  <a:lnTo>
                    <a:pt x="966" y="60"/>
                  </a:lnTo>
                  <a:lnTo>
                    <a:pt x="973" y="58"/>
                  </a:lnTo>
                  <a:lnTo>
                    <a:pt x="973" y="68"/>
                  </a:lnTo>
                  <a:close/>
                  <a:moveTo>
                    <a:pt x="951" y="44"/>
                  </a:moveTo>
                  <a:lnTo>
                    <a:pt x="951" y="43"/>
                  </a:lnTo>
                  <a:lnTo>
                    <a:pt x="952" y="41"/>
                  </a:lnTo>
                  <a:lnTo>
                    <a:pt x="953" y="40"/>
                  </a:lnTo>
                  <a:lnTo>
                    <a:pt x="954" y="39"/>
                  </a:lnTo>
                  <a:lnTo>
                    <a:pt x="958" y="37"/>
                  </a:lnTo>
                  <a:lnTo>
                    <a:pt x="962" y="37"/>
                  </a:lnTo>
                  <a:lnTo>
                    <a:pt x="966" y="37"/>
                  </a:lnTo>
                  <a:lnTo>
                    <a:pt x="970" y="38"/>
                  </a:lnTo>
                  <a:lnTo>
                    <a:pt x="971" y="40"/>
                  </a:lnTo>
                  <a:lnTo>
                    <a:pt x="972" y="41"/>
                  </a:lnTo>
                  <a:lnTo>
                    <a:pt x="972" y="43"/>
                  </a:lnTo>
                  <a:lnTo>
                    <a:pt x="972" y="44"/>
                  </a:lnTo>
                  <a:lnTo>
                    <a:pt x="971" y="46"/>
                  </a:lnTo>
                  <a:lnTo>
                    <a:pt x="969" y="46"/>
                  </a:lnTo>
                  <a:lnTo>
                    <a:pt x="966" y="47"/>
                  </a:lnTo>
                  <a:lnTo>
                    <a:pt x="956" y="49"/>
                  </a:lnTo>
                  <a:lnTo>
                    <a:pt x="950" y="50"/>
                  </a:lnTo>
                  <a:lnTo>
                    <a:pt x="945" y="52"/>
                  </a:lnTo>
                  <a:lnTo>
                    <a:pt x="940" y="54"/>
                  </a:lnTo>
                  <a:lnTo>
                    <a:pt x="937" y="56"/>
                  </a:lnTo>
                  <a:lnTo>
                    <a:pt x="934" y="59"/>
                  </a:lnTo>
                  <a:lnTo>
                    <a:pt x="933" y="60"/>
                  </a:lnTo>
                  <a:lnTo>
                    <a:pt x="932" y="62"/>
                  </a:lnTo>
                  <a:lnTo>
                    <a:pt x="931" y="66"/>
                  </a:lnTo>
                  <a:lnTo>
                    <a:pt x="931" y="70"/>
                  </a:lnTo>
                  <a:lnTo>
                    <a:pt x="931" y="74"/>
                  </a:lnTo>
                  <a:lnTo>
                    <a:pt x="933" y="78"/>
                  </a:lnTo>
                  <a:lnTo>
                    <a:pt x="935" y="81"/>
                  </a:lnTo>
                  <a:lnTo>
                    <a:pt x="937" y="84"/>
                  </a:lnTo>
                  <a:lnTo>
                    <a:pt x="941" y="87"/>
                  </a:lnTo>
                  <a:lnTo>
                    <a:pt x="945" y="88"/>
                  </a:lnTo>
                  <a:lnTo>
                    <a:pt x="949" y="89"/>
                  </a:lnTo>
                  <a:lnTo>
                    <a:pt x="954" y="90"/>
                  </a:lnTo>
                  <a:lnTo>
                    <a:pt x="960" y="90"/>
                  </a:lnTo>
                  <a:lnTo>
                    <a:pt x="964" y="88"/>
                  </a:lnTo>
                  <a:lnTo>
                    <a:pt x="968" y="86"/>
                  </a:lnTo>
                  <a:lnTo>
                    <a:pt x="973" y="83"/>
                  </a:lnTo>
                  <a:lnTo>
                    <a:pt x="974" y="88"/>
                  </a:lnTo>
                  <a:lnTo>
                    <a:pt x="993" y="88"/>
                  </a:lnTo>
                  <a:lnTo>
                    <a:pt x="992" y="86"/>
                  </a:lnTo>
                  <a:lnTo>
                    <a:pt x="991" y="84"/>
                  </a:lnTo>
                  <a:lnTo>
                    <a:pt x="991" y="77"/>
                  </a:lnTo>
                  <a:lnTo>
                    <a:pt x="991" y="48"/>
                  </a:lnTo>
                  <a:lnTo>
                    <a:pt x="991" y="41"/>
                  </a:lnTo>
                  <a:lnTo>
                    <a:pt x="990" y="36"/>
                  </a:lnTo>
                  <a:lnTo>
                    <a:pt x="988" y="32"/>
                  </a:lnTo>
                  <a:lnTo>
                    <a:pt x="986" y="31"/>
                  </a:lnTo>
                  <a:lnTo>
                    <a:pt x="985" y="29"/>
                  </a:lnTo>
                  <a:lnTo>
                    <a:pt x="980" y="26"/>
                  </a:lnTo>
                  <a:lnTo>
                    <a:pt x="975" y="24"/>
                  </a:lnTo>
                  <a:lnTo>
                    <a:pt x="969" y="23"/>
                  </a:lnTo>
                  <a:lnTo>
                    <a:pt x="962" y="23"/>
                  </a:lnTo>
                  <a:lnTo>
                    <a:pt x="956" y="23"/>
                  </a:lnTo>
                  <a:lnTo>
                    <a:pt x="951" y="24"/>
                  </a:lnTo>
                  <a:lnTo>
                    <a:pt x="946" y="26"/>
                  </a:lnTo>
                  <a:lnTo>
                    <a:pt x="942" y="28"/>
                  </a:lnTo>
                  <a:lnTo>
                    <a:pt x="939" y="31"/>
                  </a:lnTo>
                  <a:lnTo>
                    <a:pt x="937" y="35"/>
                  </a:lnTo>
                  <a:lnTo>
                    <a:pt x="936" y="37"/>
                  </a:lnTo>
                  <a:lnTo>
                    <a:pt x="935" y="39"/>
                  </a:lnTo>
                  <a:lnTo>
                    <a:pt x="934" y="42"/>
                  </a:lnTo>
                  <a:lnTo>
                    <a:pt x="934" y="44"/>
                  </a:lnTo>
                  <a:lnTo>
                    <a:pt x="951" y="44"/>
                  </a:lnTo>
                  <a:close/>
                  <a:moveTo>
                    <a:pt x="920" y="47"/>
                  </a:moveTo>
                  <a:lnTo>
                    <a:pt x="920" y="42"/>
                  </a:lnTo>
                  <a:lnTo>
                    <a:pt x="918" y="37"/>
                  </a:lnTo>
                  <a:lnTo>
                    <a:pt x="915" y="33"/>
                  </a:lnTo>
                  <a:lnTo>
                    <a:pt x="912" y="29"/>
                  </a:lnTo>
                  <a:lnTo>
                    <a:pt x="907" y="26"/>
                  </a:lnTo>
                  <a:lnTo>
                    <a:pt x="903" y="24"/>
                  </a:lnTo>
                  <a:lnTo>
                    <a:pt x="897" y="23"/>
                  </a:lnTo>
                  <a:lnTo>
                    <a:pt x="891" y="23"/>
                  </a:lnTo>
                  <a:lnTo>
                    <a:pt x="884" y="23"/>
                  </a:lnTo>
                  <a:lnTo>
                    <a:pt x="878" y="25"/>
                  </a:lnTo>
                  <a:lnTo>
                    <a:pt x="872" y="28"/>
                  </a:lnTo>
                  <a:lnTo>
                    <a:pt x="870" y="29"/>
                  </a:lnTo>
                  <a:lnTo>
                    <a:pt x="867" y="32"/>
                  </a:lnTo>
                  <a:lnTo>
                    <a:pt x="865" y="34"/>
                  </a:lnTo>
                  <a:lnTo>
                    <a:pt x="864" y="36"/>
                  </a:lnTo>
                  <a:lnTo>
                    <a:pt x="861" y="42"/>
                  </a:lnTo>
                  <a:lnTo>
                    <a:pt x="859" y="49"/>
                  </a:lnTo>
                  <a:lnTo>
                    <a:pt x="859" y="56"/>
                  </a:lnTo>
                  <a:lnTo>
                    <a:pt x="859" y="64"/>
                  </a:lnTo>
                  <a:lnTo>
                    <a:pt x="860" y="67"/>
                  </a:lnTo>
                  <a:lnTo>
                    <a:pt x="861" y="70"/>
                  </a:lnTo>
                  <a:lnTo>
                    <a:pt x="864" y="76"/>
                  </a:lnTo>
                  <a:lnTo>
                    <a:pt x="865" y="79"/>
                  </a:lnTo>
                  <a:lnTo>
                    <a:pt x="867" y="81"/>
                  </a:lnTo>
                  <a:lnTo>
                    <a:pt x="872" y="85"/>
                  </a:lnTo>
                  <a:lnTo>
                    <a:pt x="877" y="88"/>
                  </a:lnTo>
                  <a:lnTo>
                    <a:pt x="884" y="89"/>
                  </a:lnTo>
                  <a:lnTo>
                    <a:pt x="887" y="90"/>
                  </a:lnTo>
                  <a:lnTo>
                    <a:pt x="891" y="90"/>
                  </a:lnTo>
                  <a:lnTo>
                    <a:pt x="897" y="89"/>
                  </a:lnTo>
                  <a:lnTo>
                    <a:pt x="902" y="88"/>
                  </a:lnTo>
                  <a:lnTo>
                    <a:pt x="907" y="86"/>
                  </a:lnTo>
                  <a:lnTo>
                    <a:pt x="911" y="83"/>
                  </a:lnTo>
                  <a:lnTo>
                    <a:pt x="915" y="80"/>
                  </a:lnTo>
                  <a:lnTo>
                    <a:pt x="918" y="75"/>
                  </a:lnTo>
                  <a:lnTo>
                    <a:pt x="920" y="70"/>
                  </a:lnTo>
                  <a:lnTo>
                    <a:pt x="921" y="65"/>
                  </a:lnTo>
                  <a:lnTo>
                    <a:pt x="903" y="64"/>
                  </a:lnTo>
                  <a:lnTo>
                    <a:pt x="902" y="66"/>
                  </a:lnTo>
                  <a:lnTo>
                    <a:pt x="901" y="69"/>
                  </a:lnTo>
                  <a:lnTo>
                    <a:pt x="899" y="72"/>
                  </a:lnTo>
                  <a:lnTo>
                    <a:pt x="897" y="73"/>
                  </a:lnTo>
                  <a:lnTo>
                    <a:pt x="896" y="74"/>
                  </a:lnTo>
                  <a:lnTo>
                    <a:pt x="893" y="74"/>
                  </a:lnTo>
                  <a:lnTo>
                    <a:pt x="891" y="75"/>
                  </a:lnTo>
                  <a:lnTo>
                    <a:pt x="888" y="74"/>
                  </a:lnTo>
                  <a:lnTo>
                    <a:pt x="885" y="73"/>
                  </a:lnTo>
                  <a:lnTo>
                    <a:pt x="883" y="72"/>
                  </a:lnTo>
                  <a:lnTo>
                    <a:pt x="881" y="70"/>
                  </a:lnTo>
                  <a:lnTo>
                    <a:pt x="880" y="67"/>
                  </a:lnTo>
                  <a:lnTo>
                    <a:pt x="879" y="64"/>
                  </a:lnTo>
                  <a:lnTo>
                    <a:pt x="878" y="60"/>
                  </a:lnTo>
                  <a:lnTo>
                    <a:pt x="878" y="56"/>
                  </a:lnTo>
                  <a:lnTo>
                    <a:pt x="878" y="52"/>
                  </a:lnTo>
                  <a:lnTo>
                    <a:pt x="878" y="50"/>
                  </a:lnTo>
                  <a:lnTo>
                    <a:pt x="879" y="48"/>
                  </a:lnTo>
                  <a:lnTo>
                    <a:pt x="880" y="45"/>
                  </a:lnTo>
                  <a:lnTo>
                    <a:pt x="881" y="42"/>
                  </a:lnTo>
                  <a:lnTo>
                    <a:pt x="883" y="40"/>
                  </a:lnTo>
                  <a:lnTo>
                    <a:pt x="885" y="39"/>
                  </a:lnTo>
                  <a:lnTo>
                    <a:pt x="888" y="38"/>
                  </a:lnTo>
                  <a:lnTo>
                    <a:pt x="891" y="38"/>
                  </a:lnTo>
                  <a:lnTo>
                    <a:pt x="895" y="38"/>
                  </a:lnTo>
                  <a:lnTo>
                    <a:pt x="899" y="40"/>
                  </a:lnTo>
                  <a:lnTo>
                    <a:pt x="900" y="42"/>
                  </a:lnTo>
                  <a:lnTo>
                    <a:pt x="901" y="43"/>
                  </a:lnTo>
                  <a:lnTo>
                    <a:pt x="902" y="45"/>
                  </a:lnTo>
                  <a:lnTo>
                    <a:pt x="903" y="47"/>
                  </a:lnTo>
                  <a:lnTo>
                    <a:pt x="920" y="47"/>
                  </a:lnTo>
                  <a:close/>
                  <a:moveTo>
                    <a:pt x="847" y="24"/>
                  </a:moveTo>
                  <a:lnTo>
                    <a:pt x="828" y="24"/>
                  </a:lnTo>
                  <a:lnTo>
                    <a:pt x="828" y="60"/>
                  </a:lnTo>
                  <a:lnTo>
                    <a:pt x="828" y="67"/>
                  </a:lnTo>
                  <a:lnTo>
                    <a:pt x="827" y="69"/>
                  </a:lnTo>
                  <a:lnTo>
                    <a:pt x="826" y="70"/>
                  </a:lnTo>
                  <a:lnTo>
                    <a:pt x="825" y="72"/>
                  </a:lnTo>
                  <a:lnTo>
                    <a:pt x="823" y="73"/>
                  </a:lnTo>
                  <a:lnTo>
                    <a:pt x="821" y="74"/>
                  </a:lnTo>
                  <a:lnTo>
                    <a:pt x="818" y="74"/>
                  </a:lnTo>
                  <a:lnTo>
                    <a:pt x="816" y="74"/>
                  </a:lnTo>
                  <a:lnTo>
                    <a:pt x="814" y="73"/>
                  </a:lnTo>
                  <a:lnTo>
                    <a:pt x="812" y="72"/>
                  </a:lnTo>
                  <a:lnTo>
                    <a:pt x="810" y="70"/>
                  </a:lnTo>
                  <a:lnTo>
                    <a:pt x="809" y="67"/>
                  </a:lnTo>
                  <a:lnTo>
                    <a:pt x="808" y="60"/>
                  </a:lnTo>
                  <a:lnTo>
                    <a:pt x="808" y="24"/>
                  </a:lnTo>
                  <a:lnTo>
                    <a:pt x="789" y="24"/>
                  </a:lnTo>
                  <a:lnTo>
                    <a:pt x="789" y="64"/>
                  </a:lnTo>
                  <a:lnTo>
                    <a:pt x="790" y="71"/>
                  </a:lnTo>
                  <a:lnTo>
                    <a:pt x="791" y="76"/>
                  </a:lnTo>
                  <a:lnTo>
                    <a:pt x="792" y="78"/>
                  </a:lnTo>
                  <a:lnTo>
                    <a:pt x="793" y="80"/>
                  </a:lnTo>
                  <a:lnTo>
                    <a:pt x="795" y="83"/>
                  </a:lnTo>
                  <a:lnTo>
                    <a:pt x="799" y="86"/>
                  </a:lnTo>
                  <a:lnTo>
                    <a:pt x="803" y="88"/>
                  </a:lnTo>
                  <a:lnTo>
                    <a:pt x="808" y="89"/>
                  </a:lnTo>
                  <a:lnTo>
                    <a:pt x="812" y="90"/>
                  </a:lnTo>
                  <a:lnTo>
                    <a:pt x="818" y="89"/>
                  </a:lnTo>
                  <a:lnTo>
                    <a:pt x="822" y="88"/>
                  </a:lnTo>
                  <a:lnTo>
                    <a:pt x="826" y="85"/>
                  </a:lnTo>
                  <a:lnTo>
                    <a:pt x="828" y="83"/>
                  </a:lnTo>
                  <a:lnTo>
                    <a:pt x="829" y="81"/>
                  </a:lnTo>
                  <a:lnTo>
                    <a:pt x="829" y="88"/>
                  </a:lnTo>
                  <a:lnTo>
                    <a:pt x="847" y="88"/>
                  </a:lnTo>
                  <a:lnTo>
                    <a:pt x="847" y="24"/>
                  </a:lnTo>
                  <a:close/>
                  <a:moveTo>
                    <a:pt x="743" y="38"/>
                  </a:moveTo>
                  <a:lnTo>
                    <a:pt x="746" y="38"/>
                  </a:lnTo>
                  <a:lnTo>
                    <a:pt x="749" y="39"/>
                  </a:lnTo>
                  <a:lnTo>
                    <a:pt x="751" y="41"/>
                  </a:lnTo>
                  <a:lnTo>
                    <a:pt x="753" y="43"/>
                  </a:lnTo>
                  <a:lnTo>
                    <a:pt x="755" y="45"/>
                  </a:lnTo>
                  <a:lnTo>
                    <a:pt x="756" y="49"/>
                  </a:lnTo>
                  <a:lnTo>
                    <a:pt x="756" y="52"/>
                  </a:lnTo>
                  <a:lnTo>
                    <a:pt x="757" y="56"/>
                  </a:lnTo>
                  <a:lnTo>
                    <a:pt x="756" y="60"/>
                  </a:lnTo>
                  <a:lnTo>
                    <a:pt x="756" y="64"/>
                  </a:lnTo>
                  <a:lnTo>
                    <a:pt x="755" y="67"/>
                  </a:lnTo>
                  <a:lnTo>
                    <a:pt x="753" y="70"/>
                  </a:lnTo>
                  <a:lnTo>
                    <a:pt x="751" y="72"/>
                  </a:lnTo>
                  <a:lnTo>
                    <a:pt x="749" y="73"/>
                  </a:lnTo>
                  <a:lnTo>
                    <a:pt x="746" y="74"/>
                  </a:lnTo>
                  <a:lnTo>
                    <a:pt x="743" y="75"/>
                  </a:lnTo>
                  <a:lnTo>
                    <a:pt x="740" y="74"/>
                  </a:lnTo>
                  <a:lnTo>
                    <a:pt x="738" y="73"/>
                  </a:lnTo>
                  <a:lnTo>
                    <a:pt x="735" y="72"/>
                  </a:lnTo>
                  <a:lnTo>
                    <a:pt x="733" y="70"/>
                  </a:lnTo>
                  <a:lnTo>
                    <a:pt x="732" y="67"/>
                  </a:lnTo>
                  <a:lnTo>
                    <a:pt x="731" y="64"/>
                  </a:lnTo>
                  <a:lnTo>
                    <a:pt x="730" y="60"/>
                  </a:lnTo>
                  <a:lnTo>
                    <a:pt x="730" y="56"/>
                  </a:lnTo>
                  <a:lnTo>
                    <a:pt x="730" y="52"/>
                  </a:lnTo>
                  <a:lnTo>
                    <a:pt x="731" y="48"/>
                  </a:lnTo>
                  <a:lnTo>
                    <a:pt x="732" y="45"/>
                  </a:lnTo>
                  <a:lnTo>
                    <a:pt x="733" y="43"/>
                  </a:lnTo>
                  <a:lnTo>
                    <a:pt x="735" y="40"/>
                  </a:lnTo>
                  <a:lnTo>
                    <a:pt x="738" y="39"/>
                  </a:lnTo>
                  <a:lnTo>
                    <a:pt x="740" y="38"/>
                  </a:lnTo>
                  <a:lnTo>
                    <a:pt x="743" y="38"/>
                  </a:lnTo>
                  <a:close/>
                  <a:moveTo>
                    <a:pt x="775" y="0"/>
                  </a:moveTo>
                  <a:lnTo>
                    <a:pt x="756" y="0"/>
                  </a:lnTo>
                  <a:lnTo>
                    <a:pt x="756" y="29"/>
                  </a:lnTo>
                  <a:lnTo>
                    <a:pt x="753" y="26"/>
                  </a:lnTo>
                  <a:lnTo>
                    <a:pt x="749" y="24"/>
                  </a:lnTo>
                  <a:lnTo>
                    <a:pt x="745" y="23"/>
                  </a:lnTo>
                  <a:lnTo>
                    <a:pt x="740" y="22"/>
                  </a:lnTo>
                  <a:lnTo>
                    <a:pt x="734" y="23"/>
                  </a:lnTo>
                  <a:lnTo>
                    <a:pt x="728" y="25"/>
                  </a:lnTo>
                  <a:lnTo>
                    <a:pt x="723" y="28"/>
                  </a:lnTo>
                  <a:lnTo>
                    <a:pt x="719" y="32"/>
                  </a:lnTo>
                  <a:lnTo>
                    <a:pt x="716" y="37"/>
                  </a:lnTo>
                  <a:lnTo>
                    <a:pt x="713" y="42"/>
                  </a:lnTo>
                  <a:lnTo>
                    <a:pt x="712" y="46"/>
                  </a:lnTo>
                  <a:lnTo>
                    <a:pt x="712" y="49"/>
                  </a:lnTo>
                  <a:lnTo>
                    <a:pt x="711" y="56"/>
                  </a:lnTo>
                  <a:lnTo>
                    <a:pt x="712" y="64"/>
                  </a:lnTo>
                  <a:lnTo>
                    <a:pt x="712" y="67"/>
                  </a:lnTo>
                  <a:lnTo>
                    <a:pt x="713" y="70"/>
                  </a:lnTo>
                  <a:lnTo>
                    <a:pt x="716" y="76"/>
                  </a:lnTo>
                  <a:lnTo>
                    <a:pt x="717" y="78"/>
                  </a:lnTo>
                  <a:lnTo>
                    <a:pt x="719" y="81"/>
                  </a:lnTo>
                  <a:lnTo>
                    <a:pt x="723" y="85"/>
                  </a:lnTo>
                  <a:lnTo>
                    <a:pt x="728" y="87"/>
                  </a:lnTo>
                  <a:lnTo>
                    <a:pt x="730" y="88"/>
                  </a:lnTo>
                  <a:lnTo>
                    <a:pt x="733" y="89"/>
                  </a:lnTo>
                  <a:lnTo>
                    <a:pt x="736" y="90"/>
                  </a:lnTo>
                  <a:lnTo>
                    <a:pt x="739" y="90"/>
                  </a:lnTo>
                  <a:lnTo>
                    <a:pt x="745" y="89"/>
                  </a:lnTo>
                  <a:lnTo>
                    <a:pt x="747" y="89"/>
                  </a:lnTo>
                  <a:lnTo>
                    <a:pt x="749" y="88"/>
                  </a:lnTo>
                  <a:lnTo>
                    <a:pt x="751" y="87"/>
                  </a:lnTo>
                  <a:lnTo>
                    <a:pt x="753" y="85"/>
                  </a:lnTo>
                  <a:lnTo>
                    <a:pt x="757" y="81"/>
                  </a:lnTo>
                  <a:lnTo>
                    <a:pt x="757" y="88"/>
                  </a:lnTo>
                  <a:lnTo>
                    <a:pt x="775" y="88"/>
                  </a:lnTo>
                  <a:lnTo>
                    <a:pt x="775" y="0"/>
                  </a:lnTo>
                  <a:close/>
                  <a:moveTo>
                    <a:pt x="701" y="0"/>
                  </a:moveTo>
                  <a:lnTo>
                    <a:pt x="634" y="0"/>
                  </a:lnTo>
                  <a:lnTo>
                    <a:pt x="634" y="88"/>
                  </a:lnTo>
                  <a:lnTo>
                    <a:pt x="702" y="88"/>
                  </a:lnTo>
                  <a:lnTo>
                    <a:pt x="702" y="71"/>
                  </a:lnTo>
                  <a:lnTo>
                    <a:pt x="655" y="71"/>
                  </a:lnTo>
                  <a:lnTo>
                    <a:pt x="655" y="50"/>
                  </a:lnTo>
                  <a:lnTo>
                    <a:pt x="695" y="50"/>
                  </a:lnTo>
                  <a:lnTo>
                    <a:pt x="695" y="34"/>
                  </a:lnTo>
                  <a:lnTo>
                    <a:pt x="655" y="34"/>
                  </a:lnTo>
                  <a:lnTo>
                    <a:pt x="655" y="17"/>
                  </a:lnTo>
                  <a:lnTo>
                    <a:pt x="701" y="17"/>
                  </a:lnTo>
                  <a:lnTo>
                    <a:pt x="701" y="0"/>
                  </a:lnTo>
                  <a:close/>
                  <a:moveTo>
                    <a:pt x="538" y="48"/>
                  </a:moveTo>
                  <a:lnTo>
                    <a:pt x="539" y="46"/>
                  </a:lnTo>
                  <a:lnTo>
                    <a:pt x="540" y="43"/>
                  </a:lnTo>
                  <a:lnTo>
                    <a:pt x="541" y="41"/>
                  </a:lnTo>
                  <a:lnTo>
                    <a:pt x="543" y="40"/>
                  </a:lnTo>
                  <a:lnTo>
                    <a:pt x="544" y="38"/>
                  </a:lnTo>
                  <a:lnTo>
                    <a:pt x="547" y="38"/>
                  </a:lnTo>
                  <a:lnTo>
                    <a:pt x="552" y="37"/>
                  </a:lnTo>
                  <a:lnTo>
                    <a:pt x="556" y="38"/>
                  </a:lnTo>
                  <a:lnTo>
                    <a:pt x="558" y="38"/>
                  </a:lnTo>
                  <a:lnTo>
                    <a:pt x="560" y="40"/>
                  </a:lnTo>
                  <a:lnTo>
                    <a:pt x="562" y="41"/>
                  </a:lnTo>
                  <a:lnTo>
                    <a:pt x="563" y="43"/>
                  </a:lnTo>
                  <a:lnTo>
                    <a:pt x="564" y="46"/>
                  </a:lnTo>
                  <a:lnTo>
                    <a:pt x="564" y="48"/>
                  </a:lnTo>
                  <a:lnTo>
                    <a:pt x="538" y="48"/>
                  </a:lnTo>
                  <a:close/>
                  <a:moveTo>
                    <a:pt x="583" y="62"/>
                  </a:moveTo>
                  <a:lnTo>
                    <a:pt x="583" y="56"/>
                  </a:lnTo>
                  <a:lnTo>
                    <a:pt x="583" y="50"/>
                  </a:lnTo>
                  <a:lnTo>
                    <a:pt x="582" y="46"/>
                  </a:lnTo>
                  <a:lnTo>
                    <a:pt x="580" y="41"/>
                  </a:lnTo>
                  <a:lnTo>
                    <a:pt x="578" y="37"/>
                  </a:lnTo>
                  <a:lnTo>
                    <a:pt x="576" y="33"/>
                  </a:lnTo>
                  <a:lnTo>
                    <a:pt x="573" y="30"/>
                  </a:lnTo>
                  <a:lnTo>
                    <a:pt x="569" y="27"/>
                  </a:lnTo>
                  <a:lnTo>
                    <a:pt x="565" y="25"/>
                  </a:lnTo>
                  <a:lnTo>
                    <a:pt x="561" y="24"/>
                  </a:lnTo>
                  <a:lnTo>
                    <a:pt x="557" y="23"/>
                  </a:lnTo>
                  <a:lnTo>
                    <a:pt x="552" y="23"/>
                  </a:lnTo>
                  <a:lnTo>
                    <a:pt x="545" y="23"/>
                  </a:lnTo>
                  <a:lnTo>
                    <a:pt x="538" y="25"/>
                  </a:lnTo>
                  <a:lnTo>
                    <a:pt x="536" y="26"/>
                  </a:lnTo>
                  <a:lnTo>
                    <a:pt x="533" y="28"/>
                  </a:lnTo>
                  <a:lnTo>
                    <a:pt x="528" y="32"/>
                  </a:lnTo>
                  <a:lnTo>
                    <a:pt x="526" y="34"/>
                  </a:lnTo>
                  <a:lnTo>
                    <a:pt x="524" y="37"/>
                  </a:lnTo>
                  <a:lnTo>
                    <a:pt x="521" y="43"/>
                  </a:lnTo>
                  <a:lnTo>
                    <a:pt x="520" y="49"/>
                  </a:lnTo>
                  <a:lnTo>
                    <a:pt x="519" y="53"/>
                  </a:lnTo>
                  <a:lnTo>
                    <a:pt x="519" y="56"/>
                  </a:lnTo>
                  <a:lnTo>
                    <a:pt x="520" y="63"/>
                  </a:lnTo>
                  <a:lnTo>
                    <a:pt x="521" y="70"/>
                  </a:lnTo>
                  <a:lnTo>
                    <a:pt x="524" y="76"/>
                  </a:lnTo>
                  <a:lnTo>
                    <a:pt x="526" y="78"/>
                  </a:lnTo>
                  <a:lnTo>
                    <a:pt x="528" y="81"/>
                  </a:lnTo>
                  <a:lnTo>
                    <a:pt x="533" y="85"/>
                  </a:lnTo>
                  <a:lnTo>
                    <a:pt x="538" y="87"/>
                  </a:lnTo>
                  <a:lnTo>
                    <a:pt x="541" y="88"/>
                  </a:lnTo>
                  <a:lnTo>
                    <a:pt x="545" y="89"/>
                  </a:lnTo>
                  <a:lnTo>
                    <a:pt x="548" y="90"/>
                  </a:lnTo>
                  <a:lnTo>
                    <a:pt x="552" y="90"/>
                  </a:lnTo>
                  <a:lnTo>
                    <a:pt x="557" y="89"/>
                  </a:lnTo>
                  <a:lnTo>
                    <a:pt x="563" y="88"/>
                  </a:lnTo>
                  <a:lnTo>
                    <a:pt x="567" y="87"/>
                  </a:lnTo>
                  <a:lnTo>
                    <a:pt x="572" y="84"/>
                  </a:lnTo>
                  <a:lnTo>
                    <a:pt x="575" y="81"/>
                  </a:lnTo>
                  <a:lnTo>
                    <a:pt x="577" y="80"/>
                  </a:lnTo>
                  <a:lnTo>
                    <a:pt x="578" y="78"/>
                  </a:lnTo>
                  <a:lnTo>
                    <a:pt x="581" y="74"/>
                  </a:lnTo>
                  <a:lnTo>
                    <a:pt x="583" y="69"/>
                  </a:lnTo>
                  <a:lnTo>
                    <a:pt x="563" y="69"/>
                  </a:lnTo>
                  <a:lnTo>
                    <a:pt x="561" y="72"/>
                  </a:lnTo>
                  <a:lnTo>
                    <a:pt x="559" y="74"/>
                  </a:lnTo>
                  <a:lnTo>
                    <a:pt x="556" y="75"/>
                  </a:lnTo>
                  <a:lnTo>
                    <a:pt x="552" y="75"/>
                  </a:lnTo>
                  <a:lnTo>
                    <a:pt x="549" y="75"/>
                  </a:lnTo>
                  <a:lnTo>
                    <a:pt x="547" y="74"/>
                  </a:lnTo>
                  <a:lnTo>
                    <a:pt x="545" y="73"/>
                  </a:lnTo>
                  <a:lnTo>
                    <a:pt x="543" y="72"/>
                  </a:lnTo>
                  <a:lnTo>
                    <a:pt x="541" y="70"/>
                  </a:lnTo>
                  <a:lnTo>
                    <a:pt x="540" y="67"/>
                  </a:lnTo>
                  <a:lnTo>
                    <a:pt x="539" y="65"/>
                  </a:lnTo>
                  <a:lnTo>
                    <a:pt x="538" y="62"/>
                  </a:lnTo>
                  <a:lnTo>
                    <a:pt x="583" y="62"/>
                  </a:lnTo>
                  <a:close/>
                  <a:moveTo>
                    <a:pt x="493" y="88"/>
                  </a:moveTo>
                  <a:lnTo>
                    <a:pt x="514" y="24"/>
                  </a:lnTo>
                  <a:lnTo>
                    <a:pt x="494" y="24"/>
                  </a:lnTo>
                  <a:lnTo>
                    <a:pt x="488" y="49"/>
                  </a:lnTo>
                  <a:lnTo>
                    <a:pt x="484" y="67"/>
                  </a:lnTo>
                  <a:lnTo>
                    <a:pt x="479" y="49"/>
                  </a:lnTo>
                  <a:lnTo>
                    <a:pt x="471" y="24"/>
                  </a:lnTo>
                  <a:lnTo>
                    <a:pt x="452" y="24"/>
                  </a:lnTo>
                  <a:lnTo>
                    <a:pt x="475" y="88"/>
                  </a:lnTo>
                  <a:lnTo>
                    <a:pt x="493" y="88"/>
                  </a:lnTo>
                  <a:close/>
                  <a:moveTo>
                    <a:pt x="440" y="0"/>
                  </a:moveTo>
                  <a:lnTo>
                    <a:pt x="421" y="0"/>
                  </a:lnTo>
                  <a:lnTo>
                    <a:pt x="421" y="15"/>
                  </a:lnTo>
                  <a:lnTo>
                    <a:pt x="440" y="15"/>
                  </a:lnTo>
                  <a:lnTo>
                    <a:pt x="440" y="0"/>
                  </a:lnTo>
                  <a:close/>
                  <a:moveTo>
                    <a:pt x="440" y="24"/>
                  </a:moveTo>
                  <a:lnTo>
                    <a:pt x="421" y="24"/>
                  </a:lnTo>
                  <a:lnTo>
                    <a:pt x="421" y="88"/>
                  </a:lnTo>
                  <a:lnTo>
                    <a:pt x="440" y="88"/>
                  </a:lnTo>
                  <a:lnTo>
                    <a:pt x="440" y="24"/>
                  </a:lnTo>
                  <a:close/>
                  <a:moveTo>
                    <a:pt x="405" y="25"/>
                  </a:moveTo>
                  <a:lnTo>
                    <a:pt x="394" y="25"/>
                  </a:lnTo>
                  <a:lnTo>
                    <a:pt x="394" y="5"/>
                  </a:lnTo>
                  <a:lnTo>
                    <a:pt x="375" y="5"/>
                  </a:lnTo>
                  <a:lnTo>
                    <a:pt x="375" y="25"/>
                  </a:lnTo>
                  <a:lnTo>
                    <a:pt x="366" y="25"/>
                  </a:lnTo>
                  <a:lnTo>
                    <a:pt x="366" y="38"/>
                  </a:lnTo>
                  <a:lnTo>
                    <a:pt x="375" y="38"/>
                  </a:lnTo>
                  <a:lnTo>
                    <a:pt x="375" y="67"/>
                  </a:lnTo>
                  <a:lnTo>
                    <a:pt x="375" y="74"/>
                  </a:lnTo>
                  <a:lnTo>
                    <a:pt x="376" y="78"/>
                  </a:lnTo>
                  <a:lnTo>
                    <a:pt x="377" y="81"/>
                  </a:lnTo>
                  <a:lnTo>
                    <a:pt x="378" y="84"/>
                  </a:lnTo>
                  <a:lnTo>
                    <a:pt x="381" y="86"/>
                  </a:lnTo>
                  <a:lnTo>
                    <a:pt x="384" y="87"/>
                  </a:lnTo>
                  <a:lnTo>
                    <a:pt x="388" y="88"/>
                  </a:lnTo>
                  <a:lnTo>
                    <a:pt x="394" y="88"/>
                  </a:lnTo>
                  <a:lnTo>
                    <a:pt x="405" y="88"/>
                  </a:lnTo>
                  <a:lnTo>
                    <a:pt x="405" y="74"/>
                  </a:lnTo>
                  <a:lnTo>
                    <a:pt x="398" y="74"/>
                  </a:lnTo>
                  <a:lnTo>
                    <a:pt x="396" y="74"/>
                  </a:lnTo>
                  <a:lnTo>
                    <a:pt x="394" y="72"/>
                  </a:lnTo>
                  <a:lnTo>
                    <a:pt x="394" y="69"/>
                  </a:lnTo>
                  <a:lnTo>
                    <a:pt x="394" y="63"/>
                  </a:lnTo>
                  <a:lnTo>
                    <a:pt x="394" y="38"/>
                  </a:lnTo>
                  <a:lnTo>
                    <a:pt x="405" y="38"/>
                  </a:lnTo>
                  <a:lnTo>
                    <a:pt x="405" y="25"/>
                  </a:lnTo>
                  <a:close/>
                  <a:moveTo>
                    <a:pt x="353" y="24"/>
                  </a:moveTo>
                  <a:lnTo>
                    <a:pt x="334" y="24"/>
                  </a:lnTo>
                  <a:lnTo>
                    <a:pt x="334" y="60"/>
                  </a:lnTo>
                  <a:lnTo>
                    <a:pt x="334" y="67"/>
                  </a:lnTo>
                  <a:lnTo>
                    <a:pt x="333" y="69"/>
                  </a:lnTo>
                  <a:lnTo>
                    <a:pt x="332" y="70"/>
                  </a:lnTo>
                  <a:lnTo>
                    <a:pt x="331" y="72"/>
                  </a:lnTo>
                  <a:lnTo>
                    <a:pt x="329" y="73"/>
                  </a:lnTo>
                  <a:lnTo>
                    <a:pt x="327" y="74"/>
                  </a:lnTo>
                  <a:lnTo>
                    <a:pt x="324" y="74"/>
                  </a:lnTo>
                  <a:lnTo>
                    <a:pt x="322" y="74"/>
                  </a:lnTo>
                  <a:lnTo>
                    <a:pt x="319" y="73"/>
                  </a:lnTo>
                  <a:lnTo>
                    <a:pt x="317" y="72"/>
                  </a:lnTo>
                  <a:lnTo>
                    <a:pt x="316" y="70"/>
                  </a:lnTo>
                  <a:lnTo>
                    <a:pt x="314" y="67"/>
                  </a:lnTo>
                  <a:lnTo>
                    <a:pt x="314" y="60"/>
                  </a:lnTo>
                  <a:lnTo>
                    <a:pt x="314" y="24"/>
                  </a:lnTo>
                  <a:lnTo>
                    <a:pt x="295" y="24"/>
                  </a:lnTo>
                  <a:lnTo>
                    <a:pt x="295" y="64"/>
                  </a:lnTo>
                  <a:lnTo>
                    <a:pt x="295" y="71"/>
                  </a:lnTo>
                  <a:lnTo>
                    <a:pt x="296" y="76"/>
                  </a:lnTo>
                  <a:lnTo>
                    <a:pt x="297" y="78"/>
                  </a:lnTo>
                  <a:lnTo>
                    <a:pt x="298" y="80"/>
                  </a:lnTo>
                  <a:lnTo>
                    <a:pt x="301" y="83"/>
                  </a:lnTo>
                  <a:lnTo>
                    <a:pt x="305" y="86"/>
                  </a:lnTo>
                  <a:lnTo>
                    <a:pt x="309" y="88"/>
                  </a:lnTo>
                  <a:lnTo>
                    <a:pt x="313" y="89"/>
                  </a:lnTo>
                  <a:lnTo>
                    <a:pt x="318" y="90"/>
                  </a:lnTo>
                  <a:lnTo>
                    <a:pt x="323" y="89"/>
                  </a:lnTo>
                  <a:lnTo>
                    <a:pt x="328" y="88"/>
                  </a:lnTo>
                  <a:lnTo>
                    <a:pt x="332" y="85"/>
                  </a:lnTo>
                  <a:lnTo>
                    <a:pt x="333" y="83"/>
                  </a:lnTo>
                  <a:lnTo>
                    <a:pt x="335" y="81"/>
                  </a:lnTo>
                  <a:lnTo>
                    <a:pt x="335" y="88"/>
                  </a:lnTo>
                  <a:lnTo>
                    <a:pt x="353" y="88"/>
                  </a:lnTo>
                  <a:lnTo>
                    <a:pt x="353" y="24"/>
                  </a:lnTo>
                  <a:close/>
                  <a:moveTo>
                    <a:pt x="282" y="47"/>
                  </a:moveTo>
                  <a:lnTo>
                    <a:pt x="281" y="42"/>
                  </a:lnTo>
                  <a:lnTo>
                    <a:pt x="279" y="37"/>
                  </a:lnTo>
                  <a:lnTo>
                    <a:pt x="276" y="33"/>
                  </a:lnTo>
                  <a:lnTo>
                    <a:pt x="273" y="29"/>
                  </a:lnTo>
                  <a:lnTo>
                    <a:pt x="269" y="26"/>
                  </a:lnTo>
                  <a:lnTo>
                    <a:pt x="264" y="24"/>
                  </a:lnTo>
                  <a:lnTo>
                    <a:pt x="259" y="23"/>
                  </a:lnTo>
                  <a:lnTo>
                    <a:pt x="253" y="23"/>
                  </a:lnTo>
                  <a:lnTo>
                    <a:pt x="245" y="23"/>
                  </a:lnTo>
                  <a:lnTo>
                    <a:pt x="239" y="25"/>
                  </a:lnTo>
                  <a:lnTo>
                    <a:pt x="233" y="28"/>
                  </a:lnTo>
                  <a:lnTo>
                    <a:pt x="231" y="29"/>
                  </a:lnTo>
                  <a:lnTo>
                    <a:pt x="229" y="32"/>
                  </a:lnTo>
                  <a:lnTo>
                    <a:pt x="227" y="34"/>
                  </a:lnTo>
                  <a:lnTo>
                    <a:pt x="225" y="36"/>
                  </a:lnTo>
                  <a:lnTo>
                    <a:pt x="222" y="42"/>
                  </a:lnTo>
                  <a:lnTo>
                    <a:pt x="221" y="49"/>
                  </a:lnTo>
                  <a:lnTo>
                    <a:pt x="220" y="56"/>
                  </a:lnTo>
                  <a:lnTo>
                    <a:pt x="221" y="64"/>
                  </a:lnTo>
                  <a:lnTo>
                    <a:pt x="221" y="67"/>
                  </a:lnTo>
                  <a:lnTo>
                    <a:pt x="222" y="70"/>
                  </a:lnTo>
                  <a:lnTo>
                    <a:pt x="225" y="76"/>
                  </a:lnTo>
                  <a:lnTo>
                    <a:pt x="227" y="79"/>
                  </a:lnTo>
                  <a:lnTo>
                    <a:pt x="229" y="81"/>
                  </a:lnTo>
                  <a:lnTo>
                    <a:pt x="233" y="85"/>
                  </a:lnTo>
                  <a:lnTo>
                    <a:pt x="239" y="88"/>
                  </a:lnTo>
                  <a:lnTo>
                    <a:pt x="245" y="89"/>
                  </a:lnTo>
                  <a:lnTo>
                    <a:pt x="248" y="90"/>
                  </a:lnTo>
                  <a:lnTo>
                    <a:pt x="252" y="90"/>
                  </a:lnTo>
                  <a:lnTo>
                    <a:pt x="258" y="89"/>
                  </a:lnTo>
                  <a:lnTo>
                    <a:pt x="264" y="88"/>
                  </a:lnTo>
                  <a:lnTo>
                    <a:pt x="268" y="86"/>
                  </a:lnTo>
                  <a:lnTo>
                    <a:pt x="273" y="83"/>
                  </a:lnTo>
                  <a:lnTo>
                    <a:pt x="276" y="80"/>
                  </a:lnTo>
                  <a:lnTo>
                    <a:pt x="279" y="75"/>
                  </a:lnTo>
                  <a:lnTo>
                    <a:pt x="281" y="70"/>
                  </a:lnTo>
                  <a:lnTo>
                    <a:pt x="283" y="65"/>
                  </a:lnTo>
                  <a:lnTo>
                    <a:pt x="264" y="64"/>
                  </a:lnTo>
                  <a:lnTo>
                    <a:pt x="264" y="66"/>
                  </a:lnTo>
                  <a:lnTo>
                    <a:pt x="263" y="69"/>
                  </a:lnTo>
                  <a:lnTo>
                    <a:pt x="260" y="72"/>
                  </a:lnTo>
                  <a:lnTo>
                    <a:pt x="259" y="73"/>
                  </a:lnTo>
                  <a:lnTo>
                    <a:pt x="257" y="74"/>
                  </a:lnTo>
                  <a:lnTo>
                    <a:pt x="255" y="74"/>
                  </a:lnTo>
                  <a:lnTo>
                    <a:pt x="252" y="75"/>
                  </a:lnTo>
                  <a:lnTo>
                    <a:pt x="249" y="74"/>
                  </a:lnTo>
                  <a:lnTo>
                    <a:pt x="247" y="73"/>
                  </a:lnTo>
                  <a:lnTo>
                    <a:pt x="244" y="72"/>
                  </a:lnTo>
                  <a:lnTo>
                    <a:pt x="243" y="70"/>
                  </a:lnTo>
                  <a:lnTo>
                    <a:pt x="241" y="67"/>
                  </a:lnTo>
                  <a:lnTo>
                    <a:pt x="240" y="64"/>
                  </a:lnTo>
                  <a:lnTo>
                    <a:pt x="239" y="60"/>
                  </a:lnTo>
                  <a:lnTo>
                    <a:pt x="239" y="56"/>
                  </a:lnTo>
                  <a:lnTo>
                    <a:pt x="239" y="52"/>
                  </a:lnTo>
                  <a:lnTo>
                    <a:pt x="240" y="50"/>
                  </a:lnTo>
                  <a:lnTo>
                    <a:pt x="240" y="48"/>
                  </a:lnTo>
                  <a:lnTo>
                    <a:pt x="241" y="45"/>
                  </a:lnTo>
                  <a:lnTo>
                    <a:pt x="242" y="42"/>
                  </a:lnTo>
                  <a:lnTo>
                    <a:pt x="244" y="40"/>
                  </a:lnTo>
                  <a:lnTo>
                    <a:pt x="247" y="39"/>
                  </a:lnTo>
                  <a:lnTo>
                    <a:pt x="249" y="38"/>
                  </a:lnTo>
                  <a:lnTo>
                    <a:pt x="252" y="38"/>
                  </a:lnTo>
                  <a:lnTo>
                    <a:pt x="257" y="38"/>
                  </a:lnTo>
                  <a:lnTo>
                    <a:pt x="260" y="40"/>
                  </a:lnTo>
                  <a:lnTo>
                    <a:pt x="262" y="42"/>
                  </a:lnTo>
                  <a:lnTo>
                    <a:pt x="263" y="43"/>
                  </a:lnTo>
                  <a:lnTo>
                    <a:pt x="264" y="47"/>
                  </a:lnTo>
                  <a:lnTo>
                    <a:pt x="282" y="47"/>
                  </a:lnTo>
                  <a:close/>
                  <a:moveTo>
                    <a:pt x="164" y="48"/>
                  </a:moveTo>
                  <a:lnTo>
                    <a:pt x="165" y="46"/>
                  </a:lnTo>
                  <a:lnTo>
                    <a:pt x="166" y="43"/>
                  </a:lnTo>
                  <a:lnTo>
                    <a:pt x="167" y="41"/>
                  </a:lnTo>
                  <a:lnTo>
                    <a:pt x="169" y="40"/>
                  </a:lnTo>
                  <a:lnTo>
                    <a:pt x="171" y="38"/>
                  </a:lnTo>
                  <a:lnTo>
                    <a:pt x="173" y="38"/>
                  </a:lnTo>
                  <a:lnTo>
                    <a:pt x="178" y="37"/>
                  </a:lnTo>
                  <a:lnTo>
                    <a:pt x="183" y="38"/>
                  </a:lnTo>
                  <a:lnTo>
                    <a:pt x="185" y="38"/>
                  </a:lnTo>
                  <a:lnTo>
                    <a:pt x="186" y="40"/>
                  </a:lnTo>
                  <a:lnTo>
                    <a:pt x="188" y="41"/>
                  </a:lnTo>
                  <a:lnTo>
                    <a:pt x="189" y="43"/>
                  </a:lnTo>
                  <a:lnTo>
                    <a:pt x="190" y="46"/>
                  </a:lnTo>
                  <a:lnTo>
                    <a:pt x="190" y="48"/>
                  </a:lnTo>
                  <a:lnTo>
                    <a:pt x="164" y="48"/>
                  </a:lnTo>
                  <a:close/>
                  <a:moveTo>
                    <a:pt x="209" y="62"/>
                  </a:moveTo>
                  <a:lnTo>
                    <a:pt x="209" y="56"/>
                  </a:lnTo>
                  <a:lnTo>
                    <a:pt x="209" y="50"/>
                  </a:lnTo>
                  <a:lnTo>
                    <a:pt x="208" y="46"/>
                  </a:lnTo>
                  <a:lnTo>
                    <a:pt x="206" y="41"/>
                  </a:lnTo>
                  <a:lnTo>
                    <a:pt x="204" y="37"/>
                  </a:lnTo>
                  <a:lnTo>
                    <a:pt x="202" y="33"/>
                  </a:lnTo>
                  <a:lnTo>
                    <a:pt x="199" y="30"/>
                  </a:lnTo>
                  <a:lnTo>
                    <a:pt x="195" y="27"/>
                  </a:lnTo>
                  <a:lnTo>
                    <a:pt x="192" y="25"/>
                  </a:lnTo>
                  <a:lnTo>
                    <a:pt x="187" y="24"/>
                  </a:lnTo>
                  <a:lnTo>
                    <a:pt x="183" y="23"/>
                  </a:lnTo>
                  <a:lnTo>
                    <a:pt x="178" y="23"/>
                  </a:lnTo>
                  <a:lnTo>
                    <a:pt x="171" y="23"/>
                  </a:lnTo>
                  <a:lnTo>
                    <a:pt x="165" y="25"/>
                  </a:lnTo>
                  <a:lnTo>
                    <a:pt x="162" y="26"/>
                  </a:lnTo>
                  <a:lnTo>
                    <a:pt x="159" y="28"/>
                  </a:lnTo>
                  <a:lnTo>
                    <a:pt x="154" y="32"/>
                  </a:lnTo>
                  <a:lnTo>
                    <a:pt x="152" y="34"/>
                  </a:lnTo>
                  <a:lnTo>
                    <a:pt x="150" y="37"/>
                  </a:lnTo>
                  <a:lnTo>
                    <a:pt x="148" y="43"/>
                  </a:lnTo>
                  <a:lnTo>
                    <a:pt x="146" y="49"/>
                  </a:lnTo>
                  <a:lnTo>
                    <a:pt x="145" y="53"/>
                  </a:lnTo>
                  <a:lnTo>
                    <a:pt x="145" y="56"/>
                  </a:lnTo>
                  <a:lnTo>
                    <a:pt x="146" y="63"/>
                  </a:lnTo>
                  <a:lnTo>
                    <a:pt x="148" y="70"/>
                  </a:lnTo>
                  <a:lnTo>
                    <a:pt x="150" y="76"/>
                  </a:lnTo>
                  <a:lnTo>
                    <a:pt x="152" y="78"/>
                  </a:lnTo>
                  <a:lnTo>
                    <a:pt x="154" y="81"/>
                  </a:lnTo>
                  <a:lnTo>
                    <a:pt x="159" y="85"/>
                  </a:lnTo>
                  <a:lnTo>
                    <a:pt x="165" y="87"/>
                  </a:lnTo>
                  <a:lnTo>
                    <a:pt x="168" y="88"/>
                  </a:lnTo>
                  <a:lnTo>
                    <a:pt x="171" y="89"/>
                  </a:lnTo>
                  <a:lnTo>
                    <a:pt x="174" y="90"/>
                  </a:lnTo>
                  <a:lnTo>
                    <a:pt x="178" y="90"/>
                  </a:lnTo>
                  <a:lnTo>
                    <a:pt x="184" y="89"/>
                  </a:lnTo>
                  <a:lnTo>
                    <a:pt x="189" y="88"/>
                  </a:lnTo>
                  <a:lnTo>
                    <a:pt x="193" y="87"/>
                  </a:lnTo>
                  <a:lnTo>
                    <a:pt x="198" y="84"/>
                  </a:lnTo>
                  <a:lnTo>
                    <a:pt x="201" y="81"/>
                  </a:lnTo>
                  <a:lnTo>
                    <a:pt x="203" y="80"/>
                  </a:lnTo>
                  <a:lnTo>
                    <a:pt x="205" y="78"/>
                  </a:lnTo>
                  <a:lnTo>
                    <a:pt x="207" y="74"/>
                  </a:lnTo>
                  <a:lnTo>
                    <a:pt x="209" y="69"/>
                  </a:lnTo>
                  <a:lnTo>
                    <a:pt x="190" y="69"/>
                  </a:lnTo>
                  <a:lnTo>
                    <a:pt x="188" y="72"/>
                  </a:lnTo>
                  <a:lnTo>
                    <a:pt x="185" y="74"/>
                  </a:lnTo>
                  <a:lnTo>
                    <a:pt x="182" y="75"/>
                  </a:lnTo>
                  <a:lnTo>
                    <a:pt x="178" y="75"/>
                  </a:lnTo>
                  <a:lnTo>
                    <a:pt x="176" y="75"/>
                  </a:lnTo>
                  <a:lnTo>
                    <a:pt x="173" y="74"/>
                  </a:lnTo>
                  <a:lnTo>
                    <a:pt x="171" y="73"/>
                  </a:lnTo>
                  <a:lnTo>
                    <a:pt x="169" y="72"/>
                  </a:lnTo>
                  <a:lnTo>
                    <a:pt x="167" y="70"/>
                  </a:lnTo>
                  <a:lnTo>
                    <a:pt x="166" y="67"/>
                  </a:lnTo>
                  <a:lnTo>
                    <a:pt x="165" y="65"/>
                  </a:lnTo>
                  <a:lnTo>
                    <a:pt x="164" y="62"/>
                  </a:lnTo>
                  <a:lnTo>
                    <a:pt x="209" y="62"/>
                  </a:lnTo>
                  <a:close/>
                  <a:moveTo>
                    <a:pt x="118" y="55"/>
                  </a:moveTo>
                  <a:lnTo>
                    <a:pt x="139" y="24"/>
                  </a:lnTo>
                  <a:lnTo>
                    <a:pt x="118" y="24"/>
                  </a:lnTo>
                  <a:lnTo>
                    <a:pt x="108" y="40"/>
                  </a:lnTo>
                  <a:lnTo>
                    <a:pt x="98" y="24"/>
                  </a:lnTo>
                  <a:lnTo>
                    <a:pt x="77" y="24"/>
                  </a:lnTo>
                  <a:lnTo>
                    <a:pt x="98" y="55"/>
                  </a:lnTo>
                  <a:lnTo>
                    <a:pt x="75" y="88"/>
                  </a:lnTo>
                  <a:lnTo>
                    <a:pt x="96" y="88"/>
                  </a:lnTo>
                  <a:lnTo>
                    <a:pt x="108" y="70"/>
                  </a:lnTo>
                  <a:lnTo>
                    <a:pt x="120" y="88"/>
                  </a:lnTo>
                  <a:lnTo>
                    <a:pt x="142" y="88"/>
                  </a:lnTo>
                  <a:lnTo>
                    <a:pt x="118" y="55"/>
                  </a:lnTo>
                  <a:close/>
                  <a:moveTo>
                    <a:pt x="66" y="0"/>
                  </a:moveTo>
                  <a:lnTo>
                    <a:pt x="0" y="0"/>
                  </a:lnTo>
                  <a:lnTo>
                    <a:pt x="0" y="88"/>
                  </a:lnTo>
                  <a:lnTo>
                    <a:pt x="67" y="88"/>
                  </a:lnTo>
                  <a:lnTo>
                    <a:pt x="67" y="71"/>
                  </a:lnTo>
                  <a:lnTo>
                    <a:pt x="20" y="71"/>
                  </a:lnTo>
                  <a:lnTo>
                    <a:pt x="20" y="50"/>
                  </a:lnTo>
                  <a:lnTo>
                    <a:pt x="60" y="50"/>
                  </a:lnTo>
                  <a:lnTo>
                    <a:pt x="60" y="34"/>
                  </a:lnTo>
                  <a:lnTo>
                    <a:pt x="20" y="34"/>
                  </a:lnTo>
                  <a:lnTo>
                    <a:pt x="20" y="17"/>
                  </a:lnTo>
                  <a:lnTo>
                    <a:pt x="66" y="17"/>
                  </a:lnTo>
                  <a:lnTo>
                    <a:pt x="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15" name="Freeform 8"/>
            <p:cNvSpPr>
              <a:spLocks noEditPoints="1"/>
            </p:cNvSpPr>
            <p:nvPr userDrawn="1"/>
          </p:nvSpPr>
          <p:spPr bwMode="auto">
            <a:xfrm>
              <a:off x="4067175" y="114301"/>
              <a:ext cx="566738" cy="560388"/>
            </a:xfrm>
            <a:custGeom>
              <a:avLst/>
              <a:gdLst>
                <a:gd name="T0" fmla="*/ 223 w 357"/>
                <a:gd name="T1" fmla="*/ 220 h 353"/>
                <a:gd name="T2" fmla="*/ 134 w 357"/>
                <a:gd name="T3" fmla="*/ 220 h 353"/>
                <a:gd name="T4" fmla="*/ 179 w 357"/>
                <a:gd name="T5" fmla="*/ 100 h 353"/>
                <a:gd name="T6" fmla="*/ 223 w 357"/>
                <a:gd name="T7" fmla="*/ 220 h 353"/>
                <a:gd name="T8" fmla="*/ 357 w 357"/>
                <a:gd name="T9" fmla="*/ 353 h 353"/>
                <a:gd name="T10" fmla="*/ 230 w 357"/>
                <a:gd name="T11" fmla="*/ 0 h 353"/>
                <a:gd name="T12" fmla="*/ 127 w 357"/>
                <a:gd name="T13" fmla="*/ 0 h 353"/>
                <a:gd name="T14" fmla="*/ 0 w 357"/>
                <a:gd name="T15" fmla="*/ 353 h 353"/>
                <a:gd name="T16" fmla="*/ 91 w 357"/>
                <a:gd name="T17" fmla="*/ 353 h 353"/>
                <a:gd name="T18" fmla="*/ 113 w 357"/>
                <a:gd name="T19" fmla="*/ 291 h 353"/>
                <a:gd name="T20" fmla="*/ 245 w 357"/>
                <a:gd name="T21" fmla="*/ 291 h 353"/>
                <a:gd name="T22" fmla="*/ 267 w 357"/>
                <a:gd name="T23" fmla="*/ 353 h 353"/>
                <a:gd name="T24" fmla="*/ 357 w 357"/>
                <a:gd name="T25"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7" h="353">
                  <a:moveTo>
                    <a:pt x="223" y="220"/>
                  </a:moveTo>
                  <a:lnTo>
                    <a:pt x="134" y="220"/>
                  </a:lnTo>
                  <a:lnTo>
                    <a:pt x="179" y="100"/>
                  </a:lnTo>
                  <a:lnTo>
                    <a:pt x="223" y="220"/>
                  </a:lnTo>
                  <a:close/>
                  <a:moveTo>
                    <a:pt x="357" y="353"/>
                  </a:moveTo>
                  <a:lnTo>
                    <a:pt x="230" y="0"/>
                  </a:lnTo>
                  <a:lnTo>
                    <a:pt x="127" y="0"/>
                  </a:lnTo>
                  <a:lnTo>
                    <a:pt x="0" y="353"/>
                  </a:lnTo>
                  <a:lnTo>
                    <a:pt x="91" y="353"/>
                  </a:lnTo>
                  <a:lnTo>
                    <a:pt x="113" y="291"/>
                  </a:lnTo>
                  <a:lnTo>
                    <a:pt x="245" y="291"/>
                  </a:lnTo>
                  <a:lnTo>
                    <a:pt x="267" y="353"/>
                  </a:lnTo>
                  <a:lnTo>
                    <a:pt x="357" y="3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16" name="Freeform 9"/>
            <p:cNvSpPr>
              <a:spLocks noEditPoints="1"/>
            </p:cNvSpPr>
            <p:nvPr userDrawn="1"/>
          </p:nvSpPr>
          <p:spPr bwMode="auto">
            <a:xfrm>
              <a:off x="4686300" y="114301"/>
              <a:ext cx="858838" cy="560388"/>
            </a:xfrm>
            <a:custGeom>
              <a:avLst/>
              <a:gdLst>
                <a:gd name="T0" fmla="*/ 541 w 541"/>
                <a:gd name="T1" fmla="*/ 75 h 353"/>
                <a:gd name="T2" fmla="*/ 541 w 541"/>
                <a:gd name="T3" fmla="*/ 0 h 353"/>
                <a:gd name="T4" fmla="*/ 303 w 541"/>
                <a:gd name="T5" fmla="*/ 0 h 353"/>
                <a:gd name="T6" fmla="*/ 303 w 541"/>
                <a:gd name="T7" fmla="*/ 353 h 353"/>
                <a:gd name="T8" fmla="*/ 541 w 541"/>
                <a:gd name="T9" fmla="*/ 353 h 353"/>
                <a:gd name="T10" fmla="*/ 541 w 541"/>
                <a:gd name="T11" fmla="*/ 278 h 353"/>
                <a:gd name="T12" fmla="*/ 388 w 541"/>
                <a:gd name="T13" fmla="*/ 278 h 353"/>
                <a:gd name="T14" fmla="*/ 388 w 541"/>
                <a:gd name="T15" fmla="*/ 210 h 353"/>
                <a:gd name="T16" fmla="*/ 536 w 541"/>
                <a:gd name="T17" fmla="*/ 210 h 353"/>
                <a:gd name="T18" fmla="*/ 536 w 541"/>
                <a:gd name="T19" fmla="*/ 139 h 353"/>
                <a:gd name="T20" fmla="*/ 388 w 541"/>
                <a:gd name="T21" fmla="*/ 139 h 353"/>
                <a:gd name="T22" fmla="*/ 388 w 541"/>
                <a:gd name="T23" fmla="*/ 75 h 353"/>
                <a:gd name="T24" fmla="*/ 541 w 541"/>
                <a:gd name="T25" fmla="*/ 75 h 353"/>
                <a:gd name="T26" fmla="*/ 239 w 541"/>
                <a:gd name="T27" fmla="*/ 75 h 353"/>
                <a:gd name="T28" fmla="*/ 239 w 541"/>
                <a:gd name="T29" fmla="*/ 0 h 353"/>
                <a:gd name="T30" fmla="*/ 0 w 541"/>
                <a:gd name="T31" fmla="*/ 0 h 353"/>
                <a:gd name="T32" fmla="*/ 0 w 541"/>
                <a:gd name="T33" fmla="*/ 353 h 353"/>
                <a:gd name="T34" fmla="*/ 239 w 541"/>
                <a:gd name="T35" fmla="*/ 353 h 353"/>
                <a:gd name="T36" fmla="*/ 239 w 541"/>
                <a:gd name="T37" fmla="*/ 278 h 353"/>
                <a:gd name="T38" fmla="*/ 85 w 541"/>
                <a:gd name="T39" fmla="*/ 278 h 353"/>
                <a:gd name="T40" fmla="*/ 85 w 541"/>
                <a:gd name="T41" fmla="*/ 210 h 353"/>
                <a:gd name="T42" fmla="*/ 235 w 541"/>
                <a:gd name="T43" fmla="*/ 210 h 353"/>
                <a:gd name="T44" fmla="*/ 235 w 541"/>
                <a:gd name="T45" fmla="*/ 139 h 353"/>
                <a:gd name="T46" fmla="*/ 85 w 541"/>
                <a:gd name="T47" fmla="*/ 139 h 353"/>
                <a:gd name="T48" fmla="*/ 85 w 541"/>
                <a:gd name="T49" fmla="*/ 75 h 353"/>
                <a:gd name="T50" fmla="*/ 239 w 541"/>
                <a:gd name="T51" fmla="*/ 75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1" h="353">
                  <a:moveTo>
                    <a:pt x="541" y="75"/>
                  </a:moveTo>
                  <a:lnTo>
                    <a:pt x="541" y="0"/>
                  </a:lnTo>
                  <a:lnTo>
                    <a:pt x="303" y="0"/>
                  </a:lnTo>
                  <a:lnTo>
                    <a:pt x="303" y="353"/>
                  </a:lnTo>
                  <a:lnTo>
                    <a:pt x="541" y="353"/>
                  </a:lnTo>
                  <a:lnTo>
                    <a:pt x="541" y="278"/>
                  </a:lnTo>
                  <a:lnTo>
                    <a:pt x="388" y="278"/>
                  </a:lnTo>
                  <a:lnTo>
                    <a:pt x="388" y="210"/>
                  </a:lnTo>
                  <a:lnTo>
                    <a:pt x="536" y="210"/>
                  </a:lnTo>
                  <a:lnTo>
                    <a:pt x="536" y="139"/>
                  </a:lnTo>
                  <a:lnTo>
                    <a:pt x="388" y="139"/>
                  </a:lnTo>
                  <a:lnTo>
                    <a:pt x="388" y="75"/>
                  </a:lnTo>
                  <a:lnTo>
                    <a:pt x="541" y="75"/>
                  </a:lnTo>
                  <a:close/>
                  <a:moveTo>
                    <a:pt x="239" y="75"/>
                  </a:moveTo>
                  <a:lnTo>
                    <a:pt x="239" y="0"/>
                  </a:lnTo>
                  <a:lnTo>
                    <a:pt x="0" y="0"/>
                  </a:lnTo>
                  <a:lnTo>
                    <a:pt x="0" y="353"/>
                  </a:lnTo>
                  <a:lnTo>
                    <a:pt x="239" y="353"/>
                  </a:lnTo>
                  <a:lnTo>
                    <a:pt x="239" y="278"/>
                  </a:lnTo>
                  <a:lnTo>
                    <a:pt x="85" y="278"/>
                  </a:lnTo>
                  <a:lnTo>
                    <a:pt x="85" y="210"/>
                  </a:lnTo>
                  <a:lnTo>
                    <a:pt x="235" y="210"/>
                  </a:lnTo>
                  <a:lnTo>
                    <a:pt x="235" y="139"/>
                  </a:lnTo>
                  <a:lnTo>
                    <a:pt x="85" y="139"/>
                  </a:lnTo>
                  <a:lnTo>
                    <a:pt x="85" y="75"/>
                  </a:lnTo>
                  <a:lnTo>
                    <a:pt x="23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grpSp>
    </p:spTree>
    <p:extLst>
      <p:ext uri="{BB962C8B-B14F-4D97-AF65-F5344CB8AC3E}">
        <p14:creationId xmlns:p14="http://schemas.microsoft.com/office/powerpoint/2010/main" val="2812577425"/>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secHead" preserve="1">
  <p:cSld name="Section Header 4th">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573882"/>
            <a:ext cx="7487081" cy="602326"/>
          </a:xfrm>
          <a:solidFill>
            <a:srgbClr val="B1059D"/>
          </a:solidFill>
        </p:spPr>
        <p:txBody>
          <a:bodyPr lIns="540000" rIns="540000" anchor="t"/>
          <a:lstStyle>
            <a:lvl1pPr algn="l">
              <a:defRPr sz="3299" b="1" cap="none"/>
            </a:lvl1pPr>
          </a:lstStyle>
          <a:p>
            <a:r>
              <a:rPr lang="en-US" dirty="0"/>
              <a:t>Click to add title</a:t>
            </a:r>
          </a:p>
        </p:txBody>
      </p:sp>
      <p:sp>
        <p:nvSpPr>
          <p:cNvPr id="3" name="Text Placeholder 2"/>
          <p:cNvSpPr>
            <a:spLocks noGrp="1"/>
          </p:cNvSpPr>
          <p:nvPr>
            <p:ph type="body" idx="1" hasCustomPrompt="1"/>
          </p:nvPr>
        </p:nvSpPr>
        <p:spPr>
          <a:xfrm>
            <a:off x="4572001" y="2842022"/>
            <a:ext cx="4572000" cy="567811"/>
          </a:xfrm>
          <a:solidFill>
            <a:srgbClr val="000000">
              <a:alpha val="89804"/>
            </a:srgbClr>
          </a:solidFill>
        </p:spPr>
        <p:txBody>
          <a:bodyPr wrap="square" lIns="324000" tIns="144000" rIns="324000" bIns="144000" anchor="t" anchorCtr="0">
            <a:spAutoFit/>
          </a:bodyPr>
          <a:lstStyle>
            <a:lvl1pPr marL="0" indent="0" algn="r">
              <a:buNone/>
              <a:defRPr sz="1800" b="1" i="0">
                <a:solidFill>
                  <a:schemeClr val="bg1"/>
                </a:solidFill>
              </a:defRPr>
            </a:lvl1pPr>
            <a:lvl2pPr marL="342809" indent="0">
              <a:buNone/>
              <a:defRPr sz="1350">
                <a:solidFill>
                  <a:schemeClr val="tx1">
                    <a:tint val="75000"/>
                  </a:schemeClr>
                </a:solidFill>
              </a:defRPr>
            </a:lvl2pPr>
            <a:lvl3pPr marL="685617" indent="0">
              <a:buNone/>
              <a:defRPr sz="1200">
                <a:solidFill>
                  <a:schemeClr val="tx1">
                    <a:tint val="75000"/>
                  </a:schemeClr>
                </a:solidFill>
              </a:defRPr>
            </a:lvl3pPr>
            <a:lvl4pPr marL="1028426" indent="0">
              <a:buNone/>
              <a:defRPr sz="1050">
                <a:solidFill>
                  <a:schemeClr val="tx1">
                    <a:tint val="75000"/>
                  </a:schemeClr>
                </a:solidFill>
              </a:defRPr>
            </a:lvl4pPr>
            <a:lvl5pPr marL="1371234" indent="0">
              <a:buNone/>
              <a:defRPr sz="1050">
                <a:solidFill>
                  <a:schemeClr val="tx1">
                    <a:tint val="75000"/>
                  </a:schemeClr>
                </a:solidFill>
              </a:defRPr>
            </a:lvl5pPr>
            <a:lvl6pPr marL="1714043" indent="0">
              <a:buNone/>
              <a:defRPr sz="1050">
                <a:solidFill>
                  <a:schemeClr val="tx1">
                    <a:tint val="75000"/>
                  </a:schemeClr>
                </a:solidFill>
              </a:defRPr>
            </a:lvl6pPr>
            <a:lvl7pPr marL="2056851" indent="0">
              <a:buNone/>
              <a:defRPr sz="1050">
                <a:solidFill>
                  <a:schemeClr val="tx1">
                    <a:tint val="75000"/>
                  </a:schemeClr>
                </a:solidFill>
              </a:defRPr>
            </a:lvl7pPr>
            <a:lvl8pPr marL="2399660" indent="0">
              <a:buNone/>
              <a:defRPr sz="1050">
                <a:solidFill>
                  <a:schemeClr val="tx1">
                    <a:tint val="75000"/>
                  </a:schemeClr>
                </a:solidFill>
              </a:defRPr>
            </a:lvl8pPr>
            <a:lvl9pPr marL="2742468" indent="0">
              <a:buNone/>
              <a:defRPr sz="1050">
                <a:solidFill>
                  <a:schemeClr val="tx1">
                    <a:tint val="75000"/>
                  </a:schemeClr>
                </a:solidFill>
              </a:defRPr>
            </a:lvl9pPr>
          </a:lstStyle>
          <a:p>
            <a:pPr lvl="0"/>
            <a:r>
              <a:rPr lang="en-US" dirty="0"/>
              <a:t>Click to add text</a:t>
            </a:r>
          </a:p>
        </p:txBody>
      </p:sp>
      <p:sp>
        <p:nvSpPr>
          <p:cNvPr id="4" name="Date Placeholder 3"/>
          <p:cNvSpPr>
            <a:spLocks noGrp="1"/>
          </p:cNvSpPr>
          <p:nvPr>
            <p:ph type="dt" sz="half" idx="10"/>
          </p:nvPr>
        </p:nvSpPr>
        <p:spPr/>
        <p:txBody>
          <a:bodyPr/>
          <a:lstStyle>
            <a:lvl1pPr>
              <a:defRPr>
                <a:solidFill>
                  <a:schemeClr val="bg1"/>
                </a:solidFill>
              </a:defRPr>
            </a:lvl1pPr>
          </a:lstStyle>
          <a:p>
            <a:fld id="{4D5D504E-EDA1-4FB2-9CCE-0AD2A7B2CDC2}" type="datetime1">
              <a:rPr lang="fi-FI" smtClean="0"/>
              <a:t>5.11.2023</a:t>
            </a:fld>
            <a:endParaRPr lang="en-US" dirty="0"/>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 Aalto University Executive Education</a:t>
            </a:r>
            <a:endParaRPr lang="en-US"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FCCA222D-FCF7-48C1-A274-EBDDEF75DC66}" type="slidenum">
              <a:rPr lang="en-US" smtClean="0"/>
              <a:pPr/>
              <a:t>‹#›</a:t>
            </a:fld>
            <a:endParaRPr lang="en-US" dirty="0"/>
          </a:p>
        </p:txBody>
      </p:sp>
      <p:grpSp>
        <p:nvGrpSpPr>
          <p:cNvPr id="19" name="Group 18"/>
          <p:cNvGrpSpPr>
            <a:grpSpLocks noChangeAspect="1"/>
          </p:cNvGrpSpPr>
          <p:nvPr userDrawn="1"/>
        </p:nvGrpSpPr>
        <p:grpSpPr>
          <a:xfrm>
            <a:off x="7595548" y="249492"/>
            <a:ext cx="1294116" cy="199800"/>
            <a:chOff x="4067175" y="114301"/>
            <a:chExt cx="3630613" cy="560388"/>
          </a:xfrm>
          <a:solidFill>
            <a:schemeClr val="bg1"/>
          </a:solidFill>
        </p:grpSpPr>
        <p:sp>
          <p:nvSpPr>
            <p:cNvPr id="20" name="Freeform 6"/>
            <p:cNvSpPr>
              <a:spLocks noEditPoints="1"/>
            </p:cNvSpPr>
            <p:nvPr userDrawn="1"/>
          </p:nvSpPr>
          <p:spPr bwMode="auto">
            <a:xfrm>
              <a:off x="5749925" y="114301"/>
              <a:ext cx="1530350" cy="173038"/>
            </a:xfrm>
            <a:custGeom>
              <a:avLst/>
              <a:gdLst>
                <a:gd name="T0" fmla="*/ 922 w 964"/>
                <a:gd name="T1" fmla="*/ 84 h 109"/>
                <a:gd name="T2" fmla="*/ 918 w 964"/>
                <a:gd name="T3" fmla="*/ 109 h 109"/>
                <a:gd name="T4" fmla="*/ 944 w 964"/>
                <a:gd name="T5" fmla="*/ 25 h 109"/>
                <a:gd name="T6" fmla="*/ 860 w 964"/>
                <a:gd name="T7" fmla="*/ 68 h 109"/>
                <a:gd name="T8" fmla="*/ 890 w 964"/>
                <a:gd name="T9" fmla="*/ 89 h 109"/>
                <a:gd name="T10" fmla="*/ 890 w 964"/>
                <a:gd name="T11" fmla="*/ 39 h 109"/>
                <a:gd name="T12" fmla="*/ 819 w 964"/>
                <a:gd name="T13" fmla="*/ 89 h 109"/>
                <a:gd name="T14" fmla="*/ 793 w 964"/>
                <a:gd name="T15" fmla="*/ 26 h 109"/>
                <a:gd name="T16" fmla="*/ 753 w 964"/>
                <a:gd name="T17" fmla="*/ 33 h 109"/>
                <a:gd name="T18" fmla="*/ 757 w 964"/>
                <a:gd name="T19" fmla="*/ 58 h 109"/>
                <a:gd name="T20" fmla="*/ 788 w 964"/>
                <a:gd name="T21" fmla="*/ 72 h 109"/>
                <a:gd name="T22" fmla="*/ 767 w 964"/>
                <a:gd name="T23" fmla="*/ 70 h 109"/>
                <a:gd name="T24" fmla="*/ 772 w 964"/>
                <a:gd name="T25" fmla="*/ 90 h 109"/>
                <a:gd name="T26" fmla="*/ 806 w 964"/>
                <a:gd name="T27" fmla="*/ 73 h 109"/>
                <a:gd name="T28" fmla="*/ 788 w 964"/>
                <a:gd name="T29" fmla="*/ 49 h 109"/>
                <a:gd name="T30" fmla="*/ 777 w 964"/>
                <a:gd name="T31" fmla="*/ 37 h 109"/>
                <a:gd name="T32" fmla="*/ 700 w 964"/>
                <a:gd name="T33" fmla="*/ 89 h 109"/>
                <a:gd name="T34" fmla="*/ 729 w 964"/>
                <a:gd name="T35" fmla="*/ 42 h 109"/>
                <a:gd name="T36" fmla="*/ 723 w 964"/>
                <a:gd name="T37" fmla="*/ 27 h 109"/>
                <a:gd name="T38" fmla="*/ 643 w 964"/>
                <a:gd name="T39" fmla="*/ 42 h 109"/>
                <a:gd name="T40" fmla="*/ 666 w 964"/>
                <a:gd name="T41" fmla="*/ 44 h 109"/>
                <a:gd name="T42" fmla="*/ 682 w 964"/>
                <a:gd name="T43" fmla="*/ 38 h 109"/>
                <a:gd name="T44" fmla="*/ 647 w 964"/>
                <a:gd name="T45" fmla="*/ 24 h 109"/>
                <a:gd name="T46" fmla="*/ 623 w 964"/>
                <a:gd name="T47" fmla="*/ 46 h 109"/>
                <a:gd name="T48" fmla="*/ 641 w 964"/>
                <a:gd name="T49" fmla="*/ 88 h 109"/>
                <a:gd name="T50" fmla="*/ 679 w 964"/>
                <a:gd name="T51" fmla="*/ 82 h 109"/>
                <a:gd name="T52" fmla="*/ 656 w 964"/>
                <a:gd name="T53" fmla="*/ 76 h 109"/>
                <a:gd name="T54" fmla="*/ 687 w 964"/>
                <a:gd name="T55" fmla="*/ 62 h 109"/>
                <a:gd name="T56" fmla="*/ 575 w 964"/>
                <a:gd name="T57" fmla="*/ 89 h 109"/>
                <a:gd name="T58" fmla="*/ 521 w 964"/>
                <a:gd name="T59" fmla="*/ 89 h 109"/>
                <a:gd name="T60" fmla="*/ 467 w 964"/>
                <a:gd name="T61" fmla="*/ 42 h 109"/>
                <a:gd name="T62" fmla="*/ 483 w 964"/>
                <a:gd name="T63" fmla="*/ 44 h 109"/>
                <a:gd name="T64" fmla="*/ 497 w 964"/>
                <a:gd name="T65" fmla="*/ 29 h 109"/>
                <a:gd name="T66" fmla="*/ 463 w 964"/>
                <a:gd name="T67" fmla="*/ 25 h 109"/>
                <a:gd name="T68" fmla="*/ 398 w 964"/>
                <a:gd name="T69" fmla="*/ 73 h 109"/>
                <a:gd name="T70" fmla="*/ 376 w 964"/>
                <a:gd name="T71" fmla="*/ 63 h 109"/>
                <a:gd name="T72" fmla="*/ 364 w 964"/>
                <a:gd name="T73" fmla="*/ 81 h 109"/>
                <a:gd name="T74" fmla="*/ 406 w 964"/>
                <a:gd name="T75" fmla="*/ 89 h 109"/>
                <a:gd name="T76" fmla="*/ 427 w 964"/>
                <a:gd name="T77" fmla="*/ 60 h 109"/>
                <a:gd name="T78" fmla="*/ 292 w 964"/>
                <a:gd name="T79" fmla="*/ 49 h 109"/>
                <a:gd name="T80" fmla="*/ 284 w 964"/>
                <a:gd name="T81" fmla="*/ 74 h 109"/>
                <a:gd name="T82" fmla="*/ 263 w 964"/>
                <a:gd name="T83" fmla="*/ 61 h 109"/>
                <a:gd name="T84" fmla="*/ 274 w 964"/>
                <a:gd name="T85" fmla="*/ 38 h 109"/>
                <a:gd name="T86" fmla="*/ 247 w 964"/>
                <a:gd name="T87" fmla="*/ 40 h 109"/>
                <a:gd name="T88" fmla="*/ 249 w 964"/>
                <a:gd name="T89" fmla="*/ 76 h 109"/>
                <a:gd name="T90" fmla="*/ 291 w 964"/>
                <a:gd name="T91" fmla="*/ 88 h 109"/>
                <a:gd name="T92" fmla="*/ 311 w 964"/>
                <a:gd name="T93" fmla="*/ 57 h 109"/>
                <a:gd name="T94" fmla="*/ 291 w 964"/>
                <a:gd name="T95" fmla="*/ 26 h 109"/>
                <a:gd name="T96" fmla="*/ 196 w 964"/>
                <a:gd name="T97" fmla="*/ 26 h 109"/>
                <a:gd name="T98" fmla="*/ 214 w 964"/>
                <a:gd name="T99" fmla="*/ 88 h 109"/>
                <a:gd name="T100" fmla="*/ 224 w 964"/>
                <a:gd name="T101" fmla="*/ 70 h 109"/>
                <a:gd name="T102" fmla="*/ 184 w 964"/>
                <a:gd name="T103" fmla="*/ 0 h 109"/>
                <a:gd name="T104" fmla="*/ 108 w 964"/>
                <a:gd name="T105" fmla="*/ 71 h 109"/>
                <a:gd name="T106" fmla="*/ 110 w 964"/>
                <a:gd name="T107" fmla="*/ 45 h 109"/>
                <a:gd name="T108" fmla="*/ 130 w 964"/>
                <a:gd name="T109" fmla="*/ 41 h 109"/>
                <a:gd name="T110" fmla="*/ 103 w 964"/>
                <a:gd name="T111" fmla="*/ 52 h 109"/>
                <a:gd name="T112" fmla="*/ 91 w 964"/>
                <a:gd name="T113" fmla="*/ 79 h 109"/>
                <a:gd name="T114" fmla="*/ 123 w 964"/>
                <a:gd name="T115" fmla="*/ 89 h 109"/>
                <a:gd name="T116" fmla="*/ 149 w 964"/>
                <a:gd name="T117" fmla="*/ 42 h 109"/>
                <a:gd name="T118" fmla="*/ 115 w 964"/>
                <a:gd name="T119" fmla="*/ 23 h 109"/>
                <a:gd name="T120" fmla="*/ 93 w 964"/>
                <a:gd name="T121" fmla="*/ 45 h 109"/>
                <a:gd name="T122" fmla="*/ 56 w 964"/>
                <a:gd name="T1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4" h="109">
                  <a:moveTo>
                    <a:pt x="944" y="25"/>
                  </a:moveTo>
                  <a:lnTo>
                    <a:pt x="936" y="54"/>
                  </a:lnTo>
                  <a:lnTo>
                    <a:pt x="933" y="68"/>
                  </a:lnTo>
                  <a:lnTo>
                    <a:pt x="932" y="65"/>
                  </a:lnTo>
                  <a:lnTo>
                    <a:pt x="928" y="54"/>
                  </a:lnTo>
                  <a:lnTo>
                    <a:pt x="919" y="25"/>
                  </a:lnTo>
                  <a:lnTo>
                    <a:pt x="899" y="25"/>
                  </a:lnTo>
                  <a:lnTo>
                    <a:pt x="920" y="79"/>
                  </a:lnTo>
                  <a:lnTo>
                    <a:pt x="922" y="84"/>
                  </a:lnTo>
                  <a:lnTo>
                    <a:pt x="922" y="87"/>
                  </a:lnTo>
                  <a:lnTo>
                    <a:pt x="922" y="90"/>
                  </a:lnTo>
                  <a:lnTo>
                    <a:pt x="920" y="93"/>
                  </a:lnTo>
                  <a:lnTo>
                    <a:pt x="919" y="94"/>
                  </a:lnTo>
                  <a:lnTo>
                    <a:pt x="917" y="94"/>
                  </a:lnTo>
                  <a:lnTo>
                    <a:pt x="913" y="95"/>
                  </a:lnTo>
                  <a:lnTo>
                    <a:pt x="907" y="95"/>
                  </a:lnTo>
                  <a:lnTo>
                    <a:pt x="907" y="109"/>
                  </a:lnTo>
                  <a:lnTo>
                    <a:pt x="918" y="109"/>
                  </a:lnTo>
                  <a:lnTo>
                    <a:pt x="923" y="109"/>
                  </a:lnTo>
                  <a:lnTo>
                    <a:pt x="927" y="108"/>
                  </a:lnTo>
                  <a:lnTo>
                    <a:pt x="930" y="107"/>
                  </a:lnTo>
                  <a:lnTo>
                    <a:pt x="933" y="105"/>
                  </a:lnTo>
                  <a:lnTo>
                    <a:pt x="935" y="103"/>
                  </a:lnTo>
                  <a:lnTo>
                    <a:pt x="937" y="100"/>
                  </a:lnTo>
                  <a:lnTo>
                    <a:pt x="941" y="89"/>
                  </a:lnTo>
                  <a:lnTo>
                    <a:pt x="964" y="25"/>
                  </a:lnTo>
                  <a:lnTo>
                    <a:pt x="944" y="25"/>
                  </a:lnTo>
                  <a:close/>
                  <a:moveTo>
                    <a:pt x="890" y="26"/>
                  </a:moveTo>
                  <a:lnTo>
                    <a:pt x="879" y="26"/>
                  </a:lnTo>
                  <a:lnTo>
                    <a:pt x="879" y="5"/>
                  </a:lnTo>
                  <a:lnTo>
                    <a:pt x="860" y="5"/>
                  </a:lnTo>
                  <a:lnTo>
                    <a:pt x="860" y="26"/>
                  </a:lnTo>
                  <a:lnTo>
                    <a:pt x="851" y="26"/>
                  </a:lnTo>
                  <a:lnTo>
                    <a:pt x="851" y="39"/>
                  </a:lnTo>
                  <a:lnTo>
                    <a:pt x="860" y="39"/>
                  </a:lnTo>
                  <a:lnTo>
                    <a:pt x="860" y="68"/>
                  </a:lnTo>
                  <a:lnTo>
                    <a:pt x="860" y="74"/>
                  </a:lnTo>
                  <a:lnTo>
                    <a:pt x="861" y="79"/>
                  </a:lnTo>
                  <a:lnTo>
                    <a:pt x="862" y="82"/>
                  </a:lnTo>
                  <a:lnTo>
                    <a:pt x="863" y="84"/>
                  </a:lnTo>
                  <a:lnTo>
                    <a:pt x="866" y="86"/>
                  </a:lnTo>
                  <a:lnTo>
                    <a:pt x="869" y="88"/>
                  </a:lnTo>
                  <a:lnTo>
                    <a:pt x="873" y="88"/>
                  </a:lnTo>
                  <a:lnTo>
                    <a:pt x="879" y="89"/>
                  </a:lnTo>
                  <a:lnTo>
                    <a:pt x="890" y="89"/>
                  </a:lnTo>
                  <a:lnTo>
                    <a:pt x="890" y="75"/>
                  </a:lnTo>
                  <a:lnTo>
                    <a:pt x="883" y="75"/>
                  </a:lnTo>
                  <a:lnTo>
                    <a:pt x="881" y="74"/>
                  </a:lnTo>
                  <a:lnTo>
                    <a:pt x="880" y="74"/>
                  </a:lnTo>
                  <a:lnTo>
                    <a:pt x="879" y="73"/>
                  </a:lnTo>
                  <a:lnTo>
                    <a:pt x="879" y="70"/>
                  </a:lnTo>
                  <a:lnTo>
                    <a:pt x="879" y="64"/>
                  </a:lnTo>
                  <a:lnTo>
                    <a:pt x="879" y="39"/>
                  </a:lnTo>
                  <a:lnTo>
                    <a:pt x="890" y="39"/>
                  </a:lnTo>
                  <a:lnTo>
                    <a:pt x="890" y="26"/>
                  </a:lnTo>
                  <a:close/>
                  <a:moveTo>
                    <a:pt x="838" y="0"/>
                  </a:moveTo>
                  <a:lnTo>
                    <a:pt x="819" y="0"/>
                  </a:lnTo>
                  <a:lnTo>
                    <a:pt x="819" y="16"/>
                  </a:lnTo>
                  <a:lnTo>
                    <a:pt x="838" y="16"/>
                  </a:lnTo>
                  <a:lnTo>
                    <a:pt x="838" y="0"/>
                  </a:lnTo>
                  <a:close/>
                  <a:moveTo>
                    <a:pt x="838" y="25"/>
                  </a:moveTo>
                  <a:lnTo>
                    <a:pt x="819" y="25"/>
                  </a:lnTo>
                  <a:lnTo>
                    <a:pt x="819" y="89"/>
                  </a:lnTo>
                  <a:lnTo>
                    <a:pt x="838" y="89"/>
                  </a:lnTo>
                  <a:lnTo>
                    <a:pt x="838" y="25"/>
                  </a:lnTo>
                  <a:close/>
                  <a:moveTo>
                    <a:pt x="806" y="44"/>
                  </a:moveTo>
                  <a:lnTo>
                    <a:pt x="805" y="39"/>
                  </a:lnTo>
                  <a:lnTo>
                    <a:pt x="803" y="35"/>
                  </a:lnTo>
                  <a:lnTo>
                    <a:pt x="800" y="31"/>
                  </a:lnTo>
                  <a:lnTo>
                    <a:pt x="797" y="28"/>
                  </a:lnTo>
                  <a:lnTo>
                    <a:pt x="795" y="27"/>
                  </a:lnTo>
                  <a:lnTo>
                    <a:pt x="793" y="26"/>
                  </a:lnTo>
                  <a:lnTo>
                    <a:pt x="789" y="24"/>
                  </a:lnTo>
                  <a:lnTo>
                    <a:pt x="783" y="23"/>
                  </a:lnTo>
                  <a:lnTo>
                    <a:pt x="777" y="23"/>
                  </a:lnTo>
                  <a:lnTo>
                    <a:pt x="771" y="23"/>
                  </a:lnTo>
                  <a:lnTo>
                    <a:pt x="766" y="24"/>
                  </a:lnTo>
                  <a:lnTo>
                    <a:pt x="761" y="26"/>
                  </a:lnTo>
                  <a:lnTo>
                    <a:pt x="757" y="29"/>
                  </a:lnTo>
                  <a:lnTo>
                    <a:pt x="754" y="32"/>
                  </a:lnTo>
                  <a:lnTo>
                    <a:pt x="753" y="33"/>
                  </a:lnTo>
                  <a:lnTo>
                    <a:pt x="752" y="35"/>
                  </a:lnTo>
                  <a:lnTo>
                    <a:pt x="751" y="39"/>
                  </a:lnTo>
                  <a:lnTo>
                    <a:pt x="750" y="44"/>
                  </a:lnTo>
                  <a:lnTo>
                    <a:pt x="750" y="47"/>
                  </a:lnTo>
                  <a:lnTo>
                    <a:pt x="751" y="50"/>
                  </a:lnTo>
                  <a:lnTo>
                    <a:pt x="752" y="52"/>
                  </a:lnTo>
                  <a:lnTo>
                    <a:pt x="753" y="53"/>
                  </a:lnTo>
                  <a:lnTo>
                    <a:pt x="755" y="56"/>
                  </a:lnTo>
                  <a:lnTo>
                    <a:pt x="757" y="58"/>
                  </a:lnTo>
                  <a:lnTo>
                    <a:pt x="761" y="59"/>
                  </a:lnTo>
                  <a:lnTo>
                    <a:pt x="765" y="61"/>
                  </a:lnTo>
                  <a:lnTo>
                    <a:pt x="770" y="62"/>
                  </a:lnTo>
                  <a:lnTo>
                    <a:pt x="781" y="65"/>
                  </a:lnTo>
                  <a:lnTo>
                    <a:pt x="785" y="66"/>
                  </a:lnTo>
                  <a:lnTo>
                    <a:pt x="787" y="67"/>
                  </a:lnTo>
                  <a:lnTo>
                    <a:pt x="788" y="69"/>
                  </a:lnTo>
                  <a:lnTo>
                    <a:pt x="788" y="71"/>
                  </a:lnTo>
                  <a:lnTo>
                    <a:pt x="788" y="72"/>
                  </a:lnTo>
                  <a:lnTo>
                    <a:pt x="788" y="73"/>
                  </a:lnTo>
                  <a:lnTo>
                    <a:pt x="786" y="75"/>
                  </a:lnTo>
                  <a:lnTo>
                    <a:pt x="783" y="76"/>
                  </a:lnTo>
                  <a:lnTo>
                    <a:pt x="779" y="77"/>
                  </a:lnTo>
                  <a:lnTo>
                    <a:pt x="774" y="76"/>
                  </a:lnTo>
                  <a:lnTo>
                    <a:pt x="772" y="76"/>
                  </a:lnTo>
                  <a:lnTo>
                    <a:pt x="770" y="75"/>
                  </a:lnTo>
                  <a:lnTo>
                    <a:pt x="767" y="72"/>
                  </a:lnTo>
                  <a:lnTo>
                    <a:pt x="767" y="70"/>
                  </a:lnTo>
                  <a:lnTo>
                    <a:pt x="766" y="68"/>
                  </a:lnTo>
                  <a:lnTo>
                    <a:pt x="748" y="68"/>
                  </a:lnTo>
                  <a:lnTo>
                    <a:pt x="749" y="73"/>
                  </a:lnTo>
                  <a:lnTo>
                    <a:pt x="751" y="77"/>
                  </a:lnTo>
                  <a:lnTo>
                    <a:pt x="754" y="81"/>
                  </a:lnTo>
                  <a:lnTo>
                    <a:pt x="757" y="84"/>
                  </a:lnTo>
                  <a:lnTo>
                    <a:pt x="761" y="87"/>
                  </a:lnTo>
                  <a:lnTo>
                    <a:pt x="766" y="89"/>
                  </a:lnTo>
                  <a:lnTo>
                    <a:pt x="772" y="90"/>
                  </a:lnTo>
                  <a:lnTo>
                    <a:pt x="778" y="90"/>
                  </a:lnTo>
                  <a:lnTo>
                    <a:pt x="785" y="90"/>
                  </a:lnTo>
                  <a:lnTo>
                    <a:pt x="790" y="89"/>
                  </a:lnTo>
                  <a:lnTo>
                    <a:pt x="795" y="87"/>
                  </a:lnTo>
                  <a:lnTo>
                    <a:pt x="799" y="84"/>
                  </a:lnTo>
                  <a:lnTo>
                    <a:pt x="803" y="81"/>
                  </a:lnTo>
                  <a:lnTo>
                    <a:pt x="805" y="78"/>
                  </a:lnTo>
                  <a:lnTo>
                    <a:pt x="806" y="75"/>
                  </a:lnTo>
                  <a:lnTo>
                    <a:pt x="806" y="73"/>
                  </a:lnTo>
                  <a:lnTo>
                    <a:pt x="807" y="68"/>
                  </a:lnTo>
                  <a:lnTo>
                    <a:pt x="807" y="65"/>
                  </a:lnTo>
                  <a:lnTo>
                    <a:pt x="806" y="61"/>
                  </a:lnTo>
                  <a:lnTo>
                    <a:pt x="804" y="58"/>
                  </a:lnTo>
                  <a:lnTo>
                    <a:pt x="802" y="56"/>
                  </a:lnTo>
                  <a:lnTo>
                    <a:pt x="800" y="54"/>
                  </a:lnTo>
                  <a:lnTo>
                    <a:pt x="797" y="52"/>
                  </a:lnTo>
                  <a:lnTo>
                    <a:pt x="793" y="51"/>
                  </a:lnTo>
                  <a:lnTo>
                    <a:pt x="788" y="49"/>
                  </a:lnTo>
                  <a:lnTo>
                    <a:pt x="776" y="47"/>
                  </a:lnTo>
                  <a:lnTo>
                    <a:pt x="772" y="46"/>
                  </a:lnTo>
                  <a:lnTo>
                    <a:pt x="770" y="45"/>
                  </a:lnTo>
                  <a:lnTo>
                    <a:pt x="768" y="44"/>
                  </a:lnTo>
                  <a:lnTo>
                    <a:pt x="768" y="42"/>
                  </a:lnTo>
                  <a:lnTo>
                    <a:pt x="769" y="40"/>
                  </a:lnTo>
                  <a:lnTo>
                    <a:pt x="771" y="38"/>
                  </a:lnTo>
                  <a:lnTo>
                    <a:pt x="773" y="37"/>
                  </a:lnTo>
                  <a:lnTo>
                    <a:pt x="777" y="37"/>
                  </a:lnTo>
                  <a:lnTo>
                    <a:pt x="781" y="37"/>
                  </a:lnTo>
                  <a:lnTo>
                    <a:pt x="783" y="38"/>
                  </a:lnTo>
                  <a:lnTo>
                    <a:pt x="785" y="39"/>
                  </a:lnTo>
                  <a:lnTo>
                    <a:pt x="786" y="40"/>
                  </a:lnTo>
                  <a:lnTo>
                    <a:pt x="787" y="41"/>
                  </a:lnTo>
                  <a:lnTo>
                    <a:pt x="788" y="44"/>
                  </a:lnTo>
                  <a:lnTo>
                    <a:pt x="806" y="44"/>
                  </a:lnTo>
                  <a:close/>
                  <a:moveTo>
                    <a:pt x="700" y="25"/>
                  </a:moveTo>
                  <a:lnTo>
                    <a:pt x="700" y="89"/>
                  </a:lnTo>
                  <a:lnTo>
                    <a:pt x="719" y="89"/>
                  </a:lnTo>
                  <a:lnTo>
                    <a:pt x="719" y="71"/>
                  </a:lnTo>
                  <a:lnTo>
                    <a:pt x="719" y="56"/>
                  </a:lnTo>
                  <a:lnTo>
                    <a:pt x="720" y="52"/>
                  </a:lnTo>
                  <a:lnTo>
                    <a:pt x="721" y="48"/>
                  </a:lnTo>
                  <a:lnTo>
                    <a:pt x="722" y="46"/>
                  </a:lnTo>
                  <a:lnTo>
                    <a:pt x="724" y="45"/>
                  </a:lnTo>
                  <a:lnTo>
                    <a:pt x="727" y="42"/>
                  </a:lnTo>
                  <a:lnTo>
                    <a:pt x="729" y="42"/>
                  </a:lnTo>
                  <a:lnTo>
                    <a:pt x="731" y="41"/>
                  </a:lnTo>
                  <a:lnTo>
                    <a:pt x="735" y="40"/>
                  </a:lnTo>
                  <a:lnTo>
                    <a:pt x="740" y="41"/>
                  </a:lnTo>
                  <a:lnTo>
                    <a:pt x="740" y="23"/>
                  </a:lnTo>
                  <a:lnTo>
                    <a:pt x="735" y="23"/>
                  </a:lnTo>
                  <a:lnTo>
                    <a:pt x="731" y="24"/>
                  </a:lnTo>
                  <a:lnTo>
                    <a:pt x="728" y="24"/>
                  </a:lnTo>
                  <a:lnTo>
                    <a:pt x="725" y="26"/>
                  </a:lnTo>
                  <a:lnTo>
                    <a:pt x="723" y="27"/>
                  </a:lnTo>
                  <a:lnTo>
                    <a:pt x="721" y="30"/>
                  </a:lnTo>
                  <a:lnTo>
                    <a:pt x="719" y="33"/>
                  </a:lnTo>
                  <a:lnTo>
                    <a:pt x="718" y="36"/>
                  </a:lnTo>
                  <a:lnTo>
                    <a:pt x="718" y="25"/>
                  </a:lnTo>
                  <a:lnTo>
                    <a:pt x="700" y="25"/>
                  </a:lnTo>
                  <a:close/>
                  <a:moveTo>
                    <a:pt x="640" y="49"/>
                  </a:moveTo>
                  <a:lnTo>
                    <a:pt x="641" y="46"/>
                  </a:lnTo>
                  <a:lnTo>
                    <a:pt x="642" y="44"/>
                  </a:lnTo>
                  <a:lnTo>
                    <a:pt x="643" y="42"/>
                  </a:lnTo>
                  <a:lnTo>
                    <a:pt x="645" y="40"/>
                  </a:lnTo>
                  <a:lnTo>
                    <a:pt x="647" y="39"/>
                  </a:lnTo>
                  <a:lnTo>
                    <a:pt x="649" y="38"/>
                  </a:lnTo>
                  <a:lnTo>
                    <a:pt x="655" y="37"/>
                  </a:lnTo>
                  <a:lnTo>
                    <a:pt x="660" y="38"/>
                  </a:lnTo>
                  <a:lnTo>
                    <a:pt x="662" y="39"/>
                  </a:lnTo>
                  <a:lnTo>
                    <a:pt x="663" y="40"/>
                  </a:lnTo>
                  <a:lnTo>
                    <a:pt x="665" y="42"/>
                  </a:lnTo>
                  <a:lnTo>
                    <a:pt x="666" y="44"/>
                  </a:lnTo>
                  <a:lnTo>
                    <a:pt x="667" y="46"/>
                  </a:lnTo>
                  <a:lnTo>
                    <a:pt x="667" y="49"/>
                  </a:lnTo>
                  <a:lnTo>
                    <a:pt x="640" y="49"/>
                  </a:lnTo>
                  <a:close/>
                  <a:moveTo>
                    <a:pt x="687" y="62"/>
                  </a:moveTo>
                  <a:lnTo>
                    <a:pt x="686" y="56"/>
                  </a:lnTo>
                  <a:lnTo>
                    <a:pt x="686" y="51"/>
                  </a:lnTo>
                  <a:lnTo>
                    <a:pt x="685" y="47"/>
                  </a:lnTo>
                  <a:lnTo>
                    <a:pt x="684" y="43"/>
                  </a:lnTo>
                  <a:lnTo>
                    <a:pt x="682" y="38"/>
                  </a:lnTo>
                  <a:lnTo>
                    <a:pt x="679" y="34"/>
                  </a:lnTo>
                  <a:lnTo>
                    <a:pt x="676" y="31"/>
                  </a:lnTo>
                  <a:lnTo>
                    <a:pt x="673" y="28"/>
                  </a:lnTo>
                  <a:lnTo>
                    <a:pt x="669" y="26"/>
                  </a:lnTo>
                  <a:lnTo>
                    <a:pt x="667" y="25"/>
                  </a:lnTo>
                  <a:lnTo>
                    <a:pt x="665" y="24"/>
                  </a:lnTo>
                  <a:lnTo>
                    <a:pt x="660" y="23"/>
                  </a:lnTo>
                  <a:lnTo>
                    <a:pt x="655" y="23"/>
                  </a:lnTo>
                  <a:lnTo>
                    <a:pt x="647" y="24"/>
                  </a:lnTo>
                  <a:lnTo>
                    <a:pt x="641" y="26"/>
                  </a:lnTo>
                  <a:lnTo>
                    <a:pt x="638" y="27"/>
                  </a:lnTo>
                  <a:lnTo>
                    <a:pt x="635" y="29"/>
                  </a:lnTo>
                  <a:lnTo>
                    <a:pt x="630" y="32"/>
                  </a:lnTo>
                  <a:lnTo>
                    <a:pt x="628" y="35"/>
                  </a:lnTo>
                  <a:lnTo>
                    <a:pt x="627" y="37"/>
                  </a:lnTo>
                  <a:lnTo>
                    <a:pt x="625" y="40"/>
                  </a:lnTo>
                  <a:lnTo>
                    <a:pt x="624" y="43"/>
                  </a:lnTo>
                  <a:lnTo>
                    <a:pt x="623" y="46"/>
                  </a:lnTo>
                  <a:lnTo>
                    <a:pt x="622" y="50"/>
                  </a:lnTo>
                  <a:lnTo>
                    <a:pt x="621" y="53"/>
                  </a:lnTo>
                  <a:lnTo>
                    <a:pt x="621" y="57"/>
                  </a:lnTo>
                  <a:lnTo>
                    <a:pt x="622" y="64"/>
                  </a:lnTo>
                  <a:lnTo>
                    <a:pt x="624" y="71"/>
                  </a:lnTo>
                  <a:lnTo>
                    <a:pt x="626" y="76"/>
                  </a:lnTo>
                  <a:lnTo>
                    <a:pt x="630" y="81"/>
                  </a:lnTo>
                  <a:lnTo>
                    <a:pt x="635" y="85"/>
                  </a:lnTo>
                  <a:lnTo>
                    <a:pt x="641" y="88"/>
                  </a:lnTo>
                  <a:lnTo>
                    <a:pt x="644" y="89"/>
                  </a:lnTo>
                  <a:lnTo>
                    <a:pt x="647" y="90"/>
                  </a:lnTo>
                  <a:lnTo>
                    <a:pt x="650" y="90"/>
                  </a:lnTo>
                  <a:lnTo>
                    <a:pt x="655" y="90"/>
                  </a:lnTo>
                  <a:lnTo>
                    <a:pt x="661" y="90"/>
                  </a:lnTo>
                  <a:lnTo>
                    <a:pt x="666" y="89"/>
                  </a:lnTo>
                  <a:lnTo>
                    <a:pt x="671" y="87"/>
                  </a:lnTo>
                  <a:lnTo>
                    <a:pt x="675" y="85"/>
                  </a:lnTo>
                  <a:lnTo>
                    <a:pt x="679" y="82"/>
                  </a:lnTo>
                  <a:lnTo>
                    <a:pt x="680" y="80"/>
                  </a:lnTo>
                  <a:lnTo>
                    <a:pt x="682" y="78"/>
                  </a:lnTo>
                  <a:lnTo>
                    <a:pt x="684" y="74"/>
                  </a:lnTo>
                  <a:lnTo>
                    <a:pt x="686" y="70"/>
                  </a:lnTo>
                  <a:lnTo>
                    <a:pt x="667" y="70"/>
                  </a:lnTo>
                  <a:lnTo>
                    <a:pt x="665" y="73"/>
                  </a:lnTo>
                  <a:lnTo>
                    <a:pt x="662" y="74"/>
                  </a:lnTo>
                  <a:lnTo>
                    <a:pt x="659" y="75"/>
                  </a:lnTo>
                  <a:lnTo>
                    <a:pt x="656" y="76"/>
                  </a:lnTo>
                  <a:lnTo>
                    <a:pt x="653" y="76"/>
                  </a:lnTo>
                  <a:lnTo>
                    <a:pt x="649" y="75"/>
                  </a:lnTo>
                  <a:lnTo>
                    <a:pt x="647" y="74"/>
                  </a:lnTo>
                  <a:lnTo>
                    <a:pt x="645" y="72"/>
                  </a:lnTo>
                  <a:lnTo>
                    <a:pt x="643" y="70"/>
                  </a:lnTo>
                  <a:lnTo>
                    <a:pt x="642" y="68"/>
                  </a:lnTo>
                  <a:lnTo>
                    <a:pt x="641" y="65"/>
                  </a:lnTo>
                  <a:lnTo>
                    <a:pt x="640" y="62"/>
                  </a:lnTo>
                  <a:lnTo>
                    <a:pt x="687" y="62"/>
                  </a:lnTo>
                  <a:close/>
                  <a:moveTo>
                    <a:pt x="593" y="89"/>
                  </a:moveTo>
                  <a:lnTo>
                    <a:pt x="614" y="25"/>
                  </a:lnTo>
                  <a:lnTo>
                    <a:pt x="594" y="25"/>
                  </a:lnTo>
                  <a:lnTo>
                    <a:pt x="588" y="49"/>
                  </a:lnTo>
                  <a:lnTo>
                    <a:pt x="584" y="68"/>
                  </a:lnTo>
                  <a:lnTo>
                    <a:pt x="579" y="49"/>
                  </a:lnTo>
                  <a:lnTo>
                    <a:pt x="571" y="25"/>
                  </a:lnTo>
                  <a:lnTo>
                    <a:pt x="552" y="25"/>
                  </a:lnTo>
                  <a:lnTo>
                    <a:pt x="575" y="89"/>
                  </a:lnTo>
                  <a:lnTo>
                    <a:pt x="593" y="89"/>
                  </a:lnTo>
                  <a:close/>
                  <a:moveTo>
                    <a:pt x="540" y="0"/>
                  </a:moveTo>
                  <a:lnTo>
                    <a:pt x="521" y="0"/>
                  </a:lnTo>
                  <a:lnTo>
                    <a:pt x="521" y="16"/>
                  </a:lnTo>
                  <a:lnTo>
                    <a:pt x="540" y="16"/>
                  </a:lnTo>
                  <a:lnTo>
                    <a:pt x="540" y="0"/>
                  </a:lnTo>
                  <a:close/>
                  <a:moveTo>
                    <a:pt x="540" y="25"/>
                  </a:moveTo>
                  <a:lnTo>
                    <a:pt x="521" y="25"/>
                  </a:lnTo>
                  <a:lnTo>
                    <a:pt x="521" y="89"/>
                  </a:lnTo>
                  <a:lnTo>
                    <a:pt x="540" y="89"/>
                  </a:lnTo>
                  <a:lnTo>
                    <a:pt x="540" y="25"/>
                  </a:lnTo>
                  <a:close/>
                  <a:moveTo>
                    <a:pt x="445" y="25"/>
                  </a:moveTo>
                  <a:lnTo>
                    <a:pt x="445" y="89"/>
                  </a:lnTo>
                  <a:lnTo>
                    <a:pt x="464" y="89"/>
                  </a:lnTo>
                  <a:lnTo>
                    <a:pt x="464" y="53"/>
                  </a:lnTo>
                  <a:lnTo>
                    <a:pt x="465" y="46"/>
                  </a:lnTo>
                  <a:lnTo>
                    <a:pt x="465" y="44"/>
                  </a:lnTo>
                  <a:lnTo>
                    <a:pt x="467" y="42"/>
                  </a:lnTo>
                  <a:lnTo>
                    <a:pt x="468" y="41"/>
                  </a:lnTo>
                  <a:lnTo>
                    <a:pt x="470" y="40"/>
                  </a:lnTo>
                  <a:lnTo>
                    <a:pt x="472" y="39"/>
                  </a:lnTo>
                  <a:lnTo>
                    <a:pt x="475" y="39"/>
                  </a:lnTo>
                  <a:lnTo>
                    <a:pt x="477" y="39"/>
                  </a:lnTo>
                  <a:lnTo>
                    <a:pt x="479" y="40"/>
                  </a:lnTo>
                  <a:lnTo>
                    <a:pt x="481" y="41"/>
                  </a:lnTo>
                  <a:lnTo>
                    <a:pt x="482" y="43"/>
                  </a:lnTo>
                  <a:lnTo>
                    <a:pt x="483" y="44"/>
                  </a:lnTo>
                  <a:lnTo>
                    <a:pt x="484" y="47"/>
                  </a:lnTo>
                  <a:lnTo>
                    <a:pt x="484" y="54"/>
                  </a:lnTo>
                  <a:lnTo>
                    <a:pt x="484" y="89"/>
                  </a:lnTo>
                  <a:lnTo>
                    <a:pt x="503" y="89"/>
                  </a:lnTo>
                  <a:lnTo>
                    <a:pt x="503" y="47"/>
                  </a:lnTo>
                  <a:lnTo>
                    <a:pt x="503" y="42"/>
                  </a:lnTo>
                  <a:lnTo>
                    <a:pt x="502" y="37"/>
                  </a:lnTo>
                  <a:lnTo>
                    <a:pt x="500" y="33"/>
                  </a:lnTo>
                  <a:lnTo>
                    <a:pt x="497" y="29"/>
                  </a:lnTo>
                  <a:lnTo>
                    <a:pt x="494" y="27"/>
                  </a:lnTo>
                  <a:lnTo>
                    <a:pt x="490" y="25"/>
                  </a:lnTo>
                  <a:lnTo>
                    <a:pt x="486" y="23"/>
                  </a:lnTo>
                  <a:lnTo>
                    <a:pt x="481" y="23"/>
                  </a:lnTo>
                  <a:lnTo>
                    <a:pt x="476" y="23"/>
                  </a:lnTo>
                  <a:lnTo>
                    <a:pt x="472" y="25"/>
                  </a:lnTo>
                  <a:lnTo>
                    <a:pt x="468" y="27"/>
                  </a:lnTo>
                  <a:lnTo>
                    <a:pt x="463" y="31"/>
                  </a:lnTo>
                  <a:lnTo>
                    <a:pt x="463" y="25"/>
                  </a:lnTo>
                  <a:lnTo>
                    <a:pt x="445" y="25"/>
                  </a:lnTo>
                  <a:close/>
                  <a:moveTo>
                    <a:pt x="407" y="0"/>
                  </a:moveTo>
                  <a:lnTo>
                    <a:pt x="407" y="59"/>
                  </a:lnTo>
                  <a:lnTo>
                    <a:pt x="407" y="63"/>
                  </a:lnTo>
                  <a:lnTo>
                    <a:pt x="406" y="66"/>
                  </a:lnTo>
                  <a:lnTo>
                    <a:pt x="405" y="68"/>
                  </a:lnTo>
                  <a:lnTo>
                    <a:pt x="404" y="70"/>
                  </a:lnTo>
                  <a:lnTo>
                    <a:pt x="401" y="72"/>
                  </a:lnTo>
                  <a:lnTo>
                    <a:pt x="398" y="73"/>
                  </a:lnTo>
                  <a:lnTo>
                    <a:pt x="395" y="74"/>
                  </a:lnTo>
                  <a:lnTo>
                    <a:pt x="392" y="74"/>
                  </a:lnTo>
                  <a:lnTo>
                    <a:pt x="388" y="74"/>
                  </a:lnTo>
                  <a:lnTo>
                    <a:pt x="385" y="73"/>
                  </a:lnTo>
                  <a:lnTo>
                    <a:pt x="382" y="72"/>
                  </a:lnTo>
                  <a:lnTo>
                    <a:pt x="380" y="70"/>
                  </a:lnTo>
                  <a:lnTo>
                    <a:pt x="378" y="68"/>
                  </a:lnTo>
                  <a:lnTo>
                    <a:pt x="377" y="66"/>
                  </a:lnTo>
                  <a:lnTo>
                    <a:pt x="376" y="63"/>
                  </a:lnTo>
                  <a:lnTo>
                    <a:pt x="376" y="59"/>
                  </a:lnTo>
                  <a:lnTo>
                    <a:pt x="376" y="0"/>
                  </a:lnTo>
                  <a:lnTo>
                    <a:pt x="356" y="0"/>
                  </a:lnTo>
                  <a:lnTo>
                    <a:pt x="356" y="60"/>
                  </a:lnTo>
                  <a:lnTo>
                    <a:pt x="357" y="68"/>
                  </a:lnTo>
                  <a:lnTo>
                    <a:pt x="359" y="74"/>
                  </a:lnTo>
                  <a:lnTo>
                    <a:pt x="360" y="77"/>
                  </a:lnTo>
                  <a:lnTo>
                    <a:pt x="362" y="79"/>
                  </a:lnTo>
                  <a:lnTo>
                    <a:pt x="364" y="81"/>
                  </a:lnTo>
                  <a:lnTo>
                    <a:pt x="366" y="83"/>
                  </a:lnTo>
                  <a:lnTo>
                    <a:pt x="371" y="86"/>
                  </a:lnTo>
                  <a:lnTo>
                    <a:pt x="374" y="88"/>
                  </a:lnTo>
                  <a:lnTo>
                    <a:pt x="378" y="89"/>
                  </a:lnTo>
                  <a:lnTo>
                    <a:pt x="384" y="90"/>
                  </a:lnTo>
                  <a:lnTo>
                    <a:pt x="392" y="91"/>
                  </a:lnTo>
                  <a:lnTo>
                    <a:pt x="399" y="90"/>
                  </a:lnTo>
                  <a:lnTo>
                    <a:pt x="403" y="90"/>
                  </a:lnTo>
                  <a:lnTo>
                    <a:pt x="406" y="89"/>
                  </a:lnTo>
                  <a:lnTo>
                    <a:pt x="412" y="86"/>
                  </a:lnTo>
                  <a:lnTo>
                    <a:pt x="418" y="83"/>
                  </a:lnTo>
                  <a:lnTo>
                    <a:pt x="420" y="81"/>
                  </a:lnTo>
                  <a:lnTo>
                    <a:pt x="422" y="79"/>
                  </a:lnTo>
                  <a:lnTo>
                    <a:pt x="424" y="77"/>
                  </a:lnTo>
                  <a:lnTo>
                    <a:pt x="425" y="74"/>
                  </a:lnTo>
                  <a:lnTo>
                    <a:pt x="427" y="68"/>
                  </a:lnTo>
                  <a:lnTo>
                    <a:pt x="427" y="64"/>
                  </a:lnTo>
                  <a:lnTo>
                    <a:pt x="427" y="60"/>
                  </a:lnTo>
                  <a:lnTo>
                    <a:pt x="427" y="0"/>
                  </a:lnTo>
                  <a:lnTo>
                    <a:pt x="407" y="0"/>
                  </a:lnTo>
                  <a:close/>
                  <a:moveTo>
                    <a:pt x="277" y="38"/>
                  </a:moveTo>
                  <a:lnTo>
                    <a:pt x="281" y="38"/>
                  </a:lnTo>
                  <a:lnTo>
                    <a:pt x="284" y="39"/>
                  </a:lnTo>
                  <a:lnTo>
                    <a:pt x="286" y="41"/>
                  </a:lnTo>
                  <a:lnTo>
                    <a:pt x="289" y="43"/>
                  </a:lnTo>
                  <a:lnTo>
                    <a:pt x="290" y="46"/>
                  </a:lnTo>
                  <a:lnTo>
                    <a:pt x="292" y="49"/>
                  </a:lnTo>
                  <a:lnTo>
                    <a:pt x="292" y="53"/>
                  </a:lnTo>
                  <a:lnTo>
                    <a:pt x="293" y="57"/>
                  </a:lnTo>
                  <a:lnTo>
                    <a:pt x="292" y="61"/>
                  </a:lnTo>
                  <a:lnTo>
                    <a:pt x="292" y="65"/>
                  </a:lnTo>
                  <a:lnTo>
                    <a:pt x="290" y="68"/>
                  </a:lnTo>
                  <a:lnTo>
                    <a:pt x="289" y="71"/>
                  </a:lnTo>
                  <a:lnTo>
                    <a:pt x="288" y="72"/>
                  </a:lnTo>
                  <a:lnTo>
                    <a:pt x="286" y="73"/>
                  </a:lnTo>
                  <a:lnTo>
                    <a:pt x="284" y="74"/>
                  </a:lnTo>
                  <a:lnTo>
                    <a:pt x="281" y="75"/>
                  </a:lnTo>
                  <a:lnTo>
                    <a:pt x="277" y="75"/>
                  </a:lnTo>
                  <a:lnTo>
                    <a:pt x="274" y="75"/>
                  </a:lnTo>
                  <a:lnTo>
                    <a:pt x="271" y="74"/>
                  </a:lnTo>
                  <a:lnTo>
                    <a:pt x="269" y="73"/>
                  </a:lnTo>
                  <a:lnTo>
                    <a:pt x="266" y="71"/>
                  </a:lnTo>
                  <a:lnTo>
                    <a:pt x="265" y="68"/>
                  </a:lnTo>
                  <a:lnTo>
                    <a:pt x="264" y="65"/>
                  </a:lnTo>
                  <a:lnTo>
                    <a:pt x="263" y="61"/>
                  </a:lnTo>
                  <a:lnTo>
                    <a:pt x="263" y="57"/>
                  </a:lnTo>
                  <a:lnTo>
                    <a:pt x="263" y="52"/>
                  </a:lnTo>
                  <a:lnTo>
                    <a:pt x="264" y="49"/>
                  </a:lnTo>
                  <a:lnTo>
                    <a:pt x="265" y="46"/>
                  </a:lnTo>
                  <a:lnTo>
                    <a:pt x="266" y="43"/>
                  </a:lnTo>
                  <a:lnTo>
                    <a:pt x="267" y="42"/>
                  </a:lnTo>
                  <a:lnTo>
                    <a:pt x="269" y="41"/>
                  </a:lnTo>
                  <a:lnTo>
                    <a:pt x="271" y="39"/>
                  </a:lnTo>
                  <a:lnTo>
                    <a:pt x="274" y="38"/>
                  </a:lnTo>
                  <a:lnTo>
                    <a:pt x="277" y="38"/>
                  </a:lnTo>
                  <a:close/>
                  <a:moveTo>
                    <a:pt x="277" y="23"/>
                  </a:moveTo>
                  <a:lnTo>
                    <a:pt x="270" y="24"/>
                  </a:lnTo>
                  <a:lnTo>
                    <a:pt x="264" y="26"/>
                  </a:lnTo>
                  <a:lnTo>
                    <a:pt x="261" y="27"/>
                  </a:lnTo>
                  <a:lnTo>
                    <a:pt x="258" y="29"/>
                  </a:lnTo>
                  <a:lnTo>
                    <a:pt x="253" y="33"/>
                  </a:lnTo>
                  <a:lnTo>
                    <a:pt x="249" y="37"/>
                  </a:lnTo>
                  <a:lnTo>
                    <a:pt x="247" y="40"/>
                  </a:lnTo>
                  <a:lnTo>
                    <a:pt x="246" y="43"/>
                  </a:lnTo>
                  <a:lnTo>
                    <a:pt x="245" y="46"/>
                  </a:lnTo>
                  <a:lnTo>
                    <a:pt x="244" y="50"/>
                  </a:lnTo>
                  <a:lnTo>
                    <a:pt x="244" y="53"/>
                  </a:lnTo>
                  <a:lnTo>
                    <a:pt x="244" y="57"/>
                  </a:lnTo>
                  <a:lnTo>
                    <a:pt x="244" y="64"/>
                  </a:lnTo>
                  <a:lnTo>
                    <a:pt x="246" y="70"/>
                  </a:lnTo>
                  <a:lnTo>
                    <a:pt x="247" y="73"/>
                  </a:lnTo>
                  <a:lnTo>
                    <a:pt x="249" y="76"/>
                  </a:lnTo>
                  <a:lnTo>
                    <a:pt x="253" y="81"/>
                  </a:lnTo>
                  <a:lnTo>
                    <a:pt x="258" y="85"/>
                  </a:lnTo>
                  <a:lnTo>
                    <a:pt x="261" y="87"/>
                  </a:lnTo>
                  <a:lnTo>
                    <a:pt x="264" y="88"/>
                  </a:lnTo>
                  <a:lnTo>
                    <a:pt x="267" y="89"/>
                  </a:lnTo>
                  <a:lnTo>
                    <a:pt x="270" y="90"/>
                  </a:lnTo>
                  <a:lnTo>
                    <a:pt x="277" y="90"/>
                  </a:lnTo>
                  <a:lnTo>
                    <a:pt x="285" y="90"/>
                  </a:lnTo>
                  <a:lnTo>
                    <a:pt x="291" y="88"/>
                  </a:lnTo>
                  <a:lnTo>
                    <a:pt x="294" y="87"/>
                  </a:lnTo>
                  <a:lnTo>
                    <a:pt x="297" y="85"/>
                  </a:lnTo>
                  <a:lnTo>
                    <a:pt x="302" y="81"/>
                  </a:lnTo>
                  <a:lnTo>
                    <a:pt x="306" y="76"/>
                  </a:lnTo>
                  <a:lnTo>
                    <a:pt x="308" y="73"/>
                  </a:lnTo>
                  <a:lnTo>
                    <a:pt x="309" y="71"/>
                  </a:lnTo>
                  <a:lnTo>
                    <a:pt x="311" y="64"/>
                  </a:lnTo>
                  <a:lnTo>
                    <a:pt x="311" y="61"/>
                  </a:lnTo>
                  <a:lnTo>
                    <a:pt x="311" y="57"/>
                  </a:lnTo>
                  <a:lnTo>
                    <a:pt x="311" y="53"/>
                  </a:lnTo>
                  <a:lnTo>
                    <a:pt x="311" y="50"/>
                  </a:lnTo>
                  <a:lnTo>
                    <a:pt x="309" y="43"/>
                  </a:lnTo>
                  <a:lnTo>
                    <a:pt x="308" y="40"/>
                  </a:lnTo>
                  <a:lnTo>
                    <a:pt x="306" y="37"/>
                  </a:lnTo>
                  <a:lnTo>
                    <a:pt x="302" y="33"/>
                  </a:lnTo>
                  <a:lnTo>
                    <a:pt x="297" y="29"/>
                  </a:lnTo>
                  <a:lnTo>
                    <a:pt x="294" y="27"/>
                  </a:lnTo>
                  <a:lnTo>
                    <a:pt x="291" y="26"/>
                  </a:lnTo>
                  <a:lnTo>
                    <a:pt x="288" y="24"/>
                  </a:lnTo>
                  <a:lnTo>
                    <a:pt x="285" y="24"/>
                  </a:lnTo>
                  <a:lnTo>
                    <a:pt x="277" y="23"/>
                  </a:lnTo>
                  <a:close/>
                  <a:moveTo>
                    <a:pt x="235" y="26"/>
                  </a:moveTo>
                  <a:lnTo>
                    <a:pt x="224" y="26"/>
                  </a:lnTo>
                  <a:lnTo>
                    <a:pt x="224" y="5"/>
                  </a:lnTo>
                  <a:lnTo>
                    <a:pt x="205" y="5"/>
                  </a:lnTo>
                  <a:lnTo>
                    <a:pt x="205" y="26"/>
                  </a:lnTo>
                  <a:lnTo>
                    <a:pt x="196" y="26"/>
                  </a:lnTo>
                  <a:lnTo>
                    <a:pt x="196" y="39"/>
                  </a:lnTo>
                  <a:lnTo>
                    <a:pt x="205" y="39"/>
                  </a:lnTo>
                  <a:lnTo>
                    <a:pt x="205" y="68"/>
                  </a:lnTo>
                  <a:lnTo>
                    <a:pt x="205" y="74"/>
                  </a:lnTo>
                  <a:lnTo>
                    <a:pt x="206" y="79"/>
                  </a:lnTo>
                  <a:lnTo>
                    <a:pt x="207" y="82"/>
                  </a:lnTo>
                  <a:lnTo>
                    <a:pt x="209" y="84"/>
                  </a:lnTo>
                  <a:lnTo>
                    <a:pt x="211" y="86"/>
                  </a:lnTo>
                  <a:lnTo>
                    <a:pt x="214" y="88"/>
                  </a:lnTo>
                  <a:lnTo>
                    <a:pt x="218" y="88"/>
                  </a:lnTo>
                  <a:lnTo>
                    <a:pt x="224" y="89"/>
                  </a:lnTo>
                  <a:lnTo>
                    <a:pt x="235" y="89"/>
                  </a:lnTo>
                  <a:lnTo>
                    <a:pt x="235" y="75"/>
                  </a:lnTo>
                  <a:lnTo>
                    <a:pt x="228" y="75"/>
                  </a:lnTo>
                  <a:lnTo>
                    <a:pt x="226" y="74"/>
                  </a:lnTo>
                  <a:lnTo>
                    <a:pt x="225" y="74"/>
                  </a:lnTo>
                  <a:lnTo>
                    <a:pt x="224" y="73"/>
                  </a:lnTo>
                  <a:lnTo>
                    <a:pt x="224" y="70"/>
                  </a:lnTo>
                  <a:lnTo>
                    <a:pt x="224" y="64"/>
                  </a:lnTo>
                  <a:lnTo>
                    <a:pt x="224" y="39"/>
                  </a:lnTo>
                  <a:lnTo>
                    <a:pt x="235" y="39"/>
                  </a:lnTo>
                  <a:lnTo>
                    <a:pt x="235" y="26"/>
                  </a:lnTo>
                  <a:close/>
                  <a:moveTo>
                    <a:pt x="184" y="0"/>
                  </a:moveTo>
                  <a:lnTo>
                    <a:pt x="166" y="0"/>
                  </a:lnTo>
                  <a:lnTo>
                    <a:pt x="166" y="89"/>
                  </a:lnTo>
                  <a:lnTo>
                    <a:pt x="184" y="89"/>
                  </a:lnTo>
                  <a:lnTo>
                    <a:pt x="184" y="0"/>
                  </a:lnTo>
                  <a:close/>
                  <a:moveTo>
                    <a:pt x="131" y="68"/>
                  </a:moveTo>
                  <a:lnTo>
                    <a:pt x="129" y="72"/>
                  </a:lnTo>
                  <a:lnTo>
                    <a:pt x="126" y="74"/>
                  </a:lnTo>
                  <a:lnTo>
                    <a:pt x="122" y="76"/>
                  </a:lnTo>
                  <a:lnTo>
                    <a:pt x="117" y="76"/>
                  </a:lnTo>
                  <a:lnTo>
                    <a:pt x="114" y="76"/>
                  </a:lnTo>
                  <a:lnTo>
                    <a:pt x="111" y="74"/>
                  </a:lnTo>
                  <a:lnTo>
                    <a:pt x="109" y="72"/>
                  </a:lnTo>
                  <a:lnTo>
                    <a:pt x="108" y="71"/>
                  </a:lnTo>
                  <a:lnTo>
                    <a:pt x="108" y="69"/>
                  </a:lnTo>
                  <a:lnTo>
                    <a:pt x="109" y="67"/>
                  </a:lnTo>
                  <a:lnTo>
                    <a:pt x="110" y="65"/>
                  </a:lnTo>
                  <a:lnTo>
                    <a:pt x="113" y="63"/>
                  </a:lnTo>
                  <a:lnTo>
                    <a:pt x="118" y="62"/>
                  </a:lnTo>
                  <a:lnTo>
                    <a:pt x="124" y="60"/>
                  </a:lnTo>
                  <a:lnTo>
                    <a:pt x="131" y="58"/>
                  </a:lnTo>
                  <a:lnTo>
                    <a:pt x="131" y="68"/>
                  </a:lnTo>
                  <a:close/>
                  <a:moveTo>
                    <a:pt x="110" y="45"/>
                  </a:moveTo>
                  <a:lnTo>
                    <a:pt x="110" y="43"/>
                  </a:lnTo>
                  <a:lnTo>
                    <a:pt x="111" y="42"/>
                  </a:lnTo>
                  <a:lnTo>
                    <a:pt x="112" y="40"/>
                  </a:lnTo>
                  <a:lnTo>
                    <a:pt x="113" y="39"/>
                  </a:lnTo>
                  <a:lnTo>
                    <a:pt x="116" y="38"/>
                  </a:lnTo>
                  <a:lnTo>
                    <a:pt x="121" y="37"/>
                  </a:lnTo>
                  <a:lnTo>
                    <a:pt x="125" y="38"/>
                  </a:lnTo>
                  <a:lnTo>
                    <a:pt x="128" y="39"/>
                  </a:lnTo>
                  <a:lnTo>
                    <a:pt x="130" y="41"/>
                  </a:lnTo>
                  <a:lnTo>
                    <a:pt x="131" y="42"/>
                  </a:lnTo>
                  <a:lnTo>
                    <a:pt x="131" y="43"/>
                  </a:lnTo>
                  <a:lnTo>
                    <a:pt x="130" y="45"/>
                  </a:lnTo>
                  <a:lnTo>
                    <a:pt x="129" y="46"/>
                  </a:lnTo>
                  <a:lnTo>
                    <a:pt x="128" y="47"/>
                  </a:lnTo>
                  <a:lnTo>
                    <a:pt x="125" y="48"/>
                  </a:lnTo>
                  <a:lnTo>
                    <a:pt x="115" y="49"/>
                  </a:lnTo>
                  <a:lnTo>
                    <a:pt x="109" y="51"/>
                  </a:lnTo>
                  <a:lnTo>
                    <a:pt x="103" y="52"/>
                  </a:lnTo>
                  <a:lnTo>
                    <a:pt x="99" y="54"/>
                  </a:lnTo>
                  <a:lnTo>
                    <a:pt x="95" y="56"/>
                  </a:lnTo>
                  <a:lnTo>
                    <a:pt x="93" y="59"/>
                  </a:lnTo>
                  <a:lnTo>
                    <a:pt x="92" y="61"/>
                  </a:lnTo>
                  <a:lnTo>
                    <a:pt x="91" y="62"/>
                  </a:lnTo>
                  <a:lnTo>
                    <a:pt x="90" y="66"/>
                  </a:lnTo>
                  <a:lnTo>
                    <a:pt x="89" y="70"/>
                  </a:lnTo>
                  <a:lnTo>
                    <a:pt x="90" y="75"/>
                  </a:lnTo>
                  <a:lnTo>
                    <a:pt x="91" y="79"/>
                  </a:lnTo>
                  <a:lnTo>
                    <a:pt x="93" y="82"/>
                  </a:lnTo>
                  <a:lnTo>
                    <a:pt x="96" y="85"/>
                  </a:lnTo>
                  <a:lnTo>
                    <a:pt x="97" y="86"/>
                  </a:lnTo>
                  <a:lnTo>
                    <a:pt x="99" y="87"/>
                  </a:lnTo>
                  <a:lnTo>
                    <a:pt x="103" y="89"/>
                  </a:lnTo>
                  <a:lnTo>
                    <a:pt x="108" y="90"/>
                  </a:lnTo>
                  <a:lnTo>
                    <a:pt x="113" y="90"/>
                  </a:lnTo>
                  <a:lnTo>
                    <a:pt x="118" y="90"/>
                  </a:lnTo>
                  <a:lnTo>
                    <a:pt x="123" y="89"/>
                  </a:lnTo>
                  <a:lnTo>
                    <a:pt x="127" y="87"/>
                  </a:lnTo>
                  <a:lnTo>
                    <a:pt x="131" y="84"/>
                  </a:lnTo>
                  <a:lnTo>
                    <a:pt x="133" y="89"/>
                  </a:lnTo>
                  <a:lnTo>
                    <a:pt x="152" y="89"/>
                  </a:lnTo>
                  <a:lnTo>
                    <a:pt x="151" y="87"/>
                  </a:lnTo>
                  <a:lnTo>
                    <a:pt x="150" y="85"/>
                  </a:lnTo>
                  <a:lnTo>
                    <a:pt x="149" y="78"/>
                  </a:lnTo>
                  <a:lnTo>
                    <a:pt x="149" y="48"/>
                  </a:lnTo>
                  <a:lnTo>
                    <a:pt x="149" y="42"/>
                  </a:lnTo>
                  <a:lnTo>
                    <a:pt x="148" y="37"/>
                  </a:lnTo>
                  <a:lnTo>
                    <a:pt x="146" y="33"/>
                  </a:lnTo>
                  <a:lnTo>
                    <a:pt x="145" y="31"/>
                  </a:lnTo>
                  <a:lnTo>
                    <a:pt x="143" y="30"/>
                  </a:lnTo>
                  <a:lnTo>
                    <a:pt x="139" y="27"/>
                  </a:lnTo>
                  <a:lnTo>
                    <a:pt x="134" y="25"/>
                  </a:lnTo>
                  <a:lnTo>
                    <a:pt x="128" y="23"/>
                  </a:lnTo>
                  <a:lnTo>
                    <a:pt x="121" y="23"/>
                  </a:lnTo>
                  <a:lnTo>
                    <a:pt x="115" y="23"/>
                  </a:lnTo>
                  <a:lnTo>
                    <a:pt x="109" y="24"/>
                  </a:lnTo>
                  <a:lnTo>
                    <a:pt x="104" y="26"/>
                  </a:lnTo>
                  <a:lnTo>
                    <a:pt x="101" y="28"/>
                  </a:lnTo>
                  <a:lnTo>
                    <a:pt x="97" y="31"/>
                  </a:lnTo>
                  <a:lnTo>
                    <a:pt x="95" y="35"/>
                  </a:lnTo>
                  <a:lnTo>
                    <a:pt x="94" y="37"/>
                  </a:lnTo>
                  <a:lnTo>
                    <a:pt x="94" y="40"/>
                  </a:lnTo>
                  <a:lnTo>
                    <a:pt x="93" y="42"/>
                  </a:lnTo>
                  <a:lnTo>
                    <a:pt x="93" y="45"/>
                  </a:lnTo>
                  <a:lnTo>
                    <a:pt x="110" y="45"/>
                  </a:lnTo>
                  <a:close/>
                  <a:moveTo>
                    <a:pt x="52" y="55"/>
                  </a:moveTo>
                  <a:lnTo>
                    <a:pt x="32" y="55"/>
                  </a:lnTo>
                  <a:lnTo>
                    <a:pt x="43" y="20"/>
                  </a:lnTo>
                  <a:lnTo>
                    <a:pt x="52" y="55"/>
                  </a:lnTo>
                  <a:close/>
                  <a:moveTo>
                    <a:pt x="57" y="71"/>
                  </a:moveTo>
                  <a:lnTo>
                    <a:pt x="61" y="89"/>
                  </a:lnTo>
                  <a:lnTo>
                    <a:pt x="84" y="89"/>
                  </a:lnTo>
                  <a:lnTo>
                    <a:pt x="56" y="0"/>
                  </a:lnTo>
                  <a:lnTo>
                    <a:pt x="31" y="0"/>
                  </a:lnTo>
                  <a:lnTo>
                    <a:pt x="0" y="89"/>
                  </a:lnTo>
                  <a:lnTo>
                    <a:pt x="22" y="89"/>
                  </a:lnTo>
                  <a:lnTo>
                    <a:pt x="27" y="71"/>
                  </a:lnTo>
                  <a:lnTo>
                    <a:pt x="57"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21" name="Freeform 7"/>
            <p:cNvSpPr>
              <a:spLocks noEditPoints="1"/>
            </p:cNvSpPr>
            <p:nvPr userDrawn="1"/>
          </p:nvSpPr>
          <p:spPr bwMode="auto">
            <a:xfrm>
              <a:off x="5756275" y="325438"/>
              <a:ext cx="1941513" cy="142875"/>
            </a:xfrm>
            <a:custGeom>
              <a:avLst/>
              <a:gdLst>
                <a:gd name="T0" fmla="*/ 1197 w 1223"/>
                <a:gd name="T1" fmla="*/ 38 h 90"/>
                <a:gd name="T2" fmla="*/ 1220 w 1223"/>
                <a:gd name="T3" fmla="*/ 32 h 90"/>
                <a:gd name="T4" fmla="*/ 1120 w 1223"/>
                <a:gd name="T5" fmla="*/ 37 h 90"/>
                <a:gd name="T6" fmla="*/ 1131 w 1223"/>
                <a:gd name="T7" fmla="*/ 70 h 90"/>
                <a:gd name="T8" fmla="*/ 1105 w 1223"/>
                <a:gd name="T9" fmla="*/ 60 h 90"/>
                <a:gd name="T10" fmla="*/ 1112 w 1223"/>
                <a:gd name="T11" fmla="*/ 23 h 90"/>
                <a:gd name="T12" fmla="*/ 1088 w 1223"/>
                <a:gd name="T13" fmla="*/ 70 h 90"/>
                <a:gd name="T14" fmla="*/ 1136 w 1223"/>
                <a:gd name="T15" fmla="*/ 86 h 90"/>
                <a:gd name="T16" fmla="*/ 1150 w 1223"/>
                <a:gd name="T17" fmla="*/ 40 h 90"/>
                <a:gd name="T18" fmla="*/ 1074 w 1223"/>
                <a:gd name="T19" fmla="*/ 15 h 90"/>
                <a:gd name="T20" fmla="*/ 1002 w 1223"/>
                <a:gd name="T21" fmla="*/ 25 h 90"/>
                <a:gd name="T22" fmla="*/ 1041 w 1223"/>
                <a:gd name="T23" fmla="*/ 88 h 90"/>
                <a:gd name="T24" fmla="*/ 967 w 1223"/>
                <a:gd name="T25" fmla="*/ 74 h 90"/>
                <a:gd name="T26" fmla="*/ 966 w 1223"/>
                <a:gd name="T27" fmla="*/ 60 h 90"/>
                <a:gd name="T28" fmla="*/ 971 w 1223"/>
                <a:gd name="T29" fmla="*/ 40 h 90"/>
                <a:gd name="T30" fmla="*/ 934 w 1223"/>
                <a:gd name="T31" fmla="*/ 59 h 90"/>
                <a:gd name="T32" fmla="*/ 954 w 1223"/>
                <a:gd name="T33" fmla="*/ 90 h 90"/>
                <a:gd name="T34" fmla="*/ 990 w 1223"/>
                <a:gd name="T35" fmla="*/ 36 h 90"/>
                <a:gd name="T36" fmla="*/ 939 w 1223"/>
                <a:gd name="T37" fmla="*/ 31 h 90"/>
                <a:gd name="T38" fmla="*/ 907 w 1223"/>
                <a:gd name="T39" fmla="*/ 26 h 90"/>
                <a:gd name="T40" fmla="*/ 859 w 1223"/>
                <a:gd name="T41" fmla="*/ 49 h 90"/>
                <a:gd name="T42" fmla="*/ 891 w 1223"/>
                <a:gd name="T43" fmla="*/ 90 h 90"/>
                <a:gd name="T44" fmla="*/ 899 w 1223"/>
                <a:gd name="T45" fmla="*/ 72 h 90"/>
                <a:gd name="T46" fmla="*/ 878 w 1223"/>
                <a:gd name="T47" fmla="*/ 56 h 90"/>
                <a:gd name="T48" fmla="*/ 900 w 1223"/>
                <a:gd name="T49" fmla="*/ 42 h 90"/>
                <a:gd name="T50" fmla="*/ 823 w 1223"/>
                <a:gd name="T51" fmla="*/ 73 h 90"/>
                <a:gd name="T52" fmla="*/ 790 w 1223"/>
                <a:gd name="T53" fmla="*/ 71 h 90"/>
                <a:gd name="T54" fmla="*/ 828 w 1223"/>
                <a:gd name="T55" fmla="*/ 83 h 90"/>
                <a:gd name="T56" fmla="*/ 756 w 1223"/>
                <a:gd name="T57" fmla="*/ 52 h 90"/>
                <a:gd name="T58" fmla="*/ 735 w 1223"/>
                <a:gd name="T59" fmla="*/ 72 h 90"/>
                <a:gd name="T60" fmla="*/ 740 w 1223"/>
                <a:gd name="T61" fmla="*/ 38 h 90"/>
                <a:gd name="T62" fmla="*/ 719 w 1223"/>
                <a:gd name="T63" fmla="*/ 32 h 90"/>
                <a:gd name="T64" fmla="*/ 723 w 1223"/>
                <a:gd name="T65" fmla="*/ 85 h 90"/>
                <a:gd name="T66" fmla="*/ 757 w 1223"/>
                <a:gd name="T67" fmla="*/ 88 h 90"/>
                <a:gd name="T68" fmla="*/ 655 w 1223"/>
                <a:gd name="T69" fmla="*/ 34 h 90"/>
                <a:gd name="T70" fmla="*/ 556 w 1223"/>
                <a:gd name="T71" fmla="*/ 38 h 90"/>
                <a:gd name="T72" fmla="*/ 580 w 1223"/>
                <a:gd name="T73" fmla="*/ 41 h 90"/>
                <a:gd name="T74" fmla="*/ 533 w 1223"/>
                <a:gd name="T75" fmla="*/ 28 h 90"/>
                <a:gd name="T76" fmla="*/ 528 w 1223"/>
                <a:gd name="T77" fmla="*/ 81 h 90"/>
                <a:gd name="T78" fmla="*/ 577 w 1223"/>
                <a:gd name="T79" fmla="*/ 80 h 90"/>
                <a:gd name="T80" fmla="*/ 543 w 1223"/>
                <a:gd name="T81" fmla="*/ 72 h 90"/>
                <a:gd name="T82" fmla="*/ 471 w 1223"/>
                <a:gd name="T83" fmla="*/ 24 h 90"/>
                <a:gd name="T84" fmla="*/ 440 w 1223"/>
                <a:gd name="T85" fmla="*/ 88 h 90"/>
                <a:gd name="T86" fmla="*/ 376 w 1223"/>
                <a:gd name="T87" fmla="*/ 78 h 90"/>
                <a:gd name="T88" fmla="*/ 394 w 1223"/>
                <a:gd name="T89" fmla="*/ 69 h 90"/>
                <a:gd name="T90" fmla="*/ 329 w 1223"/>
                <a:gd name="T91" fmla="*/ 73 h 90"/>
                <a:gd name="T92" fmla="*/ 295 w 1223"/>
                <a:gd name="T93" fmla="*/ 71 h 90"/>
                <a:gd name="T94" fmla="*/ 333 w 1223"/>
                <a:gd name="T95" fmla="*/ 83 h 90"/>
                <a:gd name="T96" fmla="*/ 259 w 1223"/>
                <a:gd name="T97" fmla="*/ 23 h 90"/>
                <a:gd name="T98" fmla="*/ 221 w 1223"/>
                <a:gd name="T99" fmla="*/ 64 h 90"/>
                <a:gd name="T100" fmla="*/ 264 w 1223"/>
                <a:gd name="T101" fmla="*/ 88 h 90"/>
                <a:gd name="T102" fmla="*/ 257 w 1223"/>
                <a:gd name="T103" fmla="*/ 74 h 90"/>
                <a:gd name="T104" fmla="*/ 240 w 1223"/>
                <a:gd name="T105" fmla="*/ 50 h 90"/>
                <a:gd name="T106" fmla="*/ 264 w 1223"/>
                <a:gd name="T107" fmla="*/ 47 h 90"/>
                <a:gd name="T108" fmla="*/ 186 w 1223"/>
                <a:gd name="T109" fmla="*/ 40 h 90"/>
                <a:gd name="T110" fmla="*/ 202 w 1223"/>
                <a:gd name="T111" fmla="*/ 33 h 90"/>
                <a:gd name="T112" fmla="*/ 152 w 1223"/>
                <a:gd name="T113" fmla="*/ 34 h 90"/>
                <a:gd name="T114" fmla="*/ 165 w 1223"/>
                <a:gd name="T115" fmla="*/ 87 h 90"/>
                <a:gd name="T116" fmla="*/ 207 w 1223"/>
                <a:gd name="T117" fmla="*/ 74 h 90"/>
                <a:gd name="T118" fmla="*/ 166 w 1223"/>
                <a:gd name="T119" fmla="*/ 67 h 90"/>
                <a:gd name="T120" fmla="*/ 96 w 1223"/>
                <a:gd name="T121" fmla="*/ 88 h 90"/>
                <a:gd name="T122" fmla="*/ 60 w 1223"/>
                <a:gd name="T123" fmla="*/ 5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3" h="90">
                  <a:moveTo>
                    <a:pt x="1165" y="24"/>
                  </a:moveTo>
                  <a:lnTo>
                    <a:pt x="1165" y="88"/>
                  </a:lnTo>
                  <a:lnTo>
                    <a:pt x="1184" y="88"/>
                  </a:lnTo>
                  <a:lnTo>
                    <a:pt x="1184" y="52"/>
                  </a:lnTo>
                  <a:lnTo>
                    <a:pt x="1184" y="46"/>
                  </a:lnTo>
                  <a:lnTo>
                    <a:pt x="1185" y="44"/>
                  </a:lnTo>
                  <a:lnTo>
                    <a:pt x="1187" y="42"/>
                  </a:lnTo>
                  <a:lnTo>
                    <a:pt x="1188" y="40"/>
                  </a:lnTo>
                  <a:lnTo>
                    <a:pt x="1190" y="39"/>
                  </a:lnTo>
                  <a:lnTo>
                    <a:pt x="1192" y="38"/>
                  </a:lnTo>
                  <a:lnTo>
                    <a:pt x="1195" y="38"/>
                  </a:lnTo>
                  <a:lnTo>
                    <a:pt x="1197" y="38"/>
                  </a:lnTo>
                  <a:lnTo>
                    <a:pt x="1199" y="39"/>
                  </a:lnTo>
                  <a:lnTo>
                    <a:pt x="1201" y="40"/>
                  </a:lnTo>
                  <a:lnTo>
                    <a:pt x="1202" y="42"/>
                  </a:lnTo>
                  <a:lnTo>
                    <a:pt x="1203" y="44"/>
                  </a:lnTo>
                  <a:lnTo>
                    <a:pt x="1204" y="46"/>
                  </a:lnTo>
                  <a:lnTo>
                    <a:pt x="1204" y="53"/>
                  </a:lnTo>
                  <a:lnTo>
                    <a:pt x="1204" y="88"/>
                  </a:lnTo>
                  <a:lnTo>
                    <a:pt x="1223" y="88"/>
                  </a:lnTo>
                  <a:lnTo>
                    <a:pt x="1223" y="47"/>
                  </a:lnTo>
                  <a:lnTo>
                    <a:pt x="1223" y="41"/>
                  </a:lnTo>
                  <a:lnTo>
                    <a:pt x="1222" y="37"/>
                  </a:lnTo>
                  <a:lnTo>
                    <a:pt x="1220" y="32"/>
                  </a:lnTo>
                  <a:lnTo>
                    <a:pt x="1217" y="29"/>
                  </a:lnTo>
                  <a:lnTo>
                    <a:pt x="1214" y="26"/>
                  </a:lnTo>
                  <a:lnTo>
                    <a:pt x="1210" y="24"/>
                  </a:lnTo>
                  <a:lnTo>
                    <a:pt x="1206" y="23"/>
                  </a:lnTo>
                  <a:lnTo>
                    <a:pt x="1201" y="22"/>
                  </a:lnTo>
                  <a:lnTo>
                    <a:pt x="1196" y="23"/>
                  </a:lnTo>
                  <a:lnTo>
                    <a:pt x="1192" y="24"/>
                  </a:lnTo>
                  <a:lnTo>
                    <a:pt x="1188" y="27"/>
                  </a:lnTo>
                  <a:lnTo>
                    <a:pt x="1183" y="30"/>
                  </a:lnTo>
                  <a:lnTo>
                    <a:pt x="1183" y="24"/>
                  </a:lnTo>
                  <a:lnTo>
                    <a:pt x="1165" y="24"/>
                  </a:lnTo>
                  <a:close/>
                  <a:moveTo>
                    <a:pt x="1120" y="37"/>
                  </a:moveTo>
                  <a:lnTo>
                    <a:pt x="1123" y="38"/>
                  </a:lnTo>
                  <a:lnTo>
                    <a:pt x="1126" y="39"/>
                  </a:lnTo>
                  <a:lnTo>
                    <a:pt x="1129" y="40"/>
                  </a:lnTo>
                  <a:lnTo>
                    <a:pt x="1131" y="42"/>
                  </a:lnTo>
                  <a:lnTo>
                    <a:pt x="1132" y="45"/>
                  </a:lnTo>
                  <a:lnTo>
                    <a:pt x="1134" y="48"/>
                  </a:lnTo>
                  <a:lnTo>
                    <a:pt x="1134" y="52"/>
                  </a:lnTo>
                  <a:lnTo>
                    <a:pt x="1135" y="57"/>
                  </a:lnTo>
                  <a:lnTo>
                    <a:pt x="1134" y="61"/>
                  </a:lnTo>
                  <a:lnTo>
                    <a:pt x="1134" y="64"/>
                  </a:lnTo>
                  <a:lnTo>
                    <a:pt x="1132" y="67"/>
                  </a:lnTo>
                  <a:lnTo>
                    <a:pt x="1131" y="70"/>
                  </a:lnTo>
                  <a:lnTo>
                    <a:pt x="1130" y="71"/>
                  </a:lnTo>
                  <a:lnTo>
                    <a:pt x="1129" y="72"/>
                  </a:lnTo>
                  <a:lnTo>
                    <a:pt x="1126" y="74"/>
                  </a:lnTo>
                  <a:lnTo>
                    <a:pt x="1123" y="75"/>
                  </a:lnTo>
                  <a:lnTo>
                    <a:pt x="1120" y="75"/>
                  </a:lnTo>
                  <a:lnTo>
                    <a:pt x="1116" y="75"/>
                  </a:lnTo>
                  <a:lnTo>
                    <a:pt x="1113" y="74"/>
                  </a:lnTo>
                  <a:lnTo>
                    <a:pt x="1111" y="72"/>
                  </a:lnTo>
                  <a:lnTo>
                    <a:pt x="1109" y="70"/>
                  </a:lnTo>
                  <a:lnTo>
                    <a:pt x="1107" y="67"/>
                  </a:lnTo>
                  <a:lnTo>
                    <a:pt x="1106" y="64"/>
                  </a:lnTo>
                  <a:lnTo>
                    <a:pt x="1105" y="60"/>
                  </a:lnTo>
                  <a:lnTo>
                    <a:pt x="1105" y="56"/>
                  </a:lnTo>
                  <a:lnTo>
                    <a:pt x="1105" y="52"/>
                  </a:lnTo>
                  <a:lnTo>
                    <a:pt x="1106" y="48"/>
                  </a:lnTo>
                  <a:lnTo>
                    <a:pt x="1107" y="45"/>
                  </a:lnTo>
                  <a:lnTo>
                    <a:pt x="1109" y="42"/>
                  </a:lnTo>
                  <a:lnTo>
                    <a:pt x="1110" y="41"/>
                  </a:lnTo>
                  <a:lnTo>
                    <a:pt x="1111" y="40"/>
                  </a:lnTo>
                  <a:lnTo>
                    <a:pt x="1113" y="39"/>
                  </a:lnTo>
                  <a:lnTo>
                    <a:pt x="1116" y="38"/>
                  </a:lnTo>
                  <a:lnTo>
                    <a:pt x="1120" y="37"/>
                  </a:lnTo>
                  <a:close/>
                  <a:moveTo>
                    <a:pt x="1120" y="23"/>
                  </a:moveTo>
                  <a:lnTo>
                    <a:pt x="1112" y="23"/>
                  </a:lnTo>
                  <a:lnTo>
                    <a:pt x="1106" y="25"/>
                  </a:lnTo>
                  <a:lnTo>
                    <a:pt x="1103" y="26"/>
                  </a:lnTo>
                  <a:lnTo>
                    <a:pt x="1100" y="28"/>
                  </a:lnTo>
                  <a:lnTo>
                    <a:pt x="1095" y="32"/>
                  </a:lnTo>
                  <a:lnTo>
                    <a:pt x="1091" y="37"/>
                  </a:lnTo>
                  <a:lnTo>
                    <a:pt x="1090" y="40"/>
                  </a:lnTo>
                  <a:lnTo>
                    <a:pt x="1088" y="43"/>
                  </a:lnTo>
                  <a:lnTo>
                    <a:pt x="1087" y="46"/>
                  </a:lnTo>
                  <a:lnTo>
                    <a:pt x="1086" y="49"/>
                  </a:lnTo>
                  <a:lnTo>
                    <a:pt x="1086" y="56"/>
                  </a:lnTo>
                  <a:lnTo>
                    <a:pt x="1086" y="63"/>
                  </a:lnTo>
                  <a:lnTo>
                    <a:pt x="1088" y="70"/>
                  </a:lnTo>
                  <a:lnTo>
                    <a:pt x="1090" y="73"/>
                  </a:lnTo>
                  <a:lnTo>
                    <a:pt x="1091" y="76"/>
                  </a:lnTo>
                  <a:lnTo>
                    <a:pt x="1095" y="80"/>
                  </a:lnTo>
                  <a:lnTo>
                    <a:pt x="1100" y="84"/>
                  </a:lnTo>
                  <a:lnTo>
                    <a:pt x="1103" y="86"/>
                  </a:lnTo>
                  <a:lnTo>
                    <a:pt x="1106" y="87"/>
                  </a:lnTo>
                  <a:lnTo>
                    <a:pt x="1109" y="88"/>
                  </a:lnTo>
                  <a:lnTo>
                    <a:pt x="1112" y="89"/>
                  </a:lnTo>
                  <a:lnTo>
                    <a:pt x="1120" y="90"/>
                  </a:lnTo>
                  <a:lnTo>
                    <a:pt x="1127" y="89"/>
                  </a:lnTo>
                  <a:lnTo>
                    <a:pt x="1133" y="87"/>
                  </a:lnTo>
                  <a:lnTo>
                    <a:pt x="1136" y="86"/>
                  </a:lnTo>
                  <a:lnTo>
                    <a:pt x="1139" y="84"/>
                  </a:lnTo>
                  <a:lnTo>
                    <a:pt x="1144" y="80"/>
                  </a:lnTo>
                  <a:lnTo>
                    <a:pt x="1148" y="76"/>
                  </a:lnTo>
                  <a:lnTo>
                    <a:pt x="1150" y="73"/>
                  </a:lnTo>
                  <a:lnTo>
                    <a:pt x="1151" y="70"/>
                  </a:lnTo>
                  <a:lnTo>
                    <a:pt x="1153" y="64"/>
                  </a:lnTo>
                  <a:lnTo>
                    <a:pt x="1153" y="60"/>
                  </a:lnTo>
                  <a:lnTo>
                    <a:pt x="1154" y="57"/>
                  </a:lnTo>
                  <a:lnTo>
                    <a:pt x="1153" y="53"/>
                  </a:lnTo>
                  <a:lnTo>
                    <a:pt x="1153" y="49"/>
                  </a:lnTo>
                  <a:lnTo>
                    <a:pt x="1151" y="43"/>
                  </a:lnTo>
                  <a:lnTo>
                    <a:pt x="1150" y="40"/>
                  </a:lnTo>
                  <a:lnTo>
                    <a:pt x="1148" y="37"/>
                  </a:lnTo>
                  <a:lnTo>
                    <a:pt x="1144" y="32"/>
                  </a:lnTo>
                  <a:lnTo>
                    <a:pt x="1139" y="28"/>
                  </a:lnTo>
                  <a:lnTo>
                    <a:pt x="1136" y="26"/>
                  </a:lnTo>
                  <a:lnTo>
                    <a:pt x="1133" y="25"/>
                  </a:lnTo>
                  <a:lnTo>
                    <a:pt x="1130" y="24"/>
                  </a:lnTo>
                  <a:lnTo>
                    <a:pt x="1127" y="23"/>
                  </a:lnTo>
                  <a:lnTo>
                    <a:pt x="1120" y="23"/>
                  </a:lnTo>
                  <a:close/>
                  <a:moveTo>
                    <a:pt x="1074" y="0"/>
                  </a:moveTo>
                  <a:lnTo>
                    <a:pt x="1056" y="0"/>
                  </a:lnTo>
                  <a:lnTo>
                    <a:pt x="1056" y="15"/>
                  </a:lnTo>
                  <a:lnTo>
                    <a:pt x="1074" y="15"/>
                  </a:lnTo>
                  <a:lnTo>
                    <a:pt x="1074" y="0"/>
                  </a:lnTo>
                  <a:close/>
                  <a:moveTo>
                    <a:pt x="1074" y="24"/>
                  </a:moveTo>
                  <a:lnTo>
                    <a:pt x="1056" y="24"/>
                  </a:lnTo>
                  <a:lnTo>
                    <a:pt x="1056" y="88"/>
                  </a:lnTo>
                  <a:lnTo>
                    <a:pt x="1074" y="88"/>
                  </a:lnTo>
                  <a:lnTo>
                    <a:pt x="1074" y="24"/>
                  </a:lnTo>
                  <a:close/>
                  <a:moveTo>
                    <a:pt x="1041" y="25"/>
                  </a:moveTo>
                  <a:lnTo>
                    <a:pt x="1029" y="25"/>
                  </a:lnTo>
                  <a:lnTo>
                    <a:pt x="1029" y="5"/>
                  </a:lnTo>
                  <a:lnTo>
                    <a:pt x="1011" y="5"/>
                  </a:lnTo>
                  <a:lnTo>
                    <a:pt x="1011" y="25"/>
                  </a:lnTo>
                  <a:lnTo>
                    <a:pt x="1002" y="25"/>
                  </a:lnTo>
                  <a:lnTo>
                    <a:pt x="1002" y="38"/>
                  </a:lnTo>
                  <a:lnTo>
                    <a:pt x="1011" y="38"/>
                  </a:lnTo>
                  <a:lnTo>
                    <a:pt x="1011" y="67"/>
                  </a:lnTo>
                  <a:lnTo>
                    <a:pt x="1011" y="74"/>
                  </a:lnTo>
                  <a:lnTo>
                    <a:pt x="1011" y="78"/>
                  </a:lnTo>
                  <a:lnTo>
                    <a:pt x="1012" y="81"/>
                  </a:lnTo>
                  <a:lnTo>
                    <a:pt x="1014" y="84"/>
                  </a:lnTo>
                  <a:lnTo>
                    <a:pt x="1017" y="86"/>
                  </a:lnTo>
                  <a:lnTo>
                    <a:pt x="1020" y="87"/>
                  </a:lnTo>
                  <a:lnTo>
                    <a:pt x="1024" y="88"/>
                  </a:lnTo>
                  <a:lnTo>
                    <a:pt x="1029" y="88"/>
                  </a:lnTo>
                  <a:lnTo>
                    <a:pt x="1041" y="88"/>
                  </a:lnTo>
                  <a:lnTo>
                    <a:pt x="1041" y="74"/>
                  </a:lnTo>
                  <a:lnTo>
                    <a:pt x="1034" y="74"/>
                  </a:lnTo>
                  <a:lnTo>
                    <a:pt x="1032" y="74"/>
                  </a:lnTo>
                  <a:lnTo>
                    <a:pt x="1030" y="72"/>
                  </a:lnTo>
                  <a:lnTo>
                    <a:pt x="1029" y="69"/>
                  </a:lnTo>
                  <a:lnTo>
                    <a:pt x="1029" y="63"/>
                  </a:lnTo>
                  <a:lnTo>
                    <a:pt x="1029" y="38"/>
                  </a:lnTo>
                  <a:lnTo>
                    <a:pt x="1041" y="38"/>
                  </a:lnTo>
                  <a:lnTo>
                    <a:pt x="1041" y="25"/>
                  </a:lnTo>
                  <a:close/>
                  <a:moveTo>
                    <a:pt x="973" y="68"/>
                  </a:moveTo>
                  <a:lnTo>
                    <a:pt x="970" y="71"/>
                  </a:lnTo>
                  <a:lnTo>
                    <a:pt x="967" y="74"/>
                  </a:lnTo>
                  <a:lnTo>
                    <a:pt x="963" y="75"/>
                  </a:lnTo>
                  <a:lnTo>
                    <a:pt x="959" y="76"/>
                  </a:lnTo>
                  <a:lnTo>
                    <a:pt x="955" y="75"/>
                  </a:lnTo>
                  <a:lnTo>
                    <a:pt x="952" y="74"/>
                  </a:lnTo>
                  <a:lnTo>
                    <a:pt x="950" y="72"/>
                  </a:lnTo>
                  <a:lnTo>
                    <a:pt x="950" y="70"/>
                  </a:lnTo>
                  <a:lnTo>
                    <a:pt x="949" y="69"/>
                  </a:lnTo>
                  <a:lnTo>
                    <a:pt x="950" y="66"/>
                  </a:lnTo>
                  <a:lnTo>
                    <a:pt x="952" y="64"/>
                  </a:lnTo>
                  <a:lnTo>
                    <a:pt x="955" y="62"/>
                  </a:lnTo>
                  <a:lnTo>
                    <a:pt x="959" y="61"/>
                  </a:lnTo>
                  <a:lnTo>
                    <a:pt x="966" y="60"/>
                  </a:lnTo>
                  <a:lnTo>
                    <a:pt x="973" y="58"/>
                  </a:lnTo>
                  <a:lnTo>
                    <a:pt x="973" y="68"/>
                  </a:lnTo>
                  <a:close/>
                  <a:moveTo>
                    <a:pt x="951" y="44"/>
                  </a:moveTo>
                  <a:lnTo>
                    <a:pt x="951" y="43"/>
                  </a:lnTo>
                  <a:lnTo>
                    <a:pt x="952" y="41"/>
                  </a:lnTo>
                  <a:lnTo>
                    <a:pt x="953" y="40"/>
                  </a:lnTo>
                  <a:lnTo>
                    <a:pt x="954" y="39"/>
                  </a:lnTo>
                  <a:lnTo>
                    <a:pt x="958" y="37"/>
                  </a:lnTo>
                  <a:lnTo>
                    <a:pt x="962" y="37"/>
                  </a:lnTo>
                  <a:lnTo>
                    <a:pt x="966" y="37"/>
                  </a:lnTo>
                  <a:lnTo>
                    <a:pt x="970" y="38"/>
                  </a:lnTo>
                  <a:lnTo>
                    <a:pt x="971" y="40"/>
                  </a:lnTo>
                  <a:lnTo>
                    <a:pt x="972" y="41"/>
                  </a:lnTo>
                  <a:lnTo>
                    <a:pt x="972" y="43"/>
                  </a:lnTo>
                  <a:lnTo>
                    <a:pt x="972" y="44"/>
                  </a:lnTo>
                  <a:lnTo>
                    <a:pt x="971" y="46"/>
                  </a:lnTo>
                  <a:lnTo>
                    <a:pt x="969" y="46"/>
                  </a:lnTo>
                  <a:lnTo>
                    <a:pt x="966" y="47"/>
                  </a:lnTo>
                  <a:lnTo>
                    <a:pt x="956" y="49"/>
                  </a:lnTo>
                  <a:lnTo>
                    <a:pt x="950" y="50"/>
                  </a:lnTo>
                  <a:lnTo>
                    <a:pt x="945" y="52"/>
                  </a:lnTo>
                  <a:lnTo>
                    <a:pt x="940" y="54"/>
                  </a:lnTo>
                  <a:lnTo>
                    <a:pt x="937" y="56"/>
                  </a:lnTo>
                  <a:lnTo>
                    <a:pt x="934" y="59"/>
                  </a:lnTo>
                  <a:lnTo>
                    <a:pt x="933" y="60"/>
                  </a:lnTo>
                  <a:lnTo>
                    <a:pt x="932" y="62"/>
                  </a:lnTo>
                  <a:lnTo>
                    <a:pt x="931" y="66"/>
                  </a:lnTo>
                  <a:lnTo>
                    <a:pt x="931" y="70"/>
                  </a:lnTo>
                  <a:lnTo>
                    <a:pt x="931" y="74"/>
                  </a:lnTo>
                  <a:lnTo>
                    <a:pt x="933" y="78"/>
                  </a:lnTo>
                  <a:lnTo>
                    <a:pt x="935" y="81"/>
                  </a:lnTo>
                  <a:lnTo>
                    <a:pt x="937" y="84"/>
                  </a:lnTo>
                  <a:lnTo>
                    <a:pt x="941" y="87"/>
                  </a:lnTo>
                  <a:lnTo>
                    <a:pt x="945" y="88"/>
                  </a:lnTo>
                  <a:lnTo>
                    <a:pt x="949" y="89"/>
                  </a:lnTo>
                  <a:lnTo>
                    <a:pt x="954" y="90"/>
                  </a:lnTo>
                  <a:lnTo>
                    <a:pt x="960" y="90"/>
                  </a:lnTo>
                  <a:lnTo>
                    <a:pt x="964" y="88"/>
                  </a:lnTo>
                  <a:lnTo>
                    <a:pt x="968" y="86"/>
                  </a:lnTo>
                  <a:lnTo>
                    <a:pt x="973" y="83"/>
                  </a:lnTo>
                  <a:lnTo>
                    <a:pt x="974" y="88"/>
                  </a:lnTo>
                  <a:lnTo>
                    <a:pt x="993" y="88"/>
                  </a:lnTo>
                  <a:lnTo>
                    <a:pt x="992" y="86"/>
                  </a:lnTo>
                  <a:lnTo>
                    <a:pt x="991" y="84"/>
                  </a:lnTo>
                  <a:lnTo>
                    <a:pt x="991" y="77"/>
                  </a:lnTo>
                  <a:lnTo>
                    <a:pt x="991" y="48"/>
                  </a:lnTo>
                  <a:lnTo>
                    <a:pt x="991" y="41"/>
                  </a:lnTo>
                  <a:lnTo>
                    <a:pt x="990" y="36"/>
                  </a:lnTo>
                  <a:lnTo>
                    <a:pt x="988" y="32"/>
                  </a:lnTo>
                  <a:lnTo>
                    <a:pt x="986" y="31"/>
                  </a:lnTo>
                  <a:lnTo>
                    <a:pt x="985" y="29"/>
                  </a:lnTo>
                  <a:lnTo>
                    <a:pt x="980" y="26"/>
                  </a:lnTo>
                  <a:lnTo>
                    <a:pt x="975" y="24"/>
                  </a:lnTo>
                  <a:lnTo>
                    <a:pt x="969" y="23"/>
                  </a:lnTo>
                  <a:lnTo>
                    <a:pt x="962" y="23"/>
                  </a:lnTo>
                  <a:lnTo>
                    <a:pt x="956" y="23"/>
                  </a:lnTo>
                  <a:lnTo>
                    <a:pt x="951" y="24"/>
                  </a:lnTo>
                  <a:lnTo>
                    <a:pt x="946" y="26"/>
                  </a:lnTo>
                  <a:lnTo>
                    <a:pt x="942" y="28"/>
                  </a:lnTo>
                  <a:lnTo>
                    <a:pt x="939" y="31"/>
                  </a:lnTo>
                  <a:lnTo>
                    <a:pt x="937" y="35"/>
                  </a:lnTo>
                  <a:lnTo>
                    <a:pt x="936" y="37"/>
                  </a:lnTo>
                  <a:lnTo>
                    <a:pt x="935" y="39"/>
                  </a:lnTo>
                  <a:lnTo>
                    <a:pt x="934" y="42"/>
                  </a:lnTo>
                  <a:lnTo>
                    <a:pt x="934" y="44"/>
                  </a:lnTo>
                  <a:lnTo>
                    <a:pt x="951" y="44"/>
                  </a:lnTo>
                  <a:close/>
                  <a:moveTo>
                    <a:pt x="920" y="47"/>
                  </a:moveTo>
                  <a:lnTo>
                    <a:pt x="920" y="42"/>
                  </a:lnTo>
                  <a:lnTo>
                    <a:pt x="918" y="37"/>
                  </a:lnTo>
                  <a:lnTo>
                    <a:pt x="915" y="33"/>
                  </a:lnTo>
                  <a:lnTo>
                    <a:pt x="912" y="29"/>
                  </a:lnTo>
                  <a:lnTo>
                    <a:pt x="907" y="26"/>
                  </a:lnTo>
                  <a:lnTo>
                    <a:pt x="903" y="24"/>
                  </a:lnTo>
                  <a:lnTo>
                    <a:pt x="897" y="23"/>
                  </a:lnTo>
                  <a:lnTo>
                    <a:pt x="891" y="23"/>
                  </a:lnTo>
                  <a:lnTo>
                    <a:pt x="884" y="23"/>
                  </a:lnTo>
                  <a:lnTo>
                    <a:pt x="878" y="25"/>
                  </a:lnTo>
                  <a:lnTo>
                    <a:pt x="872" y="28"/>
                  </a:lnTo>
                  <a:lnTo>
                    <a:pt x="870" y="29"/>
                  </a:lnTo>
                  <a:lnTo>
                    <a:pt x="867" y="32"/>
                  </a:lnTo>
                  <a:lnTo>
                    <a:pt x="865" y="34"/>
                  </a:lnTo>
                  <a:lnTo>
                    <a:pt x="864" y="36"/>
                  </a:lnTo>
                  <a:lnTo>
                    <a:pt x="861" y="42"/>
                  </a:lnTo>
                  <a:lnTo>
                    <a:pt x="859" y="49"/>
                  </a:lnTo>
                  <a:lnTo>
                    <a:pt x="859" y="56"/>
                  </a:lnTo>
                  <a:lnTo>
                    <a:pt x="859" y="64"/>
                  </a:lnTo>
                  <a:lnTo>
                    <a:pt x="860" y="67"/>
                  </a:lnTo>
                  <a:lnTo>
                    <a:pt x="861" y="70"/>
                  </a:lnTo>
                  <a:lnTo>
                    <a:pt x="864" y="76"/>
                  </a:lnTo>
                  <a:lnTo>
                    <a:pt x="865" y="79"/>
                  </a:lnTo>
                  <a:lnTo>
                    <a:pt x="867" y="81"/>
                  </a:lnTo>
                  <a:lnTo>
                    <a:pt x="872" y="85"/>
                  </a:lnTo>
                  <a:lnTo>
                    <a:pt x="877" y="88"/>
                  </a:lnTo>
                  <a:lnTo>
                    <a:pt x="884" y="89"/>
                  </a:lnTo>
                  <a:lnTo>
                    <a:pt x="887" y="90"/>
                  </a:lnTo>
                  <a:lnTo>
                    <a:pt x="891" y="90"/>
                  </a:lnTo>
                  <a:lnTo>
                    <a:pt x="897" y="89"/>
                  </a:lnTo>
                  <a:lnTo>
                    <a:pt x="902" y="88"/>
                  </a:lnTo>
                  <a:lnTo>
                    <a:pt x="907" y="86"/>
                  </a:lnTo>
                  <a:lnTo>
                    <a:pt x="911" y="83"/>
                  </a:lnTo>
                  <a:lnTo>
                    <a:pt x="915" y="80"/>
                  </a:lnTo>
                  <a:lnTo>
                    <a:pt x="918" y="75"/>
                  </a:lnTo>
                  <a:lnTo>
                    <a:pt x="920" y="70"/>
                  </a:lnTo>
                  <a:lnTo>
                    <a:pt x="921" y="65"/>
                  </a:lnTo>
                  <a:lnTo>
                    <a:pt x="903" y="64"/>
                  </a:lnTo>
                  <a:lnTo>
                    <a:pt x="902" y="66"/>
                  </a:lnTo>
                  <a:lnTo>
                    <a:pt x="901" y="69"/>
                  </a:lnTo>
                  <a:lnTo>
                    <a:pt x="899" y="72"/>
                  </a:lnTo>
                  <a:lnTo>
                    <a:pt x="897" y="73"/>
                  </a:lnTo>
                  <a:lnTo>
                    <a:pt x="896" y="74"/>
                  </a:lnTo>
                  <a:lnTo>
                    <a:pt x="893" y="74"/>
                  </a:lnTo>
                  <a:lnTo>
                    <a:pt x="891" y="75"/>
                  </a:lnTo>
                  <a:lnTo>
                    <a:pt x="888" y="74"/>
                  </a:lnTo>
                  <a:lnTo>
                    <a:pt x="885" y="73"/>
                  </a:lnTo>
                  <a:lnTo>
                    <a:pt x="883" y="72"/>
                  </a:lnTo>
                  <a:lnTo>
                    <a:pt x="881" y="70"/>
                  </a:lnTo>
                  <a:lnTo>
                    <a:pt x="880" y="67"/>
                  </a:lnTo>
                  <a:lnTo>
                    <a:pt x="879" y="64"/>
                  </a:lnTo>
                  <a:lnTo>
                    <a:pt x="878" y="60"/>
                  </a:lnTo>
                  <a:lnTo>
                    <a:pt x="878" y="56"/>
                  </a:lnTo>
                  <a:lnTo>
                    <a:pt x="878" y="52"/>
                  </a:lnTo>
                  <a:lnTo>
                    <a:pt x="878" y="50"/>
                  </a:lnTo>
                  <a:lnTo>
                    <a:pt x="879" y="48"/>
                  </a:lnTo>
                  <a:lnTo>
                    <a:pt x="880" y="45"/>
                  </a:lnTo>
                  <a:lnTo>
                    <a:pt x="881" y="42"/>
                  </a:lnTo>
                  <a:lnTo>
                    <a:pt x="883" y="40"/>
                  </a:lnTo>
                  <a:lnTo>
                    <a:pt x="885" y="39"/>
                  </a:lnTo>
                  <a:lnTo>
                    <a:pt x="888" y="38"/>
                  </a:lnTo>
                  <a:lnTo>
                    <a:pt x="891" y="38"/>
                  </a:lnTo>
                  <a:lnTo>
                    <a:pt x="895" y="38"/>
                  </a:lnTo>
                  <a:lnTo>
                    <a:pt x="899" y="40"/>
                  </a:lnTo>
                  <a:lnTo>
                    <a:pt x="900" y="42"/>
                  </a:lnTo>
                  <a:lnTo>
                    <a:pt x="901" y="43"/>
                  </a:lnTo>
                  <a:lnTo>
                    <a:pt x="902" y="45"/>
                  </a:lnTo>
                  <a:lnTo>
                    <a:pt x="903" y="47"/>
                  </a:lnTo>
                  <a:lnTo>
                    <a:pt x="920" y="47"/>
                  </a:lnTo>
                  <a:close/>
                  <a:moveTo>
                    <a:pt x="847" y="24"/>
                  </a:moveTo>
                  <a:lnTo>
                    <a:pt x="828" y="24"/>
                  </a:lnTo>
                  <a:lnTo>
                    <a:pt x="828" y="60"/>
                  </a:lnTo>
                  <a:lnTo>
                    <a:pt x="828" y="67"/>
                  </a:lnTo>
                  <a:lnTo>
                    <a:pt x="827" y="69"/>
                  </a:lnTo>
                  <a:lnTo>
                    <a:pt x="826" y="70"/>
                  </a:lnTo>
                  <a:lnTo>
                    <a:pt x="825" y="72"/>
                  </a:lnTo>
                  <a:lnTo>
                    <a:pt x="823" y="73"/>
                  </a:lnTo>
                  <a:lnTo>
                    <a:pt x="821" y="74"/>
                  </a:lnTo>
                  <a:lnTo>
                    <a:pt x="818" y="74"/>
                  </a:lnTo>
                  <a:lnTo>
                    <a:pt x="816" y="74"/>
                  </a:lnTo>
                  <a:lnTo>
                    <a:pt x="814" y="73"/>
                  </a:lnTo>
                  <a:lnTo>
                    <a:pt x="812" y="72"/>
                  </a:lnTo>
                  <a:lnTo>
                    <a:pt x="810" y="70"/>
                  </a:lnTo>
                  <a:lnTo>
                    <a:pt x="809" y="67"/>
                  </a:lnTo>
                  <a:lnTo>
                    <a:pt x="808" y="60"/>
                  </a:lnTo>
                  <a:lnTo>
                    <a:pt x="808" y="24"/>
                  </a:lnTo>
                  <a:lnTo>
                    <a:pt x="789" y="24"/>
                  </a:lnTo>
                  <a:lnTo>
                    <a:pt x="789" y="64"/>
                  </a:lnTo>
                  <a:lnTo>
                    <a:pt x="790" y="71"/>
                  </a:lnTo>
                  <a:lnTo>
                    <a:pt x="791" y="76"/>
                  </a:lnTo>
                  <a:lnTo>
                    <a:pt x="792" y="78"/>
                  </a:lnTo>
                  <a:lnTo>
                    <a:pt x="793" y="80"/>
                  </a:lnTo>
                  <a:lnTo>
                    <a:pt x="795" y="83"/>
                  </a:lnTo>
                  <a:lnTo>
                    <a:pt x="799" y="86"/>
                  </a:lnTo>
                  <a:lnTo>
                    <a:pt x="803" y="88"/>
                  </a:lnTo>
                  <a:lnTo>
                    <a:pt x="808" y="89"/>
                  </a:lnTo>
                  <a:lnTo>
                    <a:pt x="812" y="90"/>
                  </a:lnTo>
                  <a:lnTo>
                    <a:pt x="818" y="89"/>
                  </a:lnTo>
                  <a:lnTo>
                    <a:pt x="822" y="88"/>
                  </a:lnTo>
                  <a:lnTo>
                    <a:pt x="826" y="85"/>
                  </a:lnTo>
                  <a:lnTo>
                    <a:pt x="828" y="83"/>
                  </a:lnTo>
                  <a:lnTo>
                    <a:pt x="829" y="81"/>
                  </a:lnTo>
                  <a:lnTo>
                    <a:pt x="829" y="88"/>
                  </a:lnTo>
                  <a:lnTo>
                    <a:pt x="847" y="88"/>
                  </a:lnTo>
                  <a:lnTo>
                    <a:pt x="847" y="24"/>
                  </a:lnTo>
                  <a:close/>
                  <a:moveTo>
                    <a:pt x="743" y="38"/>
                  </a:moveTo>
                  <a:lnTo>
                    <a:pt x="746" y="38"/>
                  </a:lnTo>
                  <a:lnTo>
                    <a:pt x="749" y="39"/>
                  </a:lnTo>
                  <a:lnTo>
                    <a:pt x="751" y="41"/>
                  </a:lnTo>
                  <a:lnTo>
                    <a:pt x="753" y="43"/>
                  </a:lnTo>
                  <a:lnTo>
                    <a:pt x="755" y="45"/>
                  </a:lnTo>
                  <a:lnTo>
                    <a:pt x="756" y="49"/>
                  </a:lnTo>
                  <a:lnTo>
                    <a:pt x="756" y="52"/>
                  </a:lnTo>
                  <a:lnTo>
                    <a:pt x="757" y="56"/>
                  </a:lnTo>
                  <a:lnTo>
                    <a:pt x="756" y="60"/>
                  </a:lnTo>
                  <a:lnTo>
                    <a:pt x="756" y="64"/>
                  </a:lnTo>
                  <a:lnTo>
                    <a:pt x="755" y="67"/>
                  </a:lnTo>
                  <a:lnTo>
                    <a:pt x="753" y="70"/>
                  </a:lnTo>
                  <a:lnTo>
                    <a:pt x="751" y="72"/>
                  </a:lnTo>
                  <a:lnTo>
                    <a:pt x="749" y="73"/>
                  </a:lnTo>
                  <a:lnTo>
                    <a:pt x="746" y="74"/>
                  </a:lnTo>
                  <a:lnTo>
                    <a:pt x="743" y="75"/>
                  </a:lnTo>
                  <a:lnTo>
                    <a:pt x="740" y="74"/>
                  </a:lnTo>
                  <a:lnTo>
                    <a:pt x="738" y="73"/>
                  </a:lnTo>
                  <a:lnTo>
                    <a:pt x="735" y="72"/>
                  </a:lnTo>
                  <a:lnTo>
                    <a:pt x="733" y="70"/>
                  </a:lnTo>
                  <a:lnTo>
                    <a:pt x="732" y="67"/>
                  </a:lnTo>
                  <a:lnTo>
                    <a:pt x="731" y="64"/>
                  </a:lnTo>
                  <a:lnTo>
                    <a:pt x="730" y="60"/>
                  </a:lnTo>
                  <a:lnTo>
                    <a:pt x="730" y="56"/>
                  </a:lnTo>
                  <a:lnTo>
                    <a:pt x="730" y="52"/>
                  </a:lnTo>
                  <a:lnTo>
                    <a:pt x="731" y="48"/>
                  </a:lnTo>
                  <a:lnTo>
                    <a:pt x="732" y="45"/>
                  </a:lnTo>
                  <a:lnTo>
                    <a:pt x="733" y="43"/>
                  </a:lnTo>
                  <a:lnTo>
                    <a:pt x="735" y="40"/>
                  </a:lnTo>
                  <a:lnTo>
                    <a:pt x="738" y="39"/>
                  </a:lnTo>
                  <a:lnTo>
                    <a:pt x="740" y="38"/>
                  </a:lnTo>
                  <a:lnTo>
                    <a:pt x="743" y="38"/>
                  </a:lnTo>
                  <a:close/>
                  <a:moveTo>
                    <a:pt x="775" y="0"/>
                  </a:moveTo>
                  <a:lnTo>
                    <a:pt x="756" y="0"/>
                  </a:lnTo>
                  <a:lnTo>
                    <a:pt x="756" y="29"/>
                  </a:lnTo>
                  <a:lnTo>
                    <a:pt x="753" y="26"/>
                  </a:lnTo>
                  <a:lnTo>
                    <a:pt x="749" y="24"/>
                  </a:lnTo>
                  <a:lnTo>
                    <a:pt x="745" y="23"/>
                  </a:lnTo>
                  <a:lnTo>
                    <a:pt x="740" y="22"/>
                  </a:lnTo>
                  <a:lnTo>
                    <a:pt x="734" y="23"/>
                  </a:lnTo>
                  <a:lnTo>
                    <a:pt x="728" y="25"/>
                  </a:lnTo>
                  <a:lnTo>
                    <a:pt x="723" y="28"/>
                  </a:lnTo>
                  <a:lnTo>
                    <a:pt x="719" y="32"/>
                  </a:lnTo>
                  <a:lnTo>
                    <a:pt x="716" y="37"/>
                  </a:lnTo>
                  <a:lnTo>
                    <a:pt x="713" y="42"/>
                  </a:lnTo>
                  <a:lnTo>
                    <a:pt x="712" y="46"/>
                  </a:lnTo>
                  <a:lnTo>
                    <a:pt x="712" y="49"/>
                  </a:lnTo>
                  <a:lnTo>
                    <a:pt x="711" y="56"/>
                  </a:lnTo>
                  <a:lnTo>
                    <a:pt x="712" y="64"/>
                  </a:lnTo>
                  <a:lnTo>
                    <a:pt x="712" y="67"/>
                  </a:lnTo>
                  <a:lnTo>
                    <a:pt x="713" y="70"/>
                  </a:lnTo>
                  <a:lnTo>
                    <a:pt x="716" y="76"/>
                  </a:lnTo>
                  <a:lnTo>
                    <a:pt x="717" y="78"/>
                  </a:lnTo>
                  <a:lnTo>
                    <a:pt x="719" y="81"/>
                  </a:lnTo>
                  <a:lnTo>
                    <a:pt x="723" y="85"/>
                  </a:lnTo>
                  <a:lnTo>
                    <a:pt x="728" y="87"/>
                  </a:lnTo>
                  <a:lnTo>
                    <a:pt x="730" y="88"/>
                  </a:lnTo>
                  <a:lnTo>
                    <a:pt x="733" y="89"/>
                  </a:lnTo>
                  <a:lnTo>
                    <a:pt x="736" y="90"/>
                  </a:lnTo>
                  <a:lnTo>
                    <a:pt x="739" y="90"/>
                  </a:lnTo>
                  <a:lnTo>
                    <a:pt x="745" y="89"/>
                  </a:lnTo>
                  <a:lnTo>
                    <a:pt x="747" y="89"/>
                  </a:lnTo>
                  <a:lnTo>
                    <a:pt x="749" y="88"/>
                  </a:lnTo>
                  <a:lnTo>
                    <a:pt x="751" y="87"/>
                  </a:lnTo>
                  <a:lnTo>
                    <a:pt x="753" y="85"/>
                  </a:lnTo>
                  <a:lnTo>
                    <a:pt x="757" y="81"/>
                  </a:lnTo>
                  <a:lnTo>
                    <a:pt x="757" y="88"/>
                  </a:lnTo>
                  <a:lnTo>
                    <a:pt x="775" y="88"/>
                  </a:lnTo>
                  <a:lnTo>
                    <a:pt x="775" y="0"/>
                  </a:lnTo>
                  <a:close/>
                  <a:moveTo>
                    <a:pt x="701" y="0"/>
                  </a:moveTo>
                  <a:lnTo>
                    <a:pt x="634" y="0"/>
                  </a:lnTo>
                  <a:lnTo>
                    <a:pt x="634" y="88"/>
                  </a:lnTo>
                  <a:lnTo>
                    <a:pt x="702" y="88"/>
                  </a:lnTo>
                  <a:lnTo>
                    <a:pt x="702" y="71"/>
                  </a:lnTo>
                  <a:lnTo>
                    <a:pt x="655" y="71"/>
                  </a:lnTo>
                  <a:lnTo>
                    <a:pt x="655" y="50"/>
                  </a:lnTo>
                  <a:lnTo>
                    <a:pt x="695" y="50"/>
                  </a:lnTo>
                  <a:lnTo>
                    <a:pt x="695" y="34"/>
                  </a:lnTo>
                  <a:lnTo>
                    <a:pt x="655" y="34"/>
                  </a:lnTo>
                  <a:lnTo>
                    <a:pt x="655" y="17"/>
                  </a:lnTo>
                  <a:lnTo>
                    <a:pt x="701" y="17"/>
                  </a:lnTo>
                  <a:lnTo>
                    <a:pt x="701" y="0"/>
                  </a:lnTo>
                  <a:close/>
                  <a:moveTo>
                    <a:pt x="538" y="48"/>
                  </a:moveTo>
                  <a:lnTo>
                    <a:pt x="539" y="46"/>
                  </a:lnTo>
                  <a:lnTo>
                    <a:pt x="540" y="43"/>
                  </a:lnTo>
                  <a:lnTo>
                    <a:pt x="541" y="41"/>
                  </a:lnTo>
                  <a:lnTo>
                    <a:pt x="543" y="40"/>
                  </a:lnTo>
                  <a:lnTo>
                    <a:pt x="544" y="38"/>
                  </a:lnTo>
                  <a:lnTo>
                    <a:pt x="547" y="38"/>
                  </a:lnTo>
                  <a:lnTo>
                    <a:pt x="552" y="37"/>
                  </a:lnTo>
                  <a:lnTo>
                    <a:pt x="556" y="38"/>
                  </a:lnTo>
                  <a:lnTo>
                    <a:pt x="558" y="38"/>
                  </a:lnTo>
                  <a:lnTo>
                    <a:pt x="560" y="40"/>
                  </a:lnTo>
                  <a:lnTo>
                    <a:pt x="562" y="41"/>
                  </a:lnTo>
                  <a:lnTo>
                    <a:pt x="563" y="43"/>
                  </a:lnTo>
                  <a:lnTo>
                    <a:pt x="564" y="46"/>
                  </a:lnTo>
                  <a:lnTo>
                    <a:pt x="564" y="48"/>
                  </a:lnTo>
                  <a:lnTo>
                    <a:pt x="538" y="48"/>
                  </a:lnTo>
                  <a:close/>
                  <a:moveTo>
                    <a:pt x="583" y="62"/>
                  </a:moveTo>
                  <a:lnTo>
                    <a:pt x="583" y="56"/>
                  </a:lnTo>
                  <a:lnTo>
                    <a:pt x="583" y="50"/>
                  </a:lnTo>
                  <a:lnTo>
                    <a:pt x="582" y="46"/>
                  </a:lnTo>
                  <a:lnTo>
                    <a:pt x="580" y="41"/>
                  </a:lnTo>
                  <a:lnTo>
                    <a:pt x="578" y="37"/>
                  </a:lnTo>
                  <a:lnTo>
                    <a:pt x="576" y="33"/>
                  </a:lnTo>
                  <a:lnTo>
                    <a:pt x="573" y="30"/>
                  </a:lnTo>
                  <a:lnTo>
                    <a:pt x="569" y="27"/>
                  </a:lnTo>
                  <a:lnTo>
                    <a:pt x="565" y="25"/>
                  </a:lnTo>
                  <a:lnTo>
                    <a:pt x="561" y="24"/>
                  </a:lnTo>
                  <a:lnTo>
                    <a:pt x="557" y="23"/>
                  </a:lnTo>
                  <a:lnTo>
                    <a:pt x="552" y="23"/>
                  </a:lnTo>
                  <a:lnTo>
                    <a:pt x="545" y="23"/>
                  </a:lnTo>
                  <a:lnTo>
                    <a:pt x="538" y="25"/>
                  </a:lnTo>
                  <a:lnTo>
                    <a:pt x="536" y="26"/>
                  </a:lnTo>
                  <a:lnTo>
                    <a:pt x="533" y="28"/>
                  </a:lnTo>
                  <a:lnTo>
                    <a:pt x="528" y="32"/>
                  </a:lnTo>
                  <a:lnTo>
                    <a:pt x="526" y="34"/>
                  </a:lnTo>
                  <a:lnTo>
                    <a:pt x="524" y="37"/>
                  </a:lnTo>
                  <a:lnTo>
                    <a:pt x="521" y="43"/>
                  </a:lnTo>
                  <a:lnTo>
                    <a:pt x="520" y="49"/>
                  </a:lnTo>
                  <a:lnTo>
                    <a:pt x="519" y="53"/>
                  </a:lnTo>
                  <a:lnTo>
                    <a:pt x="519" y="56"/>
                  </a:lnTo>
                  <a:lnTo>
                    <a:pt x="520" y="63"/>
                  </a:lnTo>
                  <a:lnTo>
                    <a:pt x="521" y="70"/>
                  </a:lnTo>
                  <a:lnTo>
                    <a:pt x="524" y="76"/>
                  </a:lnTo>
                  <a:lnTo>
                    <a:pt x="526" y="78"/>
                  </a:lnTo>
                  <a:lnTo>
                    <a:pt x="528" y="81"/>
                  </a:lnTo>
                  <a:lnTo>
                    <a:pt x="533" y="85"/>
                  </a:lnTo>
                  <a:lnTo>
                    <a:pt x="538" y="87"/>
                  </a:lnTo>
                  <a:lnTo>
                    <a:pt x="541" y="88"/>
                  </a:lnTo>
                  <a:lnTo>
                    <a:pt x="545" y="89"/>
                  </a:lnTo>
                  <a:lnTo>
                    <a:pt x="548" y="90"/>
                  </a:lnTo>
                  <a:lnTo>
                    <a:pt x="552" y="90"/>
                  </a:lnTo>
                  <a:lnTo>
                    <a:pt x="557" y="89"/>
                  </a:lnTo>
                  <a:lnTo>
                    <a:pt x="563" y="88"/>
                  </a:lnTo>
                  <a:lnTo>
                    <a:pt x="567" y="87"/>
                  </a:lnTo>
                  <a:lnTo>
                    <a:pt x="572" y="84"/>
                  </a:lnTo>
                  <a:lnTo>
                    <a:pt x="575" y="81"/>
                  </a:lnTo>
                  <a:lnTo>
                    <a:pt x="577" y="80"/>
                  </a:lnTo>
                  <a:lnTo>
                    <a:pt x="578" y="78"/>
                  </a:lnTo>
                  <a:lnTo>
                    <a:pt x="581" y="74"/>
                  </a:lnTo>
                  <a:lnTo>
                    <a:pt x="583" y="69"/>
                  </a:lnTo>
                  <a:lnTo>
                    <a:pt x="563" y="69"/>
                  </a:lnTo>
                  <a:lnTo>
                    <a:pt x="561" y="72"/>
                  </a:lnTo>
                  <a:lnTo>
                    <a:pt x="559" y="74"/>
                  </a:lnTo>
                  <a:lnTo>
                    <a:pt x="556" y="75"/>
                  </a:lnTo>
                  <a:lnTo>
                    <a:pt x="552" y="75"/>
                  </a:lnTo>
                  <a:lnTo>
                    <a:pt x="549" y="75"/>
                  </a:lnTo>
                  <a:lnTo>
                    <a:pt x="547" y="74"/>
                  </a:lnTo>
                  <a:lnTo>
                    <a:pt x="545" y="73"/>
                  </a:lnTo>
                  <a:lnTo>
                    <a:pt x="543" y="72"/>
                  </a:lnTo>
                  <a:lnTo>
                    <a:pt x="541" y="70"/>
                  </a:lnTo>
                  <a:lnTo>
                    <a:pt x="540" y="67"/>
                  </a:lnTo>
                  <a:lnTo>
                    <a:pt x="539" y="65"/>
                  </a:lnTo>
                  <a:lnTo>
                    <a:pt x="538" y="62"/>
                  </a:lnTo>
                  <a:lnTo>
                    <a:pt x="583" y="62"/>
                  </a:lnTo>
                  <a:close/>
                  <a:moveTo>
                    <a:pt x="493" y="88"/>
                  </a:moveTo>
                  <a:lnTo>
                    <a:pt x="514" y="24"/>
                  </a:lnTo>
                  <a:lnTo>
                    <a:pt x="494" y="24"/>
                  </a:lnTo>
                  <a:lnTo>
                    <a:pt x="488" y="49"/>
                  </a:lnTo>
                  <a:lnTo>
                    <a:pt x="484" y="67"/>
                  </a:lnTo>
                  <a:lnTo>
                    <a:pt x="479" y="49"/>
                  </a:lnTo>
                  <a:lnTo>
                    <a:pt x="471" y="24"/>
                  </a:lnTo>
                  <a:lnTo>
                    <a:pt x="452" y="24"/>
                  </a:lnTo>
                  <a:lnTo>
                    <a:pt x="475" y="88"/>
                  </a:lnTo>
                  <a:lnTo>
                    <a:pt x="493" y="88"/>
                  </a:lnTo>
                  <a:close/>
                  <a:moveTo>
                    <a:pt x="440" y="0"/>
                  </a:moveTo>
                  <a:lnTo>
                    <a:pt x="421" y="0"/>
                  </a:lnTo>
                  <a:lnTo>
                    <a:pt x="421" y="15"/>
                  </a:lnTo>
                  <a:lnTo>
                    <a:pt x="440" y="15"/>
                  </a:lnTo>
                  <a:lnTo>
                    <a:pt x="440" y="0"/>
                  </a:lnTo>
                  <a:close/>
                  <a:moveTo>
                    <a:pt x="440" y="24"/>
                  </a:moveTo>
                  <a:lnTo>
                    <a:pt x="421" y="24"/>
                  </a:lnTo>
                  <a:lnTo>
                    <a:pt x="421" y="88"/>
                  </a:lnTo>
                  <a:lnTo>
                    <a:pt x="440" y="88"/>
                  </a:lnTo>
                  <a:lnTo>
                    <a:pt x="440" y="24"/>
                  </a:lnTo>
                  <a:close/>
                  <a:moveTo>
                    <a:pt x="405" y="25"/>
                  </a:moveTo>
                  <a:lnTo>
                    <a:pt x="394" y="25"/>
                  </a:lnTo>
                  <a:lnTo>
                    <a:pt x="394" y="5"/>
                  </a:lnTo>
                  <a:lnTo>
                    <a:pt x="375" y="5"/>
                  </a:lnTo>
                  <a:lnTo>
                    <a:pt x="375" y="25"/>
                  </a:lnTo>
                  <a:lnTo>
                    <a:pt x="366" y="25"/>
                  </a:lnTo>
                  <a:lnTo>
                    <a:pt x="366" y="38"/>
                  </a:lnTo>
                  <a:lnTo>
                    <a:pt x="375" y="38"/>
                  </a:lnTo>
                  <a:lnTo>
                    <a:pt x="375" y="67"/>
                  </a:lnTo>
                  <a:lnTo>
                    <a:pt x="375" y="74"/>
                  </a:lnTo>
                  <a:lnTo>
                    <a:pt x="376" y="78"/>
                  </a:lnTo>
                  <a:lnTo>
                    <a:pt x="377" y="81"/>
                  </a:lnTo>
                  <a:lnTo>
                    <a:pt x="378" y="84"/>
                  </a:lnTo>
                  <a:lnTo>
                    <a:pt x="381" y="86"/>
                  </a:lnTo>
                  <a:lnTo>
                    <a:pt x="384" y="87"/>
                  </a:lnTo>
                  <a:lnTo>
                    <a:pt x="388" y="88"/>
                  </a:lnTo>
                  <a:lnTo>
                    <a:pt x="394" y="88"/>
                  </a:lnTo>
                  <a:lnTo>
                    <a:pt x="405" y="88"/>
                  </a:lnTo>
                  <a:lnTo>
                    <a:pt x="405" y="74"/>
                  </a:lnTo>
                  <a:lnTo>
                    <a:pt x="398" y="74"/>
                  </a:lnTo>
                  <a:lnTo>
                    <a:pt x="396" y="74"/>
                  </a:lnTo>
                  <a:lnTo>
                    <a:pt x="394" y="72"/>
                  </a:lnTo>
                  <a:lnTo>
                    <a:pt x="394" y="69"/>
                  </a:lnTo>
                  <a:lnTo>
                    <a:pt x="394" y="63"/>
                  </a:lnTo>
                  <a:lnTo>
                    <a:pt x="394" y="38"/>
                  </a:lnTo>
                  <a:lnTo>
                    <a:pt x="405" y="38"/>
                  </a:lnTo>
                  <a:lnTo>
                    <a:pt x="405" y="25"/>
                  </a:lnTo>
                  <a:close/>
                  <a:moveTo>
                    <a:pt x="353" y="24"/>
                  </a:moveTo>
                  <a:lnTo>
                    <a:pt x="334" y="24"/>
                  </a:lnTo>
                  <a:lnTo>
                    <a:pt x="334" y="60"/>
                  </a:lnTo>
                  <a:lnTo>
                    <a:pt x="334" y="67"/>
                  </a:lnTo>
                  <a:lnTo>
                    <a:pt x="333" y="69"/>
                  </a:lnTo>
                  <a:lnTo>
                    <a:pt x="332" y="70"/>
                  </a:lnTo>
                  <a:lnTo>
                    <a:pt x="331" y="72"/>
                  </a:lnTo>
                  <a:lnTo>
                    <a:pt x="329" y="73"/>
                  </a:lnTo>
                  <a:lnTo>
                    <a:pt x="327" y="74"/>
                  </a:lnTo>
                  <a:lnTo>
                    <a:pt x="324" y="74"/>
                  </a:lnTo>
                  <a:lnTo>
                    <a:pt x="322" y="74"/>
                  </a:lnTo>
                  <a:lnTo>
                    <a:pt x="319" y="73"/>
                  </a:lnTo>
                  <a:lnTo>
                    <a:pt x="317" y="72"/>
                  </a:lnTo>
                  <a:lnTo>
                    <a:pt x="316" y="70"/>
                  </a:lnTo>
                  <a:lnTo>
                    <a:pt x="314" y="67"/>
                  </a:lnTo>
                  <a:lnTo>
                    <a:pt x="314" y="60"/>
                  </a:lnTo>
                  <a:lnTo>
                    <a:pt x="314" y="24"/>
                  </a:lnTo>
                  <a:lnTo>
                    <a:pt x="295" y="24"/>
                  </a:lnTo>
                  <a:lnTo>
                    <a:pt x="295" y="64"/>
                  </a:lnTo>
                  <a:lnTo>
                    <a:pt x="295" y="71"/>
                  </a:lnTo>
                  <a:lnTo>
                    <a:pt x="296" y="76"/>
                  </a:lnTo>
                  <a:lnTo>
                    <a:pt x="297" y="78"/>
                  </a:lnTo>
                  <a:lnTo>
                    <a:pt x="298" y="80"/>
                  </a:lnTo>
                  <a:lnTo>
                    <a:pt x="301" y="83"/>
                  </a:lnTo>
                  <a:lnTo>
                    <a:pt x="305" y="86"/>
                  </a:lnTo>
                  <a:lnTo>
                    <a:pt x="309" y="88"/>
                  </a:lnTo>
                  <a:lnTo>
                    <a:pt x="313" y="89"/>
                  </a:lnTo>
                  <a:lnTo>
                    <a:pt x="318" y="90"/>
                  </a:lnTo>
                  <a:lnTo>
                    <a:pt x="323" y="89"/>
                  </a:lnTo>
                  <a:lnTo>
                    <a:pt x="328" y="88"/>
                  </a:lnTo>
                  <a:lnTo>
                    <a:pt x="332" y="85"/>
                  </a:lnTo>
                  <a:lnTo>
                    <a:pt x="333" y="83"/>
                  </a:lnTo>
                  <a:lnTo>
                    <a:pt x="335" y="81"/>
                  </a:lnTo>
                  <a:lnTo>
                    <a:pt x="335" y="88"/>
                  </a:lnTo>
                  <a:lnTo>
                    <a:pt x="353" y="88"/>
                  </a:lnTo>
                  <a:lnTo>
                    <a:pt x="353" y="24"/>
                  </a:lnTo>
                  <a:close/>
                  <a:moveTo>
                    <a:pt x="282" y="47"/>
                  </a:moveTo>
                  <a:lnTo>
                    <a:pt x="281" y="42"/>
                  </a:lnTo>
                  <a:lnTo>
                    <a:pt x="279" y="37"/>
                  </a:lnTo>
                  <a:lnTo>
                    <a:pt x="276" y="33"/>
                  </a:lnTo>
                  <a:lnTo>
                    <a:pt x="273" y="29"/>
                  </a:lnTo>
                  <a:lnTo>
                    <a:pt x="269" y="26"/>
                  </a:lnTo>
                  <a:lnTo>
                    <a:pt x="264" y="24"/>
                  </a:lnTo>
                  <a:lnTo>
                    <a:pt x="259" y="23"/>
                  </a:lnTo>
                  <a:lnTo>
                    <a:pt x="253" y="23"/>
                  </a:lnTo>
                  <a:lnTo>
                    <a:pt x="245" y="23"/>
                  </a:lnTo>
                  <a:lnTo>
                    <a:pt x="239" y="25"/>
                  </a:lnTo>
                  <a:lnTo>
                    <a:pt x="233" y="28"/>
                  </a:lnTo>
                  <a:lnTo>
                    <a:pt x="231" y="29"/>
                  </a:lnTo>
                  <a:lnTo>
                    <a:pt x="229" y="32"/>
                  </a:lnTo>
                  <a:lnTo>
                    <a:pt x="227" y="34"/>
                  </a:lnTo>
                  <a:lnTo>
                    <a:pt x="225" y="36"/>
                  </a:lnTo>
                  <a:lnTo>
                    <a:pt x="222" y="42"/>
                  </a:lnTo>
                  <a:lnTo>
                    <a:pt x="221" y="49"/>
                  </a:lnTo>
                  <a:lnTo>
                    <a:pt x="220" y="56"/>
                  </a:lnTo>
                  <a:lnTo>
                    <a:pt x="221" y="64"/>
                  </a:lnTo>
                  <a:lnTo>
                    <a:pt x="221" y="67"/>
                  </a:lnTo>
                  <a:lnTo>
                    <a:pt x="222" y="70"/>
                  </a:lnTo>
                  <a:lnTo>
                    <a:pt x="225" y="76"/>
                  </a:lnTo>
                  <a:lnTo>
                    <a:pt x="227" y="79"/>
                  </a:lnTo>
                  <a:lnTo>
                    <a:pt x="229" y="81"/>
                  </a:lnTo>
                  <a:lnTo>
                    <a:pt x="233" y="85"/>
                  </a:lnTo>
                  <a:lnTo>
                    <a:pt x="239" y="88"/>
                  </a:lnTo>
                  <a:lnTo>
                    <a:pt x="245" y="89"/>
                  </a:lnTo>
                  <a:lnTo>
                    <a:pt x="248" y="90"/>
                  </a:lnTo>
                  <a:lnTo>
                    <a:pt x="252" y="90"/>
                  </a:lnTo>
                  <a:lnTo>
                    <a:pt x="258" y="89"/>
                  </a:lnTo>
                  <a:lnTo>
                    <a:pt x="264" y="88"/>
                  </a:lnTo>
                  <a:lnTo>
                    <a:pt x="268" y="86"/>
                  </a:lnTo>
                  <a:lnTo>
                    <a:pt x="273" y="83"/>
                  </a:lnTo>
                  <a:lnTo>
                    <a:pt x="276" y="80"/>
                  </a:lnTo>
                  <a:lnTo>
                    <a:pt x="279" y="75"/>
                  </a:lnTo>
                  <a:lnTo>
                    <a:pt x="281" y="70"/>
                  </a:lnTo>
                  <a:lnTo>
                    <a:pt x="283" y="65"/>
                  </a:lnTo>
                  <a:lnTo>
                    <a:pt x="264" y="64"/>
                  </a:lnTo>
                  <a:lnTo>
                    <a:pt x="264" y="66"/>
                  </a:lnTo>
                  <a:lnTo>
                    <a:pt x="263" y="69"/>
                  </a:lnTo>
                  <a:lnTo>
                    <a:pt x="260" y="72"/>
                  </a:lnTo>
                  <a:lnTo>
                    <a:pt x="259" y="73"/>
                  </a:lnTo>
                  <a:lnTo>
                    <a:pt x="257" y="74"/>
                  </a:lnTo>
                  <a:lnTo>
                    <a:pt x="255" y="74"/>
                  </a:lnTo>
                  <a:lnTo>
                    <a:pt x="252" y="75"/>
                  </a:lnTo>
                  <a:lnTo>
                    <a:pt x="249" y="74"/>
                  </a:lnTo>
                  <a:lnTo>
                    <a:pt x="247" y="73"/>
                  </a:lnTo>
                  <a:lnTo>
                    <a:pt x="244" y="72"/>
                  </a:lnTo>
                  <a:lnTo>
                    <a:pt x="243" y="70"/>
                  </a:lnTo>
                  <a:lnTo>
                    <a:pt x="241" y="67"/>
                  </a:lnTo>
                  <a:lnTo>
                    <a:pt x="240" y="64"/>
                  </a:lnTo>
                  <a:lnTo>
                    <a:pt x="239" y="60"/>
                  </a:lnTo>
                  <a:lnTo>
                    <a:pt x="239" y="56"/>
                  </a:lnTo>
                  <a:lnTo>
                    <a:pt x="239" y="52"/>
                  </a:lnTo>
                  <a:lnTo>
                    <a:pt x="240" y="50"/>
                  </a:lnTo>
                  <a:lnTo>
                    <a:pt x="240" y="48"/>
                  </a:lnTo>
                  <a:lnTo>
                    <a:pt x="241" y="45"/>
                  </a:lnTo>
                  <a:lnTo>
                    <a:pt x="242" y="42"/>
                  </a:lnTo>
                  <a:lnTo>
                    <a:pt x="244" y="40"/>
                  </a:lnTo>
                  <a:lnTo>
                    <a:pt x="247" y="39"/>
                  </a:lnTo>
                  <a:lnTo>
                    <a:pt x="249" y="38"/>
                  </a:lnTo>
                  <a:lnTo>
                    <a:pt x="252" y="38"/>
                  </a:lnTo>
                  <a:lnTo>
                    <a:pt x="257" y="38"/>
                  </a:lnTo>
                  <a:lnTo>
                    <a:pt x="260" y="40"/>
                  </a:lnTo>
                  <a:lnTo>
                    <a:pt x="262" y="42"/>
                  </a:lnTo>
                  <a:lnTo>
                    <a:pt x="263" y="43"/>
                  </a:lnTo>
                  <a:lnTo>
                    <a:pt x="264" y="47"/>
                  </a:lnTo>
                  <a:lnTo>
                    <a:pt x="282" y="47"/>
                  </a:lnTo>
                  <a:close/>
                  <a:moveTo>
                    <a:pt x="164" y="48"/>
                  </a:moveTo>
                  <a:lnTo>
                    <a:pt x="165" y="46"/>
                  </a:lnTo>
                  <a:lnTo>
                    <a:pt x="166" y="43"/>
                  </a:lnTo>
                  <a:lnTo>
                    <a:pt x="167" y="41"/>
                  </a:lnTo>
                  <a:lnTo>
                    <a:pt x="169" y="40"/>
                  </a:lnTo>
                  <a:lnTo>
                    <a:pt x="171" y="38"/>
                  </a:lnTo>
                  <a:lnTo>
                    <a:pt x="173" y="38"/>
                  </a:lnTo>
                  <a:lnTo>
                    <a:pt x="178" y="37"/>
                  </a:lnTo>
                  <a:lnTo>
                    <a:pt x="183" y="38"/>
                  </a:lnTo>
                  <a:lnTo>
                    <a:pt x="185" y="38"/>
                  </a:lnTo>
                  <a:lnTo>
                    <a:pt x="186" y="40"/>
                  </a:lnTo>
                  <a:lnTo>
                    <a:pt x="188" y="41"/>
                  </a:lnTo>
                  <a:lnTo>
                    <a:pt x="189" y="43"/>
                  </a:lnTo>
                  <a:lnTo>
                    <a:pt x="190" y="46"/>
                  </a:lnTo>
                  <a:lnTo>
                    <a:pt x="190" y="48"/>
                  </a:lnTo>
                  <a:lnTo>
                    <a:pt x="164" y="48"/>
                  </a:lnTo>
                  <a:close/>
                  <a:moveTo>
                    <a:pt x="209" y="62"/>
                  </a:moveTo>
                  <a:lnTo>
                    <a:pt x="209" y="56"/>
                  </a:lnTo>
                  <a:lnTo>
                    <a:pt x="209" y="50"/>
                  </a:lnTo>
                  <a:lnTo>
                    <a:pt x="208" y="46"/>
                  </a:lnTo>
                  <a:lnTo>
                    <a:pt x="206" y="41"/>
                  </a:lnTo>
                  <a:lnTo>
                    <a:pt x="204" y="37"/>
                  </a:lnTo>
                  <a:lnTo>
                    <a:pt x="202" y="33"/>
                  </a:lnTo>
                  <a:lnTo>
                    <a:pt x="199" y="30"/>
                  </a:lnTo>
                  <a:lnTo>
                    <a:pt x="195" y="27"/>
                  </a:lnTo>
                  <a:lnTo>
                    <a:pt x="192" y="25"/>
                  </a:lnTo>
                  <a:lnTo>
                    <a:pt x="187" y="24"/>
                  </a:lnTo>
                  <a:lnTo>
                    <a:pt x="183" y="23"/>
                  </a:lnTo>
                  <a:lnTo>
                    <a:pt x="178" y="23"/>
                  </a:lnTo>
                  <a:lnTo>
                    <a:pt x="171" y="23"/>
                  </a:lnTo>
                  <a:lnTo>
                    <a:pt x="165" y="25"/>
                  </a:lnTo>
                  <a:lnTo>
                    <a:pt x="162" y="26"/>
                  </a:lnTo>
                  <a:lnTo>
                    <a:pt x="159" y="28"/>
                  </a:lnTo>
                  <a:lnTo>
                    <a:pt x="154" y="32"/>
                  </a:lnTo>
                  <a:lnTo>
                    <a:pt x="152" y="34"/>
                  </a:lnTo>
                  <a:lnTo>
                    <a:pt x="150" y="37"/>
                  </a:lnTo>
                  <a:lnTo>
                    <a:pt x="148" y="43"/>
                  </a:lnTo>
                  <a:lnTo>
                    <a:pt x="146" y="49"/>
                  </a:lnTo>
                  <a:lnTo>
                    <a:pt x="145" y="53"/>
                  </a:lnTo>
                  <a:lnTo>
                    <a:pt x="145" y="56"/>
                  </a:lnTo>
                  <a:lnTo>
                    <a:pt x="146" y="63"/>
                  </a:lnTo>
                  <a:lnTo>
                    <a:pt x="148" y="70"/>
                  </a:lnTo>
                  <a:lnTo>
                    <a:pt x="150" y="76"/>
                  </a:lnTo>
                  <a:lnTo>
                    <a:pt x="152" y="78"/>
                  </a:lnTo>
                  <a:lnTo>
                    <a:pt x="154" y="81"/>
                  </a:lnTo>
                  <a:lnTo>
                    <a:pt x="159" y="85"/>
                  </a:lnTo>
                  <a:lnTo>
                    <a:pt x="165" y="87"/>
                  </a:lnTo>
                  <a:lnTo>
                    <a:pt x="168" y="88"/>
                  </a:lnTo>
                  <a:lnTo>
                    <a:pt x="171" y="89"/>
                  </a:lnTo>
                  <a:lnTo>
                    <a:pt x="174" y="90"/>
                  </a:lnTo>
                  <a:lnTo>
                    <a:pt x="178" y="90"/>
                  </a:lnTo>
                  <a:lnTo>
                    <a:pt x="184" y="89"/>
                  </a:lnTo>
                  <a:lnTo>
                    <a:pt x="189" y="88"/>
                  </a:lnTo>
                  <a:lnTo>
                    <a:pt x="193" y="87"/>
                  </a:lnTo>
                  <a:lnTo>
                    <a:pt x="198" y="84"/>
                  </a:lnTo>
                  <a:lnTo>
                    <a:pt x="201" y="81"/>
                  </a:lnTo>
                  <a:lnTo>
                    <a:pt x="203" y="80"/>
                  </a:lnTo>
                  <a:lnTo>
                    <a:pt x="205" y="78"/>
                  </a:lnTo>
                  <a:lnTo>
                    <a:pt x="207" y="74"/>
                  </a:lnTo>
                  <a:lnTo>
                    <a:pt x="209" y="69"/>
                  </a:lnTo>
                  <a:lnTo>
                    <a:pt x="190" y="69"/>
                  </a:lnTo>
                  <a:lnTo>
                    <a:pt x="188" y="72"/>
                  </a:lnTo>
                  <a:lnTo>
                    <a:pt x="185" y="74"/>
                  </a:lnTo>
                  <a:lnTo>
                    <a:pt x="182" y="75"/>
                  </a:lnTo>
                  <a:lnTo>
                    <a:pt x="178" y="75"/>
                  </a:lnTo>
                  <a:lnTo>
                    <a:pt x="176" y="75"/>
                  </a:lnTo>
                  <a:lnTo>
                    <a:pt x="173" y="74"/>
                  </a:lnTo>
                  <a:lnTo>
                    <a:pt x="171" y="73"/>
                  </a:lnTo>
                  <a:lnTo>
                    <a:pt x="169" y="72"/>
                  </a:lnTo>
                  <a:lnTo>
                    <a:pt x="167" y="70"/>
                  </a:lnTo>
                  <a:lnTo>
                    <a:pt x="166" y="67"/>
                  </a:lnTo>
                  <a:lnTo>
                    <a:pt x="165" y="65"/>
                  </a:lnTo>
                  <a:lnTo>
                    <a:pt x="164" y="62"/>
                  </a:lnTo>
                  <a:lnTo>
                    <a:pt x="209" y="62"/>
                  </a:lnTo>
                  <a:close/>
                  <a:moveTo>
                    <a:pt x="118" y="55"/>
                  </a:moveTo>
                  <a:lnTo>
                    <a:pt x="139" y="24"/>
                  </a:lnTo>
                  <a:lnTo>
                    <a:pt x="118" y="24"/>
                  </a:lnTo>
                  <a:lnTo>
                    <a:pt x="108" y="40"/>
                  </a:lnTo>
                  <a:lnTo>
                    <a:pt x="98" y="24"/>
                  </a:lnTo>
                  <a:lnTo>
                    <a:pt x="77" y="24"/>
                  </a:lnTo>
                  <a:lnTo>
                    <a:pt x="98" y="55"/>
                  </a:lnTo>
                  <a:lnTo>
                    <a:pt x="75" y="88"/>
                  </a:lnTo>
                  <a:lnTo>
                    <a:pt x="96" y="88"/>
                  </a:lnTo>
                  <a:lnTo>
                    <a:pt x="108" y="70"/>
                  </a:lnTo>
                  <a:lnTo>
                    <a:pt x="120" y="88"/>
                  </a:lnTo>
                  <a:lnTo>
                    <a:pt x="142" y="88"/>
                  </a:lnTo>
                  <a:lnTo>
                    <a:pt x="118" y="55"/>
                  </a:lnTo>
                  <a:close/>
                  <a:moveTo>
                    <a:pt x="66" y="0"/>
                  </a:moveTo>
                  <a:lnTo>
                    <a:pt x="0" y="0"/>
                  </a:lnTo>
                  <a:lnTo>
                    <a:pt x="0" y="88"/>
                  </a:lnTo>
                  <a:lnTo>
                    <a:pt x="67" y="88"/>
                  </a:lnTo>
                  <a:lnTo>
                    <a:pt x="67" y="71"/>
                  </a:lnTo>
                  <a:lnTo>
                    <a:pt x="20" y="71"/>
                  </a:lnTo>
                  <a:lnTo>
                    <a:pt x="20" y="50"/>
                  </a:lnTo>
                  <a:lnTo>
                    <a:pt x="60" y="50"/>
                  </a:lnTo>
                  <a:lnTo>
                    <a:pt x="60" y="34"/>
                  </a:lnTo>
                  <a:lnTo>
                    <a:pt x="20" y="34"/>
                  </a:lnTo>
                  <a:lnTo>
                    <a:pt x="20" y="17"/>
                  </a:lnTo>
                  <a:lnTo>
                    <a:pt x="66" y="17"/>
                  </a:lnTo>
                  <a:lnTo>
                    <a:pt x="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22" name="Freeform 8"/>
            <p:cNvSpPr>
              <a:spLocks noEditPoints="1"/>
            </p:cNvSpPr>
            <p:nvPr userDrawn="1"/>
          </p:nvSpPr>
          <p:spPr bwMode="auto">
            <a:xfrm>
              <a:off x="4067175" y="114301"/>
              <a:ext cx="566738" cy="560388"/>
            </a:xfrm>
            <a:custGeom>
              <a:avLst/>
              <a:gdLst>
                <a:gd name="T0" fmla="*/ 223 w 357"/>
                <a:gd name="T1" fmla="*/ 220 h 353"/>
                <a:gd name="T2" fmla="*/ 134 w 357"/>
                <a:gd name="T3" fmla="*/ 220 h 353"/>
                <a:gd name="T4" fmla="*/ 179 w 357"/>
                <a:gd name="T5" fmla="*/ 100 h 353"/>
                <a:gd name="T6" fmla="*/ 223 w 357"/>
                <a:gd name="T7" fmla="*/ 220 h 353"/>
                <a:gd name="T8" fmla="*/ 357 w 357"/>
                <a:gd name="T9" fmla="*/ 353 h 353"/>
                <a:gd name="T10" fmla="*/ 230 w 357"/>
                <a:gd name="T11" fmla="*/ 0 h 353"/>
                <a:gd name="T12" fmla="*/ 127 w 357"/>
                <a:gd name="T13" fmla="*/ 0 h 353"/>
                <a:gd name="T14" fmla="*/ 0 w 357"/>
                <a:gd name="T15" fmla="*/ 353 h 353"/>
                <a:gd name="T16" fmla="*/ 91 w 357"/>
                <a:gd name="T17" fmla="*/ 353 h 353"/>
                <a:gd name="T18" fmla="*/ 113 w 357"/>
                <a:gd name="T19" fmla="*/ 291 h 353"/>
                <a:gd name="T20" fmla="*/ 245 w 357"/>
                <a:gd name="T21" fmla="*/ 291 h 353"/>
                <a:gd name="T22" fmla="*/ 267 w 357"/>
                <a:gd name="T23" fmla="*/ 353 h 353"/>
                <a:gd name="T24" fmla="*/ 357 w 357"/>
                <a:gd name="T25"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7" h="353">
                  <a:moveTo>
                    <a:pt x="223" y="220"/>
                  </a:moveTo>
                  <a:lnTo>
                    <a:pt x="134" y="220"/>
                  </a:lnTo>
                  <a:lnTo>
                    <a:pt x="179" y="100"/>
                  </a:lnTo>
                  <a:lnTo>
                    <a:pt x="223" y="220"/>
                  </a:lnTo>
                  <a:close/>
                  <a:moveTo>
                    <a:pt x="357" y="353"/>
                  </a:moveTo>
                  <a:lnTo>
                    <a:pt x="230" y="0"/>
                  </a:lnTo>
                  <a:lnTo>
                    <a:pt x="127" y="0"/>
                  </a:lnTo>
                  <a:lnTo>
                    <a:pt x="0" y="353"/>
                  </a:lnTo>
                  <a:lnTo>
                    <a:pt x="91" y="353"/>
                  </a:lnTo>
                  <a:lnTo>
                    <a:pt x="113" y="291"/>
                  </a:lnTo>
                  <a:lnTo>
                    <a:pt x="245" y="291"/>
                  </a:lnTo>
                  <a:lnTo>
                    <a:pt x="267" y="353"/>
                  </a:lnTo>
                  <a:lnTo>
                    <a:pt x="357" y="3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23" name="Freeform 9"/>
            <p:cNvSpPr>
              <a:spLocks noEditPoints="1"/>
            </p:cNvSpPr>
            <p:nvPr userDrawn="1"/>
          </p:nvSpPr>
          <p:spPr bwMode="auto">
            <a:xfrm>
              <a:off x="4686300" y="114301"/>
              <a:ext cx="858838" cy="560388"/>
            </a:xfrm>
            <a:custGeom>
              <a:avLst/>
              <a:gdLst>
                <a:gd name="T0" fmla="*/ 541 w 541"/>
                <a:gd name="T1" fmla="*/ 75 h 353"/>
                <a:gd name="T2" fmla="*/ 541 w 541"/>
                <a:gd name="T3" fmla="*/ 0 h 353"/>
                <a:gd name="T4" fmla="*/ 303 w 541"/>
                <a:gd name="T5" fmla="*/ 0 h 353"/>
                <a:gd name="T6" fmla="*/ 303 w 541"/>
                <a:gd name="T7" fmla="*/ 353 h 353"/>
                <a:gd name="T8" fmla="*/ 541 w 541"/>
                <a:gd name="T9" fmla="*/ 353 h 353"/>
                <a:gd name="T10" fmla="*/ 541 w 541"/>
                <a:gd name="T11" fmla="*/ 278 h 353"/>
                <a:gd name="T12" fmla="*/ 388 w 541"/>
                <a:gd name="T13" fmla="*/ 278 h 353"/>
                <a:gd name="T14" fmla="*/ 388 w 541"/>
                <a:gd name="T15" fmla="*/ 210 h 353"/>
                <a:gd name="T16" fmla="*/ 536 w 541"/>
                <a:gd name="T17" fmla="*/ 210 h 353"/>
                <a:gd name="T18" fmla="*/ 536 w 541"/>
                <a:gd name="T19" fmla="*/ 139 h 353"/>
                <a:gd name="T20" fmla="*/ 388 w 541"/>
                <a:gd name="T21" fmla="*/ 139 h 353"/>
                <a:gd name="T22" fmla="*/ 388 w 541"/>
                <a:gd name="T23" fmla="*/ 75 h 353"/>
                <a:gd name="T24" fmla="*/ 541 w 541"/>
                <a:gd name="T25" fmla="*/ 75 h 353"/>
                <a:gd name="T26" fmla="*/ 239 w 541"/>
                <a:gd name="T27" fmla="*/ 75 h 353"/>
                <a:gd name="T28" fmla="*/ 239 w 541"/>
                <a:gd name="T29" fmla="*/ 0 h 353"/>
                <a:gd name="T30" fmla="*/ 0 w 541"/>
                <a:gd name="T31" fmla="*/ 0 h 353"/>
                <a:gd name="T32" fmla="*/ 0 w 541"/>
                <a:gd name="T33" fmla="*/ 353 h 353"/>
                <a:gd name="T34" fmla="*/ 239 w 541"/>
                <a:gd name="T35" fmla="*/ 353 h 353"/>
                <a:gd name="T36" fmla="*/ 239 w 541"/>
                <a:gd name="T37" fmla="*/ 278 h 353"/>
                <a:gd name="T38" fmla="*/ 85 w 541"/>
                <a:gd name="T39" fmla="*/ 278 h 353"/>
                <a:gd name="T40" fmla="*/ 85 w 541"/>
                <a:gd name="T41" fmla="*/ 210 h 353"/>
                <a:gd name="T42" fmla="*/ 235 w 541"/>
                <a:gd name="T43" fmla="*/ 210 h 353"/>
                <a:gd name="T44" fmla="*/ 235 w 541"/>
                <a:gd name="T45" fmla="*/ 139 h 353"/>
                <a:gd name="T46" fmla="*/ 85 w 541"/>
                <a:gd name="T47" fmla="*/ 139 h 353"/>
                <a:gd name="T48" fmla="*/ 85 w 541"/>
                <a:gd name="T49" fmla="*/ 75 h 353"/>
                <a:gd name="T50" fmla="*/ 239 w 541"/>
                <a:gd name="T51" fmla="*/ 75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1" h="353">
                  <a:moveTo>
                    <a:pt x="541" y="75"/>
                  </a:moveTo>
                  <a:lnTo>
                    <a:pt x="541" y="0"/>
                  </a:lnTo>
                  <a:lnTo>
                    <a:pt x="303" y="0"/>
                  </a:lnTo>
                  <a:lnTo>
                    <a:pt x="303" y="353"/>
                  </a:lnTo>
                  <a:lnTo>
                    <a:pt x="541" y="353"/>
                  </a:lnTo>
                  <a:lnTo>
                    <a:pt x="541" y="278"/>
                  </a:lnTo>
                  <a:lnTo>
                    <a:pt x="388" y="278"/>
                  </a:lnTo>
                  <a:lnTo>
                    <a:pt x="388" y="210"/>
                  </a:lnTo>
                  <a:lnTo>
                    <a:pt x="536" y="210"/>
                  </a:lnTo>
                  <a:lnTo>
                    <a:pt x="536" y="139"/>
                  </a:lnTo>
                  <a:lnTo>
                    <a:pt x="388" y="139"/>
                  </a:lnTo>
                  <a:lnTo>
                    <a:pt x="388" y="75"/>
                  </a:lnTo>
                  <a:lnTo>
                    <a:pt x="541" y="75"/>
                  </a:lnTo>
                  <a:close/>
                  <a:moveTo>
                    <a:pt x="239" y="75"/>
                  </a:moveTo>
                  <a:lnTo>
                    <a:pt x="239" y="0"/>
                  </a:lnTo>
                  <a:lnTo>
                    <a:pt x="0" y="0"/>
                  </a:lnTo>
                  <a:lnTo>
                    <a:pt x="0" y="353"/>
                  </a:lnTo>
                  <a:lnTo>
                    <a:pt x="239" y="353"/>
                  </a:lnTo>
                  <a:lnTo>
                    <a:pt x="239" y="278"/>
                  </a:lnTo>
                  <a:lnTo>
                    <a:pt x="85" y="278"/>
                  </a:lnTo>
                  <a:lnTo>
                    <a:pt x="85" y="210"/>
                  </a:lnTo>
                  <a:lnTo>
                    <a:pt x="235" y="210"/>
                  </a:lnTo>
                  <a:lnTo>
                    <a:pt x="235" y="139"/>
                  </a:lnTo>
                  <a:lnTo>
                    <a:pt x="85" y="139"/>
                  </a:lnTo>
                  <a:lnTo>
                    <a:pt x="85" y="75"/>
                  </a:lnTo>
                  <a:lnTo>
                    <a:pt x="23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grpSp>
    </p:spTree>
    <p:extLst>
      <p:ext uri="{BB962C8B-B14F-4D97-AF65-F5344CB8AC3E}">
        <p14:creationId xmlns:p14="http://schemas.microsoft.com/office/powerpoint/2010/main" val="2754455323"/>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obj" preserve="1">
  <p:cSld name="Introductio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573882"/>
            <a:ext cx="7487081" cy="602326"/>
          </a:xfrm>
          <a:solidFill>
            <a:srgbClr val="B1059D"/>
          </a:solidFill>
        </p:spPr>
        <p:txBody>
          <a:bodyPr/>
          <a:lstStyle>
            <a:lvl1pPr>
              <a:defRPr/>
            </a:lvl1pPr>
          </a:lstStyle>
          <a:p>
            <a:r>
              <a:rPr lang="en-US" dirty="0"/>
              <a:t>Click to add title</a:t>
            </a:r>
          </a:p>
        </p:txBody>
      </p:sp>
      <p:sp>
        <p:nvSpPr>
          <p:cNvPr id="3" name="Content Placeholder 2"/>
          <p:cNvSpPr>
            <a:spLocks noGrp="1"/>
          </p:cNvSpPr>
          <p:nvPr>
            <p:ph idx="1" hasCustomPrompt="1"/>
          </p:nvPr>
        </p:nvSpPr>
        <p:spPr>
          <a:xfrm>
            <a:off x="1" y="1869282"/>
            <a:ext cx="7487081" cy="2538413"/>
          </a:xfrm>
          <a:solidFill>
            <a:srgbClr val="B1059D"/>
          </a:solidFill>
        </p:spPr>
        <p:txBody>
          <a:bodyPr lIns="540000" tIns="324000" rIns="540000" bIns="324000"/>
          <a:lstStyle>
            <a:lvl1pPr marL="0" indent="0">
              <a:buFontTx/>
              <a:buNone/>
              <a:defRPr b="1">
                <a:solidFill>
                  <a:schemeClr val="bg1"/>
                </a:solidFill>
              </a:defRPr>
            </a:lvl1pPr>
            <a:lvl2pPr marL="199972" indent="-199972">
              <a:buFont typeface="Arial" pitchFamily="34" charset="0"/>
              <a:buChar char="•"/>
              <a:defRPr>
                <a:solidFill>
                  <a:schemeClr val="bg1"/>
                </a:solidFill>
              </a:defRPr>
            </a:lvl2pPr>
          </a:lstStyle>
          <a:p>
            <a:pPr lvl="0"/>
            <a:r>
              <a:rPr lang="en-US" dirty="0"/>
              <a:t>Click to add text</a:t>
            </a:r>
          </a:p>
          <a:p>
            <a:pPr lvl="1"/>
            <a:r>
              <a:rPr lang="en-US" dirty="0"/>
              <a:t>Second level</a:t>
            </a:r>
          </a:p>
        </p:txBody>
      </p:sp>
      <p:sp>
        <p:nvSpPr>
          <p:cNvPr id="7" name="Date Placeholder 6"/>
          <p:cNvSpPr>
            <a:spLocks noGrp="1"/>
          </p:cNvSpPr>
          <p:nvPr>
            <p:ph type="dt" sz="half" idx="10"/>
          </p:nvPr>
        </p:nvSpPr>
        <p:spPr/>
        <p:txBody>
          <a:bodyPr/>
          <a:lstStyle>
            <a:lvl1pPr>
              <a:defRPr>
                <a:solidFill>
                  <a:schemeClr val="bg1"/>
                </a:solidFill>
              </a:defRPr>
            </a:lvl1pPr>
          </a:lstStyle>
          <a:p>
            <a:fld id="{5F1BDA99-5F31-43AE-BDD2-CFE4F36082F2}" type="datetime1">
              <a:rPr lang="fi-FI" smtClean="0"/>
              <a:t>5.11.2023</a:t>
            </a:fld>
            <a:endParaRPr lang="en-US" dirty="0"/>
          </a:p>
        </p:txBody>
      </p:sp>
      <p:sp>
        <p:nvSpPr>
          <p:cNvPr id="8" name="Footer Placeholder 7"/>
          <p:cNvSpPr>
            <a:spLocks noGrp="1"/>
          </p:cNvSpPr>
          <p:nvPr>
            <p:ph type="ftr" sz="quarter" idx="11"/>
          </p:nvPr>
        </p:nvSpPr>
        <p:spPr/>
        <p:txBody>
          <a:bodyPr/>
          <a:lstStyle>
            <a:lvl1pPr>
              <a:defRPr>
                <a:solidFill>
                  <a:schemeClr val="bg1"/>
                </a:solidFill>
              </a:defRPr>
            </a:lvl1pPr>
          </a:lstStyle>
          <a:p>
            <a:r>
              <a:rPr lang="en-US"/>
              <a:t>© Aalto University Executive Education</a:t>
            </a:r>
            <a:endParaRPr lang="en-US" dirty="0"/>
          </a:p>
        </p:txBody>
      </p:sp>
      <p:sp>
        <p:nvSpPr>
          <p:cNvPr id="9" name="Slide Number Placeholder 8"/>
          <p:cNvSpPr>
            <a:spLocks noGrp="1"/>
          </p:cNvSpPr>
          <p:nvPr>
            <p:ph type="sldNum" sz="quarter" idx="12"/>
          </p:nvPr>
        </p:nvSpPr>
        <p:spPr/>
        <p:txBody>
          <a:bodyPr/>
          <a:lstStyle>
            <a:lvl1pPr>
              <a:defRPr>
                <a:solidFill>
                  <a:schemeClr val="bg1"/>
                </a:solidFill>
              </a:defRPr>
            </a:lvl1pPr>
          </a:lstStyle>
          <a:p>
            <a:fld id="{FCCA222D-FCF7-48C1-A274-EBDDEF75DC66}" type="slidenum">
              <a:rPr lang="en-US" smtClean="0"/>
              <a:pPr/>
              <a:t>‹#›</a:t>
            </a:fld>
            <a:endParaRPr lang="en-US" dirty="0"/>
          </a:p>
        </p:txBody>
      </p:sp>
      <p:grpSp>
        <p:nvGrpSpPr>
          <p:cNvPr id="17" name="Group 16"/>
          <p:cNvGrpSpPr>
            <a:grpSpLocks noChangeAspect="1"/>
          </p:cNvGrpSpPr>
          <p:nvPr userDrawn="1"/>
        </p:nvGrpSpPr>
        <p:grpSpPr>
          <a:xfrm>
            <a:off x="7595548" y="249492"/>
            <a:ext cx="1294116" cy="199800"/>
            <a:chOff x="4067175" y="114301"/>
            <a:chExt cx="3630613" cy="560388"/>
          </a:xfrm>
          <a:solidFill>
            <a:schemeClr val="bg1"/>
          </a:solidFill>
          <a:effectLst>
            <a:outerShdw blurRad="190500" algn="ctr" rotWithShape="0">
              <a:prstClr val="black">
                <a:alpha val="30000"/>
              </a:prstClr>
            </a:outerShdw>
          </a:effectLst>
        </p:grpSpPr>
        <p:sp>
          <p:nvSpPr>
            <p:cNvPr id="18" name="Freeform 6"/>
            <p:cNvSpPr>
              <a:spLocks noEditPoints="1"/>
            </p:cNvSpPr>
            <p:nvPr userDrawn="1"/>
          </p:nvSpPr>
          <p:spPr bwMode="auto">
            <a:xfrm>
              <a:off x="5749925" y="114301"/>
              <a:ext cx="1530350" cy="173038"/>
            </a:xfrm>
            <a:custGeom>
              <a:avLst/>
              <a:gdLst>
                <a:gd name="T0" fmla="*/ 922 w 964"/>
                <a:gd name="T1" fmla="*/ 84 h 109"/>
                <a:gd name="T2" fmla="*/ 918 w 964"/>
                <a:gd name="T3" fmla="*/ 109 h 109"/>
                <a:gd name="T4" fmla="*/ 944 w 964"/>
                <a:gd name="T5" fmla="*/ 25 h 109"/>
                <a:gd name="T6" fmla="*/ 860 w 964"/>
                <a:gd name="T7" fmla="*/ 68 h 109"/>
                <a:gd name="T8" fmla="*/ 890 w 964"/>
                <a:gd name="T9" fmla="*/ 89 h 109"/>
                <a:gd name="T10" fmla="*/ 890 w 964"/>
                <a:gd name="T11" fmla="*/ 39 h 109"/>
                <a:gd name="T12" fmla="*/ 819 w 964"/>
                <a:gd name="T13" fmla="*/ 89 h 109"/>
                <a:gd name="T14" fmla="*/ 793 w 964"/>
                <a:gd name="T15" fmla="*/ 26 h 109"/>
                <a:gd name="T16" fmla="*/ 753 w 964"/>
                <a:gd name="T17" fmla="*/ 33 h 109"/>
                <a:gd name="T18" fmla="*/ 757 w 964"/>
                <a:gd name="T19" fmla="*/ 58 h 109"/>
                <a:gd name="T20" fmla="*/ 788 w 964"/>
                <a:gd name="T21" fmla="*/ 72 h 109"/>
                <a:gd name="T22" fmla="*/ 767 w 964"/>
                <a:gd name="T23" fmla="*/ 70 h 109"/>
                <a:gd name="T24" fmla="*/ 772 w 964"/>
                <a:gd name="T25" fmla="*/ 90 h 109"/>
                <a:gd name="T26" fmla="*/ 806 w 964"/>
                <a:gd name="T27" fmla="*/ 73 h 109"/>
                <a:gd name="T28" fmla="*/ 788 w 964"/>
                <a:gd name="T29" fmla="*/ 49 h 109"/>
                <a:gd name="T30" fmla="*/ 777 w 964"/>
                <a:gd name="T31" fmla="*/ 37 h 109"/>
                <a:gd name="T32" fmla="*/ 700 w 964"/>
                <a:gd name="T33" fmla="*/ 89 h 109"/>
                <a:gd name="T34" fmla="*/ 729 w 964"/>
                <a:gd name="T35" fmla="*/ 42 h 109"/>
                <a:gd name="T36" fmla="*/ 723 w 964"/>
                <a:gd name="T37" fmla="*/ 27 h 109"/>
                <a:gd name="T38" fmla="*/ 643 w 964"/>
                <a:gd name="T39" fmla="*/ 42 h 109"/>
                <a:gd name="T40" fmla="*/ 666 w 964"/>
                <a:gd name="T41" fmla="*/ 44 h 109"/>
                <a:gd name="T42" fmla="*/ 682 w 964"/>
                <a:gd name="T43" fmla="*/ 38 h 109"/>
                <a:gd name="T44" fmla="*/ 647 w 964"/>
                <a:gd name="T45" fmla="*/ 24 h 109"/>
                <a:gd name="T46" fmla="*/ 623 w 964"/>
                <a:gd name="T47" fmla="*/ 46 h 109"/>
                <a:gd name="T48" fmla="*/ 641 w 964"/>
                <a:gd name="T49" fmla="*/ 88 h 109"/>
                <a:gd name="T50" fmla="*/ 679 w 964"/>
                <a:gd name="T51" fmla="*/ 82 h 109"/>
                <a:gd name="T52" fmla="*/ 656 w 964"/>
                <a:gd name="T53" fmla="*/ 76 h 109"/>
                <a:gd name="T54" fmla="*/ 687 w 964"/>
                <a:gd name="T55" fmla="*/ 62 h 109"/>
                <a:gd name="T56" fmla="*/ 575 w 964"/>
                <a:gd name="T57" fmla="*/ 89 h 109"/>
                <a:gd name="T58" fmla="*/ 521 w 964"/>
                <a:gd name="T59" fmla="*/ 89 h 109"/>
                <a:gd name="T60" fmla="*/ 467 w 964"/>
                <a:gd name="T61" fmla="*/ 42 h 109"/>
                <a:gd name="T62" fmla="*/ 483 w 964"/>
                <a:gd name="T63" fmla="*/ 44 h 109"/>
                <a:gd name="T64" fmla="*/ 497 w 964"/>
                <a:gd name="T65" fmla="*/ 29 h 109"/>
                <a:gd name="T66" fmla="*/ 463 w 964"/>
                <a:gd name="T67" fmla="*/ 25 h 109"/>
                <a:gd name="T68" fmla="*/ 398 w 964"/>
                <a:gd name="T69" fmla="*/ 73 h 109"/>
                <a:gd name="T70" fmla="*/ 376 w 964"/>
                <a:gd name="T71" fmla="*/ 63 h 109"/>
                <a:gd name="T72" fmla="*/ 364 w 964"/>
                <a:gd name="T73" fmla="*/ 81 h 109"/>
                <a:gd name="T74" fmla="*/ 406 w 964"/>
                <a:gd name="T75" fmla="*/ 89 h 109"/>
                <a:gd name="T76" fmla="*/ 427 w 964"/>
                <a:gd name="T77" fmla="*/ 60 h 109"/>
                <a:gd name="T78" fmla="*/ 292 w 964"/>
                <a:gd name="T79" fmla="*/ 49 h 109"/>
                <a:gd name="T80" fmla="*/ 284 w 964"/>
                <a:gd name="T81" fmla="*/ 74 h 109"/>
                <a:gd name="T82" fmla="*/ 263 w 964"/>
                <a:gd name="T83" fmla="*/ 61 h 109"/>
                <a:gd name="T84" fmla="*/ 274 w 964"/>
                <a:gd name="T85" fmla="*/ 38 h 109"/>
                <a:gd name="T86" fmla="*/ 247 w 964"/>
                <a:gd name="T87" fmla="*/ 40 h 109"/>
                <a:gd name="T88" fmla="*/ 249 w 964"/>
                <a:gd name="T89" fmla="*/ 76 h 109"/>
                <a:gd name="T90" fmla="*/ 291 w 964"/>
                <a:gd name="T91" fmla="*/ 88 h 109"/>
                <a:gd name="T92" fmla="*/ 311 w 964"/>
                <a:gd name="T93" fmla="*/ 57 h 109"/>
                <a:gd name="T94" fmla="*/ 291 w 964"/>
                <a:gd name="T95" fmla="*/ 26 h 109"/>
                <a:gd name="T96" fmla="*/ 196 w 964"/>
                <a:gd name="T97" fmla="*/ 26 h 109"/>
                <a:gd name="T98" fmla="*/ 214 w 964"/>
                <a:gd name="T99" fmla="*/ 88 h 109"/>
                <a:gd name="T100" fmla="*/ 224 w 964"/>
                <a:gd name="T101" fmla="*/ 70 h 109"/>
                <a:gd name="T102" fmla="*/ 184 w 964"/>
                <a:gd name="T103" fmla="*/ 0 h 109"/>
                <a:gd name="T104" fmla="*/ 108 w 964"/>
                <a:gd name="T105" fmla="*/ 71 h 109"/>
                <a:gd name="T106" fmla="*/ 110 w 964"/>
                <a:gd name="T107" fmla="*/ 45 h 109"/>
                <a:gd name="T108" fmla="*/ 130 w 964"/>
                <a:gd name="T109" fmla="*/ 41 h 109"/>
                <a:gd name="T110" fmla="*/ 103 w 964"/>
                <a:gd name="T111" fmla="*/ 52 h 109"/>
                <a:gd name="T112" fmla="*/ 91 w 964"/>
                <a:gd name="T113" fmla="*/ 79 h 109"/>
                <a:gd name="T114" fmla="*/ 123 w 964"/>
                <a:gd name="T115" fmla="*/ 89 h 109"/>
                <a:gd name="T116" fmla="*/ 149 w 964"/>
                <a:gd name="T117" fmla="*/ 42 h 109"/>
                <a:gd name="T118" fmla="*/ 115 w 964"/>
                <a:gd name="T119" fmla="*/ 23 h 109"/>
                <a:gd name="T120" fmla="*/ 93 w 964"/>
                <a:gd name="T121" fmla="*/ 45 h 109"/>
                <a:gd name="T122" fmla="*/ 56 w 964"/>
                <a:gd name="T1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4" h="109">
                  <a:moveTo>
                    <a:pt x="944" y="25"/>
                  </a:moveTo>
                  <a:lnTo>
                    <a:pt x="936" y="54"/>
                  </a:lnTo>
                  <a:lnTo>
                    <a:pt x="933" y="68"/>
                  </a:lnTo>
                  <a:lnTo>
                    <a:pt x="932" y="65"/>
                  </a:lnTo>
                  <a:lnTo>
                    <a:pt x="928" y="54"/>
                  </a:lnTo>
                  <a:lnTo>
                    <a:pt x="919" y="25"/>
                  </a:lnTo>
                  <a:lnTo>
                    <a:pt x="899" y="25"/>
                  </a:lnTo>
                  <a:lnTo>
                    <a:pt x="920" y="79"/>
                  </a:lnTo>
                  <a:lnTo>
                    <a:pt x="922" y="84"/>
                  </a:lnTo>
                  <a:lnTo>
                    <a:pt x="922" y="87"/>
                  </a:lnTo>
                  <a:lnTo>
                    <a:pt x="922" y="90"/>
                  </a:lnTo>
                  <a:lnTo>
                    <a:pt x="920" y="93"/>
                  </a:lnTo>
                  <a:lnTo>
                    <a:pt x="919" y="94"/>
                  </a:lnTo>
                  <a:lnTo>
                    <a:pt x="917" y="94"/>
                  </a:lnTo>
                  <a:lnTo>
                    <a:pt x="913" y="95"/>
                  </a:lnTo>
                  <a:lnTo>
                    <a:pt x="907" y="95"/>
                  </a:lnTo>
                  <a:lnTo>
                    <a:pt x="907" y="109"/>
                  </a:lnTo>
                  <a:lnTo>
                    <a:pt x="918" y="109"/>
                  </a:lnTo>
                  <a:lnTo>
                    <a:pt x="923" y="109"/>
                  </a:lnTo>
                  <a:lnTo>
                    <a:pt x="927" y="108"/>
                  </a:lnTo>
                  <a:lnTo>
                    <a:pt x="930" y="107"/>
                  </a:lnTo>
                  <a:lnTo>
                    <a:pt x="933" y="105"/>
                  </a:lnTo>
                  <a:lnTo>
                    <a:pt x="935" y="103"/>
                  </a:lnTo>
                  <a:lnTo>
                    <a:pt x="937" y="100"/>
                  </a:lnTo>
                  <a:lnTo>
                    <a:pt x="941" y="89"/>
                  </a:lnTo>
                  <a:lnTo>
                    <a:pt x="964" y="25"/>
                  </a:lnTo>
                  <a:lnTo>
                    <a:pt x="944" y="25"/>
                  </a:lnTo>
                  <a:close/>
                  <a:moveTo>
                    <a:pt x="890" y="26"/>
                  </a:moveTo>
                  <a:lnTo>
                    <a:pt x="879" y="26"/>
                  </a:lnTo>
                  <a:lnTo>
                    <a:pt x="879" y="5"/>
                  </a:lnTo>
                  <a:lnTo>
                    <a:pt x="860" y="5"/>
                  </a:lnTo>
                  <a:lnTo>
                    <a:pt x="860" y="26"/>
                  </a:lnTo>
                  <a:lnTo>
                    <a:pt x="851" y="26"/>
                  </a:lnTo>
                  <a:lnTo>
                    <a:pt x="851" y="39"/>
                  </a:lnTo>
                  <a:lnTo>
                    <a:pt x="860" y="39"/>
                  </a:lnTo>
                  <a:lnTo>
                    <a:pt x="860" y="68"/>
                  </a:lnTo>
                  <a:lnTo>
                    <a:pt x="860" y="74"/>
                  </a:lnTo>
                  <a:lnTo>
                    <a:pt x="861" y="79"/>
                  </a:lnTo>
                  <a:lnTo>
                    <a:pt x="862" y="82"/>
                  </a:lnTo>
                  <a:lnTo>
                    <a:pt x="863" y="84"/>
                  </a:lnTo>
                  <a:lnTo>
                    <a:pt x="866" y="86"/>
                  </a:lnTo>
                  <a:lnTo>
                    <a:pt x="869" y="88"/>
                  </a:lnTo>
                  <a:lnTo>
                    <a:pt x="873" y="88"/>
                  </a:lnTo>
                  <a:lnTo>
                    <a:pt x="879" y="89"/>
                  </a:lnTo>
                  <a:lnTo>
                    <a:pt x="890" y="89"/>
                  </a:lnTo>
                  <a:lnTo>
                    <a:pt x="890" y="75"/>
                  </a:lnTo>
                  <a:lnTo>
                    <a:pt x="883" y="75"/>
                  </a:lnTo>
                  <a:lnTo>
                    <a:pt x="881" y="74"/>
                  </a:lnTo>
                  <a:lnTo>
                    <a:pt x="880" y="74"/>
                  </a:lnTo>
                  <a:lnTo>
                    <a:pt x="879" y="73"/>
                  </a:lnTo>
                  <a:lnTo>
                    <a:pt x="879" y="70"/>
                  </a:lnTo>
                  <a:lnTo>
                    <a:pt x="879" y="64"/>
                  </a:lnTo>
                  <a:lnTo>
                    <a:pt x="879" y="39"/>
                  </a:lnTo>
                  <a:lnTo>
                    <a:pt x="890" y="39"/>
                  </a:lnTo>
                  <a:lnTo>
                    <a:pt x="890" y="26"/>
                  </a:lnTo>
                  <a:close/>
                  <a:moveTo>
                    <a:pt x="838" y="0"/>
                  </a:moveTo>
                  <a:lnTo>
                    <a:pt x="819" y="0"/>
                  </a:lnTo>
                  <a:lnTo>
                    <a:pt x="819" y="16"/>
                  </a:lnTo>
                  <a:lnTo>
                    <a:pt x="838" y="16"/>
                  </a:lnTo>
                  <a:lnTo>
                    <a:pt x="838" y="0"/>
                  </a:lnTo>
                  <a:close/>
                  <a:moveTo>
                    <a:pt x="838" y="25"/>
                  </a:moveTo>
                  <a:lnTo>
                    <a:pt x="819" y="25"/>
                  </a:lnTo>
                  <a:lnTo>
                    <a:pt x="819" y="89"/>
                  </a:lnTo>
                  <a:lnTo>
                    <a:pt x="838" y="89"/>
                  </a:lnTo>
                  <a:lnTo>
                    <a:pt x="838" y="25"/>
                  </a:lnTo>
                  <a:close/>
                  <a:moveTo>
                    <a:pt x="806" y="44"/>
                  </a:moveTo>
                  <a:lnTo>
                    <a:pt x="805" y="39"/>
                  </a:lnTo>
                  <a:lnTo>
                    <a:pt x="803" y="35"/>
                  </a:lnTo>
                  <a:lnTo>
                    <a:pt x="800" y="31"/>
                  </a:lnTo>
                  <a:lnTo>
                    <a:pt x="797" y="28"/>
                  </a:lnTo>
                  <a:lnTo>
                    <a:pt x="795" y="27"/>
                  </a:lnTo>
                  <a:lnTo>
                    <a:pt x="793" y="26"/>
                  </a:lnTo>
                  <a:lnTo>
                    <a:pt x="789" y="24"/>
                  </a:lnTo>
                  <a:lnTo>
                    <a:pt x="783" y="23"/>
                  </a:lnTo>
                  <a:lnTo>
                    <a:pt x="777" y="23"/>
                  </a:lnTo>
                  <a:lnTo>
                    <a:pt x="771" y="23"/>
                  </a:lnTo>
                  <a:lnTo>
                    <a:pt x="766" y="24"/>
                  </a:lnTo>
                  <a:lnTo>
                    <a:pt x="761" y="26"/>
                  </a:lnTo>
                  <a:lnTo>
                    <a:pt x="757" y="29"/>
                  </a:lnTo>
                  <a:lnTo>
                    <a:pt x="754" y="32"/>
                  </a:lnTo>
                  <a:lnTo>
                    <a:pt x="753" y="33"/>
                  </a:lnTo>
                  <a:lnTo>
                    <a:pt x="752" y="35"/>
                  </a:lnTo>
                  <a:lnTo>
                    <a:pt x="751" y="39"/>
                  </a:lnTo>
                  <a:lnTo>
                    <a:pt x="750" y="44"/>
                  </a:lnTo>
                  <a:lnTo>
                    <a:pt x="750" y="47"/>
                  </a:lnTo>
                  <a:lnTo>
                    <a:pt x="751" y="50"/>
                  </a:lnTo>
                  <a:lnTo>
                    <a:pt x="752" y="52"/>
                  </a:lnTo>
                  <a:lnTo>
                    <a:pt x="753" y="53"/>
                  </a:lnTo>
                  <a:lnTo>
                    <a:pt x="755" y="56"/>
                  </a:lnTo>
                  <a:lnTo>
                    <a:pt x="757" y="58"/>
                  </a:lnTo>
                  <a:lnTo>
                    <a:pt x="761" y="59"/>
                  </a:lnTo>
                  <a:lnTo>
                    <a:pt x="765" y="61"/>
                  </a:lnTo>
                  <a:lnTo>
                    <a:pt x="770" y="62"/>
                  </a:lnTo>
                  <a:lnTo>
                    <a:pt x="781" y="65"/>
                  </a:lnTo>
                  <a:lnTo>
                    <a:pt x="785" y="66"/>
                  </a:lnTo>
                  <a:lnTo>
                    <a:pt x="787" y="67"/>
                  </a:lnTo>
                  <a:lnTo>
                    <a:pt x="788" y="69"/>
                  </a:lnTo>
                  <a:lnTo>
                    <a:pt x="788" y="71"/>
                  </a:lnTo>
                  <a:lnTo>
                    <a:pt x="788" y="72"/>
                  </a:lnTo>
                  <a:lnTo>
                    <a:pt x="788" y="73"/>
                  </a:lnTo>
                  <a:lnTo>
                    <a:pt x="786" y="75"/>
                  </a:lnTo>
                  <a:lnTo>
                    <a:pt x="783" y="76"/>
                  </a:lnTo>
                  <a:lnTo>
                    <a:pt x="779" y="77"/>
                  </a:lnTo>
                  <a:lnTo>
                    <a:pt x="774" y="76"/>
                  </a:lnTo>
                  <a:lnTo>
                    <a:pt x="772" y="76"/>
                  </a:lnTo>
                  <a:lnTo>
                    <a:pt x="770" y="75"/>
                  </a:lnTo>
                  <a:lnTo>
                    <a:pt x="767" y="72"/>
                  </a:lnTo>
                  <a:lnTo>
                    <a:pt x="767" y="70"/>
                  </a:lnTo>
                  <a:lnTo>
                    <a:pt x="766" y="68"/>
                  </a:lnTo>
                  <a:lnTo>
                    <a:pt x="748" y="68"/>
                  </a:lnTo>
                  <a:lnTo>
                    <a:pt x="749" y="73"/>
                  </a:lnTo>
                  <a:lnTo>
                    <a:pt x="751" y="77"/>
                  </a:lnTo>
                  <a:lnTo>
                    <a:pt x="754" y="81"/>
                  </a:lnTo>
                  <a:lnTo>
                    <a:pt x="757" y="84"/>
                  </a:lnTo>
                  <a:lnTo>
                    <a:pt x="761" y="87"/>
                  </a:lnTo>
                  <a:lnTo>
                    <a:pt x="766" y="89"/>
                  </a:lnTo>
                  <a:lnTo>
                    <a:pt x="772" y="90"/>
                  </a:lnTo>
                  <a:lnTo>
                    <a:pt x="778" y="90"/>
                  </a:lnTo>
                  <a:lnTo>
                    <a:pt x="785" y="90"/>
                  </a:lnTo>
                  <a:lnTo>
                    <a:pt x="790" y="89"/>
                  </a:lnTo>
                  <a:lnTo>
                    <a:pt x="795" y="87"/>
                  </a:lnTo>
                  <a:lnTo>
                    <a:pt x="799" y="84"/>
                  </a:lnTo>
                  <a:lnTo>
                    <a:pt x="803" y="81"/>
                  </a:lnTo>
                  <a:lnTo>
                    <a:pt x="805" y="78"/>
                  </a:lnTo>
                  <a:lnTo>
                    <a:pt x="806" y="75"/>
                  </a:lnTo>
                  <a:lnTo>
                    <a:pt x="806" y="73"/>
                  </a:lnTo>
                  <a:lnTo>
                    <a:pt x="807" y="68"/>
                  </a:lnTo>
                  <a:lnTo>
                    <a:pt x="807" y="65"/>
                  </a:lnTo>
                  <a:lnTo>
                    <a:pt x="806" y="61"/>
                  </a:lnTo>
                  <a:lnTo>
                    <a:pt x="804" y="58"/>
                  </a:lnTo>
                  <a:lnTo>
                    <a:pt x="802" y="56"/>
                  </a:lnTo>
                  <a:lnTo>
                    <a:pt x="800" y="54"/>
                  </a:lnTo>
                  <a:lnTo>
                    <a:pt x="797" y="52"/>
                  </a:lnTo>
                  <a:lnTo>
                    <a:pt x="793" y="51"/>
                  </a:lnTo>
                  <a:lnTo>
                    <a:pt x="788" y="49"/>
                  </a:lnTo>
                  <a:lnTo>
                    <a:pt x="776" y="47"/>
                  </a:lnTo>
                  <a:lnTo>
                    <a:pt x="772" y="46"/>
                  </a:lnTo>
                  <a:lnTo>
                    <a:pt x="770" y="45"/>
                  </a:lnTo>
                  <a:lnTo>
                    <a:pt x="768" y="44"/>
                  </a:lnTo>
                  <a:lnTo>
                    <a:pt x="768" y="42"/>
                  </a:lnTo>
                  <a:lnTo>
                    <a:pt x="769" y="40"/>
                  </a:lnTo>
                  <a:lnTo>
                    <a:pt x="771" y="38"/>
                  </a:lnTo>
                  <a:lnTo>
                    <a:pt x="773" y="37"/>
                  </a:lnTo>
                  <a:lnTo>
                    <a:pt x="777" y="37"/>
                  </a:lnTo>
                  <a:lnTo>
                    <a:pt x="781" y="37"/>
                  </a:lnTo>
                  <a:lnTo>
                    <a:pt x="783" y="38"/>
                  </a:lnTo>
                  <a:lnTo>
                    <a:pt x="785" y="39"/>
                  </a:lnTo>
                  <a:lnTo>
                    <a:pt x="786" y="40"/>
                  </a:lnTo>
                  <a:lnTo>
                    <a:pt x="787" y="41"/>
                  </a:lnTo>
                  <a:lnTo>
                    <a:pt x="788" y="44"/>
                  </a:lnTo>
                  <a:lnTo>
                    <a:pt x="806" y="44"/>
                  </a:lnTo>
                  <a:close/>
                  <a:moveTo>
                    <a:pt x="700" y="25"/>
                  </a:moveTo>
                  <a:lnTo>
                    <a:pt x="700" y="89"/>
                  </a:lnTo>
                  <a:lnTo>
                    <a:pt x="719" y="89"/>
                  </a:lnTo>
                  <a:lnTo>
                    <a:pt x="719" y="71"/>
                  </a:lnTo>
                  <a:lnTo>
                    <a:pt x="719" y="56"/>
                  </a:lnTo>
                  <a:lnTo>
                    <a:pt x="720" y="52"/>
                  </a:lnTo>
                  <a:lnTo>
                    <a:pt x="721" y="48"/>
                  </a:lnTo>
                  <a:lnTo>
                    <a:pt x="722" y="46"/>
                  </a:lnTo>
                  <a:lnTo>
                    <a:pt x="724" y="45"/>
                  </a:lnTo>
                  <a:lnTo>
                    <a:pt x="727" y="42"/>
                  </a:lnTo>
                  <a:lnTo>
                    <a:pt x="729" y="42"/>
                  </a:lnTo>
                  <a:lnTo>
                    <a:pt x="731" y="41"/>
                  </a:lnTo>
                  <a:lnTo>
                    <a:pt x="735" y="40"/>
                  </a:lnTo>
                  <a:lnTo>
                    <a:pt x="740" y="41"/>
                  </a:lnTo>
                  <a:lnTo>
                    <a:pt x="740" y="23"/>
                  </a:lnTo>
                  <a:lnTo>
                    <a:pt x="735" y="23"/>
                  </a:lnTo>
                  <a:lnTo>
                    <a:pt x="731" y="24"/>
                  </a:lnTo>
                  <a:lnTo>
                    <a:pt x="728" y="24"/>
                  </a:lnTo>
                  <a:lnTo>
                    <a:pt x="725" y="26"/>
                  </a:lnTo>
                  <a:lnTo>
                    <a:pt x="723" y="27"/>
                  </a:lnTo>
                  <a:lnTo>
                    <a:pt x="721" y="30"/>
                  </a:lnTo>
                  <a:lnTo>
                    <a:pt x="719" y="33"/>
                  </a:lnTo>
                  <a:lnTo>
                    <a:pt x="718" y="36"/>
                  </a:lnTo>
                  <a:lnTo>
                    <a:pt x="718" y="25"/>
                  </a:lnTo>
                  <a:lnTo>
                    <a:pt x="700" y="25"/>
                  </a:lnTo>
                  <a:close/>
                  <a:moveTo>
                    <a:pt x="640" y="49"/>
                  </a:moveTo>
                  <a:lnTo>
                    <a:pt x="641" y="46"/>
                  </a:lnTo>
                  <a:lnTo>
                    <a:pt x="642" y="44"/>
                  </a:lnTo>
                  <a:lnTo>
                    <a:pt x="643" y="42"/>
                  </a:lnTo>
                  <a:lnTo>
                    <a:pt x="645" y="40"/>
                  </a:lnTo>
                  <a:lnTo>
                    <a:pt x="647" y="39"/>
                  </a:lnTo>
                  <a:lnTo>
                    <a:pt x="649" y="38"/>
                  </a:lnTo>
                  <a:lnTo>
                    <a:pt x="655" y="37"/>
                  </a:lnTo>
                  <a:lnTo>
                    <a:pt x="660" y="38"/>
                  </a:lnTo>
                  <a:lnTo>
                    <a:pt x="662" y="39"/>
                  </a:lnTo>
                  <a:lnTo>
                    <a:pt x="663" y="40"/>
                  </a:lnTo>
                  <a:lnTo>
                    <a:pt x="665" y="42"/>
                  </a:lnTo>
                  <a:lnTo>
                    <a:pt x="666" y="44"/>
                  </a:lnTo>
                  <a:lnTo>
                    <a:pt x="667" y="46"/>
                  </a:lnTo>
                  <a:lnTo>
                    <a:pt x="667" y="49"/>
                  </a:lnTo>
                  <a:lnTo>
                    <a:pt x="640" y="49"/>
                  </a:lnTo>
                  <a:close/>
                  <a:moveTo>
                    <a:pt x="687" y="62"/>
                  </a:moveTo>
                  <a:lnTo>
                    <a:pt x="686" y="56"/>
                  </a:lnTo>
                  <a:lnTo>
                    <a:pt x="686" y="51"/>
                  </a:lnTo>
                  <a:lnTo>
                    <a:pt x="685" y="47"/>
                  </a:lnTo>
                  <a:lnTo>
                    <a:pt x="684" y="43"/>
                  </a:lnTo>
                  <a:lnTo>
                    <a:pt x="682" y="38"/>
                  </a:lnTo>
                  <a:lnTo>
                    <a:pt x="679" y="34"/>
                  </a:lnTo>
                  <a:lnTo>
                    <a:pt x="676" y="31"/>
                  </a:lnTo>
                  <a:lnTo>
                    <a:pt x="673" y="28"/>
                  </a:lnTo>
                  <a:lnTo>
                    <a:pt x="669" y="26"/>
                  </a:lnTo>
                  <a:lnTo>
                    <a:pt x="667" y="25"/>
                  </a:lnTo>
                  <a:lnTo>
                    <a:pt x="665" y="24"/>
                  </a:lnTo>
                  <a:lnTo>
                    <a:pt x="660" y="23"/>
                  </a:lnTo>
                  <a:lnTo>
                    <a:pt x="655" y="23"/>
                  </a:lnTo>
                  <a:lnTo>
                    <a:pt x="647" y="24"/>
                  </a:lnTo>
                  <a:lnTo>
                    <a:pt x="641" y="26"/>
                  </a:lnTo>
                  <a:lnTo>
                    <a:pt x="638" y="27"/>
                  </a:lnTo>
                  <a:lnTo>
                    <a:pt x="635" y="29"/>
                  </a:lnTo>
                  <a:lnTo>
                    <a:pt x="630" y="32"/>
                  </a:lnTo>
                  <a:lnTo>
                    <a:pt x="628" y="35"/>
                  </a:lnTo>
                  <a:lnTo>
                    <a:pt x="627" y="37"/>
                  </a:lnTo>
                  <a:lnTo>
                    <a:pt x="625" y="40"/>
                  </a:lnTo>
                  <a:lnTo>
                    <a:pt x="624" y="43"/>
                  </a:lnTo>
                  <a:lnTo>
                    <a:pt x="623" y="46"/>
                  </a:lnTo>
                  <a:lnTo>
                    <a:pt x="622" y="50"/>
                  </a:lnTo>
                  <a:lnTo>
                    <a:pt x="621" y="53"/>
                  </a:lnTo>
                  <a:lnTo>
                    <a:pt x="621" y="57"/>
                  </a:lnTo>
                  <a:lnTo>
                    <a:pt x="622" y="64"/>
                  </a:lnTo>
                  <a:lnTo>
                    <a:pt x="624" y="71"/>
                  </a:lnTo>
                  <a:lnTo>
                    <a:pt x="626" y="76"/>
                  </a:lnTo>
                  <a:lnTo>
                    <a:pt x="630" y="81"/>
                  </a:lnTo>
                  <a:lnTo>
                    <a:pt x="635" y="85"/>
                  </a:lnTo>
                  <a:lnTo>
                    <a:pt x="641" y="88"/>
                  </a:lnTo>
                  <a:lnTo>
                    <a:pt x="644" y="89"/>
                  </a:lnTo>
                  <a:lnTo>
                    <a:pt x="647" y="90"/>
                  </a:lnTo>
                  <a:lnTo>
                    <a:pt x="650" y="90"/>
                  </a:lnTo>
                  <a:lnTo>
                    <a:pt x="655" y="90"/>
                  </a:lnTo>
                  <a:lnTo>
                    <a:pt x="661" y="90"/>
                  </a:lnTo>
                  <a:lnTo>
                    <a:pt x="666" y="89"/>
                  </a:lnTo>
                  <a:lnTo>
                    <a:pt x="671" y="87"/>
                  </a:lnTo>
                  <a:lnTo>
                    <a:pt x="675" y="85"/>
                  </a:lnTo>
                  <a:lnTo>
                    <a:pt x="679" y="82"/>
                  </a:lnTo>
                  <a:lnTo>
                    <a:pt x="680" y="80"/>
                  </a:lnTo>
                  <a:lnTo>
                    <a:pt x="682" y="78"/>
                  </a:lnTo>
                  <a:lnTo>
                    <a:pt x="684" y="74"/>
                  </a:lnTo>
                  <a:lnTo>
                    <a:pt x="686" y="70"/>
                  </a:lnTo>
                  <a:lnTo>
                    <a:pt x="667" y="70"/>
                  </a:lnTo>
                  <a:lnTo>
                    <a:pt x="665" y="73"/>
                  </a:lnTo>
                  <a:lnTo>
                    <a:pt x="662" y="74"/>
                  </a:lnTo>
                  <a:lnTo>
                    <a:pt x="659" y="75"/>
                  </a:lnTo>
                  <a:lnTo>
                    <a:pt x="656" y="76"/>
                  </a:lnTo>
                  <a:lnTo>
                    <a:pt x="653" y="76"/>
                  </a:lnTo>
                  <a:lnTo>
                    <a:pt x="649" y="75"/>
                  </a:lnTo>
                  <a:lnTo>
                    <a:pt x="647" y="74"/>
                  </a:lnTo>
                  <a:lnTo>
                    <a:pt x="645" y="72"/>
                  </a:lnTo>
                  <a:lnTo>
                    <a:pt x="643" y="70"/>
                  </a:lnTo>
                  <a:lnTo>
                    <a:pt x="642" y="68"/>
                  </a:lnTo>
                  <a:lnTo>
                    <a:pt x="641" y="65"/>
                  </a:lnTo>
                  <a:lnTo>
                    <a:pt x="640" y="62"/>
                  </a:lnTo>
                  <a:lnTo>
                    <a:pt x="687" y="62"/>
                  </a:lnTo>
                  <a:close/>
                  <a:moveTo>
                    <a:pt x="593" y="89"/>
                  </a:moveTo>
                  <a:lnTo>
                    <a:pt x="614" y="25"/>
                  </a:lnTo>
                  <a:lnTo>
                    <a:pt x="594" y="25"/>
                  </a:lnTo>
                  <a:lnTo>
                    <a:pt x="588" y="49"/>
                  </a:lnTo>
                  <a:lnTo>
                    <a:pt x="584" y="68"/>
                  </a:lnTo>
                  <a:lnTo>
                    <a:pt x="579" y="49"/>
                  </a:lnTo>
                  <a:lnTo>
                    <a:pt x="571" y="25"/>
                  </a:lnTo>
                  <a:lnTo>
                    <a:pt x="552" y="25"/>
                  </a:lnTo>
                  <a:lnTo>
                    <a:pt x="575" y="89"/>
                  </a:lnTo>
                  <a:lnTo>
                    <a:pt x="593" y="89"/>
                  </a:lnTo>
                  <a:close/>
                  <a:moveTo>
                    <a:pt x="540" y="0"/>
                  </a:moveTo>
                  <a:lnTo>
                    <a:pt x="521" y="0"/>
                  </a:lnTo>
                  <a:lnTo>
                    <a:pt x="521" y="16"/>
                  </a:lnTo>
                  <a:lnTo>
                    <a:pt x="540" y="16"/>
                  </a:lnTo>
                  <a:lnTo>
                    <a:pt x="540" y="0"/>
                  </a:lnTo>
                  <a:close/>
                  <a:moveTo>
                    <a:pt x="540" y="25"/>
                  </a:moveTo>
                  <a:lnTo>
                    <a:pt x="521" y="25"/>
                  </a:lnTo>
                  <a:lnTo>
                    <a:pt x="521" y="89"/>
                  </a:lnTo>
                  <a:lnTo>
                    <a:pt x="540" y="89"/>
                  </a:lnTo>
                  <a:lnTo>
                    <a:pt x="540" y="25"/>
                  </a:lnTo>
                  <a:close/>
                  <a:moveTo>
                    <a:pt x="445" y="25"/>
                  </a:moveTo>
                  <a:lnTo>
                    <a:pt x="445" y="89"/>
                  </a:lnTo>
                  <a:lnTo>
                    <a:pt x="464" y="89"/>
                  </a:lnTo>
                  <a:lnTo>
                    <a:pt x="464" y="53"/>
                  </a:lnTo>
                  <a:lnTo>
                    <a:pt x="465" y="46"/>
                  </a:lnTo>
                  <a:lnTo>
                    <a:pt x="465" y="44"/>
                  </a:lnTo>
                  <a:lnTo>
                    <a:pt x="467" y="42"/>
                  </a:lnTo>
                  <a:lnTo>
                    <a:pt x="468" y="41"/>
                  </a:lnTo>
                  <a:lnTo>
                    <a:pt x="470" y="40"/>
                  </a:lnTo>
                  <a:lnTo>
                    <a:pt x="472" y="39"/>
                  </a:lnTo>
                  <a:lnTo>
                    <a:pt x="475" y="39"/>
                  </a:lnTo>
                  <a:lnTo>
                    <a:pt x="477" y="39"/>
                  </a:lnTo>
                  <a:lnTo>
                    <a:pt x="479" y="40"/>
                  </a:lnTo>
                  <a:lnTo>
                    <a:pt x="481" y="41"/>
                  </a:lnTo>
                  <a:lnTo>
                    <a:pt x="482" y="43"/>
                  </a:lnTo>
                  <a:lnTo>
                    <a:pt x="483" y="44"/>
                  </a:lnTo>
                  <a:lnTo>
                    <a:pt x="484" y="47"/>
                  </a:lnTo>
                  <a:lnTo>
                    <a:pt x="484" y="54"/>
                  </a:lnTo>
                  <a:lnTo>
                    <a:pt x="484" y="89"/>
                  </a:lnTo>
                  <a:lnTo>
                    <a:pt x="503" y="89"/>
                  </a:lnTo>
                  <a:lnTo>
                    <a:pt x="503" y="47"/>
                  </a:lnTo>
                  <a:lnTo>
                    <a:pt x="503" y="42"/>
                  </a:lnTo>
                  <a:lnTo>
                    <a:pt x="502" y="37"/>
                  </a:lnTo>
                  <a:lnTo>
                    <a:pt x="500" y="33"/>
                  </a:lnTo>
                  <a:lnTo>
                    <a:pt x="497" y="29"/>
                  </a:lnTo>
                  <a:lnTo>
                    <a:pt x="494" y="27"/>
                  </a:lnTo>
                  <a:lnTo>
                    <a:pt x="490" y="25"/>
                  </a:lnTo>
                  <a:lnTo>
                    <a:pt x="486" y="23"/>
                  </a:lnTo>
                  <a:lnTo>
                    <a:pt x="481" y="23"/>
                  </a:lnTo>
                  <a:lnTo>
                    <a:pt x="476" y="23"/>
                  </a:lnTo>
                  <a:lnTo>
                    <a:pt x="472" y="25"/>
                  </a:lnTo>
                  <a:lnTo>
                    <a:pt x="468" y="27"/>
                  </a:lnTo>
                  <a:lnTo>
                    <a:pt x="463" y="31"/>
                  </a:lnTo>
                  <a:lnTo>
                    <a:pt x="463" y="25"/>
                  </a:lnTo>
                  <a:lnTo>
                    <a:pt x="445" y="25"/>
                  </a:lnTo>
                  <a:close/>
                  <a:moveTo>
                    <a:pt x="407" y="0"/>
                  </a:moveTo>
                  <a:lnTo>
                    <a:pt x="407" y="59"/>
                  </a:lnTo>
                  <a:lnTo>
                    <a:pt x="407" y="63"/>
                  </a:lnTo>
                  <a:lnTo>
                    <a:pt x="406" y="66"/>
                  </a:lnTo>
                  <a:lnTo>
                    <a:pt x="405" y="68"/>
                  </a:lnTo>
                  <a:lnTo>
                    <a:pt x="404" y="70"/>
                  </a:lnTo>
                  <a:lnTo>
                    <a:pt x="401" y="72"/>
                  </a:lnTo>
                  <a:lnTo>
                    <a:pt x="398" y="73"/>
                  </a:lnTo>
                  <a:lnTo>
                    <a:pt x="395" y="74"/>
                  </a:lnTo>
                  <a:lnTo>
                    <a:pt x="392" y="74"/>
                  </a:lnTo>
                  <a:lnTo>
                    <a:pt x="388" y="74"/>
                  </a:lnTo>
                  <a:lnTo>
                    <a:pt x="385" y="73"/>
                  </a:lnTo>
                  <a:lnTo>
                    <a:pt x="382" y="72"/>
                  </a:lnTo>
                  <a:lnTo>
                    <a:pt x="380" y="70"/>
                  </a:lnTo>
                  <a:lnTo>
                    <a:pt x="378" y="68"/>
                  </a:lnTo>
                  <a:lnTo>
                    <a:pt x="377" y="66"/>
                  </a:lnTo>
                  <a:lnTo>
                    <a:pt x="376" y="63"/>
                  </a:lnTo>
                  <a:lnTo>
                    <a:pt x="376" y="59"/>
                  </a:lnTo>
                  <a:lnTo>
                    <a:pt x="376" y="0"/>
                  </a:lnTo>
                  <a:lnTo>
                    <a:pt x="356" y="0"/>
                  </a:lnTo>
                  <a:lnTo>
                    <a:pt x="356" y="60"/>
                  </a:lnTo>
                  <a:lnTo>
                    <a:pt x="357" y="68"/>
                  </a:lnTo>
                  <a:lnTo>
                    <a:pt x="359" y="74"/>
                  </a:lnTo>
                  <a:lnTo>
                    <a:pt x="360" y="77"/>
                  </a:lnTo>
                  <a:lnTo>
                    <a:pt x="362" y="79"/>
                  </a:lnTo>
                  <a:lnTo>
                    <a:pt x="364" y="81"/>
                  </a:lnTo>
                  <a:lnTo>
                    <a:pt x="366" y="83"/>
                  </a:lnTo>
                  <a:lnTo>
                    <a:pt x="371" y="86"/>
                  </a:lnTo>
                  <a:lnTo>
                    <a:pt x="374" y="88"/>
                  </a:lnTo>
                  <a:lnTo>
                    <a:pt x="378" y="89"/>
                  </a:lnTo>
                  <a:lnTo>
                    <a:pt x="384" y="90"/>
                  </a:lnTo>
                  <a:lnTo>
                    <a:pt x="392" y="91"/>
                  </a:lnTo>
                  <a:lnTo>
                    <a:pt x="399" y="90"/>
                  </a:lnTo>
                  <a:lnTo>
                    <a:pt x="403" y="90"/>
                  </a:lnTo>
                  <a:lnTo>
                    <a:pt x="406" y="89"/>
                  </a:lnTo>
                  <a:lnTo>
                    <a:pt x="412" y="86"/>
                  </a:lnTo>
                  <a:lnTo>
                    <a:pt x="418" y="83"/>
                  </a:lnTo>
                  <a:lnTo>
                    <a:pt x="420" y="81"/>
                  </a:lnTo>
                  <a:lnTo>
                    <a:pt x="422" y="79"/>
                  </a:lnTo>
                  <a:lnTo>
                    <a:pt x="424" y="77"/>
                  </a:lnTo>
                  <a:lnTo>
                    <a:pt x="425" y="74"/>
                  </a:lnTo>
                  <a:lnTo>
                    <a:pt x="427" y="68"/>
                  </a:lnTo>
                  <a:lnTo>
                    <a:pt x="427" y="64"/>
                  </a:lnTo>
                  <a:lnTo>
                    <a:pt x="427" y="60"/>
                  </a:lnTo>
                  <a:lnTo>
                    <a:pt x="427" y="0"/>
                  </a:lnTo>
                  <a:lnTo>
                    <a:pt x="407" y="0"/>
                  </a:lnTo>
                  <a:close/>
                  <a:moveTo>
                    <a:pt x="277" y="38"/>
                  </a:moveTo>
                  <a:lnTo>
                    <a:pt x="281" y="38"/>
                  </a:lnTo>
                  <a:lnTo>
                    <a:pt x="284" y="39"/>
                  </a:lnTo>
                  <a:lnTo>
                    <a:pt x="286" y="41"/>
                  </a:lnTo>
                  <a:lnTo>
                    <a:pt x="289" y="43"/>
                  </a:lnTo>
                  <a:lnTo>
                    <a:pt x="290" y="46"/>
                  </a:lnTo>
                  <a:lnTo>
                    <a:pt x="292" y="49"/>
                  </a:lnTo>
                  <a:lnTo>
                    <a:pt x="292" y="53"/>
                  </a:lnTo>
                  <a:lnTo>
                    <a:pt x="293" y="57"/>
                  </a:lnTo>
                  <a:lnTo>
                    <a:pt x="292" y="61"/>
                  </a:lnTo>
                  <a:lnTo>
                    <a:pt x="292" y="65"/>
                  </a:lnTo>
                  <a:lnTo>
                    <a:pt x="290" y="68"/>
                  </a:lnTo>
                  <a:lnTo>
                    <a:pt x="289" y="71"/>
                  </a:lnTo>
                  <a:lnTo>
                    <a:pt x="288" y="72"/>
                  </a:lnTo>
                  <a:lnTo>
                    <a:pt x="286" y="73"/>
                  </a:lnTo>
                  <a:lnTo>
                    <a:pt x="284" y="74"/>
                  </a:lnTo>
                  <a:lnTo>
                    <a:pt x="281" y="75"/>
                  </a:lnTo>
                  <a:lnTo>
                    <a:pt x="277" y="75"/>
                  </a:lnTo>
                  <a:lnTo>
                    <a:pt x="274" y="75"/>
                  </a:lnTo>
                  <a:lnTo>
                    <a:pt x="271" y="74"/>
                  </a:lnTo>
                  <a:lnTo>
                    <a:pt x="269" y="73"/>
                  </a:lnTo>
                  <a:lnTo>
                    <a:pt x="266" y="71"/>
                  </a:lnTo>
                  <a:lnTo>
                    <a:pt x="265" y="68"/>
                  </a:lnTo>
                  <a:lnTo>
                    <a:pt x="264" y="65"/>
                  </a:lnTo>
                  <a:lnTo>
                    <a:pt x="263" y="61"/>
                  </a:lnTo>
                  <a:lnTo>
                    <a:pt x="263" y="57"/>
                  </a:lnTo>
                  <a:lnTo>
                    <a:pt x="263" y="52"/>
                  </a:lnTo>
                  <a:lnTo>
                    <a:pt x="264" y="49"/>
                  </a:lnTo>
                  <a:lnTo>
                    <a:pt x="265" y="46"/>
                  </a:lnTo>
                  <a:lnTo>
                    <a:pt x="266" y="43"/>
                  </a:lnTo>
                  <a:lnTo>
                    <a:pt x="267" y="42"/>
                  </a:lnTo>
                  <a:lnTo>
                    <a:pt x="269" y="41"/>
                  </a:lnTo>
                  <a:lnTo>
                    <a:pt x="271" y="39"/>
                  </a:lnTo>
                  <a:lnTo>
                    <a:pt x="274" y="38"/>
                  </a:lnTo>
                  <a:lnTo>
                    <a:pt x="277" y="38"/>
                  </a:lnTo>
                  <a:close/>
                  <a:moveTo>
                    <a:pt x="277" y="23"/>
                  </a:moveTo>
                  <a:lnTo>
                    <a:pt x="270" y="24"/>
                  </a:lnTo>
                  <a:lnTo>
                    <a:pt x="264" y="26"/>
                  </a:lnTo>
                  <a:lnTo>
                    <a:pt x="261" y="27"/>
                  </a:lnTo>
                  <a:lnTo>
                    <a:pt x="258" y="29"/>
                  </a:lnTo>
                  <a:lnTo>
                    <a:pt x="253" y="33"/>
                  </a:lnTo>
                  <a:lnTo>
                    <a:pt x="249" y="37"/>
                  </a:lnTo>
                  <a:lnTo>
                    <a:pt x="247" y="40"/>
                  </a:lnTo>
                  <a:lnTo>
                    <a:pt x="246" y="43"/>
                  </a:lnTo>
                  <a:lnTo>
                    <a:pt x="245" y="46"/>
                  </a:lnTo>
                  <a:lnTo>
                    <a:pt x="244" y="50"/>
                  </a:lnTo>
                  <a:lnTo>
                    <a:pt x="244" y="53"/>
                  </a:lnTo>
                  <a:lnTo>
                    <a:pt x="244" y="57"/>
                  </a:lnTo>
                  <a:lnTo>
                    <a:pt x="244" y="64"/>
                  </a:lnTo>
                  <a:lnTo>
                    <a:pt x="246" y="70"/>
                  </a:lnTo>
                  <a:lnTo>
                    <a:pt x="247" y="73"/>
                  </a:lnTo>
                  <a:lnTo>
                    <a:pt x="249" y="76"/>
                  </a:lnTo>
                  <a:lnTo>
                    <a:pt x="253" y="81"/>
                  </a:lnTo>
                  <a:lnTo>
                    <a:pt x="258" y="85"/>
                  </a:lnTo>
                  <a:lnTo>
                    <a:pt x="261" y="87"/>
                  </a:lnTo>
                  <a:lnTo>
                    <a:pt x="264" y="88"/>
                  </a:lnTo>
                  <a:lnTo>
                    <a:pt x="267" y="89"/>
                  </a:lnTo>
                  <a:lnTo>
                    <a:pt x="270" y="90"/>
                  </a:lnTo>
                  <a:lnTo>
                    <a:pt x="277" y="90"/>
                  </a:lnTo>
                  <a:lnTo>
                    <a:pt x="285" y="90"/>
                  </a:lnTo>
                  <a:lnTo>
                    <a:pt x="291" y="88"/>
                  </a:lnTo>
                  <a:lnTo>
                    <a:pt x="294" y="87"/>
                  </a:lnTo>
                  <a:lnTo>
                    <a:pt x="297" y="85"/>
                  </a:lnTo>
                  <a:lnTo>
                    <a:pt x="302" y="81"/>
                  </a:lnTo>
                  <a:lnTo>
                    <a:pt x="306" y="76"/>
                  </a:lnTo>
                  <a:lnTo>
                    <a:pt x="308" y="73"/>
                  </a:lnTo>
                  <a:lnTo>
                    <a:pt x="309" y="71"/>
                  </a:lnTo>
                  <a:lnTo>
                    <a:pt x="311" y="64"/>
                  </a:lnTo>
                  <a:lnTo>
                    <a:pt x="311" y="61"/>
                  </a:lnTo>
                  <a:lnTo>
                    <a:pt x="311" y="57"/>
                  </a:lnTo>
                  <a:lnTo>
                    <a:pt x="311" y="53"/>
                  </a:lnTo>
                  <a:lnTo>
                    <a:pt x="311" y="50"/>
                  </a:lnTo>
                  <a:lnTo>
                    <a:pt x="309" y="43"/>
                  </a:lnTo>
                  <a:lnTo>
                    <a:pt x="308" y="40"/>
                  </a:lnTo>
                  <a:lnTo>
                    <a:pt x="306" y="37"/>
                  </a:lnTo>
                  <a:lnTo>
                    <a:pt x="302" y="33"/>
                  </a:lnTo>
                  <a:lnTo>
                    <a:pt x="297" y="29"/>
                  </a:lnTo>
                  <a:lnTo>
                    <a:pt x="294" y="27"/>
                  </a:lnTo>
                  <a:lnTo>
                    <a:pt x="291" y="26"/>
                  </a:lnTo>
                  <a:lnTo>
                    <a:pt x="288" y="24"/>
                  </a:lnTo>
                  <a:lnTo>
                    <a:pt x="285" y="24"/>
                  </a:lnTo>
                  <a:lnTo>
                    <a:pt x="277" y="23"/>
                  </a:lnTo>
                  <a:close/>
                  <a:moveTo>
                    <a:pt x="235" y="26"/>
                  </a:moveTo>
                  <a:lnTo>
                    <a:pt x="224" y="26"/>
                  </a:lnTo>
                  <a:lnTo>
                    <a:pt x="224" y="5"/>
                  </a:lnTo>
                  <a:lnTo>
                    <a:pt x="205" y="5"/>
                  </a:lnTo>
                  <a:lnTo>
                    <a:pt x="205" y="26"/>
                  </a:lnTo>
                  <a:lnTo>
                    <a:pt x="196" y="26"/>
                  </a:lnTo>
                  <a:lnTo>
                    <a:pt x="196" y="39"/>
                  </a:lnTo>
                  <a:lnTo>
                    <a:pt x="205" y="39"/>
                  </a:lnTo>
                  <a:lnTo>
                    <a:pt x="205" y="68"/>
                  </a:lnTo>
                  <a:lnTo>
                    <a:pt x="205" y="74"/>
                  </a:lnTo>
                  <a:lnTo>
                    <a:pt x="206" y="79"/>
                  </a:lnTo>
                  <a:lnTo>
                    <a:pt x="207" y="82"/>
                  </a:lnTo>
                  <a:lnTo>
                    <a:pt x="209" y="84"/>
                  </a:lnTo>
                  <a:lnTo>
                    <a:pt x="211" y="86"/>
                  </a:lnTo>
                  <a:lnTo>
                    <a:pt x="214" y="88"/>
                  </a:lnTo>
                  <a:lnTo>
                    <a:pt x="218" y="88"/>
                  </a:lnTo>
                  <a:lnTo>
                    <a:pt x="224" y="89"/>
                  </a:lnTo>
                  <a:lnTo>
                    <a:pt x="235" y="89"/>
                  </a:lnTo>
                  <a:lnTo>
                    <a:pt x="235" y="75"/>
                  </a:lnTo>
                  <a:lnTo>
                    <a:pt x="228" y="75"/>
                  </a:lnTo>
                  <a:lnTo>
                    <a:pt x="226" y="74"/>
                  </a:lnTo>
                  <a:lnTo>
                    <a:pt x="225" y="74"/>
                  </a:lnTo>
                  <a:lnTo>
                    <a:pt x="224" y="73"/>
                  </a:lnTo>
                  <a:lnTo>
                    <a:pt x="224" y="70"/>
                  </a:lnTo>
                  <a:lnTo>
                    <a:pt x="224" y="64"/>
                  </a:lnTo>
                  <a:lnTo>
                    <a:pt x="224" y="39"/>
                  </a:lnTo>
                  <a:lnTo>
                    <a:pt x="235" y="39"/>
                  </a:lnTo>
                  <a:lnTo>
                    <a:pt x="235" y="26"/>
                  </a:lnTo>
                  <a:close/>
                  <a:moveTo>
                    <a:pt x="184" y="0"/>
                  </a:moveTo>
                  <a:lnTo>
                    <a:pt x="166" y="0"/>
                  </a:lnTo>
                  <a:lnTo>
                    <a:pt x="166" y="89"/>
                  </a:lnTo>
                  <a:lnTo>
                    <a:pt x="184" y="89"/>
                  </a:lnTo>
                  <a:lnTo>
                    <a:pt x="184" y="0"/>
                  </a:lnTo>
                  <a:close/>
                  <a:moveTo>
                    <a:pt x="131" y="68"/>
                  </a:moveTo>
                  <a:lnTo>
                    <a:pt x="129" y="72"/>
                  </a:lnTo>
                  <a:lnTo>
                    <a:pt x="126" y="74"/>
                  </a:lnTo>
                  <a:lnTo>
                    <a:pt x="122" y="76"/>
                  </a:lnTo>
                  <a:lnTo>
                    <a:pt x="117" y="76"/>
                  </a:lnTo>
                  <a:lnTo>
                    <a:pt x="114" y="76"/>
                  </a:lnTo>
                  <a:lnTo>
                    <a:pt x="111" y="74"/>
                  </a:lnTo>
                  <a:lnTo>
                    <a:pt x="109" y="72"/>
                  </a:lnTo>
                  <a:lnTo>
                    <a:pt x="108" y="71"/>
                  </a:lnTo>
                  <a:lnTo>
                    <a:pt x="108" y="69"/>
                  </a:lnTo>
                  <a:lnTo>
                    <a:pt x="109" y="67"/>
                  </a:lnTo>
                  <a:lnTo>
                    <a:pt x="110" y="65"/>
                  </a:lnTo>
                  <a:lnTo>
                    <a:pt x="113" y="63"/>
                  </a:lnTo>
                  <a:lnTo>
                    <a:pt x="118" y="62"/>
                  </a:lnTo>
                  <a:lnTo>
                    <a:pt x="124" y="60"/>
                  </a:lnTo>
                  <a:lnTo>
                    <a:pt x="131" y="58"/>
                  </a:lnTo>
                  <a:lnTo>
                    <a:pt x="131" y="68"/>
                  </a:lnTo>
                  <a:close/>
                  <a:moveTo>
                    <a:pt x="110" y="45"/>
                  </a:moveTo>
                  <a:lnTo>
                    <a:pt x="110" y="43"/>
                  </a:lnTo>
                  <a:lnTo>
                    <a:pt x="111" y="42"/>
                  </a:lnTo>
                  <a:lnTo>
                    <a:pt x="112" y="40"/>
                  </a:lnTo>
                  <a:lnTo>
                    <a:pt x="113" y="39"/>
                  </a:lnTo>
                  <a:lnTo>
                    <a:pt x="116" y="38"/>
                  </a:lnTo>
                  <a:lnTo>
                    <a:pt x="121" y="37"/>
                  </a:lnTo>
                  <a:lnTo>
                    <a:pt x="125" y="38"/>
                  </a:lnTo>
                  <a:lnTo>
                    <a:pt x="128" y="39"/>
                  </a:lnTo>
                  <a:lnTo>
                    <a:pt x="130" y="41"/>
                  </a:lnTo>
                  <a:lnTo>
                    <a:pt x="131" y="42"/>
                  </a:lnTo>
                  <a:lnTo>
                    <a:pt x="131" y="43"/>
                  </a:lnTo>
                  <a:lnTo>
                    <a:pt x="130" y="45"/>
                  </a:lnTo>
                  <a:lnTo>
                    <a:pt x="129" y="46"/>
                  </a:lnTo>
                  <a:lnTo>
                    <a:pt x="128" y="47"/>
                  </a:lnTo>
                  <a:lnTo>
                    <a:pt x="125" y="48"/>
                  </a:lnTo>
                  <a:lnTo>
                    <a:pt x="115" y="49"/>
                  </a:lnTo>
                  <a:lnTo>
                    <a:pt x="109" y="51"/>
                  </a:lnTo>
                  <a:lnTo>
                    <a:pt x="103" y="52"/>
                  </a:lnTo>
                  <a:lnTo>
                    <a:pt x="99" y="54"/>
                  </a:lnTo>
                  <a:lnTo>
                    <a:pt x="95" y="56"/>
                  </a:lnTo>
                  <a:lnTo>
                    <a:pt x="93" y="59"/>
                  </a:lnTo>
                  <a:lnTo>
                    <a:pt x="92" y="61"/>
                  </a:lnTo>
                  <a:lnTo>
                    <a:pt x="91" y="62"/>
                  </a:lnTo>
                  <a:lnTo>
                    <a:pt x="90" y="66"/>
                  </a:lnTo>
                  <a:lnTo>
                    <a:pt x="89" y="70"/>
                  </a:lnTo>
                  <a:lnTo>
                    <a:pt x="90" y="75"/>
                  </a:lnTo>
                  <a:lnTo>
                    <a:pt x="91" y="79"/>
                  </a:lnTo>
                  <a:lnTo>
                    <a:pt x="93" y="82"/>
                  </a:lnTo>
                  <a:lnTo>
                    <a:pt x="96" y="85"/>
                  </a:lnTo>
                  <a:lnTo>
                    <a:pt x="97" y="86"/>
                  </a:lnTo>
                  <a:lnTo>
                    <a:pt x="99" y="87"/>
                  </a:lnTo>
                  <a:lnTo>
                    <a:pt x="103" y="89"/>
                  </a:lnTo>
                  <a:lnTo>
                    <a:pt x="108" y="90"/>
                  </a:lnTo>
                  <a:lnTo>
                    <a:pt x="113" y="90"/>
                  </a:lnTo>
                  <a:lnTo>
                    <a:pt x="118" y="90"/>
                  </a:lnTo>
                  <a:lnTo>
                    <a:pt x="123" y="89"/>
                  </a:lnTo>
                  <a:lnTo>
                    <a:pt x="127" y="87"/>
                  </a:lnTo>
                  <a:lnTo>
                    <a:pt x="131" y="84"/>
                  </a:lnTo>
                  <a:lnTo>
                    <a:pt x="133" y="89"/>
                  </a:lnTo>
                  <a:lnTo>
                    <a:pt x="152" y="89"/>
                  </a:lnTo>
                  <a:lnTo>
                    <a:pt x="151" y="87"/>
                  </a:lnTo>
                  <a:lnTo>
                    <a:pt x="150" y="85"/>
                  </a:lnTo>
                  <a:lnTo>
                    <a:pt x="149" y="78"/>
                  </a:lnTo>
                  <a:lnTo>
                    <a:pt x="149" y="48"/>
                  </a:lnTo>
                  <a:lnTo>
                    <a:pt x="149" y="42"/>
                  </a:lnTo>
                  <a:lnTo>
                    <a:pt x="148" y="37"/>
                  </a:lnTo>
                  <a:lnTo>
                    <a:pt x="146" y="33"/>
                  </a:lnTo>
                  <a:lnTo>
                    <a:pt x="145" y="31"/>
                  </a:lnTo>
                  <a:lnTo>
                    <a:pt x="143" y="30"/>
                  </a:lnTo>
                  <a:lnTo>
                    <a:pt x="139" y="27"/>
                  </a:lnTo>
                  <a:lnTo>
                    <a:pt x="134" y="25"/>
                  </a:lnTo>
                  <a:lnTo>
                    <a:pt x="128" y="23"/>
                  </a:lnTo>
                  <a:lnTo>
                    <a:pt x="121" y="23"/>
                  </a:lnTo>
                  <a:lnTo>
                    <a:pt x="115" y="23"/>
                  </a:lnTo>
                  <a:lnTo>
                    <a:pt x="109" y="24"/>
                  </a:lnTo>
                  <a:lnTo>
                    <a:pt x="104" y="26"/>
                  </a:lnTo>
                  <a:lnTo>
                    <a:pt x="101" y="28"/>
                  </a:lnTo>
                  <a:lnTo>
                    <a:pt x="97" y="31"/>
                  </a:lnTo>
                  <a:lnTo>
                    <a:pt x="95" y="35"/>
                  </a:lnTo>
                  <a:lnTo>
                    <a:pt x="94" y="37"/>
                  </a:lnTo>
                  <a:lnTo>
                    <a:pt x="94" y="40"/>
                  </a:lnTo>
                  <a:lnTo>
                    <a:pt x="93" y="42"/>
                  </a:lnTo>
                  <a:lnTo>
                    <a:pt x="93" y="45"/>
                  </a:lnTo>
                  <a:lnTo>
                    <a:pt x="110" y="45"/>
                  </a:lnTo>
                  <a:close/>
                  <a:moveTo>
                    <a:pt x="52" y="55"/>
                  </a:moveTo>
                  <a:lnTo>
                    <a:pt x="32" y="55"/>
                  </a:lnTo>
                  <a:lnTo>
                    <a:pt x="43" y="20"/>
                  </a:lnTo>
                  <a:lnTo>
                    <a:pt x="52" y="55"/>
                  </a:lnTo>
                  <a:close/>
                  <a:moveTo>
                    <a:pt x="57" y="71"/>
                  </a:moveTo>
                  <a:lnTo>
                    <a:pt x="61" y="89"/>
                  </a:lnTo>
                  <a:lnTo>
                    <a:pt x="84" y="89"/>
                  </a:lnTo>
                  <a:lnTo>
                    <a:pt x="56" y="0"/>
                  </a:lnTo>
                  <a:lnTo>
                    <a:pt x="31" y="0"/>
                  </a:lnTo>
                  <a:lnTo>
                    <a:pt x="0" y="89"/>
                  </a:lnTo>
                  <a:lnTo>
                    <a:pt x="22" y="89"/>
                  </a:lnTo>
                  <a:lnTo>
                    <a:pt x="27" y="71"/>
                  </a:lnTo>
                  <a:lnTo>
                    <a:pt x="57"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19" name="Freeform 7"/>
            <p:cNvSpPr>
              <a:spLocks noEditPoints="1"/>
            </p:cNvSpPr>
            <p:nvPr userDrawn="1"/>
          </p:nvSpPr>
          <p:spPr bwMode="auto">
            <a:xfrm>
              <a:off x="5756275" y="325438"/>
              <a:ext cx="1941513" cy="142875"/>
            </a:xfrm>
            <a:custGeom>
              <a:avLst/>
              <a:gdLst>
                <a:gd name="T0" fmla="*/ 1197 w 1223"/>
                <a:gd name="T1" fmla="*/ 38 h 90"/>
                <a:gd name="T2" fmla="*/ 1220 w 1223"/>
                <a:gd name="T3" fmla="*/ 32 h 90"/>
                <a:gd name="T4" fmla="*/ 1120 w 1223"/>
                <a:gd name="T5" fmla="*/ 37 h 90"/>
                <a:gd name="T6" fmla="*/ 1131 w 1223"/>
                <a:gd name="T7" fmla="*/ 70 h 90"/>
                <a:gd name="T8" fmla="*/ 1105 w 1223"/>
                <a:gd name="T9" fmla="*/ 60 h 90"/>
                <a:gd name="T10" fmla="*/ 1112 w 1223"/>
                <a:gd name="T11" fmla="*/ 23 h 90"/>
                <a:gd name="T12" fmla="*/ 1088 w 1223"/>
                <a:gd name="T13" fmla="*/ 70 h 90"/>
                <a:gd name="T14" fmla="*/ 1136 w 1223"/>
                <a:gd name="T15" fmla="*/ 86 h 90"/>
                <a:gd name="T16" fmla="*/ 1150 w 1223"/>
                <a:gd name="T17" fmla="*/ 40 h 90"/>
                <a:gd name="T18" fmla="*/ 1074 w 1223"/>
                <a:gd name="T19" fmla="*/ 15 h 90"/>
                <a:gd name="T20" fmla="*/ 1002 w 1223"/>
                <a:gd name="T21" fmla="*/ 25 h 90"/>
                <a:gd name="T22" fmla="*/ 1041 w 1223"/>
                <a:gd name="T23" fmla="*/ 88 h 90"/>
                <a:gd name="T24" fmla="*/ 967 w 1223"/>
                <a:gd name="T25" fmla="*/ 74 h 90"/>
                <a:gd name="T26" fmla="*/ 966 w 1223"/>
                <a:gd name="T27" fmla="*/ 60 h 90"/>
                <a:gd name="T28" fmla="*/ 971 w 1223"/>
                <a:gd name="T29" fmla="*/ 40 h 90"/>
                <a:gd name="T30" fmla="*/ 934 w 1223"/>
                <a:gd name="T31" fmla="*/ 59 h 90"/>
                <a:gd name="T32" fmla="*/ 954 w 1223"/>
                <a:gd name="T33" fmla="*/ 90 h 90"/>
                <a:gd name="T34" fmla="*/ 990 w 1223"/>
                <a:gd name="T35" fmla="*/ 36 h 90"/>
                <a:gd name="T36" fmla="*/ 939 w 1223"/>
                <a:gd name="T37" fmla="*/ 31 h 90"/>
                <a:gd name="T38" fmla="*/ 907 w 1223"/>
                <a:gd name="T39" fmla="*/ 26 h 90"/>
                <a:gd name="T40" fmla="*/ 859 w 1223"/>
                <a:gd name="T41" fmla="*/ 49 h 90"/>
                <a:gd name="T42" fmla="*/ 891 w 1223"/>
                <a:gd name="T43" fmla="*/ 90 h 90"/>
                <a:gd name="T44" fmla="*/ 899 w 1223"/>
                <a:gd name="T45" fmla="*/ 72 h 90"/>
                <a:gd name="T46" fmla="*/ 878 w 1223"/>
                <a:gd name="T47" fmla="*/ 56 h 90"/>
                <a:gd name="T48" fmla="*/ 900 w 1223"/>
                <a:gd name="T49" fmla="*/ 42 h 90"/>
                <a:gd name="T50" fmla="*/ 823 w 1223"/>
                <a:gd name="T51" fmla="*/ 73 h 90"/>
                <a:gd name="T52" fmla="*/ 790 w 1223"/>
                <a:gd name="T53" fmla="*/ 71 h 90"/>
                <a:gd name="T54" fmla="*/ 828 w 1223"/>
                <a:gd name="T55" fmla="*/ 83 h 90"/>
                <a:gd name="T56" fmla="*/ 756 w 1223"/>
                <a:gd name="T57" fmla="*/ 52 h 90"/>
                <a:gd name="T58" fmla="*/ 735 w 1223"/>
                <a:gd name="T59" fmla="*/ 72 h 90"/>
                <a:gd name="T60" fmla="*/ 740 w 1223"/>
                <a:gd name="T61" fmla="*/ 38 h 90"/>
                <a:gd name="T62" fmla="*/ 719 w 1223"/>
                <a:gd name="T63" fmla="*/ 32 h 90"/>
                <a:gd name="T64" fmla="*/ 723 w 1223"/>
                <a:gd name="T65" fmla="*/ 85 h 90"/>
                <a:gd name="T66" fmla="*/ 757 w 1223"/>
                <a:gd name="T67" fmla="*/ 88 h 90"/>
                <a:gd name="T68" fmla="*/ 655 w 1223"/>
                <a:gd name="T69" fmla="*/ 34 h 90"/>
                <a:gd name="T70" fmla="*/ 556 w 1223"/>
                <a:gd name="T71" fmla="*/ 38 h 90"/>
                <a:gd name="T72" fmla="*/ 580 w 1223"/>
                <a:gd name="T73" fmla="*/ 41 h 90"/>
                <a:gd name="T74" fmla="*/ 533 w 1223"/>
                <a:gd name="T75" fmla="*/ 28 h 90"/>
                <a:gd name="T76" fmla="*/ 528 w 1223"/>
                <a:gd name="T77" fmla="*/ 81 h 90"/>
                <a:gd name="T78" fmla="*/ 577 w 1223"/>
                <a:gd name="T79" fmla="*/ 80 h 90"/>
                <a:gd name="T80" fmla="*/ 543 w 1223"/>
                <a:gd name="T81" fmla="*/ 72 h 90"/>
                <a:gd name="T82" fmla="*/ 471 w 1223"/>
                <a:gd name="T83" fmla="*/ 24 h 90"/>
                <a:gd name="T84" fmla="*/ 440 w 1223"/>
                <a:gd name="T85" fmla="*/ 88 h 90"/>
                <a:gd name="T86" fmla="*/ 376 w 1223"/>
                <a:gd name="T87" fmla="*/ 78 h 90"/>
                <a:gd name="T88" fmla="*/ 394 w 1223"/>
                <a:gd name="T89" fmla="*/ 69 h 90"/>
                <a:gd name="T90" fmla="*/ 329 w 1223"/>
                <a:gd name="T91" fmla="*/ 73 h 90"/>
                <a:gd name="T92" fmla="*/ 295 w 1223"/>
                <a:gd name="T93" fmla="*/ 71 h 90"/>
                <a:gd name="T94" fmla="*/ 333 w 1223"/>
                <a:gd name="T95" fmla="*/ 83 h 90"/>
                <a:gd name="T96" fmla="*/ 259 w 1223"/>
                <a:gd name="T97" fmla="*/ 23 h 90"/>
                <a:gd name="T98" fmla="*/ 221 w 1223"/>
                <a:gd name="T99" fmla="*/ 64 h 90"/>
                <a:gd name="T100" fmla="*/ 264 w 1223"/>
                <a:gd name="T101" fmla="*/ 88 h 90"/>
                <a:gd name="T102" fmla="*/ 257 w 1223"/>
                <a:gd name="T103" fmla="*/ 74 h 90"/>
                <a:gd name="T104" fmla="*/ 240 w 1223"/>
                <a:gd name="T105" fmla="*/ 50 h 90"/>
                <a:gd name="T106" fmla="*/ 264 w 1223"/>
                <a:gd name="T107" fmla="*/ 47 h 90"/>
                <a:gd name="T108" fmla="*/ 186 w 1223"/>
                <a:gd name="T109" fmla="*/ 40 h 90"/>
                <a:gd name="T110" fmla="*/ 202 w 1223"/>
                <a:gd name="T111" fmla="*/ 33 h 90"/>
                <a:gd name="T112" fmla="*/ 152 w 1223"/>
                <a:gd name="T113" fmla="*/ 34 h 90"/>
                <a:gd name="T114" fmla="*/ 165 w 1223"/>
                <a:gd name="T115" fmla="*/ 87 h 90"/>
                <a:gd name="T116" fmla="*/ 207 w 1223"/>
                <a:gd name="T117" fmla="*/ 74 h 90"/>
                <a:gd name="T118" fmla="*/ 166 w 1223"/>
                <a:gd name="T119" fmla="*/ 67 h 90"/>
                <a:gd name="T120" fmla="*/ 96 w 1223"/>
                <a:gd name="T121" fmla="*/ 88 h 90"/>
                <a:gd name="T122" fmla="*/ 60 w 1223"/>
                <a:gd name="T123" fmla="*/ 5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3" h="90">
                  <a:moveTo>
                    <a:pt x="1165" y="24"/>
                  </a:moveTo>
                  <a:lnTo>
                    <a:pt x="1165" y="88"/>
                  </a:lnTo>
                  <a:lnTo>
                    <a:pt x="1184" y="88"/>
                  </a:lnTo>
                  <a:lnTo>
                    <a:pt x="1184" y="52"/>
                  </a:lnTo>
                  <a:lnTo>
                    <a:pt x="1184" y="46"/>
                  </a:lnTo>
                  <a:lnTo>
                    <a:pt x="1185" y="44"/>
                  </a:lnTo>
                  <a:lnTo>
                    <a:pt x="1187" y="42"/>
                  </a:lnTo>
                  <a:lnTo>
                    <a:pt x="1188" y="40"/>
                  </a:lnTo>
                  <a:lnTo>
                    <a:pt x="1190" y="39"/>
                  </a:lnTo>
                  <a:lnTo>
                    <a:pt x="1192" y="38"/>
                  </a:lnTo>
                  <a:lnTo>
                    <a:pt x="1195" y="38"/>
                  </a:lnTo>
                  <a:lnTo>
                    <a:pt x="1197" y="38"/>
                  </a:lnTo>
                  <a:lnTo>
                    <a:pt x="1199" y="39"/>
                  </a:lnTo>
                  <a:lnTo>
                    <a:pt x="1201" y="40"/>
                  </a:lnTo>
                  <a:lnTo>
                    <a:pt x="1202" y="42"/>
                  </a:lnTo>
                  <a:lnTo>
                    <a:pt x="1203" y="44"/>
                  </a:lnTo>
                  <a:lnTo>
                    <a:pt x="1204" y="46"/>
                  </a:lnTo>
                  <a:lnTo>
                    <a:pt x="1204" y="53"/>
                  </a:lnTo>
                  <a:lnTo>
                    <a:pt x="1204" y="88"/>
                  </a:lnTo>
                  <a:lnTo>
                    <a:pt x="1223" y="88"/>
                  </a:lnTo>
                  <a:lnTo>
                    <a:pt x="1223" y="47"/>
                  </a:lnTo>
                  <a:lnTo>
                    <a:pt x="1223" y="41"/>
                  </a:lnTo>
                  <a:lnTo>
                    <a:pt x="1222" y="37"/>
                  </a:lnTo>
                  <a:lnTo>
                    <a:pt x="1220" y="32"/>
                  </a:lnTo>
                  <a:lnTo>
                    <a:pt x="1217" y="29"/>
                  </a:lnTo>
                  <a:lnTo>
                    <a:pt x="1214" y="26"/>
                  </a:lnTo>
                  <a:lnTo>
                    <a:pt x="1210" y="24"/>
                  </a:lnTo>
                  <a:lnTo>
                    <a:pt x="1206" y="23"/>
                  </a:lnTo>
                  <a:lnTo>
                    <a:pt x="1201" y="22"/>
                  </a:lnTo>
                  <a:lnTo>
                    <a:pt x="1196" y="23"/>
                  </a:lnTo>
                  <a:lnTo>
                    <a:pt x="1192" y="24"/>
                  </a:lnTo>
                  <a:lnTo>
                    <a:pt x="1188" y="27"/>
                  </a:lnTo>
                  <a:lnTo>
                    <a:pt x="1183" y="30"/>
                  </a:lnTo>
                  <a:lnTo>
                    <a:pt x="1183" y="24"/>
                  </a:lnTo>
                  <a:lnTo>
                    <a:pt x="1165" y="24"/>
                  </a:lnTo>
                  <a:close/>
                  <a:moveTo>
                    <a:pt x="1120" y="37"/>
                  </a:moveTo>
                  <a:lnTo>
                    <a:pt x="1123" y="38"/>
                  </a:lnTo>
                  <a:lnTo>
                    <a:pt x="1126" y="39"/>
                  </a:lnTo>
                  <a:lnTo>
                    <a:pt x="1129" y="40"/>
                  </a:lnTo>
                  <a:lnTo>
                    <a:pt x="1131" y="42"/>
                  </a:lnTo>
                  <a:lnTo>
                    <a:pt x="1132" y="45"/>
                  </a:lnTo>
                  <a:lnTo>
                    <a:pt x="1134" y="48"/>
                  </a:lnTo>
                  <a:lnTo>
                    <a:pt x="1134" y="52"/>
                  </a:lnTo>
                  <a:lnTo>
                    <a:pt x="1135" y="57"/>
                  </a:lnTo>
                  <a:lnTo>
                    <a:pt x="1134" y="61"/>
                  </a:lnTo>
                  <a:lnTo>
                    <a:pt x="1134" y="64"/>
                  </a:lnTo>
                  <a:lnTo>
                    <a:pt x="1132" y="67"/>
                  </a:lnTo>
                  <a:lnTo>
                    <a:pt x="1131" y="70"/>
                  </a:lnTo>
                  <a:lnTo>
                    <a:pt x="1130" y="71"/>
                  </a:lnTo>
                  <a:lnTo>
                    <a:pt x="1129" y="72"/>
                  </a:lnTo>
                  <a:lnTo>
                    <a:pt x="1126" y="74"/>
                  </a:lnTo>
                  <a:lnTo>
                    <a:pt x="1123" y="75"/>
                  </a:lnTo>
                  <a:lnTo>
                    <a:pt x="1120" y="75"/>
                  </a:lnTo>
                  <a:lnTo>
                    <a:pt x="1116" y="75"/>
                  </a:lnTo>
                  <a:lnTo>
                    <a:pt x="1113" y="74"/>
                  </a:lnTo>
                  <a:lnTo>
                    <a:pt x="1111" y="72"/>
                  </a:lnTo>
                  <a:lnTo>
                    <a:pt x="1109" y="70"/>
                  </a:lnTo>
                  <a:lnTo>
                    <a:pt x="1107" y="67"/>
                  </a:lnTo>
                  <a:lnTo>
                    <a:pt x="1106" y="64"/>
                  </a:lnTo>
                  <a:lnTo>
                    <a:pt x="1105" y="60"/>
                  </a:lnTo>
                  <a:lnTo>
                    <a:pt x="1105" y="56"/>
                  </a:lnTo>
                  <a:lnTo>
                    <a:pt x="1105" y="52"/>
                  </a:lnTo>
                  <a:lnTo>
                    <a:pt x="1106" y="48"/>
                  </a:lnTo>
                  <a:lnTo>
                    <a:pt x="1107" y="45"/>
                  </a:lnTo>
                  <a:lnTo>
                    <a:pt x="1109" y="42"/>
                  </a:lnTo>
                  <a:lnTo>
                    <a:pt x="1110" y="41"/>
                  </a:lnTo>
                  <a:lnTo>
                    <a:pt x="1111" y="40"/>
                  </a:lnTo>
                  <a:lnTo>
                    <a:pt x="1113" y="39"/>
                  </a:lnTo>
                  <a:lnTo>
                    <a:pt x="1116" y="38"/>
                  </a:lnTo>
                  <a:lnTo>
                    <a:pt x="1120" y="37"/>
                  </a:lnTo>
                  <a:close/>
                  <a:moveTo>
                    <a:pt x="1120" y="23"/>
                  </a:moveTo>
                  <a:lnTo>
                    <a:pt x="1112" y="23"/>
                  </a:lnTo>
                  <a:lnTo>
                    <a:pt x="1106" y="25"/>
                  </a:lnTo>
                  <a:lnTo>
                    <a:pt x="1103" y="26"/>
                  </a:lnTo>
                  <a:lnTo>
                    <a:pt x="1100" y="28"/>
                  </a:lnTo>
                  <a:lnTo>
                    <a:pt x="1095" y="32"/>
                  </a:lnTo>
                  <a:lnTo>
                    <a:pt x="1091" y="37"/>
                  </a:lnTo>
                  <a:lnTo>
                    <a:pt x="1090" y="40"/>
                  </a:lnTo>
                  <a:lnTo>
                    <a:pt x="1088" y="43"/>
                  </a:lnTo>
                  <a:lnTo>
                    <a:pt x="1087" y="46"/>
                  </a:lnTo>
                  <a:lnTo>
                    <a:pt x="1086" y="49"/>
                  </a:lnTo>
                  <a:lnTo>
                    <a:pt x="1086" y="56"/>
                  </a:lnTo>
                  <a:lnTo>
                    <a:pt x="1086" y="63"/>
                  </a:lnTo>
                  <a:lnTo>
                    <a:pt x="1088" y="70"/>
                  </a:lnTo>
                  <a:lnTo>
                    <a:pt x="1090" y="73"/>
                  </a:lnTo>
                  <a:lnTo>
                    <a:pt x="1091" y="76"/>
                  </a:lnTo>
                  <a:lnTo>
                    <a:pt x="1095" y="80"/>
                  </a:lnTo>
                  <a:lnTo>
                    <a:pt x="1100" y="84"/>
                  </a:lnTo>
                  <a:lnTo>
                    <a:pt x="1103" y="86"/>
                  </a:lnTo>
                  <a:lnTo>
                    <a:pt x="1106" y="87"/>
                  </a:lnTo>
                  <a:lnTo>
                    <a:pt x="1109" y="88"/>
                  </a:lnTo>
                  <a:lnTo>
                    <a:pt x="1112" y="89"/>
                  </a:lnTo>
                  <a:lnTo>
                    <a:pt x="1120" y="90"/>
                  </a:lnTo>
                  <a:lnTo>
                    <a:pt x="1127" y="89"/>
                  </a:lnTo>
                  <a:lnTo>
                    <a:pt x="1133" y="87"/>
                  </a:lnTo>
                  <a:lnTo>
                    <a:pt x="1136" y="86"/>
                  </a:lnTo>
                  <a:lnTo>
                    <a:pt x="1139" y="84"/>
                  </a:lnTo>
                  <a:lnTo>
                    <a:pt x="1144" y="80"/>
                  </a:lnTo>
                  <a:lnTo>
                    <a:pt x="1148" y="76"/>
                  </a:lnTo>
                  <a:lnTo>
                    <a:pt x="1150" y="73"/>
                  </a:lnTo>
                  <a:lnTo>
                    <a:pt x="1151" y="70"/>
                  </a:lnTo>
                  <a:lnTo>
                    <a:pt x="1153" y="64"/>
                  </a:lnTo>
                  <a:lnTo>
                    <a:pt x="1153" y="60"/>
                  </a:lnTo>
                  <a:lnTo>
                    <a:pt x="1154" y="57"/>
                  </a:lnTo>
                  <a:lnTo>
                    <a:pt x="1153" y="53"/>
                  </a:lnTo>
                  <a:lnTo>
                    <a:pt x="1153" y="49"/>
                  </a:lnTo>
                  <a:lnTo>
                    <a:pt x="1151" y="43"/>
                  </a:lnTo>
                  <a:lnTo>
                    <a:pt x="1150" y="40"/>
                  </a:lnTo>
                  <a:lnTo>
                    <a:pt x="1148" y="37"/>
                  </a:lnTo>
                  <a:lnTo>
                    <a:pt x="1144" y="32"/>
                  </a:lnTo>
                  <a:lnTo>
                    <a:pt x="1139" y="28"/>
                  </a:lnTo>
                  <a:lnTo>
                    <a:pt x="1136" y="26"/>
                  </a:lnTo>
                  <a:lnTo>
                    <a:pt x="1133" y="25"/>
                  </a:lnTo>
                  <a:lnTo>
                    <a:pt x="1130" y="24"/>
                  </a:lnTo>
                  <a:lnTo>
                    <a:pt x="1127" y="23"/>
                  </a:lnTo>
                  <a:lnTo>
                    <a:pt x="1120" y="23"/>
                  </a:lnTo>
                  <a:close/>
                  <a:moveTo>
                    <a:pt x="1074" y="0"/>
                  </a:moveTo>
                  <a:lnTo>
                    <a:pt x="1056" y="0"/>
                  </a:lnTo>
                  <a:lnTo>
                    <a:pt x="1056" y="15"/>
                  </a:lnTo>
                  <a:lnTo>
                    <a:pt x="1074" y="15"/>
                  </a:lnTo>
                  <a:lnTo>
                    <a:pt x="1074" y="0"/>
                  </a:lnTo>
                  <a:close/>
                  <a:moveTo>
                    <a:pt x="1074" y="24"/>
                  </a:moveTo>
                  <a:lnTo>
                    <a:pt x="1056" y="24"/>
                  </a:lnTo>
                  <a:lnTo>
                    <a:pt x="1056" y="88"/>
                  </a:lnTo>
                  <a:lnTo>
                    <a:pt x="1074" y="88"/>
                  </a:lnTo>
                  <a:lnTo>
                    <a:pt x="1074" y="24"/>
                  </a:lnTo>
                  <a:close/>
                  <a:moveTo>
                    <a:pt x="1041" y="25"/>
                  </a:moveTo>
                  <a:lnTo>
                    <a:pt x="1029" y="25"/>
                  </a:lnTo>
                  <a:lnTo>
                    <a:pt x="1029" y="5"/>
                  </a:lnTo>
                  <a:lnTo>
                    <a:pt x="1011" y="5"/>
                  </a:lnTo>
                  <a:lnTo>
                    <a:pt x="1011" y="25"/>
                  </a:lnTo>
                  <a:lnTo>
                    <a:pt x="1002" y="25"/>
                  </a:lnTo>
                  <a:lnTo>
                    <a:pt x="1002" y="38"/>
                  </a:lnTo>
                  <a:lnTo>
                    <a:pt x="1011" y="38"/>
                  </a:lnTo>
                  <a:lnTo>
                    <a:pt x="1011" y="67"/>
                  </a:lnTo>
                  <a:lnTo>
                    <a:pt x="1011" y="74"/>
                  </a:lnTo>
                  <a:lnTo>
                    <a:pt x="1011" y="78"/>
                  </a:lnTo>
                  <a:lnTo>
                    <a:pt x="1012" y="81"/>
                  </a:lnTo>
                  <a:lnTo>
                    <a:pt x="1014" y="84"/>
                  </a:lnTo>
                  <a:lnTo>
                    <a:pt x="1017" y="86"/>
                  </a:lnTo>
                  <a:lnTo>
                    <a:pt x="1020" y="87"/>
                  </a:lnTo>
                  <a:lnTo>
                    <a:pt x="1024" y="88"/>
                  </a:lnTo>
                  <a:lnTo>
                    <a:pt x="1029" y="88"/>
                  </a:lnTo>
                  <a:lnTo>
                    <a:pt x="1041" y="88"/>
                  </a:lnTo>
                  <a:lnTo>
                    <a:pt x="1041" y="74"/>
                  </a:lnTo>
                  <a:lnTo>
                    <a:pt x="1034" y="74"/>
                  </a:lnTo>
                  <a:lnTo>
                    <a:pt x="1032" y="74"/>
                  </a:lnTo>
                  <a:lnTo>
                    <a:pt x="1030" y="72"/>
                  </a:lnTo>
                  <a:lnTo>
                    <a:pt x="1029" y="69"/>
                  </a:lnTo>
                  <a:lnTo>
                    <a:pt x="1029" y="63"/>
                  </a:lnTo>
                  <a:lnTo>
                    <a:pt x="1029" y="38"/>
                  </a:lnTo>
                  <a:lnTo>
                    <a:pt x="1041" y="38"/>
                  </a:lnTo>
                  <a:lnTo>
                    <a:pt x="1041" y="25"/>
                  </a:lnTo>
                  <a:close/>
                  <a:moveTo>
                    <a:pt x="973" y="68"/>
                  </a:moveTo>
                  <a:lnTo>
                    <a:pt x="970" y="71"/>
                  </a:lnTo>
                  <a:lnTo>
                    <a:pt x="967" y="74"/>
                  </a:lnTo>
                  <a:lnTo>
                    <a:pt x="963" y="75"/>
                  </a:lnTo>
                  <a:lnTo>
                    <a:pt x="959" y="76"/>
                  </a:lnTo>
                  <a:lnTo>
                    <a:pt x="955" y="75"/>
                  </a:lnTo>
                  <a:lnTo>
                    <a:pt x="952" y="74"/>
                  </a:lnTo>
                  <a:lnTo>
                    <a:pt x="950" y="72"/>
                  </a:lnTo>
                  <a:lnTo>
                    <a:pt x="950" y="70"/>
                  </a:lnTo>
                  <a:lnTo>
                    <a:pt x="949" y="69"/>
                  </a:lnTo>
                  <a:lnTo>
                    <a:pt x="950" y="66"/>
                  </a:lnTo>
                  <a:lnTo>
                    <a:pt x="952" y="64"/>
                  </a:lnTo>
                  <a:lnTo>
                    <a:pt x="955" y="62"/>
                  </a:lnTo>
                  <a:lnTo>
                    <a:pt x="959" y="61"/>
                  </a:lnTo>
                  <a:lnTo>
                    <a:pt x="966" y="60"/>
                  </a:lnTo>
                  <a:lnTo>
                    <a:pt x="973" y="58"/>
                  </a:lnTo>
                  <a:lnTo>
                    <a:pt x="973" y="68"/>
                  </a:lnTo>
                  <a:close/>
                  <a:moveTo>
                    <a:pt x="951" y="44"/>
                  </a:moveTo>
                  <a:lnTo>
                    <a:pt x="951" y="43"/>
                  </a:lnTo>
                  <a:lnTo>
                    <a:pt x="952" y="41"/>
                  </a:lnTo>
                  <a:lnTo>
                    <a:pt x="953" y="40"/>
                  </a:lnTo>
                  <a:lnTo>
                    <a:pt x="954" y="39"/>
                  </a:lnTo>
                  <a:lnTo>
                    <a:pt x="958" y="37"/>
                  </a:lnTo>
                  <a:lnTo>
                    <a:pt x="962" y="37"/>
                  </a:lnTo>
                  <a:lnTo>
                    <a:pt x="966" y="37"/>
                  </a:lnTo>
                  <a:lnTo>
                    <a:pt x="970" y="38"/>
                  </a:lnTo>
                  <a:lnTo>
                    <a:pt x="971" y="40"/>
                  </a:lnTo>
                  <a:lnTo>
                    <a:pt x="972" y="41"/>
                  </a:lnTo>
                  <a:lnTo>
                    <a:pt x="972" y="43"/>
                  </a:lnTo>
                  <a:lnTo>
                    <a:pt x="972" y="44"/>
                  </a:lnTo>
                  <a:lnTo>
                    <a:pt x="971" y="46"/>
                  </a:lnTo>
                  <a:lnTo>
                    <a:pt x="969" y="46"/>
                  </a:lnTo>
                  <a:lnTo>
                    <a:pt x="966" y="47"/>
                  </a:lnTo>
                  <a:lnTo>
                    <a:pt x="956" y="49"/>
                  </a:lnTo>
                  <a:lnTo>
                    <a:pt x="950" y="50"/>
                  </a:lnTo>
                  <a:lnTo>
                    <a:pt x="945" y="52"/>
                  </a:lnTo>
                  <a:lnTo>
                    <a:pt x="940" y="54"/>
                  </a:lnTo>
                  <a:lnTo>
                    <a:pt x="937" y="56"/>
                  </a:lnTo>
                  <a:lnTo>
                    <a:pt x="934" y="59"/>
                  </a:lnTo>
                  <a:lnTo>
                    <a:pt x="933" y="60"/>
                  </a:lnTo>
                  <a:lnTo>
                    <a:pt x="932" y="62"/>
                  </a:lnTo>
                  <a:lnTo>
                    <a:pt x="931" y="66"/>
                  </a:lnTo>
                  <a:lnTo>
                    <a:pt x="931" y="70"/>
                  </a:lnTo>
                  <a:lnTo>
                    <a:pt x="931" y="74"/>
                  </a:lnTo>
                  <a:lnTo>
                    <a:pt x="933" y="78"/>
                  </a:lnTo>
                  <a:lnTo>
                    <a:pt x="935" y="81"/>
                  </a:lnTo>
                  <a:lnTo>
                    <a:pt x="937" y="84"/>
                  </a:lnTo>
                  <a:lnTo>
                    <a:pt x="941" y="87"/>
                  </a:lnTo>
                  <a:lnTo>
                    <a:pt x="945" y="88"/>
                  </a:lnTo>
                  <a:lnTo>
                    <a:pt x="949" y="89"/>
                  </a:lnTo>
                  <a:lnTo>
                    <a:pt x="954" y="90"/>
                  </a:lnTo>
                  <a:lnTo>
                    <a:pt x="960" y="90"/>
                  </a:lnTo>
                  <a:lnTo>
                    <a:pt x="964" y="88"/>
                  </a:lnTo>
                  <a:lnTo>
                    <a:pt x="968" y="86"/>
                  </a:lnTo>
                  <a:lnTo>
                    <a:pt x="973" y="83"/>
                  </a:lnTo>
                  <a:lnTo>
                    <a:pt x="974" y="88"/>
                  </a:lnTo>
                  <a:lnTo>
                    <a:pt x="993" y="88"/>
                  </a:lnTo>
                  <a:lnTo>
                    <a:pt x="992" y="86"/>
                  </a:lnTo>
                  <a:lnTo>
                    <a:pt x="991" y="84"/>
                  </a:lnTo>
                  <a:lnTo>
                    <a:pt x="991" y="77"/>
                  </a:lnTo>
                  <a:lnTo>
                    <a:pt x="991" y="48"/>
                  </a:lnTo>
                  <a:lnTo>
                    <a:pt x="991" y="41"/>
                  </a:lnTo>
                  <a:lnTo>
                    <a:pt x="990" y="36"/>
                  </a:lnTo>
                  <a:lnTo>
                    <a:pt x="988" y="32"/>
                  </a:lnTo>
                  <a:lnTo>
                    <a:pt x="986" y="31"/>
                  </a:lnTo>
                  <a:lnTo>
                    <a:pt x="985" y="29"/>
                  </a:lnTo>
                  <a:lnTo>
                    <a:pt x="980" y="26"/>
                  </a:lnTo>
                  <a:lnTo>
                    <a:pt x="975" y="24"/>
                  </a:lnTo>
                  <a:lnTo>
                    <a:pt x="969" y="23"/>
                  </a:lnTo>
                  <a:lnTo>
                    <a:pt x="962" y="23"/>
                  </a:lnTo>
                  <a:lnTo>
                    <a:pt x="956" y="23"/>
                  </a:lnTo>
                  <a:lnTo>
                    <a:pt x="951" y="24"/>
                  </a:lnTo>
                  <a:lnTo>
                    <a:pt x="946" y="26"/>
                  </a:lnTo>
                  <a:lnTo>
                    <a:pt x="942" y="28"/>
                  </a:lnTo>
                  <a:lnTo>
                    <a:pt x="939" y="31"/>
                  </a:lnTo>
                  <a:lnTo>
                    <a:pt x="937" y="35"/>
                  </a:lnTo>
                  <a:lnTo>
                    <a:pt x="936" y="37"/>
                  </a:lnTo>
                  <a:lnTo>
                    <a:pt x="935" y="39"/>
                  </a:lnTo>
                  <a:lnTo>
                    <a:pt x="934" y="42"/>
                  </a:lnTo>
                  <a:lnTo>
                    <a:pt x="934" y="44"/>
                  </a:lnTo>
                  <a:lnTo>
                    <a:pt x="951" y="44"/>
                  </a:lnTo>
                  <a:close/>
                  <a:moveTo>
                    <a:pt x="920" y="47"/>
                  </a:moveTo>
                  <a:lnTo>
                    <a:pt x="920" y="42"/>
                  </a:lnTo>
                  <a:lnTo>
                    <a:pt x="918" y="37"/>
                  </a:lnTo>
                  <a:lnTo>
                    <a:pt x="915" y="33"/>
                  </a:lnTo>
                  <a:lnTo>
                    <a:pt x="912" y="29"/>
                  </a:lnTo>
                  <a:lnTo>
                    <a:pt x="907" y="26"/>
                  </a:lnTo>
                  <a:lnTo>
                    <a:pt x="903" y="24"/>
                  </a:lnTo>
                  <a:lnTo>
                    <a:pt x="897" y="23"/>
                  </a:lnTo>
                  <a:lnTo>
                    <a:pt x="891" y="23"/>
                  </a:lnTo>
                  <a:lnTo>
                    <a:pt x="884" y="23"/>
                  </a:lnTo>
                  <a:lnTo>
                    <a:pt x="878" y="25"/>
                  </a:lnTo>
                  <a:lnTo>
                    <a:pt x="872" y="28"/>
                  </a:lnTo>
                  <a:lnTo>
                    <a:pt x="870" y="29"/>
                  </a:lnTo>
                  <a:lnTo>
                    <a:pt x="867" y="32"/>
                  </a:lnTo>
                  <a:lnTo>
                    <a:pt x="865" y="34"/>
                  </a:lnTo>
                  <a:lnTo>
                    <a:pt x="864" y="36"/>
                  </a:lnTo>
                  <a:lnTo>
                    <a:pt x="861" y="42"/>
                  </a:lnTo>
                  <a:lnTo>
                    <a:pt x="859" y="49"/>
                  </a:lnTo>
                  <a:lnTo>
                    <a:pt x="859" y="56"/>
                  </a:lnTo>
                  <a:lnTo>
                    <a:pt x="859" y="64"/>
                  </a:lnTo>
                  <a:lnTo>
                    <a:pt x="860" y="67"/>
                  </a:lnTo>
                  <a:lnTo>
                    <a:pt x="861" y="70"/>
                  </a:lnTo>
                  <a:lnTo>
                    <a:pt x="864" y="76"/>
                  </a:lnTo>
                  <a:lnTo>
                    <a:pt x="865" y="79"/>
                  </a:lnTo>
                  <a:lnTo>
                    <a:pt x="867" y="81"/>
                  </a:lnTo>
                  <a:lnTo>
                    <a:pt x="872" y="85"/>
                  </a:lnTo>
                  <a:lnTo>
                    <a:pt x="877" y="88"/>
                  </a:lnTo>
                  <a:lnTo>
                    <a:pt x="884" y="89"/>
                  </a:lnTo>
                  <a:lnTo>
                    <a:pt x="887" y="90"/>
                  </a:lnTo>
                  <a:lnTo>
                    <a:pt x="891" y="90"/>
                  </a:lnTo>
                  <a:lnTo>
                    <a:pt x="897" y="89"/>
                  </a:lnTo>
                  <a:lnTo>
                    <a:pt x="902" y="88"/>
                  </a:lnTo>
                  <a:lnTo>
                    <a:pt x="907" y="86"/>
                  </a:lnTo>
                  <a:lnTo>
                    <a:pt x="911" y="83"/>
                  </a:lnTo>
                  <a:lnTo>
                    <a:pt x="915" y="80"/>
                  </a:lnTo>
                  <a:lnTo>
                    <a:pt x="918" y="75"/>
                  </a:lnTo>
                  <a:lnTo>
                    <a:pt x="920" y="70"/>
                  </a:lnTo>
                  <a:lnTo>
                    <a:pt x="921" y="65"/>
                  </a:lnTo>
                  <a:lnTo>
                    <a:pt x="903" y="64"/>
                  </a:lnTo>
                  <a:lnTo>
                    <a:pt x="902" y="66"/>
                  </a:lnTo>
                  <a:lnTo>
                    <a:pt x="901" y="69"/>
                  </a:lnTo>
                  <a:lnTo>
                    <a:pt x="899" y="72"/>
                  </a:lnTo>
                  <a:lnTo>
                    <a:pt x="897" y="73"/>
                  </a:lnTo>
                  <a:lnTo>
                    <a:pt x="896" y="74"/>
                  </a:lnTo>
                  <a:lnTo>
                    <a:pt x="893" y="74"/>
                  </a:lnTo>
                  <a:lnTo>
                    <a:pt x="891" y="75"/>
                  </a:lnTo>
                  <a:lnTo>
                    <a:pt x="888" y="74"/>
                  </a:lnTo>
                  <a:lnTo>
                    <a:pt x="885" y="73"/>
                  </a:lnTo>
                  <a:lnTo>
                    <a:pt x="883" y="72"/>
                  </a:lnTo>
                  <a:lnTo>
                    <a:pt x="881" y="70"/>
                  </a:lnTo>
                  <a:lnTo>
                    <a:pt x="880" y="67"/>
                  </a:lnTo>
                  <a:lnTo>
                    <a:pt x="879" y="64"/>
                  </a:lnTo>
                  <a:lnTo>
                    <a:pt x="878" y="60"/>
                  </a:lnTo>
                  <a:lnTo>
                    <a:pt x="878" y="56"/>
                  </a:lnTo>
                  <a:lnTo>
                    <a:pt x="878" y="52"/>
                  </a:lnTo>
                  <a:lnTo>
                    <a:pt x="878" y="50"/>
                  </a:lnTo>
                  <a:lnTo>
                    <a:pt x="879" y="48"/>
                  </a:lnTo>
                  <a:lnTo>
                    <a:pt x="880" y="45"/>
                  </a:lnTo>
                  <a:lnTo>
                    <a:pt x="881" y="42"/>
                  </a:lnTo>
                  <a:lnTo>
                    <a:pt x="883" y="40"/>
                  </a:lnTo>
                  <a:lnTo>
                    <a:pt x="885" y="39"/>
                  </a:lnTo>
                  <a:lnTo>
                    <a:pt x="888" y="38"/>
                  </a:lnTo>
                  <a:lnTo>
                    <a:pt x="891" y="38"/>
                  </a:lnTo>
                  <a:lnTo>
                    <a:pt x="895" y="38"/>
                  </a:lnTo>
                  <a:lnTo>
                    <a:pt x="899" y="40"/>
                  </a:lnTo>
                  <a:lnTo>
                    <a:pt x="900" y="42"/>
                  </a:lnTo>
                  <a:lnTo>
                    <a:pt x="901" y="43"/>
                  </a:lnTo>
                  <a:lnTo>
                    <a:pt x="902" y="45"/>
                  </a:lnTo>
                  <a:lnTo>
                    <a:pt x="903" y="47"/>
                  </a:lnTo>
                  <a:lnTo>
                    <a:pt x="920" y="47"/>
                  </a:lnTo>
                  <a:close/>
                  <a:moveTo>
                    <a:pt x="847" y="24"/>
                  </a:moveTo>
                  <a:lnTo>
                    <a:pt x="828" y="24"/>
                  </a:lnTo>
                  <a:lnTo>
                    <a:pt x="828" y="60"/>
                  </a:lnTo>
                  <a:lnTo>
                    <a:pt x="828" y="67"/>
                  </a:lnTo>
                  <a:lnTo>
                    <a:pt x="827" y="69"/>
                  </a:lnTo>
                  <a:lnTo>
                    <a:pt x="826" y="70"/>
                  </a:lnTo>
                  <a:lnTo>
                    <a:pt x="825" y="72"/>
                  </a:lnTo>
                  <a:lnTo>
                    <a:pt x="823" y="73"/>
                  </a:lnTo>
                  <a:lnTo>
                    <a:pt x="821" y="74"/>
                  </a:lnTo>
                  <a:lnTo>
                    <a:pt x="818" y="74"/>
                  </a:lnTo>
                  <a:lnTo>
                    <a:pt x="816" y="74"/>
                  </a:lnTo>
                  <a:lnTo>
                    <a:pt x="814" y="73"/>
                  </a:lnTo>
                  <a:lnTo>
                    <a:pt x="812" y="72"/>
                  </a:lnTo>
                  <a:lnTo>
                    <a:pt x="810" y="70"/>
                  </a:lnTo>
                  <a:lnTo>
                    <a:pt x="809" y="67"/>
                  </a:lnTo>
                  <a:lnTo>
                    <a:pt x="808" y="60"/>
                  </a:lnTo>
                  <a:lnTo>
                    <a:pt x="808" y="24"/>
                  </a:lnTo>
                  <a:lnTo>
                    <a:pt x="789" y="24"/>
                  </a:lnTo>
                  <a:lnTo>
                    <a:pt x="789" y="64"/>
                  </a:lnTo>
                  <a:lnTo>
                    <a:pt x="790" y="71"/>
                  </a:lnTo>
                  <a:lnTo>
                    <a:pt x="791" y="76"/>
                  </a:lnTo>
                  <a:lnTo>
                    <a:pt x="792" y="78"/>
                  </a:lnTo>
                  <a:lnTo>
                    <a:pt x="793" y="80"/>
                  </a:lnTo>
                  <a:lnTo>
                    <a:pt x="795" y="83"/>
                  </a:lnTo>
                  <a:lnTo>
                    <a:pt x="799" y="86"/>
                  </a:lnTo>
                  <a:lnTo>
                    <a:pt x="803" y="88"/>
                  </a:lnTo>
                  <a:lnTo>
                    <a:pt x="808" y="89"/>
                  </a:lnTo>
                  <a:lnTo>
                    <a:pt x="812" y="90"/>
                  </a:lnTo>
                  <a:lnTo>
                    <a:pt x="818" y="89"/>
                  </a:lnTo>
                  <a:lnTo>
                    <a:pt x="822" y="88"/>
                  </a:lnTo>
                  <a:lnTo>
                    <a:pt x="826" y="85"/>
                  </a:lnTo>
                  <a:lnTo>
                    <a:pt x="828" y="83"/>
                  </a:lnTo>
                  <a:lnTo>
                    <a:pt x="829" y="81"/>
                  </a:lnTo>
                  <a:lnTo>
                    <a:pt x="829" y="88"/>
                  </a:lnTo>
                  <a:lnTo>
                    <a:pt x="847" y="88"/>
                  </a:lnTo>
                  <a:lnTo>
                    <a:pt x="847" y="24"/>
                  </a:lnTo>
                  <a:close/>
                  <a:moveTo>
                    <a:pt x="743" y="38"/>
                  </a:moveTo>
                  <a:lnTo>
                    <a:pt x="746" y="38"/>
                  </a:lnTo>
                  <a:lnTo>
                    <a:pt x="749" y="39"/>
                  </a:lnTo>
                  <a:lnTo>
                    <a:pt x="751" y="41"/>
                  </a:lnTo>
                  <a:lnTo>
                    <a:pt x="753" y="43"/>
                  </a:lnTo>
                  <a:lnTo>
                    <a:pt x="755" y="45"/>
                  </a:lnTo>
                  <a:lnTo>
                    <a:pt x="756" y="49"/>
                  </a:lnTo>
                  <a:lnTo>
                    <a:pt x="756" y="52"/>
                  </a:lnTo>
                  <a:lnTo>
                    <a:pt x="757" y="56"/>
                  </a:lnTo>
                  <a:lnTo>
                    <a:pt x="756" y="60"/>
                  </a:lnTo>
                  <a:lnTo>
                    <a:pt x="756" y="64"/>
                  </a:lnTo>
                  <a:lnTo>
                    <a:pt x="755" y="67"/>
                  </a:lnTo>
                  <a:lnTo>
                    <a:pt x="753" y="70"/>
                  </a:lnTo>
                  <a:lnTo>
                    <a:pt x="751" y="72"/>
                  </a:lnTo>
                  <a:lnTo>
                    <a:pt x="749" y="73"/>
                  </a:lnTo>
                  <a:lnTo>
                    <a:pt x="746" y="74"/>
                  </a:lnTo>
                  <a:lnTo>
                    <a:pt x="743" y="75"/>
                  </a:lnTo>
                  <a:lnTo>
                    <a:pt x="740" y="74"/>
                  </a:lnTo>
                  <a:lnTo>
                    <a:pt x="738" y="73"/>
                  </a:lnTo>
                  <a:lnTo>
                    <a:pt x="735" y="72"/>
                  </a:lnTo>
                  <a:lnTo>
                    <a:pt x="733" y="70"/>
                  </a:lnTo>
                  <a:lnTo>
                    <a:pt x="732" y="67"/>
                  </a:lnTo>
                  <a:lnTo>
                    <a:pt x="731" y="64"/>
                  </a:lnTo>
                  <a:lnTo>
                    <a:pt x="730" y="60"/>
                  </a:lnTo>
                  <a:lnTo>
                    <a:pt x="730" y="56"/>
                  </a:lnTo>
                  <a:lnTo>
                    <a:pt x="730" y="52"/>
                  </a:lnTo>
                  <a:lnTo>
                    <a:pt x="731" y="48"/>
                  </a:lnTo>
                  <a:lnTo>
                    <a:pt x="732" y="45"/>
                  </a:lnTo>
                  <a:lnTo>
                    <a:pt x="733" y="43"/>
                  </a:lnTo>
                  <a:lnTo>
                    <a:pt x="735" y="40"/>
                  </a:lnTo>
                  <a:lnTo>
                    <a:pt x="738" y="39"/>
                  </a:lnTo>
                  <a:lnTo>
                    <a:pt x="740" y="38"/>
                  </a:lnTo>
                  <a:lnTo>
                    <a:pt x="743" y="38"/>
                  </a:lnTo>
                  <a:close/>
                  <a:moveTo>
                    <a:pt x="775" y="0"/>
                  </a:moveTo>
                  <a:lnTo>
                    <a:pt x="756" y="0"/>
                  </a:lnTo>
                  <a:lnTo>
                    <a:pt x="756" y="29"/>
                  </a:lnTo>
                  <a:lnTo>
                    <a:pt x="753" y="26"/>
                  </a:lnTo>
                  <a:lnTo>
                    <a:pt x="749" y="24"/>
                  </a:lnTo>
                  <a:lnTo>
                    <a:pt x="745" y="23"/>
                  </a:lnTo>
                  <a:lnTo>
                    <a:pt x="740" y="22"/>
                  </a:lnTo>
                  <a:lnTo>
                    <a:pt x="734" y="23"/>
                  </a:lnTo>
                  <a:lnTo>
                    <a:pt x="728" y="25"/>
                  </a:lnTo>
                  <a:lnTo>
                    <a:pt x="723" y="28"/>
                  </a:lnTo>
                  <a:lnTo>
                    <a:pt x="719" y="32"/>
                  </a:lnTo>
                  <a:lnTo>
                    <a:pt x="716" y="37"/>
                  </a:lnTo>
                  <a:lnTo>
                    <a:pt x="713" y="42"/>
                  </a:lnTo>
                  <a:lnTo>
                    <a:pt x="712" y="46"/>
                  </a:lnTo>
                  <a:lnTo>
                    <a:pt x="712" y="49"/>
                  </a:lnTo>
                  <a:lnTo>
                    <a:pt x="711" y="56"/>
                  </a:lnTo>
                  <a:lnTo>
                    <a:pt x="712" y="64"/>
                  </a:lnTo>
                  <a:lnTo>
                    <a:pt x="712" y="67"/>
                  </a:lnTo>
                  <a:lnTo>
                    <a:pt x="713" y="70"/>
                  </a:lnTo>
                  <a:lnTo>
                    <a:pt x="716" y="76"/>
                  </a:lnTo>
                  <a:lnTo>
                    <a:pt x="717" y="78"/>
                  </a:lnTo>
                  <a:lnTo>
                    <a:pt x="719" y="81"/>
                  </a:lnTo>
                  <a:lnTo>
                    <a:pt x="723" y="85"/>
                  </a:lnTo>
                  <a:lnTo>
                    <a:pt x="728" y="87"/>
                  </a:lnTo>
                  <a:lnTo>
                    <a:pt x="730" y="88"/>
                  </a:lnTo>
                  <a:lnTo>
                    <a:pt x="733" y="89"/>
                  </a:lnTo>
                  <a:lnTo>
                    <a:pt x="736" y="90"/>
                  </a:lnTo>
                  <a:lnTo>
                    <a:pt x="739" y="90"/>
                  </a:lnTo>
                  <a:lnTo>
                    <a:pt x="745" y="89"/>
                  </a:lnTo>
                  <a:lnTo>
                    <a:pt x="747" y="89"/>
                  </a:lnTo>
                  <a:lnTo>
                    <a:pt x="749" y="88"/>
                  </a:lnTo>
                  <a:lnTo>
                    <a:pt x="751" y="87"/>
                  </a:lnTo>
                  <a:lnTo>
                    <a:pt x="753" y="85"/>
                  </a:lnTo>
                  <a:lnTo>
                    <a:pt x="757" y="81"/>
                  </a:lnTo>
                  <a:lnTo>
                    <a:pt x="757" y="88"/>
                  </a:lnTo>
                  <a:lnTo>
                    <a:pt x="775" y="88"/>
                  </a:lnTo>
                  <a:lnTo>
                    <a:pt x="775" y="0"/>
                  </a:lnTo>
                  <a:close/>
                  <a:moveTo>
                    <a:pt x="701" y="0"/>
                  </a:moveTo>
                  <a:lnTo>
                    <a:pt x="634" y="0"/>
                  </a:lnTo>
                  <a:lnTo>
                    <a:pt x="634" y="88"/>
                  </a:lnTo>
                  <a:lnTo>
                    <a:pt x="702" y="88"/>
                  </a:lnTo>
                  <a:lnTo>
                    <a:pt x="702" y="71"/>
                  </a:lnTo>
                  <a:lnTo>
                    <a:pt x="655" y="71"/>
                  </a:lnTo>
                  <a:lnTo>
                    <a:pt x="655" y="50"/>
                  </a:lnTo>
                  <a:lnTo>
                    <a:pt x="695" y="50"/>
                  </a:lnTo>
                  <a:lnTo>
                    <a:pt x="695" y="34"/>
                  </a:lnTo>
                  <a:lnTo>
                    <a:pt x="655" y="34"/>
                  </a:lnTo>
                  <a:lnTo>
                    <a:pt x="655" y="17"/>
                  </a:lnTo>
                  <a:lnTo>
                    <a:pt x="701" y="17"/>
                  </a:lnTo>
                  <a:lnTo>
                    <a:pt x="701" y="0"/>
                  </a:lnTo>
                  <a:close/>
                  <a:moveTo>
                    <a:pt x="538" y="48"/>
                  </a:moveTo>
                  <a:lnTo>
                    <a:pt x="539" y="46"/>
                  </a:lnTo>
                  <a:lnTo>
                    <a:pt x="540" y="43"/>
                  </a:lnTo>
                  <a:lnTo>
                    <a:pt x="541" y="41"/>
                  </a:lnTo>
                  <a:lnTo>
                    <a:pt x="543" y="40"/>
                  </a:lnTo>
                  <a:lnTo>
                    <a:pt x="544" y="38"/>
                  </a:lnTo>
                  <a:lnTo>
                    <a:pt x="547" y="38"/>
                  </a:lnTo>
                  <a:lnTo>
                    <a:pt x="552" y="37"/>
                  </a:lnTo>
                  <a:lnTo>
                    <a:pt x="556" y="38"/>
                  </a:lnTo>
                  <a:lnTo>
                    <a:pt x="558" y="38"/>
                  </a:lnTo>
                  <a:lnTo>
                    <a:pt x="560" y="40"/>
                  </a:lnTo>
                  <a:lnTo>
                    <a:pt x="562" y="41"/>
                  </a:lnTo>
                  <a:lnTo>
                    <a:pt x="563" y="43"/>
                  </a:lnTo>
                  <a:lnTo>
                    <a:pt x="564" y="46"/>
                  </a:lnTo>
                  <a:lnTo>
                    <a:pt x="564" y="48"/>
                  </a:lnTo>
                  <a:lnTo>
                    <a:pt x="538" y="48"/>
                  </a:lnTo>
                  <a:close/>
                  <a:moveTo>
                    <a:pt x="583" y="62"/>
                  </a:moveTo>
                  <a:lnTo>
                    <a:pt x="583" y="56"/>
                  </a:lnTo>
                  <a:lnTo>
                    <a:pt x="583" y="50"/>
                  </a:lnTo>
                  <a:lnTo>
                    <a:pt x="582" y="46"/>
                  </a:lnTo>
                  <a:lnTo>
                    <a:pt x="580" y="41"/>
                  </a:lnTo>
                  <a:lnTo>
                    <a:pt x="578" y="37"/>
                  </a:lnTo>
                  <a:lnTo>
                    <a:pt x="576" y="33"/>
                  </a:lnTo>
                  <a:lnTo>
                    <a:pt x="573" y="30"/>
                  </a:lnTo>
                  <a:lnTo>
                    <a:pt x="569" y="27"/>
                  </a:lnTo>
                  <a:lnTo>
                    <a:pt x="565" y="25"/>
                  </a:lnTo>
                  <a:lnTo>
                    <a:pt x="561" y="24"/>
                  </a:lnTo>
                  <a:lnTo>
                    <a:pt x="557" y="23"/>
                  </a:lnTo>
                  <a:lnTo>
                    <a:pt x="552" y="23"/>
                  </a:lnTo>
                  <a:lnTo>
                    <a:pt x="545" y="23"/>
                  </a:lnTo>
                  <a:lnTo>
                    <a:pt x="538" y="25"/>
                  </a:lnTo>
                  <a:lnTo>
                    <a:pt x="536" y="26"/>
                  </a:lnTo>
                  <a:lnTo>
                    <a:pt x="533" y="28"/>
                  </a:lnTo>
                  <a:lnTo>
                    <a:pt x="528" y="32"/>
                  </a:lnTo>
                  <a:lnTo>
                    <a:pt x="526" y="34"/>
                  </a:lnTo>
                  <a:lnTo>
                    <a:pt x="524" y="37"/>
                  </a:lnTo>
                  <a:lnTo>
                    <a:pt x="521" y="43"/>
                  </a:lnTo>
                  <a:lnTo>
                    <a:pt x="520" y="49"/>
                  </a:lnTo>
                  <a:lnTo>
                    <a:pt x="519" y="53"/>
                  </a:lnTo>
                  <a:lnTo>
                    <a:pt x="519" y="56"/>
                  </a:lnTo>
                  <a:lnTo>
                    <a:pt x="520" y="63"/>
                  </a:lnTo>
                  <a:lnTo>
                    <a:pt x="521" y="70"/>
                  </a:lnTo>
                  <a:lnTo>
                    <a:pt x="524" y="76"/>
                  </a:lnTo>
                  <a:lnTo>
                    <a:pt x="526" y="78"/>
                  </a:lnTo>
                  <a:lnTo>
                    <a:pt x="528" y="81"/>
                  </a:lnTo>
                  <a:lnTo>
                    <a:pt x="533" y="85"/>
                  </a:lnTo>
                  <a:lnTo>
                    <a:pt x="538" y="87"/>
                  </a:lnTo>
                  <a:lnTo>
                    <a:pt x="541" y="88"/>
                  </a:lnTo>
                  <a:lnTo>
                    <a:pt x="545" y="89"/>
                  </a:lnTo>
                  <a:lnTo>
                    <a:pt x="548" y="90"/>
                  </a:lnTo>
                  <a:lnTo>
                    <a:pt x="552" y="90"/>
                  </a:lnTo>
                  <a:lnTo>
                    <a:pt x="557" y="89"/>
                  </a:lnTo>
                  <a:lnTo>
                    <a:pt x="563" y="88"/>
                  </a:lnTo>
                  <a:lnTo>
                    <a:pt x="567" y="87"/>
                  </a:lnTo>
                  <a:lnTo>
                    <a:pt x="572" y="84"/>
                  </a:lnTo>
                  <a:lnTo>
                    <a:pt x="575" y="81"/>
                  </a:lnTo>
                  <a:lnTo>
                    <a:pt x="577" y="80"/>
                  </a:lnTo>
                  <a:lnTo>
                    <a:pt x="578" y="78"/>
                  </a:lnTo>
                  <a:lnTo>
                    <a:pt x="581" y="74"/>
                  </a:lnTo>
                  <a:lnTo>
                    <a:pt x="583" y="69"/>
                  </a:lnTo>
                  <a:lnTo>
                    <a:pt x="563" y="69"/>
                  </a:lnTo>
                  <a:lnTo>
                    <a:pt x="561" y="72"/>
                  </a:lnTo>
                  <a:lnTo>
                    <a:pt x="559" y="74"/>
                  </a:lnTo>
                  <a:lnTo>
                    <a:pt x="556" y="75"/>
                  </a:lnTo>
                  <a:lnTo>
                    <a:pt x="552" y="75"/>
                  </a:lnTo>
                  <a:lnTo>
                    <a:pt x="549" y="75"/>
                  </a:lnTo>
                  <a:lnTo>
                    <a:pt x="547" y="74"/>
                  </a:lnTo>
                  <a:lnTo>
                    <a:pt x="545" y="73"/>
                  </a:lnTo>
                  <a:lnTo>
                    <a:pt x="543" y="72"/>
                  </a:lnTo>
                  <a:lnTo>
                    <a:pt x="541" y="70"/>
                  </a:lnTo>
                  <a:lnTo>
                    <a:pt x="540" y="67"/>
                  </a:lnTo>
                  <a:lnTo>
                    <a:pt x="539" y="65"/>
                  </a:lnTo>
                  <a:lnTo>
                    <a:pt x="538" y="62"/>
                  </a:lnTo>
                  <a:lnTo>
                    <a:pt x="583" y="62"/>
                  </a:lnTo>
                  <a:close/>
                  <a:moveTo>
                    <a:pt x="493" y="88"/>
                  </a:moveTo>
                  <a:lnTo>
                    <a:pt x="514" y="24"/>
                  </a:lnTo>
                  <a:lnTo>
                    <a:pt x="494" y="24"/>
                  </a:lnTo>
                  <a:lnTo>
                    <a:pt x="488" y="49"/>
                  </a:lnTo>
                  <a:lnTo>
                    <a:pt x="484" y="67"/>
                  </a:lnTo>
                  <a:lnTo>
                    <a:pt x="479" y="49"/>
                  </a:lnTo>
                  <a:lnTo>
                    <a:pt x="471" y="24"/>
                  </a:lnTo>
                  <a:lnTo>
                    <a:pt x="452" y="24"/>
                  </a:lnTo>
                  <a:lnTo>
                    <a:pt x="475" y="88"/>
                  </a:lnTo>
                  <a:lnTo>
                    <a:pt x="493" y="88"/>
                  </a:lnTo>
                  <a:close/>
                  <a:moveTo>
                    <a:pt x="440" y="0"/>
                  </a:moveTo>
                  <a:lnTo>
                    <a:pt x="421" y="0"/>
                  </a:lnTo>
                  <a:lnTo>
                    <a:pt x="421" y="15"/>
                  </a:lnTo>
                  <a:lnTo>
                    <a:pt x="440" y="15"/>
                  </a:lnTo>
                  <a:lnTo>
                    <a:pt x="440" y="0"/>
                  </a:lnTo>
                  <a:close/>
                  <a:moveTo>
                    <a:pt x="440" y="24"/>
                  </a:moveTo>
                  <a:lnTo>
                    <a:pt x="421" y="24"/>
                  </a:lnTo>
                  <a:lnTo>
                    <a:pt x="421" y="88"/>
                  </a:lnTo>
                  <a:lnTo>
                    <a:pt x="440" y="88"/>
                  </a:lnTo>
                  <a:lnTo>
                    <a:pt x="440" y="24"/>
                  </a:lnTo>
                  <a:close/>
                  <a:moveTo>
                    <a:pt x="405" y="25"/>
                  </a:moveTo>
                  <a:lnTo>
                    <a:pt x="394" y="25"/>
                  </a:lnTo>
                  <a:lnTo>
                    <a:pt x="394" y="5"/>
                  </a:lnTo>
                  <a:lnTo>
                    <a:pt x="375" y="5"/>
                  </a:lnTo>
                  <a:lnTo>
                    <a:pt x="375" y="25"/>
                  </a:lnTo>
                  <a:lnTo>
                    <a:pt x="366" y="25"/>
                  </a:lnTo>
                  <a:lnTo>
                    <a:pt x="366" y="38"/>
                  </a:lnTo>
                  <a:lnTo>
                    <a:pt x="375" y="38"/>
                  </a:lnTo>
                  <a:lnTo>
                    <a:pt x="375" y="67"/>
                  </a:lnTo>
                  <a:lnTo>
                    <a:pt x="375" y="74"/>
                  </a:lnTo>
                  <a:lnTo>
                    <a:pt x="376" y="78"/>
                  </a:lnTo>
                  <a:lnTo>
                    <a:pt x="377" y="81"/>
                  </a:lnTo>
                  <a:lnTo>
                    <a:pt x="378" y="84"/>
                  </a:lnTo>
                  <a:lnTo>
                    <a:pt x="381" y="86"/>
                  </a:lnTo>
                  <a:lnTo>
                    <a:pt x="384" y="87"/>
                  </a:lnTo>
                  <a:lnTo>
                    <a:pt x="388" y="88"/>
                  </a:lnTo>
                  <a:lnTo>
                    <a:pt x="394" y="88"/>
                  </a:lnTo>
                  <a:lnTo>
                    <a:pt x="405" y="88"/>
                  </a:lnTo>
                  <a:lnTo>
                    <a:pt x="405" y="74"/>
                  </a:lnTo>
                  <a:lnTo>
                    <a:pt x="398" y="74"/>
                  </a:lnTo>
                  <a:lnTo>
                    <a:pt x="396" y="74"/>
                  </a:lnTo>
                  <a:lnTo>
                    <a:pt x="394" y="72"/>
                  </a:lnTo>
                  <a:lnTo>
                    <a:pt x="394" y="69"/>
                  </a:lnTo>
                  <a:lnTo>
                    <a:pt x="394" y="63"/>
                  </a:lnTo>
                  <a:lnTo>
                    <a:pt x="394" y="38"/>
                  </a:lnTo>
                  <a:lnTo>
                    <a:pt x="405" y="38"/>
                  </a:lnTo>
                  <a:lnTo>
                    <a:pt x="405" y="25"/>
                  </a:lnTo>
                  <a:close/>
                  <a:moveTo>
                    <a:pt x="353" y="24"/>
                  </a:moveTo>
                  <a:lnTo>
                    <a:pt x="334" y="24"/>
                  </a:lnTo>
                  <a:lnTo>
                    <a:pt x="334" y="60"/>
                  </a:lnTo>
                  <a:lnTo>
                    <a:pt x="334" y="67"/>
                  </a:lnTo>
                  <a:lnTo>
                    <a:pt x="333" y="69"/>
                  </a:lnTo>
                  <a:lnTo>
                    <a:pt x="332" y="70"/>
                  </a:lnTo>
                  <a:lnTo>
                    <a:pt x="331" y="72"/>
                  </a:lnTo>
                  <a:lnTo>
                    <a:pt x="329" y="73"/>
                  </a:lnTo>
                  <a:lnTo>
                    <a:pt x="327" y="74"/>
                  </a:lnTo>
                  <a:lnTo>
                    <a:pt x="324" y="74"/>
                  </a:lnTo>
                  <a:lnTo>
                    <a:pt x="322" y="74"/>
                  </a:lnTo>
                  <a:lnTo>
                    <a:pt x="319" y="73"/>
                  </a:lnTo>
                  <a:lnTo>
                    <a:pt x="317" y="72"/>
                  </a:lnTo>
                  <a:lnTo>
                    <a:pt x="316" y="70"/>
                  </a:lnTo>
                  <a:lnTo>
                    <a:pt x="314" y="67"/>
                  </a:lnTo>
                  <a:lnTo>
                    <a:pt x="314" y="60"/>
                  </a:lnTo>
                  <a:lnTo>
                    <a:pt x="314" y="24"/>
                  </a:lnTo>
                  <a:lnTo>
                    <a:pt x="295" y="24"/>
                  </a:lnTo>
                  <a:lnTo>
                    <a:pt x="295" y="64"/>
                  </a:lnTo>
                  <a:lnTo>
                    <a:pt x="295" y="71"/>
                  </a:lnTo>
                  <a:lnTo>
                    <a:pt x="296" y="76"/>
                  </a:lnTo>
                  <a:lnTo>
                    <a:pt x="297" y="78"/>
                  </a:lnTo>
                  <a:lnTo>
                    <a:pt x="298" y="80"/>
                  </a:lnTo>
                  <a:lnTo>
                    <a:pt x="301" y="83"/>
                  </a:lnTo>
                  <a:lnTo>
                    <a:pt x="305" y="86"/>
                  </a:lnTo>
                  <a:lnTo>
                    <a:pt x="309" y="88"/>
                  </a:lnTo>
                  <a:lnTo>
                    <a:pt x="313" y="89"/>
                  </a:lnTo>
                  <a:lnTo>
                    <a:pt x="318" y="90"/>
                  </a:lnTo>
                  <a:lnTo>
                    <a:pt x="323" y="89"/>
                  </a:lnTo>
                  <a:lnTo>
                    <a:pt x="328" y="88"/>
                  </a:lnTo>
                  <a:lnTo>
                    <a:pt x="332" y="85"/>
                  </a:lnTo>
                  <a:lnTo>
                    <a:pt x="333" y="83"/>
                  </a:lnTo>
                  <a:lnTo>
                    <a:pt x="335" y="81"/>
                  </a:lnTo>
                  <a:lnTo>
                    <a:pt x="335" y="88"/>
                  </a:lnTo>
                  <a:lnTo>
                    <a:pt x="353" y="88"/>
                  </a:lnTo>
                  <a:lnTo>
                    <a:pt x="353" y="24"/>
                  </a:lnTo>
                  <a:close/>
                  <a:moveTo>
                    <a:pt x="282" y="47"/>
                  </a:moveTo>
                  <a:lnTo>
                    <a:pt x="281" y="42"/>
                  </a:lnTo>
                  <a:lnTo>
                    <a:pt x="279" y="37"/>
                  </a:lnTo>
                  <a:lnTo>
                    <a:pt x="276" y="33"/>
                  </a:lnTo>
                  <a:lnTo>
                    <a:pt x="273" y="29"/>
                  </a:lnTo>
                  <a:lnTo>
                    <a:pt x="269" y="26"/>
                  </a:lnTo>
                  <a:lnTo>
                    <a:pt x="264" y="24"/>
                  </a:lnTo>
                  <a:lnTo>
                    <a:pt x="259" y="23"/>
                  </a:lnTo>
                  <a:lnTo>
                    <a:pt x="253" y="23"/>
                  </a:lnTo>
                  <a:lnTo>
                    <a:pt x="245" y="23"/>
                  </a:lnTo>
                  <a:lnTo>
                    <a:pt x="239" y="25"/>
                  </a:lnTo>
                  <a:lnTo>
                    <a:pt x="233" y="28"/>
                  </a:lnTo>
                  <a:lnTo>
                    <a:pt x="231" y="29"/>
                  </a:lnTo>
                  <a:lnTo>
                    <a:pt x="229" y="32"/>
                  </a:lnTo>
                  <a:lnTo>
                    <a:pt x="227" y="34"/>
                  </a:lnTo>
                  <a:lnTo>
                    <a:pt x="225" y="36"/>
                  </a:lnTo>
                  <a:lnTo>
                    <a:pt x="222" y="42"/>
                  </a:lnTo>
                  <a:lnTo>
                    <a:pt x="221" y="49"/>
                  </a:lnTo>
                  <a:lnTo>
                    <a:pt x="220" y="56"/>
                  </a:lnTo>
                  <a:lnTo>
                    <a:pt x="221" y="64"/>
                  </a:lnTo>
                  <a:lnTo>
                    <a:pt x="221" y="67"/>
                  </a:lnTo>
                  <a:lnTo>
                    <a:pt x="222" y="70"/>
                  </a:lnTo>
                  <a:lnTo>
                    <a:pt x="225" y="76"/>
                  </a:lnTo>
                  <a:lnTo>
                    <a:pt x="227" y="79"/>
                  </a:lnTo>
                  <a:lnTo>
                    <a:pt x="229" y="81"/>
                  </a:lnTo>
                  <a:lnTo>
                    <a:pt x="233" y="85"/>
                  </a:lnTo>
                  <a:lnTo>
                    <a:pt x="239" y="88"/>
                  </a:lnTo>
                  <a:lnTo>
                    <a:pt x="245" y="89"/>
                  </a:lnTo>
                  <a:lnTo>
                    <a:pt x="248" y="90"/>
                  </a:lnTo>
                  <a:lnTo>
                    <a:pt x="252" y="90"/>
                  </a:lnTo>
                  <a:lnTo>
                    <a:pt x="258" y="89"/>
                  </a:lnTo>
                  <a:lnTo>
                    <a:pt x="264" y="88"/>
                  </a:lnTo>
                  <a:lnTo>
                    <a:pt x="268" y="86"/>
                  </a:lnTo>
                  <a:lnTo>
                    <a:pt x="273" y="83"/>
                  </a:lnTo>
                  <a:lnTo>
                    <a:pt x="276" y="80"/>
                  </a:lnTo>
                  <a:lnTo>
                    <a:pt x="279" y="75"/>
                  </a:lnTo>
                  <a:lnTo>
                    <a:pt x="281" y="70"/>
                  </a:lnTo>
                  <a:lnTo>
                    <a:pt x="283" y="65"/>
                  </a:lnTo>
                  <a:lnTo>
                    <a:pt x="264" y="64"/>
                  </a:lnTo>
                  <a:lnTo>
                    <a:pt x="264" y="66"/>
                  </a:lnTo>
                  <a:lnTo>
                    <a:pt x="263" y="69"/>
                  </a:lnTo>
                  <a:lnTo>
                    <a:pt x="260" y="72"/>
                  </a:lnTo>
                  <a:lnTo>
                    <a:pt x="259" y="73"/>
                  </a:lnTo>
                  <a:lnTo>
                    <a:pt x="257" y="74"/>
                  </a:lnTo>
                  <a:lnTo>
                    <a:pt x="255" y="74"/>
                  </a:lnTo>
                  <a:lnTo>
                    <a:pt x="252" y="75"/>
                  </a:lnTo>
                  <a:lnTo>
                    <a:pt x="249" y="74"/>
                  </a:lnTo>
                  <a:lnTo>
                    <a:pt x="247" y="73"/>
                  </a:lnTo>
                  <a:lnTo>
                    <a:pt x="244" y="72"/>
                  </a:lnTo>
                  <a:lnTo>
                    <a:pt x="243" y="70"/>
                  </a:lnTo>
                  <a:lnTo>
                    <a:pt x="241" y="67"/>
                  </a:lnTo>
                  <a:lnTo>
                    <a:pt x="240" y="64"/>
                  </a:lnTo>
                  <a:lnTo>
                    <a:pt x="239" y="60"/>
                  </a:lnTo>
                  <a:lnTo>
                    <a:pt x="239" y="56"/>
                  </a:lnTo>
                  <a:lnTo>
                    <a:pt x="239" y="52"/>
                  </a:lnTo>
                  <a:lnTo>
                    <a:pt x="240" y="50"/>
                  </a:lnTo>
                  <a:lnTo>
                    <a:pt x="240" y="48"/>
                  </a:lnTo>
                  <a:lnTo>
                    <a:pt x="241" y="45"/>
                  </a:lnTo>
                  <a:lnTo>
                    <a:pt x="242" y="42"/>
                  </a:lnTo>
                  <a:lnTo>
                    <a:pt x="244" y="40"/>
                  </a:lnTo>
                  <a:lnTo>
                    <a:pt x="247" y="39"/>
                  </a:lnTo>
                  <a:lnTo>
                    <a:pt x="249" y="38"/>
                  </a:lnTo>
                  <a:lnTo>
                    <a:pt x="252" y="38"/>
                  </a:lnTo>
                  <a:lnTo>
                    <a:pt x="257" y="38"/>
                  </a:lnTo>
                  <a:lnTo>
                    <a:pt x="260" y="40"/>
                  </a:lnTo>
                  <a:lnTo>
                    <a:pt x="262" y="42"/>
                  </a:lnTo>
                  <a:lnTo>
                    <a:pt x="263" y="43"/>
                  </a:lnTo>
                  <a:lnTo>
                    <a:pt x="264" y="47"/>
                  </a:lnTo>
                  <a:lnTo>
                    <a:pt x="282" y="47"/>
                  </a:lnTo>
                  <a:close/>
                  <a:moveTo>
                    <a:pt x="164" y="48"/>
                  </a:moveTo>
                  <a:lnTo>
                    <a:pt x="165" y="46"/>
                  </a:lnTo>
                  <a:lnTo>
                    <a:pt x="166" y="43"/>
                  </a:lnTo>
                  <a:lnTo>
                    <a:pt x="167" y="41"/>
                  </a:lnTo>
                  <a:lnTo>
                    <a:pt x="169" y="40"/>
                  </a:lnTo>
                  <a:lnTo>
                    <a:pt x="171" y="38"/>
                  </a:lnTo>
                  <a:lnTo>
                    <a:pt x="173" y="38"/>
                  </a:lnTo>
                  <a:lnTo>
                    <a:pt x="178" y="37"/>
                  </a:lnTo>
                  <a:lnTo>
                    <a:pt x="183" y="38"/>
                  </a:lnTo>
                  <a:lnTo>
                    <a:pt x="185" y="38"/>
                  </a:lnTo>
                  <a:lnTo>
                    <a:pt x="186" y="40"/>
                  </a:lnTo>
                  <a:lnTo>
                    <a:pt x="188" y="41"/>
                  </a:lnTo>
                  <a:lnTo>
                    <a:pt x="189" y="43"/>
                  </a:lnTo>
                  <a:lnTo>
                    <a:pt x="190" y="46"/>
                  </a:lnTo>
                  <a:lnTo>
                    <a:pt x="190" y="48"/>
                  </a:lnTo>
                  <a:lnTo>
                    <a:pt x="164" y="48"/>
                  </a:lnTo>
                  <a:close/>
                  <a:moveTo>
                    <a:pt x="209" y="62"/>
                  </a:moveTo>
                  <a:lnTo>
                    <a:pt x="209" y="56"/>
                  </a:lnTo>
                  <a:lnTo>
                    <a:pt x="209" y="50"/>
                  </a:lnTo>
                  <a:lnTo>
                    <a:pt x="208" y="46"/>
                  </a:lnTo>
                  <a:lnTo>
                    <a:pt x="206" y="41"/>
                  </a:lnTo>
                  <a:lnTo>
                    <a:pt x="204" y="37"/>
                  </a:lnTo>
                  <a:lnTo>
                    <a:pt x="202" y="33"/>
                  </a:lnTo>
                  <a:lnTo>
                    <a:pt x="199" y="30"/>
                  </a:lnTo>
                  <a:lnTo>
                    <a:pt x="195" y="27"/>
                  </a:lnTo>
                  <a:lnTo>
                    <a:pt x="192" y="25"/>
                  </a:lnTo>
                  <a:lnTo>
                    <a:pt x="187" y="24"/>
                  </a:lnTo>
                  <a:lnTo>
                    <a:pt x="183" y="23"/>
                  </a:lnTo>
                  <a:lnTo>
                    <a:pt x="178" y="23"/>
                  </a:lnTo>
                  <a:lnTo>
                    <a:pt x="171" y="23"/>
                  </a:lnTo>
                  <a:lnTo>
                    <a:pt x="165" y="25"/>
                  </a:lnTo>
                  <a:lnTo>
                    <a:pt x="162" y="26"/>
                  </a:lnTo>
                  <a:lnTo>
                    <a:pt x="159" y="28"/>
                  </a:lnTo>
                  <a:lnTo>
                    <a:pt x="154" y="32"/>
                  </a:lnTo>
                  <a:lnTo>
                    <a:pt x="152" y="34"/>
                  </a:lnTo>
                  <a:lnTo>
                    <a:pt x="150" y="37"/>
                  </a:lnTo>
                  <a:lnTo>
                    <a:pt x="148" y="43"/>
                  </a:lnTo>
                  <a:lnTo>
                    <a:pt x="146" y="49"/>
                  </a:lnTo>
                  <a:lnTo>
                    <a:pt x="145" y="53"/>
                  </a:lnTo>
                  <a:lnTo>
                    <a:pt x="145" y="56"/>
                  </a:lnTo>
                  <a:lnTo>
                    <a:pt x="146" y="63"/>
                  </a:lnTo>
                  <a:lnTo>
                    <a:pt x="148" y="70"/>
                  </a:lnTo>
                  <a:lnTo>
                    <a:pt x="150" y="76"/>
                  </a:lnTo>
                  <a:lnTo>
                    <a:pt x="152" y="78"/>
                  </a:lnTo>
                  <a:lnTo>
                    <a:pt x="154" y="81"/>
                  </a:lnTo>
                  <a:lnTo>
                    <a:pt x="159" y="85"/>
                  </a:lnTo>
                  <a:lnTo>
                    <a:pt x="165" y="87"/>
                  </a:lnTo>
                  <a:lnTo>
                    <a:pt x="168" y="88"/>
                  </a:lnTo>
                  <a:lnTo>
                    <a:pt x="171" y="89"/>
                  </a:lnTo>
                  <a:lnTo>
                    <a:pt x="174" y="90"/>
                  </a:lnTo>
                  <a:lnTo>
                    <a:pt x="178" y="90"/>
                  </a:lnTo>
                  <a:lnTo>
                    <a:pt x="184" y="89"/>
                  </a:lnTo>
                  <a:lnTo>
                    <a:pt x="189" y="88"/>
                  </a:lnTo>
                  <a:lnTo>
                    <a:pt x="193" y="87"/>
                  </a:lnTo>
                  <a:lnTo>
                    <a:pt x="198" y="84"/>
                  </a:lnTo>
                  <a:lnTo>
                    <a:pt x="201" y="81"/>
                  </a:lnTo>
                  <a:lnTo>
                    <a:pt x="203" y="80"/>
                  </a:lnTo>
                  <a:lnTo>
                    <a:pt x="205" y="78"/>
                  </a:lnTo>
                  <a:lnTo>
                    <a:pt x="207" y="74"/>
                  </a:lnTo>
                  <a:lnTo>
                    <a:pt x="209" y="69"/>
                  </a:lnTo>
                  <a:lnTo>
                    <a:pt x="190" y="69"/>
                  </a:lnTo>
                  <a:lnTo>
                    <a:pt x="188" y="72"/>
                  </a:lnTo>
                  <a:lnTo>
                    <a:pt x="185" y="74"/>
                  </a:lnTo>
                  <a:lnTo>
                    <a:pt x="182" y="75"/>
                  </a:lnTo>
                  <a:lnTo>
                    <a:pt x="178" y="75"/>
                  </a:lnTo>
                  <a:lnTo>
                    <a:pt x="176" y="75"/>
                  </a:lnTo>
                  <a:lnTo>
                    <a:pt x="173" y="74"/>
                  </a:lnTo>
                  <a:lnTo>
                    <a:pt x="171" y="73"/>
                  </a:lnTo>
                  <a:lnTo>
                    <a:pt x="169" y="72"/>
                  </a:lnTo>
                  <a:lnTo>
                    <a:pt x="167" y="70"/>
                  </a:lnTo>
                  <a:lnTo>
                    <a:pt x="166" y="67"/>
                  </a:lnTo>
                  <a:lnTo>
                    <a:pt x="165" y="65"/>
                  </a:lnTo>
                  <a:lnTo>
                    <a:pt x="164" y="62"/>
                  </a:lnTo>
                  <a:lnTo>
                    <a:pt x="209" y="62"/>
                  </a:lnTo>
                  <a:close/>
                  <a:moveTo>
                    <a:pt x="118" y="55"/>
                  </a:moveTo>
                  <a:lnTo>
                    <a:pt x="139" y="24"/>
                  </a:lnTo>
                  <a:lnTo>
                    <a:pt x="118" y="24"/>
                  </a:lnTo>
                  <a:lnTo>
                    <a:pt x="108" y="40"/>
                  </a:lnTo>
                  <a:lnTo>
                    <a:pt x="98" y="24"/>
                  </a:lnTo>
                  <a:lnTo>
                    <a:pt x="77" y="24"/>
                  </a:lnTo>
                  <a:lnTo>
                    <a:pt x="98" y="55"/>
                  </a:lnTo>
                  <a:lnTo>
                    <a:pt x="75" y="88"/>
                  </a:lnTo>
                  <a:lnTo>
                    <a:pt x="96" y="88"/>
                  </a:lnTo>
                  <a:lnTo>
                    <a:pt x="108" y="70"/>
                  </a:lnTo>
                  <a:lnTo>
                    <a:pt x="120" y="88"/>
                  </a:lnTo>
                  <a:lnTo>
                    <a:pt x="142" y="88"/>
                  </a:lnTo>
                  <a:lnTo>
                    <a:pt x="118" y="55"/>
                  </a:lnTo>
                  <a:close/>
                  <a:moveTo>
                    <a:pt x="66" y="0"/>
                  </a:moveTo>
                  <a:lnTo>
                    <a:pt x="0" y="0"/>
                  </a:lnTo>
                  <a:lnTo>
                    <a:pt x="0" y="88"/>
                  </a:lnTo>
                  <a:lnTo>
                    <a:pt x="67" y="88"/>
                  </a:lnTo>
                  <a:lnTo>
                    <a:pt x="67" y="71"/>
                  </a:lnTo>
                  <a:lnTo>
                    <a:pt x="20" y="71"/>
                  </a:lnTo>
                  <a:lnTo>
                    <a:pt x="20" y="50"/>
                  </a:lnTo>
                  <a:lnTo>
                    <a:pt x="60" y="50"/>
                  </a:lnTo>
                  <a:lnTo>
                    <a:pt x="60" y="34"/>
                  </a:lnTo>
                  <a:lnTo>
                    <a:pt x="20" y="34"/>
                  </a:lnTo>
                  <a:lnTo>
                    <a:pt x="20" y="17"/>
                  </a:lnTo>
                  <a:lnTo>
                    <a:pt x="66" y="17"/>
                  </a:lnTo>
                  <a:lnTo>
                    <a:pt x="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20" name="Freeform 8"/>
            <p:cNvSpPr>
              <a:spLocks noEditPoints="1"/>
            </p:cNvSpPr>
            <p:nvPr userDrawn="1"/>
          </p:nvSpPr>
          <p:spPr bwMode="auto">
            <a:xfrm>
              <a:off x="4067175" y="114301"/>
              <a:ext cx="566738" cy="560388"/>
            </a:xfrm>
            <a:custGeom>
              <a:avLst/>
              <a:gdLst>
                <a:gd name="T0" fmla="*/ 223 w 357"/>
                <a:gd name="T1" fmla="*/ 220 h 353"/>
                <a:gd name="T2" fmla="*/ 134 w 357"/>
                <a:gd name="T3" fmla="*/ 220 h 353"/>
                <a:gd name="T4" fmla="*/ 179 w 357"/>
                <a:gd name="T5" fmla="*/ 100 h 353"/>
                <a:gd name="T6" fmla="*/ 223 w 357"/>
                <a:gd name="T7" fmla="*/ 220 h 353"/>
                <a:gd name="T8" fmla="*/ 357 w 357"/>
                <a:gd name="T9" fmla="*/ 353 h 353"/>
                <a:gd name="T10" fmla="*/ 230 w 357"/>
                <a:gd name="T11" fmla="*/ 0 h 353"/>
                <a:gd name="T12" fmla="*/ 127 w 357"/>
                <a:gd name="T13" fmla="*/ 0 h 353"/>
                <a:gd name="T14" fmla="*/ 0 w 357"/>
                <a:gd name="T15" fmla="*/ 353 h 353"/>
                <a:gd name="T16" fmla="*/ 91 w 357"/>
                <a:gd name="T17" fmla="*/ 353 h 353"/>
                <a:gd name="T18" fmla="*/ 113 w 357"/>
                <a:gd name="T19" fmla="*/ 291 h 353"/>
                <a:gd name="T20" fmla="*/ 245 w 357"/>
                <a:gd name="T21" fmla="*/ 291 h 353"/>
                <a:gd name="T22" fmla="*/ 267 w 357"/>
                <a:gd name="T23" fmla="*/ 353 h 353"/>
                <a:gd name="T24" fmla="*/ 357 w 357"/>
                <a:gd name="T25"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7" h="353">
                  <a:moveTo>
                    <a:pt x="223" y="220"/>
                  </a:moveTo>
                  <a:lnTo>
                    <a:pt x="134" y="220"/>
                  </a:lnTo>
                  <a:lnTo>
                    <a:pt x="179" y="100"/>
                  </a:lnTo>
                  <a:lnTo>
                    <a:pt x="223" y="220"/>
                  </a:lnTo>
                  <a:close/>
                  <a:moveTo>
                    <a:pt x="357" y="353"/>
                  </a:moveTo>
                  <a:lnTo>
                    <a:pt x="230" y="0"/>
                  </a:lnTo>
                  <a:lnTo>
                    <a:pt x="127" y="0"/>
                  </a:lnTo>
                  <a:lnTo>
                    <a:pt x="0" y="353"/>
                  </a:lnTo>
                  <a:lnTo>
                    <a:pt x="91" y="353"/>
                  </a:lnTo>
                  <a:lnTo>
                    <a:pt x="113" y="291"/>
                  </a:lnTo>
                  <a:lnTo>
                    <a:pt x="245" y="291"/>
                  </a:lnTo>
                  <a:lnTo>
                    <a:pt x="267" y="353"/>
                  </a:lnTo>
                  <a:lnTo>
                    <a:pt x="357" y="3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21" name="Freeform 9"/>
            <p:cNvSpPr>
              <a:spLocks noEditPoints="1"/>
            </p:cNvSpPr>
            <p:nvPr userDrawn="1"/>
          </p:nvSpPr>
          <p:spPr bwMode="auto">
            <a:xfrm>
              <a:off x="4686300" y="114301"/>
              <a:ext cx="858838" cy="560388"/>
            </a:xfrm>
            <a:custGeom>
              <a:avLst/>
              <a:gdLst>
                <a:gd name="T0" fmla="*/ 541 w 541"/>
                <a:gd name="T1" fmla="*/ 75 h 353"/>
                <a:gd name="T2" fmla="*/ 541 w 541"/>
                <a:gd name="T3" fmla="*/ 0 h 353"/>
                <a:gd name="T4" fmla="*/ 303 w 541"/>
                <a:gd name="T5" fmla="*/ 0 h 353"/>
                <a:gd name="T6" fmla="*/ 303 w 541"/>
                <a:gd name="T7" fmla="*/ 353 h 353"/>
                <a:gd name="T8" fmla="*/ 541 w 541"/>
                <a:gd name="T9" fmla="*/ 353 h 353"/>
                <a:gd name="T10" fmla="*/ 541 w 541"/>
                <a:gd name="T11" fmla="*/ 278 h 353"/>
                <a:gd name="T12" fmla="*/ 388 w 541"/>
                <a:gd name="T13" fmla="*/ 278 h 353"/>
                <a:gd name="T14" fmla="*/ 388 w 541"/>
                <a:gd name="T15" fmla="*/ 210 h 353"/>
                <a:gd name="T16" fmla="*/ 536 w 541"/>
                <a:gd name="T17" fmla="*/ 210 h 353"/>
                <a:gd name="T18" fmla="*/ 536 w 541"/>
                <a:gd name="T19" fmla="*/ 139 h 353"/>
                <a:gd name="T20" fmla="*/ 388 w 541"/>
                <a:gd name="T21" fmla="*/ 139 h 353"/>
                <a:gd name="T22" fmla="*/ 388 w 541"/>
                <a:gd name="T23" fmla="*/ 75 h 353"/>
                <a:gd name="T24" fmla="*/ 541 w 541"/>
                <a:gd name="T25" fmla="*/ 75 h 353"/>
                <a:gd name="T26" fmla="*/ 239 w 541"/>
                <a:gd name="T27" fmla="*/ 75 h 353"/>
                <a:gd name="T28" fmla="*/ 239 w 541"/>
                <a:gd name="T29" fmla="*/ 0 h 353"/>
                <a:gd name="T30" fmla="*/ 0 w 541"/>
                <a:gd name="T31" fmla="*/ 0 h 353"/>
                <a:gd name="T32" fmla="*/ 0 w 541"/>
                <a:gd name="T33" fmla="*/ 353 h 353"/>
                <a:gd name="T34" fmla="*/ 239 w 541"/>
                <a:gd name="T35" fmla="*/ 353 h 353"/>
                <a:gd name="T36" fmla="*/ 239 w 541"/>
                <a:gd name="T37" fmla="*/ 278 h 353"/>
                <a:gd name="T38" fmla="*/ 85 w 541"/>
                <a:gd name="T39" fmla="*/ 278 h 353"/>
                <a:gd name="T40" fmla="*/ 85 w 541"/>
                <a:gd name="T41" fmla="*/ 210 h 353"/>
                <a:gd name="T42" fmla="*/ 235 w 541"/>
                <a:gd name="T43" fmla="*/ 210 h 353"/>
                <a:gd name="T44" fmla="*/ 235 w 541"/>
                <a:gd name="T45" fmla="*/ 139 h 353"/>
                <a:gd name="T46" fmla="*/ 85 w 541"/>
                <a:gd name="T47" fmla="*/ 139 h 353"/>
                <a:gd name="T48" fmla="*/ 85 w 541"/>
                <a:gd name="T49" fmla="*/ 75 h 353"/>
                <a:gd name="T50" fmla="*/ 239 w 541"/>
                <a:gd name="T51" fmla="*/ 75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1" h="353">
                  <a:moveTo>
                    <a:pt x="541" y="75"/>
                  </a:moveTo>
                  <a:lnTo>
                    <a:pt x="541" y="0"/>
                  </a:lnTo>
                  <a:lnTo>
                    <a:pt x="303" y="0"/>
                  </a:lnTo>
                  <a:lnTo>
                    <a:pt x="303" y="353"/>
                  </a:lnTo>
                  <a:lnTo>
                    <a:pt x="541" y="353"/>
                  </a:lnTo>
                  <a:lnTo>
                    <a:pt x="541" y="278"/>
                  </a:lnTo>
                  <a:lnTo>
                    <a:pt x="388" y="278"/>
                  </a:lnTo>
                  <a:lnTo>
                    <a:pt x="388" y="210"/>
                  </a:lnTo>
                  <a:lnTo>
                    <a:pt x="536" y="210"/>
                  </a:lnTo>
                  <a:lnTo>
                    <a:pt x="536" y="139"/>
                  </a:lnTo>
                  <a:lnTo>
                    <a:pt x="388" y="139"/>
                  </a:lnTo>
                  <a:lnTo>
                    <a:pt x="388" y="75"/>
                  </a:lnTo>
                  <a:lnTo>
                    <a:pt x="541" y="75"/>
                  </a:lnTo>
                  <a:close/>
                  <a:moveTo>
                    <a:pt x="239" y="75"/>
                  </a:moveTo>
                  <a:lnTo>
                    <a:pt x="239" y="0"/>
                  </a:lnTo>
                  <a:lnTo>
                    <a:pt x="0" y="0"/>
                  </a:lnTo>
                  <a:lnTo>
                    <a:pt x="0" y="353"/>
                  </a:lnTo>
                  <a:lnTo>
                    <a:pt x="239" y="353"/>
                  </a:lnTo>
                  <a:lnTo>
                    <a:pt x="239" y="278"/>
                  </a:lnTo>
                  <a:lnTo>
                    <a:pt x="85" y="278"/>
                  </a:lnTo>
                  <a:lnTo>
                    <a:pt x="85" y="210"/>
                  </a:lnTo>
                  <a:lnTo>
                    <a:pt x="235" y="210"/>
                  </a:lnTo>
                  <a:lnTo>
                    <a:pt x="235" y="139"/>
                  </a:lnTo>
                  <a:lnTo>
                    <a:pt x="85" y="139"/>
                  </a:lnTo>
                  <a:lnTo>
                    <a:pt x="85" y="75"/>
                  </a:lnTo>
                  <a:lnTo>
                    <a:pt x="23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grpSp>
    </p:spTree>
    <p:extLst>
      <p:ext uri="{BB962C8B-B14F-4D97-AF65-F5344CB8AC3E}">
        <p14:creationId xmlns:p14="http://schemas.microsoft.com/office/powerpoint/2010/main" val="921664907"/>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 Body slide - 1 wide column">
    <p:spTree>
      <p:nvGrpSpPr>
        <p:cNvPr id="1" name=""/>
        <p:cNvGrpSpPr/>
        <p:nvPr/>
      </p:nvGrpSpPr>
      <p:grpSpPr>
        <a:xfrm>
          <a:off x="0" y="0"/>
          <a:ext cx="0" cy="0"/>
          <a:chOff x="0" y="0"/>
          <a:chExt cx="0" cy="0"/>
        </a:xfrm>
      </p:grpSpPr>
      <p:sp>
        <p:nvSpPr>
          <p:cNvPr id="11" name="Text Placeholder 3"/>
          <p:cNvSpPr>
            <a:spLocks noGrp="1"/>
          </p:cNvSpPr>
          <p:nvPr>
            <p:ph type="body" sz="half" idx="10" hasCustomPrompt="1"/>
          </p:nvPr>
        </p:nvSpPr>
        <p:spPr>
          <a:xfrm>
            <a:off x="292328" y="294870"/>
            <a:ext cx="8492897" cy="733141"/>
          </a:xfrm>
          <a:prstGeom prst="rect">
            <a:avLst/>
          </a:prstGeom>
        </p:spPr>
        <p:txBody>
          <a:bodyPr lIns="0" tIns="0" rIns="0" bIns="0"/>
          <a:lstStyle>
            <a:lvl1pPr marL="0" indent="0">
              <a:lnSpc>
                <a:spcPct val="100000"/>
              </a:lnSpc>
              <a:buNone/>
              <a:defRPr sz="3600" b="1" baseline="0">
                <a:solidFill>
                  <a:schemeClr val="tx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Body slide title </a:t>
            </a:r>
          </a:p>
        </p:txBody>
      </p:sp>
      <p:sp>
        <p:nvSpPr>
          <p:cNvPr id="13" name="Text Placeholder 3"/>
          <p:cNvSpPr>
            <a:spLocks noGrp="1"/>
          </p:cNvSpPr>
          <p:nvPr>
            <p:ph type="body" sz="half" idx="11" hasCustomPrompt="1"/>
          </p:nvPr>
        </p:nvSpPr>
        <p:spPr>
          <a:xfrm>
            <a:off x="292328" y="1241467"/>
            <a:ext cx="8492897" cy="3049460"/>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2100" b="1" baseline="0">
                <a:solidFill>
                  <a:schemeClr val="tx1"/>
                </a:solidFill>
              </a:defRPr>
            </a:lvl1pPr>
            <a:lvl2pPr marL="628650" indent="-271463">
              <a:buFont typeface="Arial" panose="020B0604020202020204" pitchFamily="34" charset="0"/>
              <a:buChar char="•"/>
              <a:defRPr sz="2100"/>
            </a:lvl2pPr>
            <a:lvl3pPr marL="804863" indent="-176213">
              <a:buFont typeface="Arial" panose="020B0604020202020204" pitchFamily="34" charset="0"/>
              <a:buChar char="•"/>
              <a:defRPr sz="16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Your text here</a:t>
            </a:r>
          </a:p>
          <a:p>
            <a:pPr lvl="1"/>
            <a:r>
              <a:rPr lang="fi-FI" dirty="0"/>
              <a:t>Second </a:t>
            </a:r>
            <a:r>
              <a:rPr lang="fi-FI" dirty="0" err="1"/>
              <a:t>level</a:t>
            </a:r>
            <a:endParaRPr lang="fi-FI" dirty="0"/>
          </a:p>
          <a:p>
            <a:pPr lvl="2"/>
            <a:r>
              <a:rPr lang="fi-FI" dirty="0"/>
              <a:t>Third </a:t>
            </a:r>
            <a:r>
              <a:rPr lang="fi-FI" dirty="0" err="1"/>
              <a:t>level</a:t>
            </a:r>
            <a:endParaRPr lang="fi-FI" dirty="0"/>
          </a:p>
        </p:txBody>
      </p:sp>
      <p:sp>
        <p:nvSpPr>
          <p:cNvPr id="2" name="Päivämäärän paikkamerkki 1">
            <a:extLst>
              <a:ext uri="{FF2B5EF4-FFF2-40B4-BE49-F238E27FC236}">
                <a16:creationId xmlns:a16="http://schemas.microsoft.com/office/drawing/2014/main" id="{4C366827-B13F-41D2-9BB1-86D6952FE74F}"/>
              </a:ext>
            </a:extLst>
          </p:cNvPr>
          <p:cNvSpPr>
            <a:spLocks noGrp="1"/>
          </p:cNvSpPr>
          <p:nvPr>
            <p:ph type="dt" sz="half" idx="12"/>
          </p:nvPr>
        </p:nvSpPr>
        <p:spPr/>
        <p:txBody>
          <a:bodyPr/>
          <a:lstStyle/>
          <a:p>
            <a:r>
              <a:rPr lang="fi-FI" dirty="0"/>
              <a:t>dd.mm.yyyy</a:t>
            </a:r>
            <a:endParaRPr lang="en-US" dirty="0"/>
          </a:p>
        </p:txBody>
      </p:sp>
      <p:sp>
        <p:nvSpPr>
          <p:cNvPr id="3" name="Alatunnisteen paikkamerkki 2">
            <a:extLst>
              <a:ext uri="{FF2B5EF4-FFF2-40B4-BE49-F238E27FC236}">
                <a16:creationId xmlns:a16="http://schemas.microsoft.com/office/drawing/2014/main" id="{B081CECA-2419-49BC-A865-E26F838DFBF9}"/>
              </a:ext>
            </a:extLst>
          </p:cNvPr>
          <p:cNvSpPr>
            <a:spLocks noGrp="1"/>
          </p:cNvSpPr>
          <p:nvPr>
            <p:ph type="ftr" sz="quarter" idx="13"/>
          </p:nvPr>
        </p:nvSpPr>
        <p:spPr/>
        <p:txBody>
          <a:bodyPr/>
          <a:lstStyle/>
          <a:p>
            <a:r>
              <a:rPr lang="fi-FI" dirty="0"/>
              <a:t>Your text here</a:t>
            </a:r>
          </a:p>
        </p:txBody>
      </p:sp>
      <p:sp>
        <p:nvSpPr>
          <p:cNvPr id="4" name="Dian numeron paikkamerkki 3">
            <a:extLst>
              <a:ext uri="{FF2B5EF4-FFF2-40B4-BE49-F238E27FC236}">
                <a16:creationId xmlns:a16="http://schemas.microsoft.com/office/drawing/2014/main" id="{75CA6814-F1E3-4289-929D-E2AEACCAF6C2}"/>
              </a:ext>
            </a:extLst>
          </p:cNvPr>
          <p:cNvSpPr>
            <a:spLocks noGrp="1"/>
          </p:cNvSpPr>
          <p:nvPr>
            <p:ph type="sldNum" sz="quarter" idx="14"/>
          </p:nvPr>
        </p:nvSpPr>
        <p:spPr/>
        <p:txBody>
          <a:bodyPr/>
          <a:lstStyle/>
          <a:p>
            <a:fld id="{28F7F04C-F568-F649-A2AE-EA61C66B69B4}" type="slidenum">
              <a:rPr lang="en-US" smtClean="0"/>
              <a:pPr/>
              <a:t>‹#›</a:t>
            </a:fld>
            <a:endParaRPr lang="en-US" dirty="0"/>
          </a:p>
        </p:txBody>
      </p:sp>
      <p:pic>
        <p:nvPicPr>
          <p:cNvPr id="8" name="Kuva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8790"/>
            <a:ext cx="2073704" cy="856800"/>
          </a:xfrm>
          <a:prstGeom prst="rect">
            <a:avLst/>
          </a:prstGeom>
        </p:spPr>
      </p:pic>
    </p:spTree>
    <p:extLst>
      <p:ext uri="{BB962C8B-B14F-4D97-AF65-F5344CB8AC3E}">
        <p14:creationId xmlns:p14="http://schemas.microsoft.com/office/powerpoint/2010/main" val="1497419491"/>
      </p:ext>
    </p:extLst>
  </p:cSld>
  <p:clrMapOvr>
    <a:masterClrMapping/>
  </p:clrMapOvr>
  <p:extLst>
    <p:ext uri="{DCECCB84-F9BA-43D5-87BE-67443E8EF086}">
      <p15:sldGuideLst xmlns:p15="http://schemas.microsoft.com/office/powerpoint/2012/main">
        <p15:guide id="4" pos="5534" userDrawn="1">
          <p15:clr>
            <a:srgbClr val="FBAE40"/>
          </p15:clr>
        </p15:guide>
        <p15:guide id="5" orient="horz" pos="327" userDrawn="1">
          <p15:clr>
            <a:srgbClr val="FBAE40"/>
          </p15:clr>
        </p15:guide>
        <p15:guide id="6" pos="2795" userDrawn="1">
          <p15:clr>
            <a:srgbClr val="FBAE40"/>
          </p15:clr>
        </p15:guide>
        <p15:guide id="7" pos="2965" userDrawn="1">
          <p15:clr>
            <a:srgbClr val="FBAE40"/>
          </p15:clr>
        </p15:guide>
        <p15:guide id="8" orient="horz" pos="849"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obj" preserve="1">
  <p:cSld name="Introduction CYA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573882"/>
            <a:ext cx="7487081" cy="602326"/>
          </a:xfrm>
          <a:solidFill>
            <a:srgbClr val="00B0CA"/>
          </a:solidFill>
        </p:spPr>
        <p:txBody>
          <a:bodyPr/>
          <a:lstStyle>
            <a:lvl1pPr>
              <a:defRPr/>
            </a:lvl1pPr>
          </a:lstStyle>
          <a:p>
            <a:r>
              <a:rPr lang="en-US" dirty="0"/>
              <a:t>Click to add title</a:t>
            </a:r>
          </a:p>
        </p:txBody>
      </p:sp>
      <p:sp>
        <p:nvSpPr>
          <p:cNvPr id="3" name="Content Placeholder 2"/>
          <p:cNvSpPr>
            <a:spLocks noGrp="1"/>
          </p:cNvSpPr>
          <p:nvPr>
            <p:ph idx="1" hasCustomPrompt="1"/>
          </p:nvPr>
        </p:nvSpPr>
        <p:spPr>
          <a:xfrm>
            <a:off x="1" y="1869673"/>
            <a:ext cx="7487081" cy="2538022"/>
          </a:xfrm>
          <a:solidFill>
            <a:srgbClr val="00B0CA"/>
          </a:solidFill>
        </p:spPr>
        <p:txBody>
          <a:bodyPr lIns="540000" tIns="324000" rIns="540000" bIns="324000"/>
          <a:lstStyle>
            <a:lvl1pPr marL="0" indent="0">
              <a:buFontTx/>
              <a:buNone/>
              <a:defRPr b="1">
                <a:solidFill>
                  <a:schemeClr val="bg1"/>
                </a:solidFill>
              </a:defRPr>
            </a:lvl1pPr>
            <a:lvl2pPr marL="199972" indent="-199972">
              <a:buFont typeface="Arial" pitchFamily="34" charset="0"/>
              <a:buChar char="•"/>
              <a:defRPr>
                <a:solidFill>
                  <a:schemeClr val="bg1"/>
                </a:solidFill>
              </a:defRPr>
            </a:lvl2pPr>
          </a:lstStyle>
          <a:p>
            <a:pPr lvl="0"/>
            <a:r>
              <a:rPr lang="en-US" dirty="0"/>
              <a:t>Click to add text</a:t>
            </a:r>
          </a:p>
          <a:p>
            <a:pPr lvl="1"/>
            <a:r>
              <a:rPr lang="en-US" dirty="0"/>
              <a:t>Second level</a:t>
            </a:r>
          </a:p>
        </p:txBody>
      </p:sp>
      <p:grpSp>
        <p:nvGrpSpPr>
          <p:cNvPr id="12" name="Group 11"/>
          <p:cNvGrpSpPr>
            <a:grpSpLocks noChangeAspect="1"/>
          </p:cNvGrpSpPr>
          <p:nvPr userDrawn="1"/>
        </p:nvGrpSpPr>
        <p:grpSpPr>
          <a:xfrm>
            <a:off x="7595548" y="249492"/>
            <a:ext cx="1294116" cy="199800"/>
            <a:chOff x="4067175" y="114301"/>
            <a:chExt cx="3630613" cy="560388"/>
          </a:xfrm>
          <a:solidFill>
            <a:schemeClr val="bg1"/>
          </a:solidFill>
        </p:grpSpPr>
        <p:sp>
          <p:nvSpPr>
            <p:cNvPr id="13" name="Freeform 6"/>
            <p:cNvSpPr>
              <a:spLocks noEditPoints="1"/>
            </p:cNvSpPr>
            <p:nvPr userDrawn="1"/>
          </p:nvSpPr>
          <p:spPr bwMode="auto">
            <a:xfrm>
              <a:off x="5749925" y="114301"/>
              <a:ext cx="1530350" cy="173038"/>
            </a:xfrm>
            <a:custGeom>
              <a:avLst/>
              <a:gdLst>
                <a:gd name="T0" fmla="*/ 922 w 964"/>
                <a:gd name="T1" fmla="*/ 84 h 109"/>
                <a:gd name="T2" fmla="*/ 918 w 964"/>
                <a:gd name="T3" fmla="*/ 109 h 109"/>
                <a:gd name="T4" fmla="*/ 944 w 964"/>
                <a:gd name="T5" fmla="*/ 25 h 109"/>
                <a:gd name="T6" fmla="*/ 860 w 964"/>
                <a:gd name="T7" fmla="*/ 68 h 109"/>
                <a:gd name="T8" fmla="*/ 890 w 964"/>
                <a:gd name="T9" fmla="*/ 89 h 109"/>
                <a:gd name="T10" fmla="*/ 890 w 964"/>
                <a:gd name="T11" fmla="*/ 39 h 109"/>
                <a:gd name="T12" fmla="*/ 819 w 964"/>
                <a:gd name="T13" fmla="*/ 89 h 109"/>
                <a:gd name="T14" fmla="*/ 793 w 964"/>
                <a:gd name="T15" fmla="*/ 26 h 109"/>
                <a:gd name="T16" fmla="*/ 753 w 964"/>
                <a:gd name="T17" fmla="*/ 33 h 109"/>
                <a:gd name="T18" fmla="*/ 757 w 964"/>
                <a:gd name="T19" fmla="*/ 58 h 109"/>
                <a:gd name="T20" fmla="*/ 788 w 964"/>
                <a:gd name="T21" fmla="*/ 72 h 109"/>
                <a:gd name="T22" fmla="*/ 767 w 964"/>
                <a:gd name="T23" fmla="*/ 70 h 109"/>
                <a:gd name="T24" fmla="*/ 772 w 964"/>
                <a:gd name="T25" fmla="*/ 90 h 109"/>
                <a:gd name="T26" fmla="*/ 806 w 964"/>
                <a:gd name="T27" fmla="*/ 73 h 109"/>
                <a:gd name="T28" fmla="*/ 788 w 964"/>
                <a:gd name="T29" fmla="*/ 49 h 109"/>
                <a:gd name="T30" fmla="*/ 777 w 964"/>
                <a:gd name="T31" fmla="*/ 37 h 109"/>
                <a:gd name="T32" fmla="*/ 700 w 964"/>
                <a:gd name="T33" fmla="*/ 89 h 109"/>
                <a:gd name="T34" fmla="*/ 729 w 964"/>
                <a:gd name="T35" fmla="*/ 42 h 109"/>
                <a:gd name="T36" fmla="*/ 723 w 964"/>
                <a:gd name="T37" fmla="*/ 27 h 109"/>
                <a:gd name="T38" fmla="*/ 643 w 964"/>
                <a:gd name="T39" fmla="*/ 42 h 109"/>
                <a:gd name="T40" fmla="*/ 666 w 964"/>
                <a:gd name="T41" fmla="*/ 44 h 109"/>
                <a:gd name="T42" fmla="*/ 682 w 964"/>
                <a:gd name="T43" fmla="*/ 38 h 109"/>
                <a:gd name="T44" fmla="*/ 647 w 964"/>
                <a:gd name="T45" fmla="*/ 24 h 109"/>
                <a:gd name="T46" fmla="*/ 623 w 964"/>
                <a:gd name="T47" fmla="*/ 46 h 109"/>
                <a:gd name="T48" fmla="*/ 641 w 964"/>
                <a:gd name="T49" fmla="*/ 88 h 109"/>
                <a:gd name="T50" fmla="*/ 679 w 964"/>
                <a:gd name="T51" fmla="*/ 82 h 109"/>
                <a:gd name="T52" fmla="*/ 656 w 964"/>
                <a:gd name="T53" fmla="*/ 76 h 109"/>
                <a:gd name="T54" fmla="*/ 687 w 964"/>
                <a:gd name="T55" fmla="*/ 62 h 109"/>
                <a:gd name="T56" fmla="*/ 575 w 964"/>
                <a:gd name="T57" fmla="*/ 89 h 109"/>
                <a:gd name="T58" fmla="*/ 521 w 964"/>
                <a:gd name="T59" fmla="*/ 89 h 109"/>
                <a:gd name="T60" fmla="*/ 467 w 964"/>
                <a:gd name="T61" fmla="*/ 42 h 109"/>
                <a:gd name="T62" fmla="*/ 483 w 964"/>
                <a:gd name="T63" fmla="*/ 44 h 109"/>
                <a:gd name="T64" fmla="*/ 497 w 964"/>
                <a:gd name="T65" fmla="*/ 29 h 109"/>
                <a:gd name="T66" fmla="*/ 463 w 964"/>
                <a:gd name="T67" fmla="*/ 25 h 109"/>
                <a:gd name="T68" fmla="*/ 398 w 964"/>
                <a:gd name="T69" fmla="*/ 73 h 109"/>
                <a:gd name="T70" fmla="*/ 376 w 964"/>
                <a:gd name="T71" fmla="*/ 63 h 109"/>
                <a:gd name="T72" fmla="*/ 364 w 964"/>
                <a:gd name="T73" fmla="*/ 81 h 109"/>
                <a:gd name="T74" fmla="*/ 406 w 964"/>
                <a:gd name="T75" fmla="*/ 89 h 109"/>
                <a:gd name="T76" fmla="*/ 427 w 964"/>
                <a:gd name="T77" fmla="*/ 60 h 109"/>
                <a:gd name="T78" fmla="*/ 292 w 964"/>
                <a:gd name="T79" fmla="*/ 49 h 109"/>
                <a:gd name="T80" fmla="*/ 284 w 964"/>
                <a:gd name="T81" fmla="*/ 74 h 109"/>
                <a:gd name="T82" fmla="*/ 263 w 964"/>
                <a:gd name="T83" fmla="*/ 61 h 109"/>
                <a:gd name="T84" fmla="*/ 274 w 964"/>
                <a:gd name="T85" fmla="*/ 38 h 109"/>
                <a:gd name="T86" fmla="*/ 247 w 964"/>
                <a:gd name="T87" fmla="*/ 40 h 109"/>
                <a:gd name="T88" fmla="*/ 249 w 964"/>
                <a:gd name="T89" fmla="*/ 76 h 109"/>
                <a:gd name="T90" fmla="*/ 291 w 964"/>
                <a:gd name="T91" fmla="*/ 88 h 109"/>
                <a:gd name="T92" fmla="*/ 311 w 964"/>
                <a:gd name="T93" fmla="*/ 57 h 109"/>
                <a:gd name="T94" fmla="*/ 291 w 964"/>
                <a:gd name="T95" fmla="*/ 26 h 109"/>
                <a:gd name="T96" fmla="*/ 196 w 964"/>
                <a:gd name="T97" fmla="*/ 26 h 109"/>
                <a:gd name="T98" fmla="*/ 214 w 964"/>
                <a:gd name="T99" fmla="*/ 88 h 109"/>
                <a:gd name="T100" fmla="*/ 224 w 964"/>
                <a:gd name="T101" fmla="*/ 70 h 109"/>
                <a:gd name="T102" fmla="*/ 184 w 964"/>
                <a:gd name="T103" fmla="*/ 0 h 109"/>
                <a:gd name="T104" fmla="*/ 108 w 964"/>
                <a:gd name="T105" fmla="*/ 71 h 109"/>
                <a:gd name="T106" fmla="*/ 110 w 964"/>
                <a:gd name="T107" fmla="*/ 45 h 109"/>
                <a:gd name="T108" fmla="*/ 130 w 964"/>
                <a:gd name="T109" fmla="*/ 41 h 109"/>
                <a:gd name="T110" fmla="*/ 103 w 964"/>
                <a:gd name="T111" fmla="*/ 52 h 109"/>
                <a:gd name="T112" fmla="*/ 91 w 964"/>
                <a:gd name="T113" fmla="*/ 79 h 109"/>
                <a:gd name="T114" fmla="*/ 123 w 964"/>
                <a:gd name="T115" fmla="*/ 89 h 109"/>
                <a:gd name="T116" fmla="*/ 149 w 964"/>
                <a:gd name="T117" fmla="*/ 42 h 109"/>
                <a:gd name="T118" fmla="*/ 115 w 964"/>
                <a:gd name="T119" fmla="*/ 23 h 109"/>
                <a:gd name="T120" fmla="*/ 93 w 964"/>
                <a:gd name="T121" fmla="*/ 45 h 109"/>
                <a:gd name="T122" fmla="*/ 56 w 964"/>
                <a:gd name="T1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4" h="109">
                  <a:moveTo>
                    <a:pt x="944" y="25"/>
                  </a:moveTo>
                  <a:lnTo>
                    <a:pt x="936" y="54"/>
                  </a:lnTo>
                  <a:lnTo>
                    <a:pt x="933" y="68"/>
                  </a:lnTo>
                  <a:lnTo>
                    <a:pt x="932" y="65"/>
                  </a:lnTo>
                  <a:lnTo>
                    <a:pt x="928" y="54"/>
                  </a:lnTo>
                  <a:lnTo>
                    <a:pt x="919" y="25"/>
                  </a:lnTo>
                  <a:lnTo>
                    <a:pt x="899" y="25"/>
                  </a:lnTo>
                  <a:lnTo>
                    <a:pt x="920" y="79"/>
                  </a:lnTo>
                  <a:lnTo>
                    <a:pt x="922" y="84"/>
                  </a:lnTo>
                  <a:lnTo>
                    <a:pt x="922" y="87"/>
                  </a:lnTo>
                  <a:lnTo>
                    <a:pt x="922" y="90"/>
                  </a:lnTo>
                  <a:lnTo>
                    <a:pt x="920" y="93"/>
                  </a:lnTo>
                  <a:lnTo>
                    <a:pt x="919" y="94"/>
                  </a:lnTo>
                  <a:lnTo>
                    <a:pt x="917" y="94"/>
                  </a:lnTo>
                  <a:lnTo>
                    <a:pt x="913" y="95"/>
                  </a:lnTo>
                  <a:lnTo>
                    <a:pt x="907" y="95"/>
                  </a:lnTo>
                  <a:lnTo>
                    <a:pt x="907" y="109"/>
                  </a:lnTo>
                  <a:lnTo>
                    <a:pt x="918" y="109"/>
                  </a:lnTo>
                  <a:lnTo>
                    <a:pt x="923" y="109"/>
                  </a:lnTo>
                  <a:lnTo>
                    <a:pt x="927" y="108"/>
                  </a:lnTo>
                  <a:lnTo>
                    <a:pt x="930" y="107"/>
                  </a:lnTo>
                  <a:lnTo>
                    <a:pt x="933" y="105"/>
                  </a:lnTo>
                  <a:lnTo>
                    <a:pt x="935" y="103"/>
                  </a:lnTo>
                  <a:lnTo>
                    <a:pt x="937" y="100"/>
                  </a:lnTo>
                  <a:lnTo>
                    <a:pt x="941" y="89"/>
                  </a:lnTo>
                  <a:lnTo>
                    <a:pt x="964" y="25"/>
                  </a:lnTo>
                  <a:lnTo>
                    <a:pt x="944" y="25"/>
                  </a:lnTo>
                  <a:close/>
                  <a:moveTo>
                    <a:pt x="890" y="26"/>
                  </a:moveTo>
                  <a:lnTo>
                    <a:pt x="879" y="26"/>
                  </a:lnTo>
                  <a:lnTo>
                    <a:pt x="879" y="5"/>
                  </a:lnTo>
                  <a:lnTo>
                    <a:pt x="860" y="5"/>
                  </a:lnTo>
                  <a:lnTo>
                    <a:pt x="860" y="26"/>
                  </a:lnTo>
                  <a:lnTo>
                    <a:pt x="851" y="26"/>
                  </a:lnTo>
                  <a:lnTo>
                    <a:pt x="851" y="39"/>
                  </a:lnTo>
                  <a:lnTo>
                    <a:pt x="860" y="39"/>
                  </a:lnTo>
                  <a:lnTo>
                    <a:pt x="860" y="68"/>
                  </a:lnTo>
                  <a:lnTo>
                    <a:pt x="860" y="74"/>
                  </a:lnTo>
                  <a:lnTo>
                    <a:pt x="861" y="79"/>
                  </a:lnTo>
                  <a:lnTo>
                    <a:pt x="862" y="82"/>
                  </a:lnTo>
                  <a:lnTo>
                    <a:pt x="863" y="84"/>
                  </a:lnTo>
                  <a:lnTo>
                    <a:pt x="866" y="86"/>
                  </a:lnTo>
                  <a:lnTo>
                    <a:pt x="869" y="88"/>
                  </a:lnTo>
                  <a:lnTo>
                    <a:pt x="873" y="88"/>
                  </a:lnTo>
                  <a:lnTo>
                    <a:pt x="879" y="89"/>
                  </a:lnTo>
                  <a:lnTo>
                    <a:pt x="890" y="89"/>
                  </a:lnTo>
                  <a:lnTo>
                    <a:pt x="890" y="75"/>
                  </a:lnTo>
                  <a:lnTo>
                    <a:pt x="883" y="75"/>
                  </a:lnTo>
                  <a:lnTo>
                    <a:pt x="881" y="74"/>
                  </a:lnTo>
                  <a:lnTo>
                    <a:pt x="880" y="74"/>
                  </a:lnTo>
                  <a:lnTo>
                    <a:pt x="879" y="73"/>
                  </a:lnTo>
                  <a:lnTo>
                    <a:pt x="879" y="70"/>
                  </a:lnTo>
                  <a:lnTo>
                    <a:pt x="879" y="64"/>
                  </a:lnTo>
                  <a:lnTo>
                    <a:pt x="879" y="39"/>
                  </a:lnTo>
                  <a:lnTo>
                    <a:pt x="890" y="39"/>
                  </a:lnTo>
                  <a:lnTo>
                    <a:pt x="890" y="26"/>
                  </a:lnTo>
                  <a:close/>
                  <a:moveTo>
                    <a:pt x="838" y="0"/>
                  </a:moveTo>
                  <a:lnTo>
                    <a:pt x="819" y="0"/>
                  </a:lnTo>
                  <a:lnTo>
                    <a:pt x="819" y="16"/>
                  </a:lnTo>
                  <a:lnTo>
                    <a:pt x="838" y="16"/>
                  </a:lnTo>
                  <a:lnTo>
                    <a:pt x="838" y="0"/>
                  </a:lnTo>
                  <a:close/>
                  <a:moveTo>
                    <a:pt x="838" y="25"/>
                  </a:moveTo>
                  <a:lnTo>
                    <a:pt x="819" y="25"/>
                  </a:lnTo>
                  <a:lnTo>
                    <a:pt x="819" y="89"/>
                  </a:lnTo>
                  <a:lnTo>
                    <a:pt x="838" y="89"/>
                  </a:lnTo>
                  <a:lnTo>
                    <a:pt x="838" y="25"/>
                  </a:lnTo>
                  <a:close/>
                  <a:moveTo>
                    <a:pt x="806" y="44"/>
                  </a:moveTo>
                  <a:lnTo>
                    <a:pt x="805" y="39"/>
                  </a:lnTo>
                  <a:lnTo>
                    <a:pt x="803" y="35"/>
                  </a:lnTo>
                  <a:lnTo>
                    <a:pt x="800" y="31"/>
                  </a:lnTo>
                  <a:lnTo>
                    <a:pt x="797" y="28"/>
                  </a:lnTo>
                  <a:lnTo>
                    <a:pt x="795" y="27"/>
                  </a:lnTo>
                  <a:lnTo>
                    <a:pt x="793" y="26"/>
                  </a:lnTo>
                  <a:lnTo>
                    <a:pt x="789" y="24"/>
                  </a:lnTo>
                  <a:lnTo>
                    <a:pt x="783" y="23"/>
                  </a:lnTo>
                  <a:lnTo>
                    <a:pt x="777" y="23"/>
                  </a:lnTo>
                  <a:lnTo>
                    <a:pt x="771" y="23"/>
                  </a:lnTo>
                  <a:lnTo>
                    <a:pt x="766" y="24"/>
                  </a:lnTo>
                  <a:lnTo>
                    <a:pt x="761" y="26"/>
                  </a:lnTo>
                  <a:lnTo>
                    <a:pt x="757" y="29"/>
                  </a:lnTo>
                  <a:lnTo>
                    <a:pt x="754" y="32"/>
                  </a:lnTo>
                  <a:lnTo>
                    <a:pt x="753" y="33"/>
                  </a:lnTo>
                  <a:lnTo>
                    <a:pt x="752" y="35"/>
                  </a:lnTo>
                  <a:lnTo>
                    <a:pt x="751" y="39"/>
                  </a:lnTo>
                  <a:lnTo>
                    <a:pt x="750" y="44"/>
                  </a:lnTo>
                  <a:lnTo>
                    <a:pt x="750" y="47"/>
                  </a:lnTo>
                  <a:lnTo>
                    <a:pt x="751" y="50"/>
                  </a:lnTo>
                  <a:lnTo>
                    <a:pt x="752" y="52"/>
                  </a:lnTo>
                  <a:lnTo>
                    <a:pt x="753" y="53"/>
                  </a:lnTo>
                  <a:lnTo>
                    <a:pt x="755" y="56"/>
                  </a:lnTo>
                  <a:lnTo>
                    <a:pt x="757" y="58"/>
                  </a:lnTo>
                  <a:lnTo>
                    <a:pt x="761" y="59"/>
                  </a:lnTo>
                  <a:lnTo>
                    <a:pt x="765" y="61"/>
                  </a:lnTo>
                  <a:lnTo>
                    <a:pt x="770" y="62"/>
                  </a:lnTo>
                  <a:lnTo>
                    <a:pt x="781" y="65"/>
                  </a:lnTo>
                  <a:lnTo>
                    <a:pt x="785" y="66"/>
                  </a:lnTo>
                  <a:lnTo>
                    <a:pt x="787" y="67"/>
                  </a:lnTo>
                  <a:lnTo>
                    <a:pt x="788" y="69"/>
                  </a:lnTo>
                  <a:lnTo>
                    <a:pt x="788" y="71"/>
                  </a:lnTo>
                  <a:lnTo>
                    <a:pt x="788" y="72"/>
                  </a:lnTo>
                  <a:lnTo>
                    <a:pt x="788" y="73"/>
                  </a:lnTo>
                  <a:lnTo>
                    <a:pt x="786" y="75"/>
                  </a:lnTo>
                  <a:lnTo>
                    <a:pt x="783" y="76"/>
                  </a:lnTo>
                  <a:lnTo>
                    <a:pt x="779" y="77"/>
                  </a:lnTo>
                  <a:lnTo>
                    <a:pt x="774" y="76"/>
                  </a:lnTo>
                  <a:lnTo>
                    <a:pt x="772" y="76"/>
                  </a:lnTo>
                  <a:lnTo>
                    <a:pt x="770" y="75"/>
                  </a:lnTo>
                  <a:lnTo>
                    <a:pt x="767" y="72"/>
                  </a:lnTo>
                  <a:lnTo>
                    <a:pt x="767" y="70"/>
                  </a:lnTo>
                  <a:lnTo>
                    <a:pt x="766" y="68"/>
                  </a:lnTo>
                  <a:lnTo>
                    <a:pt x="748" y="68"/>
                  </a:lnTo>
                  <a:lnTo>
                    <a:pt x="749" y="73"/>
                  </a:lnTo>
                  <a:lnTo>
                    <a:pt x="751" y="77"/>
                  </a:lnTo>
                  <a:lnTo>
                    <a:pt x="754" y="81"/>
                  </a:lnTo>
                  <a:lnTo>
                    <a:pt x="757" y="84"/>
                  </a:lnTo>
                  <a:lnTo>
                    <a:pt x="761" y="87"/>
                  </a:lnTo>
                  <a:lnTo>
                    <a:pt x="766" y="89"/>
                  </a:lnTo>
                  <a:lnTo>
                    <a:pt x="772" y="90"/>
                  </a:lnTo>
                  <a:lnTo>
                    <a:pt x="778" y="90"/>
                  </a:lnTo>
                  <a:lnTo>
                    <a:pt x="785" y="90"/>
                  </a:lnTo>
                  <a:lnTo>
                    <a:pt x="790" y="89"/>
                  </a:lnTo>
                  <a:lnTo>
                    <a:pt x="795" y="87"/>
                  </a:lnTo>
                  <a:lnTo>
                    <a:pt x="799" y="84"/>
                  </a:lnTo>
                  <a:lnTo>
                    <a:pt x="803" y="81"/>
                  </a:lnTo>
                  <a:lnTo>
                    <a:pt x="805" y="78"/>
                  </a:lnTo>
                  <a:lnTo>
                    <a:pt x="806" y="75"/>
                  </a:lnTo>
                  <a:lnTo>
                    <a:pt x="806" y="73"/>
                  </a:lnTo>
                  <a:lnTo>
                    <a:pt x="807" y="68"/>
                  </a:lnTo>
                  <a:lnTo>
                    <a:pt x="807" y="65"/>
                  </a:lnTo>
                  <a:lnTo>
                    <a:pt x="806" y="61"/>
                  </a:lnTo>
                  <a:lnTo>
                    <a:pt x="804" y="58"/>
                  </a:lnTo>
                  <a:lnTo>
                    <a:pt x="802" y="56"/>
                  </a:lnTo>
                  <a:lnTo>
                    <a:pt x="800" y="54"/>
                  </a:lnTo>
                  <a:lnTo>
                    <a:pt x="797" y="52"/>
                  </a:lnTo>
                  <a:lnTo>
                    <a:pt x="793" y="51"/>
                  </a:lnTo>
                  <a:lnTo>
                    <a:pt x="788" y="49"/>
                  </a:lnTo>
                  <a:lnTo>
                    <a:pt x="776" y="47"/>
                  </a:lnTo>
                  <a:lnTo>
                    <a:pt x="772" y="46"/>
                  </a:lnTo>
                  <a:lnTo>
                    <a:pt x="770" y="45"/>
                  </a:lnTo>
                  <a:lnTo>
                    <a:pt x="768" y="44"/>
                  </a:lnTo>
                  <a:lnTo>
                    <a:pt x="768" y="42"/>
                  </a:lnTo>
                  <a:lnTo>
                    <a:pt x="769" y="40"/>
                  </a:lnTo>
                  <a:lnTo>
                    <a:pt x="771" y="38"/>
                  </a:lnTo>
                  <a:lnTo>
                    <a:pt x="773" y="37"/>
                  </a:lnTo>
                  <a:lnTo>
                    <a:pt x="777" y="37"/>
                  </a:lnTo>
                  <a:lnTo>
                    <a:pt x="781" y="37"/>
                  </a:lnTo>
                  <a:lnTo>
                    <a:pt x="783" y="38"/>
                  </a:lnTo>
                  <a:lnTo>
                    <a:pt x="785" y="39"/>
                  </a:lnTo>
                  <a:lnTo>
                    <a:pt x="786" y="40"/>
                  </a:lnTo>
                  <a:lnTo>
                    <a:pt x="787" y="41"/>
                  </a:lnTo>
                  <a:lnTo>
                    <a:pt x="788" y="44"/>
                  </a:lnTo>
                  <a:lnTo>
                    <a:pt x="806" y="44"/>
                  </a:lnTo>
                  <a:close/>
                  <a:moveTo>
                    <a:pt x="700" y="25"/>
                  </a:moveTo>
                  <a:lnTo>
                    <a:pt x="700" y="89"/>
                  </a:lnTo>
                  <a:lnTo>
                    <a:pt x="719" y="89"/>
                  </a:lnTo>
                  <a:lnTo>
                    <a:pt x="719" y="71"/>
                  </a:lnTo>
                  <a:lnTo>
                    <a:pt x="719" y="56"/>
                  </a:lnTo>
                  <a:lnTo>
                    <a:pt x="720" y="52"/>
                  </a:lnTo>
                  <a:lnTo>
                    <a:pt x="721" y="48"/>
                  </a:lnTo>
                  <a:lnTo>
                    <a:pt x="722" y="46"/>
                  </a:lnTo>
                  <a:lnTo>
                    <a:pt x="724" y="45"/>
                  </a:lnTo>
                  <a:lnTo>
                    <a:pt x="727" y="42"/>
                  </a:lnTo>
                  <a:lnTo>
                    <a:pt x="729" y="42"/>
                  </a:lnTo>
                  <a:lnTo>
                    <a:pt x="731" y="41"/>
                  </a:lnTo>
                  <a:lnTo>
                    <a:pt x="735" y="40"/>
                  </a:lnTo>
                  <a:lnTo>
                    <a:pt x="740" y="41"/>
                  </a:lnTo>
                  <a:lnTo>
                    <a:pt x="740" y="23"/>
                  </a:lnTo>
                  <a:lnTo>
                    <a:pt x="735" y="23"/>
                  </a:lnTo>
                  <a:lnTo>
                    <a:pt x="731" y="24"/>
                  </a:lnTo>
                  <a:lnTo>
                    <a:pt x="728" y="24"/>
                  </a:lnTo>
                  <a:lnTo>
                    <a:pt x="725" y="26"/>
                  </a:lnTo>
                  <a:lnTo>
                    <a:pt x="723" y="27"/>
                  </a:lnTo>
                  <a:lnTo>
                    <a:pt x="721" y="30"/>
                  </a:lnTo>
                  <a:lnTo>
                    <a:pt x="719" y="33"/>
                  </a:lnTo>
                  <a:lnTo>
                    <a:pt x="718" y="36"/>
                  </a:lnTo>
                  <a:lnTo>
                    <a:pt x="718" y="25"/>
                  </a:lnTo>
                  <a:lnTo>
                    <a:pt x="700" y="25"/>
                  </a:lnTo>
                  <a:close/>
                  <a:moveTo>
                    <a:pt x="640" y="49"/>
                  </a:moveTo>
                  <a:lnTo>
                    <a:pt x="641" y="46"/>
                  </a:lnTo>
                  <a:lnTo>
                    <a:pt x="642" y="44"/>
                  </a:lnTo>
                  <a:lnTo>
                    <a:pt x="643" y="42"/>
                  </a:lnTo>
                  <a:lnTo>
                    <a:pt x="645" y="40"/>
                  </a:lnTo>
                  <a:lnTo>
                    <a:pt x="647" y="39"/>
                  </a:lnTo>
                  <a:lnTo>
                    <a:pt x="649" y="38"/>
                  </a:lnTo>
                  <a:lnTo>
                    <a:pt x="655" y="37"/>
                  </a:lnTo>
                  <a:lnTo>
                    <a:pt x="660" y="38"/>
                  </a:lnTo>
                  <a:lnTo>
                    <a:pt x="662" y="39"/>
                  </a:lnTo>
                  <a:lnTo>
                    <a:pt x="663" y="40"/>
                  </a:lnTo>
                  <a:lnTo>
                    <a:pt x="665" y="42"/>
                  </a:lnTo>
                  <a:lnTo>
                    <a:pt x="666" y="44"/>
                  </a:lnTo>
                  <a:lnTo>
                    <a:pt x="667" y="46"/>
                  </a:lnTo>
                  <a:lnTo>
                    <a:pt x="667" y="49"/>
                  </a:lnTo>
                  <a:lnTo>
                    <a:pt x="640" y="49"/>
                  </a:lnTo>
                  <a:close/>
                  <a:moveTo>
                    <a:pt x="687" y="62"/>
                  </a:moveTo>
                  <a:lnTo>
                    <a:pt x="686" y="56"/>
                  </a:lnTo>
                  <a:lnTo>
                    <a:pt x="686" y="51"/>
                  </a:lnTo>
                  <a:lnTo>
                    <a:pt x="685" y="47"/>
                  </a:lnTo>
                  <a:lnTo>
                    <a:pt x="684" y="43"/>
                  </a:lnTo>
                  <a:lnTo>
                    <a:pt x="682" y="38"/>
                  </a:lnTo>
                  <a:lnTo>
                    <a:pt x="679" y="34"/>
                  </a:lnTo>
                  <a:lnTo>
                    <a:pt x="676" y="31"/>
                  </a:lnTo>
                  <a:lnTo>
                    <a:pt x="673" y="28"/>
                  </a:lnTo>
                  <a:lnTo>
                    <a:pt x="669" y="26"/>
                  </a:lnTo>
                  <a:lnTo>
                    <a:pt x="667" y="25"/>
                  </a:lnTo>
                  <a:lnTo>
                    <a:pt x="665" y="24"/>
                  </a:lnTo>
                  <a:lnTo>
                    <a:pt x="660" y="23"/>
                  </a:lnTo>
                  <a:lnTo>
                    <a:pt x="655" y="23"/>
                  </a:lnTo>
                  <a:lnTo>
                    <a:pt x="647" y="24"/>
                  </a:lnTo>
                  <a:lnTo>
                    <a:pt x="641" y="26"/>
                  </a:lnTo>
                  <a:lnTo>
                    <a:pt x="638" y="27"/>
                  </a:lnTo>
                  <a:lnTo>
                    <a:pt x="635" y="29"/>
                  </a:lnTo>
                  <a:lnTo>
                    <a:pt x="630" y="32"/>
                  </a:lnTo>
                  <a:lnTo>
                    <a:pt x="628" y="35"/>
                  </a:lnTo>
                  <a:lnTo>
                    <a:pt x="627" y="37"/>
                  </a:lnTo>
                  <a:lnTo>
                    <a:pt x="625" y="40"/>
                  </a:lnTo>
                  <a:lnTo>
                    <a:pt x="624" y="43"/>
                  </a:lnTo>
                  <a:lnTo>
                    <a:pt x="623" y="46"/>
                  </a:lnTo>
                  <a:lnTo>
                    <a:pt x="622" y="50"/>
                  </a:lnTo>
                  <a:lnTo>
                    <a:pt x="621" y="53"/>
                  </a:lnTo>
                  <a:lnTo>
                    <a:pt x="621" y="57"/>
                  </a:lnTo>
                  <a:lnTo>
                    <a:pt x="622" y="64"/>
                  </a:lnTo>
                  <a:lnTo>
                    <a:pt x="624" y="71"/>
                  </a:lnTo>
                  <a:lnTo>
                    <a:pt x="626" y="76"/>
                  </a:lnTo>
                  <a:lnTo>
                    <a:pt x="630" y="81"/>
                  </a:lnTo>
                  <a:lnTo>
                    <a:pt x="635" y="85"/>
                  </a:lnTo>
                  <a:lnTo>
                    <a:pt x="641" y="88"/>
                  </a:lnTo>
                  <a:lnTo>
                    <a:pt x="644" y="89"/>
                  </a:lnTo>
                  <a:lnTo>
                    <a:pt x="647" y="90"/>
                  </a:lnTo>
                  <a:lnTo>
                    <a:pt x="650" y="90"/>
                  </a:lnTo>
                  <a:lnTo>
                    <a:pt x="655" y="90"/>
                  </a:lnTo>
                  <a:lnTo>
                    <a:pt x="661" y="90"/>
                  </a:lnTo>
                  <a:lnTo>
                    <a:pt x="666" y="89"/>
                  </a:lnTo>
                  <a:lnTo>
                    <a:pt x="671" y="87"/>
                  </a:lnTo>
                  <a:lnTo>
                    <a:pt x="675" y="85"/>
                  </a:lnTo>
                  <a:lnTo>
                    <a:pt x="679" y="82"/>
                  </a:lnTo>
                  <a:lnTo>
                    <a:pt x="680" y="80"/>
                  </a:lnTo>
                  <a:lnTo>
                    <a:pt x="682" y="78"/>
                  </a:lnTo>
                  <a:lnTo>
                    <a:pt x="684" y="74"/>
                  </a:lnTo>
                  <a:lnTo>
                    <a:pt x="686" y="70"/>
                  </a:lnTo>
                  <a:lnTo>
                    <a:pt x="667" y="70"/>
                  </a:lnTo>
                  <a:lnTo>
                    <a:pt x="665" y="73"/>
                  </a:lnTo>
                  <a:lnTo>
                    <a:pt x="662" y="74"/>
                  </a:lnTo>
                  <a:lnTo>
                    <a:pt x="659" y="75"/>
                  </a:lnTo>
                  <a:lnTo>
                    <a:pt x="656" y="76"/>
                  </a:lnTo>
                  <a:lnTo>
                    <a:pt x="653" y="76"/>
                  </a:lnTo>
                  <a:lnTo>
                    <a:pt x="649" y="75"/>
                  </a:lnTo>
                  <a:lnTo>
                    <a:pt x="647" y="74"/>
                  </a:lnTo>
                  <a:lnTo>
                    <a:pt x="645" y="72"/>
                  </a:lnTo>
                  <a:lnTo>
                    <a:pt x="643" y="70"/>
                  </a:lnTo>
                  <a:lnTo>
                    <a:pt x="642" y="68"/>
                  </a:lnTo>
                  <a:lnTo>
                    <a:pt x="641" y="65"/>
                  </a:lnTo>
                  <a:lnTo>
                    <a:pt x="640" y="62"/>
                  </a:lnTo>
                  <a:lnTo>
                    <a:pt x="687" y="62"/>
                  </a:lnTo>
                  <a:close/>
                  <a:moveTo>
                    <a:pt x="593" y="89"/>
                  </a:moveTo>
                  <a:lnTo>
                    <a:pt x="614" y="25"/>
                  </a:lnTo>
                  <a:lnTo>
                    <a:pt x="594" y="25"/>
                  </a:lnTo>
                  <a:lnTo>
                    <a:pt x="588" y="49"/>
                  </a:lnTo>
                  <a:lnTo>
                    <a:pt x="584" y="68"/>
                  </a:lnTo>
                  <a:lnTo>
                    <a:pt x="579" y="49"/>
                  </a:lnTo>
                  <a:lnTo>
                    <a:pt x="571" y="25"/>
                  </a:lnTo>
                  <a:lnTo>
                    <a:pt x="552" y="25"/>
                  </a:lnTo>
                  <a:lnTo>
                    <a:pt x="575" y="89"/>
                  </a:lnTo>
                  <a:lnTo>
                    <a:pt x="593" y="89"/>
                  </a:lnTo>
                  <a:close/>
                  <a:moveTo>
                    <a:pt x="540" y="0"/>
                  </a:moveTo>
                  <a:lnTo>
                    <a:pt x="521" y="0"/>
                  </a:lnTo>
                  <a:lnTo>
                    <a:pt x="521" y="16"/>
                  </a:lnTo>
                  <a:lnTo>
                    <a:pt x="540" y="16"/>
                  </a:lnTo>
                  <a:lnTo>
                    <a:pt x="540" y="0"/>
                  </a:lnTo>
                  <a:close/>
                  <a:moveTo>
                    <a:pt x="540" y="25"/>
                  </a:moveTo>
                  <a:lnTo>
                    <a:pt x="521" y="25"/>
                  </a:lnTo>
                  <a:lnTo>
                    <a:pt x="521" y="89"/>
                  </a:lnTo>
                  <a:lnTo>
                    <a:pt x="540" y="89"/>
                  </a:lnTo>
                  <a:lnTo>
                    <a:pt x="540" y="25"/>
                  </a:lnTo>
                  <a:close/>
                  <a:moveTo>
                    <a:pt x="445" y="25"/>
                  </a:moveTo>
                  <a:lnTo>
                    <a:pt x="445" y="89"/>
                  </a:lnTo>
                  <a:lnTo>
                    <a:pt x="464" y="89"/>
                  </a:lnTo>
                  <a:lnTo>
                    <a:pt x="464" y="53"/>
                  </a:lnTo>
                  <a:lnTo>
                    <a:pt x="465" y="46"/>
                  </a:lnTo>
                  <a:lnTo>
                    <a:pt x="465" y="44"/>
                  </a:lnTo>
                  <a:lnTo>
                    <a:pt x="467" y="42"/>
                  </a:lnTo>
                  <a:lnTo>
                    <a:pt x="468" y="41"/>
                  </a:lnTo>
                  <a:lnTo>
                    <a:pt x="470" y="40"/>
                  </a:lnTo>
                  <a:lnTo>
                    <a:pt x="472" y="39"/>
                  </a:lnTo>
                  <a:lnTo>
                    <a:pt x="475" y="39"/>
                  </a:lnTo>
                  <a:lnTo>
                    <a:pt x="477" y="39"/>
                  </a:lnTo>
                  <a:lnTo>
                    <a:pt x="479" y="40"/>
                  </a:lnTo>
                  <a:lnTo>
                    <a:pt x="481" y="41"/>
                  </a:lnTo>
                  <a:lnTo>
                    <a:pt x="482" y="43"/>
                  </a:lnTo>
                  <a:lnTo>
                    <a:pt x="483" y="44"/>
                  </a:lnTo>
                  <a:lnTo>
                    <a:pt x="484" y="47"/>
                  </a:lnTo>
                  <a:lnTo>
                    <a:pt x="484" y="54"/>
                  </a:lnTo>
                  <a:lnTo>
                    <a:pt x="484" y="89"/>
                  </a:lnTo>
                  <a:lnTo>
                    <a:pt x="503" y="89"/>
                  </a:lnTo>
                  <a:lnTo>
                    <a:pt x="503" y="47"/>
                  </a:lnTo>
                  <a:lnTo>
                    <a:pt x="503" y="42"/>
                  </a:lnTo>
                  <a:lnTo>
                    <a:pt x="502" y="37"/>
                  </a:lnTo>
                  <a:lnTo>
                    <a:pt x="500" y="33"/>
                  </a:lnTo>
                  <a:lnTo>
                    <a:pt x="497" y="29"/>
                  </a:lnTo>
                  <a:lnTo>
                    <a:pt x="494" y="27"/>
                  </a:lnTo>
                  <a:lnTo>
                    <a:pt x="490" y="25"/>
                  </a:lnTo>
                  <a:lnTo>
                    <a:pt x="486" y="23"/>
                  </a:lnTo>
                  <a:lnTo>
                    <a:pt x="481" y="23"/>
                  </a:lnTo>
                  <a:lnTo>
                    <a:pt x="476" y="23"/>
                  </a:lnTo>
                  <a:lnTo>
                    <a:pt x="472" y="25"/>
                  </a:lnTo>
                  <a:lnTo>
                    <a:pt x="468" y="27"/>
                  </a:lnTo>
                  <a:lnTo>
                    <a:pt x="463" y="31"/>
                  </a:lnTo>
                  <a:lnTo>
                    <a:pt x="463" y="25"/>
                  </a:lnTo>
                  <a:lnTo>
                    <a:pt x="445" y="25"/>
                  </a:lnTo>
                  <a:close/>
                  <a:moveTo>
                    <a:pt x="407" y="0"/>
                  </a:moveTo>
                  <a:lnTo>
                    <a:pt x="407" y="59"/>
                  </a:lnTo>
                  <a:lnTo>
                    <a:pt x="407" y="63"/>
                  </a:lnTo>
                  <a:lnTo>
                    <a:pt x="406" y="66"/>
                  </a:lnTo>
                  <a:lnTo>
                    <a:pt x="405" y="68"/>
                  </a:lnTo>
                  <a:lnTo>
                    <a:pt x="404" y="70"/>
                  </a:lnTo>
                  <a:lnTo>
                    <a:pt x="401" y="72"/>
                  </a:lnTo>
                  <a:lnTo>
                    <a:pt x="398" y="73"/>
                  </a:lnTo>
                  <a:lnTo>
                    <a:pt x="395" y="74"/>
                  </a:lnTo>
                  <a:lnTo>
                    <a:pt x="392" y="74"/>
                  </a:lnTo>
                  <a:lnTo>
                    <a:pt x="388" y="74"/>
                  </a:lnTo>
                  <a:lnTo>
                    <a:pt x="385" y="73"/>
                  </a:lnTo>
                  <a:lnTo>
                    <a:pt x="382" y="72"/>
                  </a:lnTo>
                  <a:lnTo>
                    <a:pt x="380" y="70"/>
                  </a:lnTo>
                  <a:lnTo>
                    <a:pt x="378" y="68"/>
                  </a:lnTo>
                  <a:lnTo>
                    <a:pt x="377" y="66"/>
                  </a:lnTo>
                  <a:lnTo>
                    <a:pt x="376" y="63"/>
                  </a:lnTo>
                  <a:lnTo>
                    <a:pt x="376" y="59"/>
                  </a:lnTo>
                  <a:lnTo>
                    <a:pt x="376" y="0"/>
                  </a:lnTo>
                  <a:lnTo>
                    <a:pt x="356" y="0"/>
                  </a:lnTo>
                  <a:lnTo>
                    <a:pt x="356" y="60"/>
                  </a:lnTo>
                  <a:lnTo>
                    <a:pt x="357" y="68"/>
                  </a:lnTo>
                  <a:lnTo>
                    <a:pt x="359" y="74"/>
                  </a:lnTo>
                  <a:lnTo>
                    <a:pt x="360" y="77"/>
                  </a:lnTo>
                  <a:lnTo>
                    <a:pt x="362" y="79"/>
                  </a:lnTo>
                  <a:lnTo>
                    <a:pt x="364" y="81"/>
                  </a:lnTo>
                  <a:lnTo>
                    <a:pt x="366" y="83"/>
                  </a:lnTo>
                  <a:lnTo>
                    <a:pt x="371" y="86"/>
                  </a:lnTo>
                  <a:lnTo>
                    <a:pt x="374" y="88"/>
                  </a:lnTo>
                  <a:lnTo>
                    <a:pt x="378" y="89"/>
                  </a:lnTo>
                  <a:lnTo>
                    <a:pt x="384" y="90"/>
                  </a:lnTo>
                  <a:lnTo>
                    <a:pt x="392" y="91"/>
                  </a:lnTo>
                  <a:lnTo>
                    <a:pt x="399" y="90"/>
                  </a:lnTo>
                  <a:lnTo>
                    <a:pt x="403" y="90"/>
                  </a:lnTo>
                  <a:lnTo>
                    <a:pt x="406" y="89"/>
                  </a:lnTo>
                  <a:lnTo>
                    <a:pt x="412" y="86"/>
                  </a:lnTo>
                  <a:lnTo>
                    <a:pt x="418" y="83"/>
                  </a:lnTo>
                  <a:lnTo>
                    <a:pt x="420" y="81"/>
                  </a:lnTo>
                  <a:lnTo>
                    <a:pt x="422" y="79"/>
                  </a:lnTo>
                  <a:lnTo>
                    <a:pt x="424" y="77"/>
                  </a:lnTo>
                  <a:lnTo>
                    <a:pt x="425" y="74"/>
                  </a:lnTo>
                  <a:lnTo>
                    <a:pt x="427" y="68"/>
                  </a:lnTo>
                  <a:lnTo>
                    <a:pt x="427" y="64"/>
                  </a:lnTo>
                  <a:lnTo>
                    <a:pt x="427" y="60"/>
                  </a:lnTo>
                  <a:lnTo>
                    <a:pt x="427" y="0"/>
                  </a:lnTo>
                  <a:lnTo>
                    <a:pt x="407" y="0"/>
                  </a:lnTo>
                  <a:close/>
                  <a:moveTo>
                    <a:pt x="277" y="38"/>
                  </a:moveTo>
                  <a:lnTo>
                    <a:pt x="281" y="38"/>
                  </a:lnTo>
                  <a:lnTo>
                    <a:pt x="284" y="39"/>
                  </a:lnTo>
                  <a:lnTo>
                    <a:pt x="286" y="41"/>
                  </a:lnTo>
                  <a:lnTo>
                    <a:pt x="289" y="43"/>
                  </a:lnTo>
                  <a:lnTo>
                    <a:pt x="290" y="46"/>
                  </a:lnTo>
                  <a:lnTo>
                    <a:pt x="292" y="49"/>
                  </a:lnTo>
                  <a:lnTo>
                    <a:pt x="292" y="53"/>
                  </a:lnTo>
                  <a:lnTo>
                    <a:pt x="293" y="57"/>
                  </a:lnTo>
                  <a:lnTo>
                    <a:pt x="292" y="61"/>
                  </a:lnTo>
                  <a:lnTo>
                    <a:pt x="292" y="65"/>
                  </a:lnTo>
                  <a:lnTo>
                    <a:pt x="290" y="68"/>
                  </a:lnTo>
                  <a:lnTo>
                    <a:pt x="289" y="71"/>
                  </a:lnTo>
                  <a:lnTo>
                    <a:pt x="288" y="72"/>
                  </a:lnTo>
                  <a:lnTo>
                    <a:pt x="286" y="73"/>
                  </a:lnTo>
                  <a:lnTo>
                    <a:pt x="284" y="74"/>
                  </a:lnTo>
                  <a:lnTo>
                    <a:pt x="281" y="75"/>
                  </a:lnTo>
                  <a:lnTo>
                    <a:pt x="277" y="75"/>
                  </a:lnTo>
                  <a:lnTo>
                    <a:pt x="274" y="75"/>
                  </a:lnTo>
                  <a:lnTo>
                    <a:pt x="271" y="74"/>
                  </a:lnTo>
                  <a:lnTo>
                    <a:pt x="269" y="73"/>
                  </a:lnTo>
                  <a:lnTo>
                    <a:pt x="266" y="71"/>
                  </a:lnTo>
                  <a:lnTo>
                    <a:pt x="265" y="68"/>
                  </a:lnTo>
                  <a:lnTo>
                    <a:pt x="264" y="65"/>
                  </a:lnTo>
                  <a:lnTo>
                    <a:pt x="263" y="61"/>
                  </a:lnTo>
                  <a:lnTo>
                    <a:pt x="263" y="57"/>
                  </a:lnTo>
                  <a:lnTo>
                    <a:pt x="263" y="52"/>
                  </a:lnTo>
                  <a:lnTo>
                    <a:pt x="264" y="49"/>
                  </a:lnTo>
                  <a:lnTo>
                    <a:pt x="265" y="46"/>
                  </a:lnTo>
                  <a:lnTo>
                    <a:pt x="266" y="43"/>
                  </a:lnTo>
                  <a:lnTo>
                    <a:pt x="267" y="42"/>
                  </a:lnTo>
                  <a:lnTo>
                    <a:pt x="269" y="41"/>
                  </a:lnTo>
                  <a:lnTo>
                    <a:pt x="271" y="39"/>
                  </a:lnTo>
                  <a:lnTo>
                    <a:pt x="274" y="38"/>
                  </a:lnTo>
                  <a:lnTo>
                    <a:pt x="277" y="38"/>
                  </a:lnTo>
                  <a:close/>
                  <a:moveTo>
                    <a:pt x="277" y="23"/>
                  </a:moveTo>
                  <a:lnTo>
                    <a:pt x="270" y="24"/>
                  </a:lnTo>
                  <a:lnTo>
                    <a:pt x="264" y="26"/>
                  </a:lnTo>
                  <a:lnTo>
                    <a:pt x="261" y="27"/>
                  </a:lnTo>
                  <a:lnTo>
                    <a:pt x="258" y="29"/>
                  </a:lnTo>
                  <a:lnTo>
                    <a:pt x="253" y="33"/>
                  </a:lnTo>
                  <a:lnTo>
                    <a:pt x="249" y="37"/>
                  </a:lnTo>
                  <a:lnTo>
                    <a:pt x="247" y="40"/>
                  </a:lnTo>
                  <a:lnTo>
                    <a:pt x="246" y="43"/>
                  </a:lnTo>
                  <a:lnTo>
                    <a:pt x="245" y="46"/>
                  </a:lnTo>
                  <a:lnTo>
                    <a:pt x="244" y="50"/>
                  </a:lnTo>
                  <a:lnTo>
                    <a:pt x="244" y="53"/>
                  </a:lnTo>
                  <a:lnTo>
                    <a:pt x="244" y="57"/>
                  </a:lnTo>
                  <a:lnTo>
                    <a:pt x="244" y="64"/>
                  </a:lnTo>
                  <a:lnTo>
                    <a:pt x="246" y="70"/>
                  </a:lnTo>
                  <a:lnTo>
                    <a:pt x="247" y="73"/>
                  </a:lnTo>
                  <a:lnTo>
                    <a:pt x="249" y="76"/>
                  </a:lnTo>
                  <a:lnTo>
                    <a:pt x="253" y="81"/>
                  </a:lnTo>
                  <a:lnTo>
                    <a:pt x="258" y="85"/>
                  </a:lnTo>
                  <a:lnTo>
                    <a:pt x="261" y="87"/>
                  </a:lnTo>
                  <a:lnTo>
                    <a:pt x="264" y="88"/>
                  </a:lnTo>
                  <a:lnTo>
                    <a:pt x="267" y="89"/>
                  </a:lnTo>
                  <a:lnTo>
                    <a:pt x="270" y="90"/>
                  </a:lnTo>
                  <a:lnTo>
                    <a:pt x="277" y="90"/>
                  </a:lnTo>
                  <a:lnTo>
                    <a:pt x="285" y="90"/>
                  </a:lnTo>
                  <a:lnTo>
                    <a:pt x="291" y="88"/>
                  </a:lnTo>
                  <a:lnTo>
                    <a:pt x="294" y="87"/>
                  </a:lnTo>
                  <a:lnTo>
                    <a:pt x="297" y="85"/>
                  </a:lnTo>
                  <a:lnTo>
                    <a:pt x="302" y="81"/>
                  </a:lnTo>
                  <a:lnTo>
                    <a:pt x="306" y="76"/>
                  </a:lnTo>
                  <a:lnTo>
                    <a:pt x="308" y="73"/>
                  </a:lnTo>
                  <a:lnTo>
                    <a:pt x="309" y="71"/>
                  </a:lnTo>
                  <a:lnTo>
                    <a:pt x="311" y="64"/>
                  </a:lnTo>
                  <a:lnTo>
                    <a:pt x="311" y="61"/>
                  </a:lnTo>
                  <a:lnTo>
                    <a:pt x="311" y="57"/>
                  </a:lnTo>
                  <a:lnTo>
                    <a:pt x="311" y="53"/>
                  </a:lnTo>
                  <a:lnTo>
                    <a:pt x="311" y="50"/>
                  </a:lnTo>
                  <a:lnTo>
                    <a:pt x="309" y="43"/>
                  </a:lnTo>
                  <a:lnTo>
                    <a:pt x="308" y="40"/>
                  </a:lnTo>
                  <a:lnTo>
                    <a:pt x="306" y="37"/>
                  </a:lnTo>
                  <a:lnTo>
                    <a:pt x="302" y="33"/>
                  </a:lnTo>
                  <a:lnTo>
                    <a:pt x="297" y="29"/>
                  </a:lnTo>
                  <a:lnTo>
                    <a:pt x="294" y="27"/>
                  </a:lnTo>
                  <a:lnTo>
                    <a:pt x="291" y="26"/>
                  </a:lnTo>
                  <a:lnTo>
                    <a:pt x="288" y="24"/>
                  </a:lnTo>
                  <a:lnTo>
                    <a:pt x="285" y="24"/>
                  </a:lnTo>
                  <a:lnTo>
                    <a:pt x="277" y="23"/>
                  </a:lnTo>
                  <a:close/>
                  <a:moveTo>
                    <a:pt x="235" y="26"/>
                  </a:moveTo>
                  <a:lnTo>
                    <a:pt x="224" y="26"/>
                  </a:lnTo>
                  <a:lnTo>
                    <a:pt x="224" y="5"/>
                  </a:lnTo>
                  <a:lnTo>
                    <a:pt x="205" y="5"/>
                  </a:lnTo>
                  <a:lnTo>
                    <a:pt x="205" y="26"/>
                  </a:lnTo>
                  <a:lnTo>
                    <a:pt x="196" y="26"/>
                  </a:lnTo>
                  <a:lnTo>
                    <a:pt x="196" y="39"/>
                  </a:lnTo>
                  <a:lnTo>
                    <a:pt x="205" y="39"/>
                  </a:lnTo>
                  <a:lnTo>
                    <a:pt x="205" y="68"/>
                  </a:lnTo>
                  <a:lnTo>
                    <a:pt x="205" y="74"/>
                  </a:lnTo>
                  <a:lnTo>
                    <a:pt x="206" y="79"/>
                  </a:lnTo>
                  <a:lnTo>
                    <a:pt x="207" y="82"/>
                  </a:lnTo>
                  <a:lnTo>
                    <a:pt x="209" y="84"/>
                  </a:lnTo>
                  <a:lnTo>
                    <a:pt x="211" y="86"/>
                  </a:lnTo>
                  <a:lnTo>
                    <a:pt x="214" y="88"/>
                  </a:lnTo>
                  <a:lnTo>
                    <a:pt x="218" y="88"/>
                  </a:lnTo>
                  <a:lnTo>
                    <a:pt x="224" y="89"/>
                  </a:lnTo>
                  <a:lnTo>
                    <a:pt x="235" y="89"/>
                  </a:lnTo>
                  <a:lnTo>
                    <a:pt x="235" y="75"/>
                  </a:lnTo>
                  <a:lnTo>
                    <a:pt x="228" y="75"/>
                  </a:lnTo>
                  <a:lnTo>
                    <a:pt x="226" y="74"/>
                  </a:lnTo>
                  <a:lnTo>
                    <a:pt x="225" y="74"/>
                  </a:lnTo>
                  <a:lnTo>
                    <a:pt x="224" y="73"/>
                  </a:lnTo>
                  <a:lnTo>
                    <a:pt x="224" y="70"/>
                  </a:lnTo>
                  <a:lnTo>
                    <a:pt x="224" y="64"/>
                  </a:lnTo>
                  <a:lnTo>
                    <a:pt x="224" y="39"/>
                  </a:lnTo>
                  <a:lnTo>
                    <a:pt x="235" y="39"/>
                  </a:lnTo>
                  <a:lnTo>
                    <a:pt x="235" y="26"/>
                  </a:lnTo>
                  <a:close/>
                  <a:moveTo>
                    <a:pt x="184" y="0"/>
                  </a:moveTo>
                  <a:lnTo>
                    <a:pt x="166" y="0"/>
                  </a:lnTo>
                  <a:lnTo>
                    <a:pt x="166" y="89"/>
                  </a:lnTo>
                  <a:lnTo>
                    <a:pt x="184" y="89"/>
                  </a:lnTo>
                  <a:lnTo>
                    <a:pt x="184" y="0"/>
                  </a:lnTo>
                  <a:close/>
                  <a:moveTo>
                    <a:pt x="131" y="68"/>
                  </a:moveTo>
                  <a:lnTo>
                    <a:pt x="129" y="72"/>
                  </a:lnTo>
                  <a:lnTo>
                    <a:pt x="126" y="74"/>
                  </a:lnTo>
                  <a:lnTo>
                    <a:pt x="122" y="76"/>
                  </a:lnTo>
                  <a:lnTo>
                    <a:pt x="117" y="76"/>
                  </a:lnTo>
                  <a:lnTo>
                    <a:pt x="114" y="76"/>
                  </a:lnTo>
                  <a:lnTo>
                    <a:pt x="111" y="74"/>
                  </a:lnTo>
                  <a:lnTo>
                    <a:pt x="109" y="72"/>
                  </a:lnTo>
                  <a:lnTo>
                    <a:pt x="108" y="71"/>
                  </a:lnTo>
                  <a:lnTo>
                    <a:pt x="108" y="69"/>
                  </a:lnTo>
                  <a:lnTo>
                    <a:pt x="109" y="67"/>
                  </a:lnTo>
                  <a:lnTo>
                    <a:pt x="110" y="65"/>
                  </a:lnTo>
                  <a:lnTo>
                    <a:pt x="113" y="63"/>
                  </a:lnTo>
                  <a:lnTo>
                    <a:pt x="118" y="62"/>
                  </a:lnTo>
                  <a:lnTo>
                    <a:pt x="124" y="60"/>
                  </a:lnTo>
                  <a:lnTo>
                    <a:pt x="131" y="58"/>
                  </a:lnTo>
                  <a:lnTo>
                    <a:pt x="131" y="68"/>
                  </a:lnTo>
                  <a:close/>
                  <a:moveTo>
                    <a:pt x="110" y="45"/>
                  </a:moveTo>
                  <a:lnTo>
                    <a:pt x="110" y="43"/>
                  </a:lnTo>
                  <a:lnTo>
                    <a:pt x="111" y="42"/>
                  </a:lnTo>
                  <a:lnTo>
                    <a:pt x="112" y="40"/>
                  </a:lnTo>
                  <a:lnTo>
                    <a:pt x="113" y="39"/>
                  </a:lnTo>
                  <a:lnTo>
                    <a:pt x="116" y="38"/>
                  </a:lnTo>
                  <a:lnTo>
                    <a:pt x="121" y="37"/>
                  </a:lnTo>
                  <a:lnTo>
                    <a:pt x="125" y="38"/>
                  </a:lnTo>
                  <a:lnTo>
                    <a:pt x="128" y="39"/>
                  </a:lnTo>
                  <a:lnTo>
                    <a:pt x="130" y="41"/>
                  </a:lnTo>
                  <a:lnTo>
                    <a:pt x="131" y="42"/>
                  </a:lnTo>
                  <a:lnTo>
                    <a:pt x="131" y="43"/>
                  </a:lnTo>
                  <a:lnTo>
                    <a:pt x="130" y="45"/>
                  </a:lnTo>
                  <a:lnTo>
                    <a:pt x="129" y="46"/>
                  </a:lnTo>
                  <a:lnTo>
                    <a:pt x="128" y="47"/>
                  </a:lnTo>
                  <a:lnTo>
                    <a:pt x="125" y="48"/>
                  </a:lnTo>
                  <a:lnTo>
                    <a:pt x="115" y="49"/>
                  </a:lnTo>
                  <a:lnTo>
                    <a:pt x="109" y="51"/>
                  </a:lnTo>
                  <a:lnTo>
                    <a:pt x="103" y="52"/>
                  </a:lnTo>
                  <a:lnTo>
                    <a:pt x="99" y="54"/>
                  </a:lnTo>
                  <a:lnTo>
                    <a:pt x="95" y="56"/>
                  </a:lnTo>
                  <a:lnTo>
                    <a:pt x="93" y="59"/>
                  </a:lnTo>
                  <a:lnTo>
                    <a:pt x="92" y="61"/>
                  </a:lnTo>
                  <a:lnTo>
                    <a:pt x="91" y="62"/>
                  </a:lnTo>
                  <a:lnTo>
                    <a:pt x="90" y="66"/>
                  </a:lnTo>
                  <a:lnTo>
                    <a:pt x="89" y="70"/>
                  </a:lnTo>
                  <a:lnTo>
                    <a:pt x="90" y="75"/>
                  </a:lnTo>
                  <a:lnTo>
                    <a:pt x="91" y="79"/>
                  </a:lnTo>
                  <a:lnTo>
                    <a:pt x="93" y="82"/>
                  </a:lnTo>
                  <a:lnTo>
                    <a:pt x="96" y="85"/>
                  </a:lnTo>
                  <a:lnTo>
                    <a:pt x="97" y="86"/>
                  </a:lnTo>
                  <a:lnTo>
                    <a:pt x="99" y="87"/>
                  </a:lnTo>
                  <a:lnTo>
                    <a:pt x="103" y="89"/>
                  </a:lnTo>
                  <a:lnTo>
                    <a:pt x="108" y="90"/>
                  </a:lnTo>
                  <a:lnTo>
                    <a:pt x="113" y="90"/>
                  </a:lnTo>
                  <a:lnTo>
                    <a:pt x="118" y="90"/>
                  </a:lnTo>
                  <a:lnTo>
                    <a:pt x="123" y="89"/>
                  </a:lnTo>
                  <a:lnTo>
                    <a:pt x="127" y="87"/>
                  </a:lnTo>
                  <a:lnTo>
                    <a:pt x="131" y="84"/>
                  </a:lnTo>
                  <a:lnTo>
                    <a:pt x="133" y="89"/>
                  </a:lnTo>
                  <a:lnTo>
                    <a:pt x="152" y="89"/>
                  </a:lnTo>
                  <a:lnTo>
                    <a:pt x="151" y="87"/>
                  </a:lnTo>
                  <a:lnTo>
                    <a:pt x="150" y="85"/>
                  </a:lnTo>
                  <a:lnTo>
                    <a:pt x="149" y="78"/>
                  </a:lnTo>
                  <a:lnTo>
                    <a:pt x="149" y="48"/>
                  </a:lnTo>
                  <a:lnTo>
                    <a:pt x="149" y="42"/>
                  </a:lnTo>
                  <a:lnTo>
                    <a:pt x="148" y="37"/>
                  </a:lnTo>
                  <a:lnTo>
                    <a:pt x="146" y="33"/>
                  </a:lnTo>
                  <a:lnTo>
                    <a:pt x="145" y="31"/>
                  </a:lnTo>
                  <a:lnTo>
                    <a:pt x="143" y="30"/>
                  </a:lnTo>
                  <a:lnTo>
                    <a:pt x="139" y="27"/>
                  </a:lnTo>
                  <a:lnTo>
                    <a:pt x="134" y="25"/>
                  </a:lnTo>
                  <a:lnTo>
                    <a:pt x="128" y="23"/>
                  </a:lnTo>
                  <a:lnTo>
                    <a:pt x="121" y="23"/>
                  </a:lnTo>
                  <a:lnTo>
                    <a:pt x="115" y="23"/>
                  </a:lnTo>
                  <a:lnTo>
                    <a:pt x="109" y="24"/>
                  </a:lnTo>
                  <a:lnTo>
                    <a:pt x="104" y="26"/>
                  </a:lnTo>
                  <a:lnTo>
                    <a:pt x="101" y="28"/>
                  </a:lnTo>
                  <a:lnTo>
                    <a:pt x="97" y="31"/>
                  </a:lnTo>
                  <a:lnTo>
                    <a:pt x="95" y="35"/>
                  </a:lnTo>
                  <a:lnTo>
                    <a:pt x="94" y="37"/>
                  </a:lnTo>
                  <a:lnTo>
                    <a:pt x="94" y="40"/>
                  </a:lnTo>
                  <a:lnTo>
                    <a:pt x="93" y="42"/>
                  </a:lnTo>
                  <a:lnTo>
                    <a:pt x="93" y="45"/>
                  </a:lnTo>
                  <a:lnTo>
                    <a:pt x="110" y="45"/>
                  </a:lnTo>
                  <a:close/>
                  <a:moveTo>
                    <a:pt x="52" y="55"/>
                  </a:moveTo>
                  <a:lnTo>
                    <a:pt x="32" y="55"/>
                  </a:lnTo>
                  <a:lnTo>
                    <a:pt x="43" y="20"/>
                  </a:lnTo>
                  <a:lnTo>
                    <a:pt x="52" y="55"/>
                  </a:lnTo>
                  <a:close/>
                  <a:moveTo>
                    <a:pt x="57" y="71"/>
                  </a:moveTo>
                  <a:lnTo>
                    <a:pt x="61" y="89"/>
                  </a:lnTo>
                  <a:lnTo>
                    <a:pt x="84" y="89"/>
                  </a:lnTo>
                  <a:lnTo>
                    <a:pt x="56" y="0"/>
                  </a:lnTo>
                  <a:lnTo>
                    <a:pt x="31" y="0"/>
                  </a:lnTo>
                  <a:lnTo>
                    <a:pt x="0" y="89"/>
                  </a:lnTo>
                  <a:lnTo>
                    <a:pt x="22" y="89"/>
                  </a:lnTo>
                  <a:lnTo>
                    <a:pt x="27" y="71"/>
                  </a:lnTo>
                  <a:lnTo>
                    <a:pt x="57"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14" name="Freeform 7"/>
            <p:cNvSpPr>
              <a:spLocks noEditPoints="1"/>
            </p:cNvSpPr>
            <p:nvPr userDrawn="1"/>
          </p:nvSpPr>
          <p:spPr bwMode="auto">
            <a:xfrm>
              <a:off x="5756275" y="325438"/>
              <a:ext cx="1941513" cy="142875"/>
            </a:xfrm>
            <a:custGeom>
              <a:avLst/>
              <a:gdLst>
                <a:gd name="T0" fmla="*/ 1197 w 1223"/>
                <a:gd name="T1" fmla="*/ 38 h 90"/>
                <a:gd name="T2" fmla="*/ 1220 w 1223"/>
                <a:gd name="T3" fmla="*/ 32 h 90"/>
                <a:gd name="T4" fmla="*/ 1120 w 1223"/>
                <a:gd name="T5" fmla="*/ 37 h 90"/>
                <a:gd name="T6" fmla="*/ 1131 w 1223"/>
                <a:gd name="T7" fmla="*/ 70 h 90"/>
                <a:gd name="T8" fmla="*/ 1105 w 1223"/>
                <a:gd name="T9" fmla="*/ 60 h 90"/>
                <a:gd name="T10" fmla="*/ 1112 w 1223"/>
                <a:gd name="T11" fmla="*/ 23 h 90"/>
                <a:gd name="T12" fmla="*/ 1088 w 1223"/>
                <a:gd name="T13" fmla="*/ 70 h 90"/>
                <a:gd name="T14" fmla="*/ 1136 w 1223"/>
                <a:gd name="T15" fmla="*/ 86 h 90"/>
                <a:gd name="T16" fmla="*/ 1150 w 1223"/>
                <a:gd name="T17" fmla="*/ 40 h 90"/>
                <a:gd name="T18" fmla="*/ 1074 w 1223"/>
                <a:gd name="T19" fmla="*/ 15 h 90"/>
                <a:gd name="T20" fmla="*/ 1002 w 1223"/>
                <a:gd name="T21" fmla="*/ 25 h 90"/>
                <a:gd name="T22" fmla="*/ 1041 w 1223"/>
                <a:gd name="T23" fmla="*/ 88 h 90"/>
                <a:gd name="T24" fmla="*/ 967 w 1223"/>
                <a:gd name="T25" fmla="*/ 74 h 90"/>
                <a:gd name="T26" fmla="*/ 966 w 1223"/>
                <a:gd name="T27" fmla="*/ 60 h 90"/>
                <a:gd name="T28" fmla="*/ 971 w 1223"/>
                <a:gd name="T29" fmla="*/ 40 h 90"/>
                <a:gd name="T30" fmla="*/ 934 w 1223"/>
                <a:gd name="T31" fmla="*/ 59 h 90"/>
                <a:gd name="T32" fmla="*/ 954 w 1223"/>
                <a:gd name="T33" fmla="*/ 90 h 90"/>
                <a:gd name="T34" fmla="*/ 990 w 1223"/>
                <a:gd name="T35" fmla="*/ 36 h 90"/>
                <a:gd name="T36" fmla="*/ 939 w 1223"/>
                <a:gd name="T37" fmla="*/ 31 h 90"/>
                <a:gd name="T38" fmla="*/ 907 w 1223"/>
                <a:gd name="T39" fmla="*/ 26 h 90"/>
                <a:gd name="T40" fmla="*/ 859 w 1223"/>
                <a:gd name="T41" fmla="*/ 49 h 90"/>
                <a:gd name="T42" fmla="*/ 891 w 1223"/>
                <a:gd name="T43" fmla="*/ 90 h 90"/>
                <a:gd name="T44" fmla="*/ 899 w 1223"/>
                <a:gd name="T45" fmla="*/ 72 h 90"/>
                <a:gd name="T46" fmla="*/ 878 w 1223"/>
                <a:gd name="T47" fmla="*/ 56 h 90"/>
                <a:gd name="T48" fmla="*/ 900 w 1223"/>
                <a:gd name="T49" fmla="*/ 42 h 90"/>
                <a:gd name="T50" fmla="*/ 823 w 1223"/>
                <a:gd name="T51" fmla="*/ 73 h 90"/>
                <a:gd name="T52" fmla="*/ 790 w 1223"/>
                <a:gd name="T53" fmla="*/ 71 h 90"/>
                <a:gd name="T54" fmla="*/ 828 w 1223"/>
                <a:gd name="T55" fmla="*/ 83 h 90"/>
                <a:gd name="T56" fmla="*/ 756 w 1223"/>
                <a:gd name="T57" fmla="*/ 52 h 90"/>
                <a:gd name="T58" fmla="*/ 735 w 1223"/>
                <a:gd name="T59" fmla="*/ 72 h 90"/>
                <a:gd name="T60" fmla="*/ 740 w 1223"/>
                <a:gd name="T61" fmla="*/ 38 h 90"/>
                <a:gd name="T62" fmla="*/ 719 w 1223"/>
                <a:gd name="T63" fmla="*/ 32 h 90"/>
                <a:gd name="T64" fmla="*/ 723 w 1223"/>
                <a:gd name="T65" fmla="*/ 85 h 90"/>
                <a:gd name="T66" fmla="*/ 757 w 1223"/>
                <a:gd name="T67" fmla="*/ 88 h 90"/>
                <a:gd name="T68" fmla="*/ 655 w 1223"/>
                <a:gd name="T69" fmla="*/ 34 h 90"/>
                <a:gd name="T70" fmla="*/ 556 w 1223"/>
                <a:gd name="T71" fmla="*/ 38 h 90"/>
                <a:gd name="T72" fmla="*/ 580 w 1223"/>
                <a:gd name="T73" fmla="*/ 41 h 90"/>
                <a:gd name="T74" fmla="*/ 533 w 1223"/>
                <a:gd name="T75" fmla="*/ 28 h 90"/>
                <a:gd name="T76" fmla="*/ 528 w 1223"/>
                <a:gd name="T77" fmla="*/ 81 h 90"/>
                <a:gd name="T78" fmla="*/ 577 w 1223"/>
                <a:gd name="T79" fmla="*/ 80 h 90"/>
                <a:gd name="T80" fmla="*/ 543 w 1223"/>
                <a:gd name="T81" fmla="*/ 72 h 90"/>
                <a:gd name="T82" fmla="*/ 471 w 1223"/>
                <a:gd name="T83" fmla="*/ 24 h 90"/>
                <a:gd name="T84" fmla="*/ 440 w 1223"/>
                <a:gd name="T85" fmla="*/ 88 h 90"/>
                <a:gd name="T86" fmla="*/ 376 w 1223"/>
                <a:gd name="T87" fmla="*/ 78 h 90"/>
                <a:gd name="T88" fmla="*/ 394 w 1223"/>
                <a:gd name="T89" fmla="*/ 69 h 90"/>
                <a:gd name="T90" fmla="*/ 329 w 1223"/>
                <a:gd name="T91" fmla="*/ 73 h 90"/>
                <a:gd name="T92" fmla="*/ 295 w 1223"/>
                <a:gd name="T93" fmla="*/ 71 h 90"/>
                <a:gd name="T94" fmla="*/ 333 w 1223"/>
                <a:gd name="T95" fmla="*/ 83 h 90"/>
                <a:gd name="T96" fmla="*/ 259 w 1223"/>
                <a:gd name="T97" fmla="*/ 23 h 90"/>
                <a:gd name="T98" fmla="*/ 221 w 1223"/>
                <a:gd name="T99" fmla="*/ 64 h 90"/>
                <a:gd name="T100" fmla="*/ 264 w 1223"/>
                <a:gd name="T101" fmla="*/ 88 h 90"/>
                <a:gd name="T102" fmla="*/ 257 w 1223"/>
                <a:gd name="T103" fmla="*/ 74 h 90"/>
                <a:gd name="T104" fmla="*/ 240 w 1223"/>
                <a:gd name="T105" fmla="*/ 50 h 90"/>
                <a:gd name="T106" fmla="*/ 264 w 1223"/>
                <a:gd name="T107" fmla="*/ 47 h 90"/>
                <a:gd name="T108" fmla="*/ 186 w 1223"/>
                <a:gd name="T109" fmla="*/ 40 h 90"/>
                <a:gd name="T110" fmla="*/ 202 w 1223"/>
                <a:gd name="T111" fmla="*/ 33 h 90"/>
                <a:gd name="T112" fmla="*/ 152 w 1223"/>
                <a:gd name="T113" fmla="*/ 34 h 90"/>
                <a:gd name="T114" fmla="*/ 165 w 1223"/>
                <a:gd name="T115" fmla="*/ 87 h 90"/>
                <a:gd name="T116" fmla="*/ 207 w 1223"/>
                <a:gd name="T117" fmla="*/ 74 h 90"/>
                <a:gd name="T118" fmla="*/ 166 w 1223"/>
                <a:gd name="T119" fmla="*/ 67 h 90"/>
                <a:gd name="T120" fmla="*/ 96 w 1223"/>
                <a:gd name="T121" fmla="*/ 88 h 90"/>
                <a:gd name="T122" fmla="*/ 60 w 1223"/>
                <a:gd name="T123" fmla="*/ 5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3" h="90">
                  <a:moveTo>
                    <a:pt x="1165" y="24"/>
                  </a:moveTo>
                  <a:lnTo>
                    <a:pt x="1165" y="88"/>
                  </a:lnTo>
                  <a:lnTo>
                    <a:pt x="1184" y="88"/>
                  </a:lnTo>
                  <a:lnTo>
                    <a:pt x="1184" y="52"/>
                  </a:lnTo>
                  <a:lnTo>
                    <a:pt x="1184" y="46"/>
                  </a:lnTo>
                  <a:lnTo>
                    <a:pt x="1185" y="44"/>
                  </a:lnTo>
                  <a:lnTo>
                    <a:pt x="1187" y="42"/>
                  </a:lnTo>
                  <a:lnTo>
                    <a:pt x="1188" y="40"/>
                  </a:lnTo>
                  <a:lnTo>
                    <a:pt x="1190" y="39"/>
                  </a:lnTo>
                  <a:lnTo>
                    <a:pt x="1192" y="38"/>
                  </a:lnTo>
                  <a:lnTo>
                    <a:pt x="1195" y="38"/>
                  </a:lnTo>
                  <a:lnTo>
                    <a:pt x="1197" y="38"/>
                  </a:lnTo>
                  <a:lnTo>
                    <a:pt x="1199" y="39"/>
                  </a:lnTo>
                  <a:lnTo>
                    <a:pt x="1201" y="40"/>
                  </a:lnTo>
                  <a:lnTo>
                    <a:pt x="1202" y="42"/>
                  </a:lnTo>
                  <a:lnTo>
                    <a:pt x="1203" y="44"/>
                  </a:lnTo>
                  <a:lnTo>
                    <a:pt x="1204" y="46"/>
                  </a:lnTo>
                  <a:lnTo>
                    <a:pt x="1204" y="53"/>
                  </a:lnTo>
                  <a:lnTo>
                    <a:pt x="1204" y="88"/>
                  </a:lnTo>
                  <a:lnTo>
                    <a:pt x="1223" y="88"/>
                  </a:lnTo>
                  <a:lnTo>
                    <a:pt x="1223" y="47"/>
                  </a:lnTo>
                  <a:lnTo>
                    <a:pt x="1223" y="41"/>
                  </a:lnTo>
                  <a:lnTo>
                    <a:pt x="1222" y="37"/>
                  </a:lnTo>
                  <a:lnTo>
                    <a:pt x="1220" y="32"/>
                  </a:lnTo>
                  <a:lnTo>
                    <a:pt x="1217" y="29"/>
                  </a:lnTo>
                  <a:lnTo>
                    <a:pt x="1214" y="26"/>
                  </a:lnTo>
                  <a:lnTo>
                    <a:pt x="1210" y="24"/>
                  </a:lnTo>
                  <a:lnTo>
                    <a:pt x="1206" y="23"/>
                  </a:lnTo>
                  <a:lnTo>
                    <a:pt x="1201" y="22"/>
                  </a:lnTo>
                  <a:lnTo>
                    <a:pt x="1196" y="23"/>
                  </a:lnTo>
                  <a:lnTo>
                    <a:pt x="1192" y="24"/>
                  </a:lnTo>
                  <a:lnTo>
                    <a:pt x="1188" y="27"/>
                  </a:lnTo>
                  <a:lnTo>
                    <a:pt x="1183" y="30"/>
                  </a:lnTo>
                  <a:lnTo>
                    <a:pt x="1183" y="24"/>
                  </a:lnTo>
                  <a:lnTo>
                    <a:pt x="1165" y="24"/>
                  </a:lnTo>
                  <a:close/>
                  <a:moveTo>
                    <a:pt x="1120" y="37"/>
                  </a:moveTo>
                  <a:lnTo>
                    <a:pt x="1123" y="38"/>
                  </a:lnTo>
                  <a:lnTo>
                    <a:pt x="1126" y="39"/>
                  </a:lnTo>
                  <a:lnTo>
                    <a:pt x="1129" y="40"/>
                  </a:lnTo>
                  <a:lnTo>
                    <a:pt x="1131" y="42"/>
                  </a:lnTo>
                  <a:lnTo>
                    <a:pt x="1132" y="45"/>
                  </a:lnTo>
                  <a:lnTo>
                    <a:pt x="1134" y="48"/>
                  </a:lnTo>
                  <a:lnTo>
                    <a:pt x="1134" y="52"/>
                  </a:lnTo>
                  <a:lnTo>
                    <a:pt x="1135" y="57"/>
                  </a:lnTo>
                  <a:lnTo>
                    <a:pt x="1134" y="61"/>
                  </a:lnTo>
                  <a:lnTo>
                    <a:pt x="1134" y="64"/>
                  </a:lnTo>
                  <a:lnTo>
                    <a:pt x="1132" y="67"/>
                  </a:lnTo>
                  <a:lnTo>
                    <a:pt x="1131" y="70"/>
                  </a:lnTo>
                  <a:lnTo>
                    <a:pt x="1130" y="71"/>
                  </a:lnTo>
                  <a:lnTo>
                    <a:pt x="1129" y="72"/>
                  </a:lnTo>
                  <a:lnTo>
                    <a:pt x="1126" y="74"/>
                  </a:lnTo>
                  <a:lnTo>
                    <a:pt x="1123" y="75"/>
                  </a:lnTo>
                  <a:lnTo>
                    <a:pt x="1120" y="75"/>
                  </a:lnTo>
                  <a:lnTo>
                    <a:pt x="1116" y="75"/>
                  </a:lnTo>
                  <a:lnTo>
                    <a:pt x="1113" y="74"/>
                  </a:lnTo>
                  <a:lnTo>
                    <a:pt x="1111" y="72"/>
                  </a:lnTo>
                  <a:lnTo>
                    <a:pt x="1109" y="70"/>
                  </a:lnTo>
                  <a:lnTo>
                    <a:pt x="1107" y="67"/>
                  </a:lnTo>
                  <a:lnTo>
                    <a:pt x="1106" y="64"/>
                  </a:lnTo>
                  <a:lnTo>
                    <a:pt x="1105" y="60"/>
                  </a:lnTo>
                  <a:lnTo>
                    <a:pt x="1105" y="56"/>
                  </a:lnTo>
                  <a:lnTo>
                    <a:pt x="1105" y="52"/>
                  </a:lnTo>
                  <a:lnTo>
                    <a:pt x="1106" y="48"/>
                  </a:lnTo>
                  <a:lnTo>
                    <a:pt x="1107" y="45"/>
                  </a:lnTo>
                  <a:lnTo>
                    <a:pt x="1109" y="42"/>
                  </a:lnTo>
                  <a:lnTo>
                    <a:pt x="1110" y="41"/>
                  </a:lnTo>
                  <a:lnTo>
                    <a:pt x="1111" y="40"/>
                  </a:lnTo>
                  <a:lnTo>
                    <a:pt x="1113" y="39"/>
                  </a:lnTo>
                  <a:lnTo>
                    <a:pt x="1116" y="38"/>
                  </a:lnTo>
                  <a:lnTo>
                    <a:pt x="1120" y="37"/>
                  </a:lnTo>
                  <a:close/>
                  <a:moveTo>
                    <a:pt x="1120" y="23"/>
                  </a:moveTo>
                  <a:lnTo>
                    <a:pt x="1112" y="23"/>
                  </a:lnTo>
                  <a:lnTo>
                    <a:pt x="1106" y="25"/>
                  </a:lnTo>
                  <a:lnTo>
                    <a:pt x="1103" y="26"/>
                  </a:lnTo>
                  <a:lnTo>
                    <a:pt x="1100" y="28"/>
                  </a:lnTo>
                  <a:lnTo>
                    <a:pt x="1095" y="32"/>
                  </a:lnTo>
                  <a:lnTo>
                    <a:pt x="1091" y="37"/>
                  </a:lnTo>
                  <a:lnTo>
                    <a:pt x="1090" y="40"/>
                  </a:lnTo>
                  <a:lnTo>
                    <a:pt x="1088" y="43"/>
                  </a:lnTo>
                  <a:lnTo>
                    <a:pt x="1087" y="46"/>
                  </a:lnTo>
                  <a:lnTo>
                    <a:pt x="1086" y="49"/>
                  </a:lnTo>
                  <a:lnTo>
                    <a:pt x="1086" y="56"/>
                  </a:lnTo>
                  <a:lnTo>
                    <a:pt x="1086" y="63"/>
                  </a:lnTo>
                  <a:lnTo>
                    <a:pt x="1088" y="70"/>
                  </a:lnTo>
                  <a:lnTo>
                    <a:pt x="1090" y="73"/>
                  </a:lnTo>
                  <a:lnTo>
                    <a:pt x="1091" y="76"/>
                  </a:lnTo>
                  <a:lnTo>
                    <a:pt x="1095" y="80"/>
                  </a:lnTo>
                  <a:lnTo>
                    <a:pt x="1100" y="84"/>
                  </a:lnTo>
                  <a:lnTo>
                    <a:pt x="1103" y="86"/>
                  </a:lnTo>
                  <a:lnTo>
                    <a:pt x="1106" y="87"/>
                  </a:lnTo>
                  <a:lnTo>
                    <a:pt x="1109" y="88"/>
                  </a:lnTo>
                  <a:lnTo>
                    <a:pt x="1112" y="89"/>
                  </a:lnTo>
                  <a:lnTo>
                    <a:pt x="1120" y="90"/>
                  </a:lnTo>
                  <a:lnTo>
                    <a:pt x="1127" y="89"/>
                  </a:lnTo>
                  <a:lnTo>
                    <a:pt x="1133" y="87"/>
                  </a:lnTo>
                  <a:lnTo>
                    <a:pt x="1136" y="86"/>
                  </a:lnTo>
                  <a:lnTo>
                    <a:pt x="1139" y="84"/>
                  </a:lnTo>
                  <a:lnTo>
                    <a:pt x="1144" y="80"/>
                  </a:lnTo>
                  <a:lnTo>
                    <a:pt x="1148" y="76"/>
                  </a:lnTo>
                  <a:lnTo>
                    <a:pt x="1150" y="73"/>
                  </a:lnTo>
                  <a:lnTo>
                    <a:pt x="1151" y="70"/>
                  </a:lnTo>
                  <a:lnTo>
                    <a:pt x="1153" y="64"/>
                  </a:lnTo>
                  <a:lnTo>
                    <a:pt x="1153" y="60"/>
                  </a:lnTo>
                  <a:lnTo>
                    <a:pt x="1154" y="57"/>
                  </a:lnTo>
                  <a:lnTo>
                    <a:pt x="1153" y="53"/>
                  </a:lnTo>
                  <a:lnTo>
                    <a:pt x="1153" y="49"/>
                  </a:lnTo>
                  <a:lnTo>
                    <a:pt x="1151" y="43"/>
                  </a:lnTo>
                  <a:lnTo>
                    <a:pt x="1150" y="40"/>
                  </a:lnTo>
                  <a:lnTo>
                    <a:pt x="1148" y="37"/>
                  </a:lnTo>
                  <a:lnTo>
                    <a:pt x="1144" y="32"/>
                  </a:lnTo>
                  <a:lnTo>
                    <a:pt x="1139" y="28"/>
                  </a:lnTo>
                  <a:lnTo>
                    <a:pt x="1136" y="26"/>
                  </a:lnTo>
                  <a:lnTo>
                    <a:pt x="1133" y="25"/>
                  </a:lnTo>
                  <a:lnTo>
                    <a:pt x="1130" y="24"/>
                  </a:lnTo>
                  <a:lnTo>
                    <a:pt x="1127" y="23"/>
                  </a:lnTo>
                  <a:lnTo>
                    <a:pt x="1120" y="23"/>
                  </a:lnTo>
                  <a:close/>
                  <a:moveTo>
                    <a:pt x="1074" y="0"/>
                  </a:moveTo>
                  <a:lnTo>
                    <a:pt x="1056" y="0"/>
                  </a:lnTo>
                  <a:lnTo>
                    <a:pt x="1056" y="15"/>
                  </a:lnTo>
                  <a:lnTo>
                    <a:pt x="1074" y="15"/>
                  </a:lnTo>
                  <a:lnTo>
                    <a:pt x="1074" y="0"/>
                  </a:lnTo>
                  <a:close/>
                  <a:moveTo>
                    <a:pt x="1074" y="24"/>
                  </a:moveTo>
                  <a:lnTo>
                    <a:pt x="1056" y="24"/>
                  </a:lnTo>
                  <a:lnTo>
                    <a:pt x="1056" y="88"/>
                  </a:lnTo>
                  <a:lnTo>
                    <a:pt x="1074" y="88"/>
                  </a:lnTo>
                  <a:lnTo>
                    <a:pt x="1074" y="24"/>
                  </a:lnTo>
                  <a:close/>
                  <a:moveTo>
                    <a:pt x="1041" y="25"/>
                  </a:moveTo>
                  <a:lnTo>
                    <a:pt x="1029" y="25"/>
                  </a:lnTo>
                  <a:lnTo>
                    <a:pt x="1029" y="5"/>
                  </a:lnTo>
                  <a:lnTo>
                    <a:pt x="1011" y="5"/>
                  </a:lnTo>
                  <a:lnTo>
                    <a:pt x="1011" y="25"/>
                  </a:lnTo>
                  <a:lnTo>
                    <a:pt x="1002" y="25"/>
                  </a:lnTo>
                  <a:lnTo>
                    <a:pt x="1002" y="38"/>
                  </a:lnTo>
                  <a:lnTo>
                    <a:pt x="1011" y="38"/>
                  </a:lnTo>
                  <a:lnTo>
                    <a:pt x="1011" y="67"/>
                  </a:lnTo>
                  <a:lnTo>
                    <a:pt x="1011" y="74"/>
                  </a:lnTo>
                  <a:lnTo>
                    <a:pt x="1011" y="78"/>
                  </a:lnTo>
                  <a:lnTo>
                    <a:pt x="1012" y="81"/>
                  </a:lnTo>
                  <a:lnTo>
                    <a:pt x="1014" y="84"/>
                  </a:lnTo>
                  <a:lnTo>
                    <a:pt x="1017" y="86"/>
                  </a:lnTo>
                  <a:lnTo>
                    <a:pt x="1020" y="87"/>
                  </a:lnTo>
                  <a:lnTo>
                    <a:pt x="1024" y="88"/>
                  </a:lnTo>
                  <a:lnTo>
                    <a:pt x="1029" y="88"/>
                  </a:lnTo>
                  <a:lnTo>
                    <a:pt x="1041" y="88"/>
                  </a:lnTo>
                  <a:lnTo>
                    <a:pt x="1041" y="74"/>
                  </a:lnTo>
                  <a:lnTo>
                    <a:pt x="1034" y="74"/>
                  </a:lnTo>
                  <a:lnTo>
                    <a:pt x="1032" y="74"/>
                  </a:lnTo>
                  <a:lnTo>
                    <a:pt x="1030" y="72"/>
                  </a:lnTo>
                  <a:lnTo>
                    <a:pt x="1029" y="69"/>
                  </a:lnTo>
                  <a:lnTo>
                    <a:pt x="1029" y="63"/>
                  </a:lnTo>
                  <a:lnTo>
                    <a:pt x="1029" y="38"/>
                  </a:lnTo>
                  <a:lnTo>
                    <a:pt x="1041" y="38"/>
                  </a:lnTo>
                  <a:lnTo>
                    <a:pt x="1041" y="25"/>
                  </a:lnTo>
                  <a:close/>
                  <a:moveTo>
                    <a:pt x="973" y="68"/>
                  </a:moveTo>
                  <a:lnTo>
                    <a:pt x="970" y="71"/>
                  </a:lnTo>
                  <a:lnTo>
                    <a:pt x="967" y="74"/>
                  </a:lnTo>
                  <a:lnTo>
                    <a:pt x="963" y="75"/>
                  </a:lnTo>
                  <a:lnTo>
                    <a:pt x="959" y="76"/>
                  </a:lnTo>
                  <a:lnTo>
                    <a:pt x="955" y="75"/>
                  </a:lnTo>
                  <a:lnTo>
                    <a:pt x="952" y="74"/>
                  </a:lnTo>
                  <a:lnTo>
                    <a:pt x="950" y="72"/>
                  </a:lnTo>
                  <a:lnTo>
                    <a:pt x="950" y="70"/>
                  </a:lnTo>
                  <a:lnTo>
                    <a:pt x="949" y="69"/>
                  </a:lnTo>
                  <a:lnTo>
                    <a:pt x="950" y="66"/>
                  </a:lnTo>
                  <a:lnTo>
                    <a:pt x="952" y="64"/>
                  </a:lnTo>
                  <a:lnTo>
                    <a:pt x="955" y="62"/>
                  </a:lnTo>
                  <a:lnTo>
                    <a:pt x="959" y="61"/>
                  </a:lnTo>
                  <a:lnTo>
                    <a:pt x="966" y="60"/>
                  </a:lnTo>
                  <a:lnTo>
                    <a:pt x="973" y="58"/>
                  </a:lnTo>
                  <a:lnTo>
                    <a:pt x="973" y="68"/>
                  </a:lnTo>
                  <a:close/>
                  <a:moveTo>
                    <a:pt x="951" y="44"/>
                  </a:moveTo>
                  <a:lnTo>
                    <a:pt x="951" y="43"/>
                  </a:lnTo>
                  <a:lnTo>
                    <a:pt x="952" y="41"/>
                  </a:lnTo>
                  <a:lnTo>
                    <a:pt x="953" y="40"/>
                  </a:lnTo>
                  <a:lnTo>
                    <a:pt x="954" y="39"/>
                  </a:lnTo>
                  <a:lnTo>
                    <a:pt x="958" y="37"/>
                  </a:lnTo>
                  <a:lnTo>
                    <a:pt x="962" y="37"/>
                  </a:lnTo>
                  <a:lnTo>
                    <a:pt x="966" y="37"/>
                  </a:lnTo>
                  <a:lnTo>
                    <a:pt x="970" y="38"/>
                  </a:lnTo>
                  <a:lnTo>
                    <a:pt x="971" y="40"/>
                  </a:lnTo>
                  <a:lnTo>
                    <a:pt x="972" y="41"/>
                  </a:lnTo>
                  <a:lnTo>
                    <a:pt x="972" y="43"/>
                  </a:lnTo>
                  <a:lnTo>
                    <a:pt x="972" y="44"/>
                  </a:lnTo>
                  <a:lnTo>
                    <a:pt x="971" y="46"/>
                  </a:lnTo>
                  <a:lnTo>
                    <a:pt x="969" y="46"/>
                  </a:lnTo>
                  <a:lnTo>
                    <a:pt x="966" y="47"/>
                  </a:lnTo>
                  <a:lnTo>
                    <a:pt x="956" y="49"/>
                  </a:lnTo>
                  <a:lnTo>
                    <a:pt x="950" y="50"/>
                  </a:lnTo>
                  <a:lnTo>
                    <a:pt x="945" y="52"/>
                  </a:lnTo>
                  <a:lnTo>
                    <a:pt x="940" y="54"/>
                  </a:lnTo>
                  <a:lnTo>
                    <a:pt x="937" y="56"/>
                  </a:lnTo>
                  <a:lnTo>
                    <a:pt x="934" y="59"/>
                  </a:lnTo>
                  <a:lnTo>
                    <a:pt x="933" y="60"/>
                  </a:lnTo>
                  <a:lnTo>
                    <a:pt x="932" y="62"/>
                  </a:lnTo>
                  <a:lnTo>
                    <a:pt x="931" y="66"/>
                  </a:lnTo>
                  <a:lnTo>
                    <a:pt x="931" y="70"/>
                  </a:lnTo>
                  <a:lnTo>
                    <a:pt x="931" y="74"/>
                  </a:lnTo>
                  <a:lnTo>
                    <a:pt x="933" y="78"/>
                  </a:lnTo>
                  <a:lnTo>
                    <a:pt x="935" y="81"/>
                  </a:lnTo>
                  <a:lnTo>
                    <a:pt x="937" y="84"/>
                  </a:lnTo>
                  <a:lnTo>
                    <a:pt x="941" y="87"/>
                  </a:lnTo>
                  <a:lnTo>
                    <a:pt x="945" y="88"/>
                  </a:lnTo>
                  <a:lnTo>
                    <a:pt x="949" y="89"/>
                  </a:lnTo>
                  <a:lnTo>
                    <a:pt x="954" y="90"/>
                  </a:lnTo>
                  <a:lnTo>
                    <a:pt x="960" y="90"/>
                  </a:lnTo>
                  <a:lnTo>
                    <a:pt x="964" y="88"/>
                  </a:lnTo>
                  <a:lnTo>
                    <a:pt x="968" y="86"/>
                  </a:lnTo>
                  <a:lnTo>
                    <a:pt x="973" y="83"/>
                  </a:lnTo>
                  <a:lnTo>
                    <a:pt x="974" y="88"/>
                  </a:lnTo>
                  <a:lnTo>
                    <a:pt x="993" y="88"/>
                  </a:lnTo>
                  <a:lnTo>
                    <a:pt x="992" y="86"/>
                  </a:lnTo>
                  <a:lnTo>
                    <a:pt x="991" y="84"/>
                  </a:lnTo>
                  <a:lnTo>
                    <a:pt x="991" y="77"/>
                  </a:lnTo>
                  <a:lnTo>
                    <a:pt x="991" y="48"/>
                  </a:lnTo>
                  <a:lnTo>
                    <a:pt x="991" y="41"/>
                  </a:lnTo>
                  <a:lnTo>
                    <a:pt x="990" y="36"/>
                  </a:lnTo>
                  <a:lnTo>
                    <a:pt x="988" y="32"/>
                  </a:lnTo>
                  <a:lnTo>
                    <a:pt x="986" y="31"/>
                  </a:lnTo>
                  <a:lnTo>
                    <a:pt x="985" y="29"/>
                  </a:lnTo>
                  <a:lnTo>
                    <a:pt x="980" y="26"/>
                  </a:lnTo>
                  <a:lnTo>
                    <a:pt x="975" y="24"/>
                  </a:lnTo>
                  <a:lnTo>
                    <a:pt x="969" y="23"/>
                  </a:lnTo>
                  <a:lnTo>
                    <a:pt x="962" y="23"/>
                  </a:lnTo>
                  <a:lnTo>
                    <a:pt x="956" y="23"/>
                  </a:lnTo>
                  <a:lnTo>
                    <a:pt x="951" y="24"/>
                  </a:lnTo>
                  <a:lnTo>
                    <a:pt x="946" y="26"/>
                  </a:lnTo>
                  <a:lnTo>
                    <a:pt x="942" y="28"/>
                  </a:lnTo>
                  <a:lnTo>
                    <a:pt x="939" y="31"/>
                  </a:lnTo>
                  <a:lnTo>
                    <a:pt x="937" y="35"/>
                  </a:lnTo>
                  <a:lnTo>
                    <a:pt x="936" y="37"/>
                  </a:lnTo>
                  <a:lnTo>
                    <a:pt x="935" y="39"/>
                  </a:lnTo>
                  <a:lnTo>
                    <a:pt x="934" y="42"/>
                  </a:lnTo>
                  <a:lnTo>
                    <a:pt x="934" y="44"/>
                  </a:lnTo>
                  <a:lnTo>
                    <a:pt x="951" y="44"/>
                  </a:lnTo>
                  <a:close/>
                  <a:moveTo>
                    <a:pt x="920" y="47"/>
                  </a:moveTo>
                  <a:lnTo>
                    <a:pt x="920" y="42"/>
                  </a:lnTo>
                  <a:lnTo>
                    <a:pt x="918" y="37"/>
                  </a:lnTo>
                  <a:lnTo>
                    <a:pt x="915" y="33"/>
                  </a:lnTo>
                  <a:lnTo>
                    <a:pt x="912" y="29"/>
                  </a:lnTo>
                  <a:lnTo>
                    <a:pt x="907" y="26"/>
                  </a:lnTo>
                  <a:lnTo>
                    <a:pt x="903" y="24"/>
                  </a:lnTo>
                  <a:lnTo>
                    <a:pt x="897" y="23"/>
                  </a:lnTo>
                  <a:lnTo>
                    <a:pt x="891" y="23"/>
                  </a:lnTo>
                  <a:lnTo>
                    <a:pt x="884" y="23"/>
                  </a:lnTo>
                  <a:lnTo>
                    <a:pt x="878" y="25"/>
                  </a:lnTo>
                  <a:lnTo>
                    <a:pt x="872" y="28"/>
                  </a:lnTo>
                  <a:lnTo>
                    <a:pt x="870" y="29"/>
                  </a:lnTo>
                  <a:lnTo>
                    <a:pt x="867" y="32"/>
                  </a:lnTo>
                  <a:lnTo>
                    <a:pt x="865" y="34"/>
                  </a:lnTo>
                  <a:lnTo>
                    <a:pt x="864" y="36"/>
                  </a:lnTo>
                  <a:lnTo>
                    <a:pt x="861" y="42"/>
                  </a:lnTo>
                  <a:lnTo>
                    <a:pt x="859" y="49"/>
                  </a:lnTo>
                  <a:lnTo>
                    <a:pt x="859" y="56"/>
                  </a:lnTo>
                  <a:lnTo>
                    <a:pt x="859" y="64"/>
                  </a:lnTo>
                  <a:lnTo>
                    <a:pt x="860" y="67"/>
                  </a:lnTo>
                  <a:lnTo>
                    <a:pt x="861" y="70"/>
                  </a:lnTo>
                  <a:lnTo>
                    <a:pt x="864" y="76"/>
                  </a:lnTo>
                  <a:lnTo>
                    <a:pt x="865" y="79"/>
                  </a:lnTo>
                  <a:lnTo>
                    <a:pt x="867" y="81"/>
                  </a:lnTo>
                  <a:lnTo>
                    <a:pt x="872" y="85"/>
                  </a:lnTo>
                  <a:lnTo>
                    <a:pt x="877" y="88"/>
                  </a:lnTo>
                  <a:lnTo>
                    <a:pt x="884" y="89"/>
                  </a:lnTo>
                  <a:lnTo>
                    <a:pt x="887" y="90"/>
                  </a:lnTo>
                  <a:lnTo>
                    <a:pt x="891" y="90"/>
                  </a:lnTo>
                  <a:lnTo>
                    <a:pt x="897" y="89"/>
                  </a:lnTo>
                  <a:lnTo>
                    <a:pt x="902" y="88"/>
                  </a:lnTo>
                  <a:lnTo>
                    <a:pt x="907" y="86"/>
                  </a:lnTo>
                  <a:lnTo>
                    <a:pt x="911" y="83"/>
                  </a:lnTo>
                  <a:lnTo>
                    <a:pt x="915" y="80"/>
                  </a:lnTo>
                  <a:lnTo>
                    <a:pt x="918" y="75"/>
                  </a:lnTo>
                  <a:lnTo>
                    <a:pt x="920" y="70"/>
                  </a:lnTo>
                  <a:lnTo>
                    <a:pt x="921" y="65"/>
                  </a:lnTo>
                  <a:lnTo>
                    <a:pt x="903" y="64"/>
                  </a:lnTo>
                  <a:lnTo>
                    <a:pt x="902" y="66"/>
                  </a:lnTo>
                  <a:lnTo>
                    <a:pt x="901" y="69"/>
                  </a:lnTo>
                  <a:lnTo>
                    <a:pt x="899" y="72"/>
                  </a:lnTo>
                  <a:lnTo>
                    <a:pt x="897" y="73"/>
                  </a:lnTo>
                  <a:lnTo>
                    <a:pt x="896" y="74"/>
                  </a:lnTo>
                  <a:lnTo>
                    <a:pt x="893" y="74"/>
                  </a:lnTo>
                  <a:lnTo>
                    <a:pt x="891" y="75"/>
                  </a:lnTo>
                  <a:lnTo>
                    <a:pt x="888" y="74"/>
                  </a:lnTo>
                  <a:lnTo>
                    <a:pt x="885" y="73"/>
                  </a:lnTo>
                  <a:lnTo>
                    <a:pt x="883" y="72"/>
                  </a:lnTo>
                  <a:lnTo>
                    <a:pt x="881" y="70"/>
                  </a:lnTo>
                  <a:lnTo>
                    <a:pt x="880" y="67"/>
                  </a:lnTo>
                  <a:lnTo>
                    <a:pt x="879" y="64"/>
                  </a:lnTo>
                  <a:lnTo>
                    <a:pt x="878" y="60"/>
                  </a:lnTo>
                  <a:lnTo>
                    <a:pt x="878" y="56"/>
                  </a:lnTo>
                  <a:lnTo>
                    <a:pt x="878" y="52"/>
                  </a:lnTo>
                  <a:lnTo>
                    <a:pt x="878" y="50"/>
                  </a:lnTo>
                  <a:lnTo>
                    <a:pt x="879" y="48"/>
                  </a:lnTo>
                  <a:lnTo>
                    <a:pt x="880" y="45"/>
                  </a:lnTo>
                  <a:lnTo>
                    <a:pt x="881" y="42"/>
                  </a:lnTo>
                  <a:lnTo>
                    <a:pt x="883" y="40"/>
                  </a:lnTo>
                  <a:lnTo>
                    <a:pt x="885" y="39"/>
                  </a:lnTo>
                  <a:lnTo>
                    <a:pt x="888" y="38"/>
                  </a:lnTo>
                  <a:lnTo>
                    <a:pt x="891" y="38"/>
                  </a:lnTo>
                  <a:lnTo>
                    <a:pt x="895" y="38"/>
                  </a:lnTo>
                  <a:lnTo>
                    <a:pt x="899" y="40"/>
                  </a:lnTo>
                  <a:lnTo>
                    <a:pt x="900" y="42"/>
                  </a:lnTo>
                  <a:lnTo>
                    <a:pt x="901" y="43"/>
                  </a:lnTo>
                  <a:lnTo>
                    <a:pt x="902" y="45"/>
                  </a:lnTo>
                  <a:lnTo>
                    <a:pt x="903" y="47"/>
                  </a:lnTo>
                  <a:lnTo>
                    <a:pt x="920" y="47"/>
                  </a:lnTo>
                  <a:close/>
                  <a:moveTo>
                    <a:pt x="847" y="24"/>
                  </a:moveTo>
                  <a:lnTo>
                    <a:pt x="828" y="24"/>
                  </a:lnTo>
                  <a:lnTo>
                    <a:pt x="828" y="60"/>
                  </a:lnTo>
                  <a:lnTo>
                    <a:pt x="828" y="67"/>
                  </a:lnTo>
                  <a:lnTo>
                    <a:pt x="827" y="69"/>
                  </a:lnTo>
                  <a:lnTo>
                    <a:pt x="826" y="70"/>
                  </a:lnTo>
                  <a:lnTo>
                    <a:pt x="825" y="72"/>
                  </a:lnTo>
                  <a:lnTo>
                    <a:pt x="823" y="73"/>
                  </a:lnTo>
                  <a:lnTo>
                    <a:pt x="821" y="74"/>
                  </a:lnTo>
                  <a:lnTo>
                    <a:pt x="818" y="74"/>
                  </a:lnTo>
                  <a:lnTo>
                    <a:pt x="816" y="74"/>
                  </a:lnTo>
                  <a:lnTo>
                    <a:pt x="814" y="73"/>
                  </a:lnTo>
                  <a:lnTo>
                    <a:pt x="812" y="72"/>
                  </a:lnTo>
                  <a:lnTo>
                    <a:pt x="810" y="70"/>
                  </a:lnTo>
                  <a:lnTo>
                    <a:pt x="809" y="67"/>
                  </a:lnTo>
                  <a:lnTo>
                    <a:pt x="808" y="60"/>
                  </a:lnTo>
                  <a:lnTo>
                    <a:pt x="808" y="24"/>
                  </a:lnTo>
                  <a:lnTo>
                    <a:pt x="789" y="24"/>
                  </a:lnTo>
                  <a:lnTo>
                    <a:pt x="789" y="64"/>
                  </a:lnTo>
                  <a:lnTo>
                    <a:pt x="790" y="71"/>
                  </a:lnTo>
                  <a:lnTo>
                    <a:pt x="791" y="76"/>
                  </a:lnTo>
                  <a:lnTo>
                    <a:pt x="792" y="78"/>
                  </a:lnTo>
                  <a:lnTo>
                    <a:pt x="793" y="80"/>
                  </a:lnTo>
                  <a:lnTo>
                    <a:pt x="795" y="83"/>
                  </a:lnTo>
                  <a:lnTo>
                    <a:pt x="799" y="86"/>
                  </a:lnTo>
                  <a:lnTo>
                    <a:pt x="803" y="88"/>
                  </a:lnTo>
                  <a:lnTo>
                    <a:pt x="808" y="89"/>
                  </a:lnTo>
                  <a:lnTo>
                    <a:pt x="812" y="90"/>
                  </a:lnTo>
                  <a:lnTo>
                    <a:pt x="818" y="89"/>
                  </a:lnTo>
                  <a:lnTo>
                    <a:pt x="822" y="88"/>
                  </a:lnTo>
                  <a:lnTo>
                    <a:pt x="826" y="85"/>
                  </a:lnTo>
                  <a:lnTo>
                    <a:pt x="828" y="83"/>
                  </a:lnTo>
                  <a:lnTo>
                    <a:pt x="829" y="81"/>
                  </a:lnTo>
                  <a:lnTo>
                    <a:pt x="829" y="88"/>
                  </a:lnTo>
                  <a:lnTo>
                    <a:pt x="847" y="88"/>
                  </a:lnTo>
                  <a:lnTo>
                    <a:pt x="847" y="24"/>
                  </a:lnTo>
                  <a:close/>
                  <a:moveTo>
                    <a:pt x="743" y="38"/>
                  </a:moveTo>
                  <a:lnTo>
                    <a:pt x="746" y="38"/>
                  </a:lnTo>
                  <a:lnTo>
                    <a:pt x="749" y="39"/>
                  </a:lnTo>
                  <a:lnTo>
                    <a:pt x="751" y="41"/>
                  </a:lnTo>
                  <a:lnTo>
                    <a:pt x="753" y="43"/>
                  </a:lnTo>
                  <a:lnTo>
                    <a:pt x="755" y="45"/>
                  </a:lnTo>
                  <a:lnTo>
                    <a:pt x="756" y="49"/>
                  </a:lnTo>
                  <a:lnTo>
                    <a:pt x="756" y="52"/>
                  </a:lnTo>
                  <a:lnTo>
                    <a:pt x="757" y="56"/>
                  </a:lnTo>
                  <a:lnTo>
                    <a:pt x="756" y="60"/>
                  </a:lnTo>
                  <a:lnTo>
                    <a:pt x="756" y="64"/>
                  </a:lnTo>
                  <a:lnTo>
                    <a:pt x="755" y="67"/>
                  </a:lnTo>
                  <a:lnTo>
                    <a:pt x="753" y="70"/>
                  </a:lnTo>
                  <a:lnTo>
                    <a:pt x="751" y="72"/>
                  </a:lnTo>
                  <a:lnTo>
                    <a:pt x="749" y="73"/>
                  </a:lnTo>
                  <a:lnTo>
                    <a:pt x="746" y="74"/>
                  </a:lnTo>
                  <a:lnTo>
                    <a:pt x="743" y="75"/>
                  </a:lnTo>
                  <a:lnTo>
                    <a:pt x="740" y="74"/>
                  </a:lnTo>
                  <a:lnTo>
                    <a:pt x="738" y="73"/>
                  </a:lnTo>
                  <a:lnTo>
                    <a:pt x="735" y="72"/>
                  </a:lnTo>
                  <a:lnTo>
                    <a:pt x="733" y="70"/>
                  </a:lnTo>
                  <a:lnTo>
                    <a:pt x="732" y="67"/>
                  </a:lnTo>
                  <a:lnTo>
                    <a:pt x="731" y="64"/>
                  </a:lnTo>
                  <a:lnTo>
                    <a:pt x="730" y="60"/>
                  </a:lnTo>
                  <a:lnTo>
                    <a:pt x="730" y="56"/>
                  </a:lnTo>
                  <a:lnTo>
                    <a:pt x="730" y="52"/>
                  </a:lnTo>
                  <a:lnTo>
                    <a:pt x="731" y="48"/>
                  </a:lnTo>
                  <a:lnTo>
                    <a:pt x="732" y="45"/>
                  </a:lnTo>
                  <a:lnTo>
                    <a:pt x="733" y="43"/>
                  </a:lnTo>
                  <a:lnTo>
                    <a:pt x="735" y="40"/>
                  </a:lnTo>
                  <a:lnTo>
                    <a:pt x="738" y="39"/>
                  </a:lnTo>
                  <a:lnTo>
                    <a:pt x="740" y="38"/>
                  </a:lnTo>
                  <a:lnTo>
                    <a:pt x="743" y="38"/>
                  </a:lnTo>
                  <a:close/>
                  <a:moveTo>
                    <a:pt x="775" y="0"/>
                  </a:moveTo>
                  <a:lnTo>
                    <a:pt x="756" y="0"/>
                  </a:lnTo>
                  <a:lnTo>
                    <a:pt x="756" y="29"/>
                  </a:lnTo>
                  <a:lnTo>
                    <a:pt x="753" y="26"/>
                  </a:lnTo>
                  <a:lnTo>
                    <a:pt x="749" y="24"/>
                  </a:lnTo>
                  <a:lnTo>
                    <a:pt x="745" y="23"/>
                  </a:lnTo>
                  <a:lnTo>
                    <a:pt x="740" y="22"/>
                  </a:lnTo>
                  <a:lnTo>
                    <a:pt x="734" y="23"/>
                  </a:lnTo>
                  <a:lnTo>
                    <a:pt x="728" y="25"/>
                  </a:lnTo>
                  <a:lnTo>
                    <a:pt x="723" y="28"/>
                  </a:lnTo>
                  <a:lnTo>
                    <a:pt x="719" y="32"/>
                  </a:lnTo>
                  <a:lnTo>
                    <a:pt x="716" y="37"/>
                  </a:lnTo>
                  <a:lnTo>
                    <a:pt x="713" y="42"/>
                  </a:lnTo>
                  <a:lnTo>
                    <a:pt x="712" y="46"/>
                  </a:lnTo>
                  <a:lnTo>
                    <a:pt x="712" y="49"/>
                  </a:lnTo>
                  <a:lnTo>
                    <a:pt x="711" y="56"/>
                  </a:lnTo>
                  <a:lnTo>
                    <a:pt x="712" y="64"/>
                  </a:lnTo>
                  <a:lnTo>
                    <a:pt x="712" y="67"/>
                  </a:lnTo>
                  <a:lnTo>
                    <a:pt x="713" y="70"/>
                  </a:lnTo>
                  <a:lnTo>
                    <a:pt x="716" y="76"/>
                  </a:lnTo>
                  <a:lnTo>
                    <a:pt x="717" y="78"/>
                  </a:lnTo>
                  <a:lnTo>
                    <a:pt x="719" y="81"/>
                  </a:lnTo>
                  <a:lnTo>
                    <a:pt x="723" y="85"/>
                  </a:lnTo>
                  <a:lnTo>
                    <a:pt x="728" y="87"/>
                  </a:lnTo>
                  <a:lnTo>
                    <a:pt x="730" y="88"/>
                  </a:lnTo>
                  <a:lnTo>
                    <a:pt x="733" y="89"/>
                  </a:lnTo>
                  <a:lnTo>
                    <a:pt x="736" y="90"/>
                  </a:lnTo>
                  <a:lnTo>
                    <a:pt x="739" y="90"/>
                  </a:lnTo>
                  <a:lnTo>
                    <a:pt x="745" y="89"/>
                  </a:lnTo>
                  <a:lnTo>
                    <a:pt x="747" y="89"/>
                  </a:lnTo>
                  <a:lnTo>
                    <a:pt x="749" y="88"/>
                  </a:lnTo>
                  <a:lnTo>
                    <a:pt x="751" y="87"/>
                  </a:lnTo>
                  <a:lnTo>
                    <a:pt x="753" y="85"/>
                  </a:lnTo>
                  <a:lnTo>
                    <a:pt x="757" y="81"/>
                  </a:lnTo>
                  <a:lnTo>
                    <a:pt x="757" y="88"/>
                  </a:lnTo>
                  <a:lnTo>
                    <a:pt x="775" y="88"/>
                  </a:lnTo>
                  <a:lnTo>
                    <a:pt x="775" y="0"/>
                  </a:lnTo>
                  <a:close/>
                  <a:moveTo>
                    <a:pt x="701" y="0"/>
                  </a:moveTo>
                  <a:lnTo>
                    <a:pt x="634" y="0"/>
                  </a:lnTo>
                  <a:lnTo>
                    <a:pt x="634" y="88"/>
                  </a:lnTo>
                  <a:lnTo>
                    <a:pt x="702" y="88"/>
                  </a:lnTo>
                  <a:lnTo>
                    <a:pt x="702" y="71"/>
                  </a:lnTo>
                  <a:lnTo>
                    <a:pt x="655" y="71"/>
                  </a:lnTo>
                  <a:lnTo>
                    <a:pt x="655" y="50"/>
                  </a:lnTo>
                  <a:lnTo>
                    <a:pt x="695" y="50"/>
                  </a:lnTo>
                  <a:lnTo>
                    <a:pt x="695" y="34"/>
                  </a:lnTo>
                  <a:lnTo>
                    <a:pt x="655" y="34"/>
                  </a:lnTo>
                  <a:lnTo>
                    <a:pt x="655" y="17"/>
                  </a:lnTo>
                  <a:lnTo>
                    <a:pt x="701" y="17"/>
                  </a:lnTo>
                  <a:lnTo>
                    <a:pt x="701" y="0"/>
                  </a:lnTo>
                  <a:close/>
                  <a:moveTo>
                    <a:pt x="538" y="48"/>
                  </a:moveTo>
                  <a:lnTo>
                    <a:pt x="539" y="46"/>
                  </a:lnTo>
                  <a:lnTo>
                    <a:pt x="540" y="43"/>
                  </a:lnTo>
                  <a:lnTo>
                    <a:pt x="541" y="41"/>
                  </a:lnTo>
                  <a:lnTo>
                    <a:pt x="543" y="40"/>
                  </a:lnTo>
                  <a:lnTo>
                    <a:pt x="544" y="38"/>
                  </a:lnTo>
                  <a:lnTo>
                    <a:pt x="547" y="38"/>
                  </a:lnTo>
                  <a:lnTo>
                    <a:pt x="552" y="37"/>
                  </a:lnTo>
                  <a:lnTo>
                    <a:pt x="556" y="38"/>
                  </a:lnTo>
                  <a:lnTo>
                    <a:pt x="558" y="38"/>
                  </a:lnTo>
                  <a:lnTo>
                    <a:pt x="560" y="40"/>
                  </a:lnTo>
                  <a:lnTo>
                    <a:pt x="562" y="41"/>
                  </a:lnTo>
                  <a:lnTo>
                    <a:pt x="563" y="43"/>
                  </a:lnTo>
                  <a:lnTo>
                    <a:pt x="564" y="46"/>
                  </a:lnTo>
                  <a:lnTo>
                    <a:pt x="564" y="48"/>
                  </a:lnTo>
                  <a:lnTo>
                    <a:pt x="538" y="48"/>
                  </a:lnTo>
                  <a:close/>
                  <a:moveTo>
                    <a:pt x="583" y="62"/>
                  </a:moveTo>
                  <a:lnTo>
                    <a:pt x="583" y="56"/>
                  </a:lnTo>
                  <a:lnTo>
                    <a:pt x="583" y="50"/>
                  </a:lnTo>
                  <a:lnTo>
                    <a:pt x="582" y="46"/>
                  </a:lnTo>
                  <a:lnTo>
                    <a:pt x="580" y="41"/>
                  </a:lnTo>
                  <a:lnTo>
                    <a:pt x="578" y="37"/>
                  </a:lnTo>
                  <a:lnTo>
                    <a:pt x="576" y="33"/>
                  </a:lnTo>
                  <a:lnTo>
                    <a:pt x="573" y="30"/>
                  </a:lnTo>
                  <a:lnTo>
                    <a:pt x="569" y="27"/>
                  </a:lnTo>
                  <a:lnTo>
                    <a:pt x="565" y="25"/>
                  </a:lnTo>
                  <a:lnTo>
                    <a:pt x="561" y="24"/>
                  </a:lnTo>
                  <a:lnTo>
                    <a:pt x="557" y="23"/>
                  </a:lnTo>
                  <a:lnTo>
                    <a:pt x="552" y="23"/>
                  </a:lnTo>
                  <a:lnTo>
                    <a:pt x="545" y="23"/>
                  </a:lnTo>
                  <a:lnTo>
                    <a:pt x="538" y="25"/>
                  </a:lnTo>
                  <a:lnTo>
                    <a:pt x="536" y="26"/>
                  </a:lnTo>
                  <a:lnTo>
                    <a:pt x="533" y="28"/>
                  </a:lnTo>
                  <a:lnTo>
                    <a:pt x="528" y="32"/>
                  </a:lnTo>
                  <a:lnTo>
                    <a:pt x="526" y="34"/>
                  </a:lnTo>
                  <a:lnTo>
                    <a:pt x="524" y="37"/>
                  </a:lnTo>
                  <a:lnTo>
                    <a:pt x="521" y="43"/>
                  </a:lnTo>
                  <a:lnTo>
                    <a:pt x="520" y="49"/>
                  </a:lnTo>
                  <a:lnTo>
                    <a:pt x="519" y="53"/>
                  </a:lnTo>
                  <a:lnTo>
                    <a:pt x="519" y="56"/>
                  </a:lnTo>
                  <a:lnTo>
                    <a:pt x="520" y="63"/>
                  </a:lnTo>
                  <a:lnTo>
                    <a:pt x="521" y="70"/>
                  </a:lnTo>
                  <a:lnTo>
                    <a:pt x="524" y="76"/>
                  </a:lnTo>
                  <a:lnTo>
                    <a:pt x="526" y="78"/>
                  </a:lnTo>
                  <a:lnTo>
                    <a:pt x="528" y="81"/>
                  </a:lnTo>
                  <a:lnTo>
                    <a:pt x="533" y="85"/>
                  </a:lnTo>
                  <a:lnTo>
                    <a:pt x="538" y="87"/>
                  </a:lnTo>
                  <a:lnTo>
                    <a:pt x="541" y="88"/>
                  </a:lnTo>
                  <a:lnTo>
                    <a:pt x="545" y="89"/>
                  </a:lnTo>
                  <a:lnTo>
                    <a:pt x="548" y="90"/>
                  </a:lnTo>
                  <a:lnTo>
                    <a:pt x="552" y="90"/>
                  </a:lnTo>
                  <a:lnTo>
                    <a:pt x="557" y="89"/>
                  </a:lnTo>
                  <a:lnTo>
                    <a:pt x="563" y="88"/>
                  </a:lnTo>
                  <a:lnTo>
                    <a:pt x="567" y="87"/>
                  </a:lnTo>
                  <a:lnTo>
                    <a:pt x="572" y="84"/>
                  </a:lnTo>
                  <a:lnTo>
                    <a:pt x="575" y="81"/>
                  </a:lnTo>
                  <a:lnTo>
                    <a:pt x="577" y="80"/>
                  </a:lnTo>
                  <a:lnTo>
                    <a:pt x="578" y="78"/>
                  </a:lnTo>
                  <a:lnTo>
                    <a:pt x="581" y="74"/>
                  </a:lnTo>
                  <a:lnTo>
                    <a:pt x="583" y="69"/>
                  </a:lnTo>
                  <a:lnTo>
                    <a:pt x="563" y="69"/>
                  </a:lnTo>
                  <a:lnTo>
                    <a:pt x="561" y="72"/>
                  </a:lnTo>
                  <a:lnTo>
                    <a:pt x="559" y="74"/>
                  </a:lnTo>
                  <a:lnTo>
                    <a:pt x="556" y="75"/>
                  </a:lnTo>
                  <a:lnTo>
                    <a:pt x="552" y="75"/>
                  </a:lnTo>
                  <a:lnTo>
                    <a:pt x="549" y="75"/>
                  </a:lnTo>
                  <a:lnTo>
                    <a:pt x="547" y="74"/>
                  </a:lnTo>
                  <a:lnTo>
                    <a:pt x="545" y="73"/>
                  </a:lnTo>
                  <a:lnTo>
                    <a:pt x="543" y="72"/>
                  </a:lnTo>
                  <a:lnTo>
                    <a:pt x="541" y="70"/>
                  </a:lnTo>
                  <a:lnTo>
                    <a:pt x="540" y="67"/>
                  </a:lnTo>
                  <a:lnTo>
                    <a:pt x="539" y="65"/>
                  </a:lnTo>
                  <a:lnTo>
                    <a:pt x="538" y="62"/>
                  </a:lnTo>
                  <a:lnTo>
                    <a:pt x="583" y="62"/>
                  </a:lnTo>
                  <a:close/>
                  <a:moveTo>
                    <a:pt x="493" y="88"/>
                  </a:moveTo>
                  <a:lnTo>
                    <a:pt x="514" y="24"/>
                  </a:lnTo>
                  <a:lnTo>
                    <a:pt x="494" y="24"/>
                  </a:lnTo>
                  <a:lnTo>
                    <a:pt x="488" y="49"/>
                  </a:lnTo>
                  <a:lnTo>
                    <a:pt x="484" y="67"/>
                  </a:lnTo>
                  <a:lnTo>
                    <a:pt x="479" y="49"/>
                  </a:lnTo>
                  <a:lnTo>
                    <a:pt x="471" y="24"/>
                  </a:lnTo>
                  <a:lnTo>
                    <a:pt x="452" y="24"/>
                  </a:lnTo>
                  <a:lnTo>
                    <a:pt x="475" y="88"/>
                  </a:lnTo>
                  <a:lnTo>
                    <a:pt x="493" y="88"/>
                  </a:lnTo>
                  <a:close/>
                  <a:moveTo>
                    <a:pt x="440" y="0"/>
                  </a:moveTo>
                  <a:lnTo>
                    <a:pt x="421" y="0"/>
                  </a:lnTo>
                  <a:lnTo>
                    <a:pt x="421" y="15"/>
                  </a:lnTo>
                  <a:lnTo>
                    <a:pt x="440" y="15"/>
                  </a:lnTo>
                  <a:lnTo>
                    <a:pt x="440" y="0"/>
                  </a:lnTo>
                  <a:close/>
                  <a:moveTo>
                    <a:pt x="440" y="24"/>
                  </a:moveTo>
                  <a:lnTo>
                    <a:pt x="421" y="24"/>
                  </a:lnTo>
                  <a:lnTo>
                    <a:pt x="421" y="88"/>
                  </a:lnTo>
                  <a:lnTo>
                    <a:pt x="440" y="88"/>
                  </a:lnTo>
                  <a:lnTo>
                    <a:pt x="440" y="24"/>
                  </a:lnTo>
                  <a:close/>
                  <a:moveTo>
                    <a:pt x="405" y="25"/>
                  </a:moveTo>
                  <a:lnTo>
                    <a:pt x="394" y="25"/>
                  </a:lnTo>
                  <a:lnTo>
                    <a:pt x="394" y="5"/>
                  </a:lnTo>
                  <a:lnTo>
                    <a:pt x="375" y="5"/>
                  </a:lnTo>
                  <a:lnTo>
                    <a:pt x="375" y="25"/>
                  </a:lnTo>
                  <a:lnTo>
                    <a:pt x="366" y="25"/>
                  </a:lnTo>
                  <a:lnTo>
                    <a:pt x="366" y="38"/>
                  </a:lnTo>
                  <a:lnTo>
                    <a:pt x="375" y="38"/>
                  </a:lnTo>
                  <a:lnTo>
                    <a:pt x="375" y="67"/>
                  </a:lnTo>
                  <a:lnTo>
                    <a:pt x="375" y="74"/>
                  </a:lnTo>
                  <a:lnTo>
                    <a:pt x="376" y="78"/>
                  </a:lnTo>
                  <a:lnTo>
                    <a:pt x="377" y="81"/>
                  </a:lnTo>
                  <a:lnTo>
                    <a:pt x="378" y="84"/>
                  </a:lnTo>
                  <a:lnTo>
                    <a:pt x="381" y="86"/>
                  </a:lnTo>
                  <a:lnTo>
                    <a:pt x="384" y="87"/>
                  </a:lnTo>
                  <a:lnTo>
                    <a:pt x="388" y="88"/>
                  </a:lnTo>
                  <a:lnTo>
                    <a:pt x="394" y="88"/>
                  </a:lnTo>
                  <a:lnTo>
                    <a:pt x="405" y="88"/>
                  </a:lnTo>
                  <a:lnTo>
                    <a:pt x="405" y="74"/>
                  </a:lnTo>
                  <a:lnTo>
                    <a:pt x="398" y="74"/>
                  </a:lnTo>
                  <a:lnTo>
                    <a:pt x="396" y="74"/>
                  </a:lnTo>
                  <a:lnTo>
                    <a:pt x="394" y="72"/>
                  </a:lnTo>
                  <a:lnTo>
                    <a:pt x="394" y="69"/>
                  </a:lnTo>
                  <a:lnTo>
                    <a:pt x="394" y="63"/>
                  </a:lnTo>
                  <a:lnTo>
                    <a:pt x="394" y="38"/>
                  </a:lnTo>
                  <a:lnTo>
                    <a:pt x="405" y="38"/>
                  </a:lnTo>
                  <a:lnTo>
                    <a:pt x="405" y="25"/>
                  </a:lnTo>
                  <a:close/>
                  <a:moveTo>
                    <a:pt x="353" y="24"/>
                  </a:moveTo>
                  <a:lnTo>
                    <a:pt x="334" y="24"/>
                  </a:lnTo>
                  <a:lnTo>
                    <a:pt x="334" y="60"/>
                  </a:lnTo>
                  <a:lnTo>
                    <a:pt x="334" y="67"/>
                  </a:lnTo>
                  <a:lnTo>
                    <a:pt x="333" y="69"/>
                  </a:lnTo>
                  <a:lnTo>
                    <a:pt x="332" y="70"/>
                  </a:lnTo>
                  <a:lnTo>
                    <a:pt x="331" y="72"/>
                  </a:lnTo>
                  <a:lnTo>
                    <a:pt x="329" y="73"/>
                  </a:lnTo>
                  <a:lnTo>
                    <a:pt x="327" y="74"/>
                  </a:lnTo>
                  <a:lnTo>
                    <a:pt x="324" y="74"/>
                  </a:lnTo>
                  <a:lnTo>
                    <a:pt x="322" y="74"/>
                  </a:lnTo>
                  <a:lnTo>
                    <a:pt x="319" y="73"/>
                  </a:lnTo>
                  <a:lnTo>
                    <a:pt x="317" y="72"/>
                  </a:lnTo>
                  <a:lnTo>
                    <a:pt x="316" y="70"/>
                  </a:lnTo>
                  <a:lnTo>
                    <a:pt x="314" y="67"/>
                  </a:lnTo>
                  <a:lnTo>
                    <a:pt x="314" y="60"/>
                  </a:lnTo>
                  <a:lnTo>
                    <a:pt x="314" y="24"/>
                  </a:lnTo>
                  <a:lnTo>
                    <a:pt x="295" y="24"/>
                  </a:lnTo>
                  <a:lnTo>
                    <a:pt x="295" y="64"/>
                  </a:lnTo>
                  <a:lnTo>
                    <a:pt x="295" y="71"/>
                  </a:lnTo>
                  <a:lnTo>
                    <a:pt x="296" y="76"/>
                  </a:lnTo>
                  <a:lnTo>
                    <a:pt x="297" y="78"/>
                  </a:lnTo>
                  <a:lnTo>
                    <a:pt x="298" y="80"/>
                  </a:lnTo>
                  <a:lnTo>
                    <a:pt x="301" y="83"/>
                  </a:lnTo>
                  <a:lnTo>
                    <a:pt x="305" y="86"/>
                  </a:lnTo>
                  <a:lnTo>
                    <a:pt x="309" y="88"/>
                  </a:lnTo>
                  <a:lnTo>
                    <a:pt x="313" y="89"/>
                  </a:lnTo>
                  <a:lnTo>
                    <a:pt x="318" y="90"/>
                  </a:lnTo>
                  <a:lnTo>
                    <a:pt x="323" y="89"/>
                  </a:lnTo>
                  <a:lnTo>
                    <a:pt x="328" y="88"/>
                  </a:lnTo>
                  <a:lnTo>
                    <a:pt x="332" y="85"/>
                  </a:lnTo>
                  <a:lnTo>
                    <a:pt x="333" y="83"/>
                  </a:lnTo>
                  <a:lnTo>
                    <a:pt x="335" y="81"/>
                  </a:lnTo>
                  <a:lnTo>
                    <a:pt x="335" y="88"/>
                  </a:lnTo>
                  <a:lnTo>
                    <a:pt x="353" y="88"/>
                  </a:lnTo>
                  <a:lnTo>
                    <a:pt x="353" y="24"/>
                  </a:lnTo>
                  <a:close/>
                  <a:moveTo>
                    <a:pt x="282" y="47"/>
                  </a:moveTo>
                  <a:lnTo>
                    <a:pt x="281" y="42"/>
                  </a:lnTo>
                  <a:lnTo>
                    <a:pt x="279" y="37"/>
                  </a:lnTo>
                  <a:lnTo>
                    <a:pt x="276" y="33"/>
                  </a:lnTo>
                  <a:lnTo>
                    <a:pt x="273" y="29"/>
                  </a:lnTo>
                  <a:lnTo>
                    <a:pt x="269" y="26"/>
                  </a:lnTo>
                  <a:lnTo>
                    <a:pt x="264" y="24"/>
                  </a:lnTo>
                  <a:lnTo>
                    <a:pt x="259" y="23"/>
                  </a:lnTo>
                  <a:lnTo>
                    <a:pt x="253" y="23"/>
                  </a:lnTo>
                  <a:lnTo>
                    <a:pt x="245" y="23"/>
                  </a:lnTo>
                  <a:lnTo>
                    <a:pt x="239" y="25"/>
                  </a:lnTo>
                  <a:lnTo>
                    <a:pt x="233" y="28"/>
                  </a:lnTo>
                  <a:lnTo>
                    <a:pt x="231" y="29"/>
                  </a:lnTo>
                  <a:lnTo>
                    <a:pt x="229" y="32"/>
                  </a:lnTo>
                  <a:lnTo>
                    <a:pt x="227" y="34"/>
                  </a:lnTo>
                  <a:lnTo>
                    <a:pt x="225" y="36"/>
                  </a:lnTo>
                  <a:lnTo>
                    <a:pt x="222" y="42"/>
                  </a:lnTo>
                  <a:lnTo>
                    <a:pt x="221" y="49"/>
                  </a:lnTo>
                  <a:lnTo>
                    <a:pt x="220" y="56"/>
                  </a:lnTo>
                  <a:lnTo>
                    <a:pt x="221" y="64"/>
                  </a:lnTo>
                  <a:lnTo>
                    <a:pt x="221" y="67"/>
                  </a:lnTo>
                  <a:lnTo>
                    <a:pt x="222" y="70"/>
                  </a:lnTo>
                  <a:lnTo>
                    <a:pt x="225" y="76"/>
                  </a:lnTo>
                  <a:lnTo>
                    <a:pt x="227" y="79"/>
                  </a:lnTo>
                  <a:lnTo>
                    <a:pt x="229" y="81"/>
                  </a:lnTo>
                  <a:lnTo>
                    <a:pt x="233" y="85"/>
                  </a:lnTo>
                  <a:lnTo>
                    <a:pt x="239" y="88"/>
                  </a:lnTo>
                  <a:lnTo>
                    <a:pt x="245" y="89"/>
                  </a:lnTo>
                  <a:lnTo>
                    <a:pt x="248" y="90"/>
                  </a:lnTo>
                  <a:lnTo>
                    <a:pt x="252" y="90"/>
                  </a:lnTo>
                  <a:lnTo>
                    <a:pt x="258" y="89"/>
                  </a:lnTo>
                  <a:lnTo>
                    <a:pt x="264" y="88"/>
                  </a:lnTo>
                  <a:lnTo>
                    <a:pt x="268" y="86"/>
                  </a:lnTo>
                  <a:lnTo>
                    <a:pt x="273" y="83"/>
                  </a:lnTo>
                  <a:lnTo>
                    <a:pt x="276" y="80"/>
                  </a:lnTo>
                  <a:lnTo>
                    <a:pt x="279" y="75"/>
                  </a:lnTo>
                  <a:lnTo>
                    <a:pt x="281" y="70"/>
                  </a:lnTo>
                  <a:lnTo>
                    <a:pt x="283" y="65"/>
                  </a:lnTo>
                  <a:lnTo>
                    <a:pt x="264" y="64"/>
                  </a:lnTo>
                  <a:lnTo>
                    <a:pt x="264" y="66"/>
                  </a:lnTo>
                  <a:lnTo>
                    <a:pt x="263" y="69"/>
                  </a:lnTo>
                  <a:lnTo>
                    <a:pt x="260" y="72"/>
                  </a:lnTo>
                  <a:lnTo>
                    <a:pt x="259" y="73"/>
                  </a:lnTo>
                  <a:lnTo>
                    <a:pt x="257" y="74"/>
                  </a:lnTo>
                  <a:lnTo>
                    <a:pt x="255" y="74"/>
                  </a:lnTo>
                  <a:lnTo>
                    <a:pt x="252" y="75"/>
                  </a:lnTo>
                  <a:lnTo>
                    <a:pt x="249" y="74"/>
                  </a:lnTo>
                  <a:lnTo>
                    <a:pt x="247" y="73"/>
                  </a:lnTo>
                  <a:lnTo>
                    <a:pt x="244" y="72"/>
                  </a:lnTo>
                  <a:lnTo>
                    <a:pt x="243" y="70"/>
                  </a:lnTo>
                  <a:lnTo>
                    <a:pt x="241" y="67"/>
                  </a:lnTo>
                  <a:lnTo>
                    <a:pt x="240" y="64"/>
                  </a:lnTo>
                  <a:lnTo>
                    <a:pt x="239" y="60"/>
                  </a:lnTo>
                  <a:lnTo>
                    <a:pt x="239" y="56"/>
                  </a:lnTo>
                  <a:lnTo>
                    <a:pt x="239" y="52"/>
                  </a:lnTo>
                  <a:lnTo>
                    <a:pt x="240" y="50"/>
                  </a:lnTo>
                  <a:lnTo>
                    <a:pt x="240" y="48"/>
                  </a:lnTo>
                  <a:lnTo>
                    <a:pt x="241" y="45"/>
                  </a:lnTo>
                  <a:lnTo>
                    <a:pt x="242" y="42"/>
                  </a:lnTo>
                  <a:lnTo>
                    <a:pt x="244" y="40"/>
                  </a:lnTo>
                  <a:lnTo>
                    <a:pt x="247" y="39"/>
                  </a:lnTo>
                  <a:lnTo>
                    <a:pt x="249" y="38"/>
                  </a:lnTo>
                  <a:lnTo>
                    <a:pt x="252" y="38"/>
                  </a:lnTo>
                  <a:lnTo>
                    <a:pt x="257" y="38"/>
                  </a:lnTo>
                  <a:lnTo>
                    <a:pt x="260" y="40"/>
                  </a:lnTo>
                  <a:lnTo>
                    <a:pt x="262" y="42"/>
                  </a:lnTo>
                  <a:lnTo>
                    <a:pt x="263" y="43"/>
                  </a:lnTo>
                  <a:lnTo>
                    <a:pt x="264" y="47"/>
                  </a:lnTo>
                  <a:lnTo>
                    <a:pt x="282" y="47"/>
                  </a:lnTo>
                  <a:close/>
                  <a:moveTo>
                    <a:pt x="164" y="48"/>
                  </a:moveTo>
                  <a:lnTo>
                    <a:pt x="165" y="46"/>
                  </a:lnTo>
                  <a:lnTo>
                    <a:pt x="166" y="43"/>
                  </a:lnTo>
                  <a:lnTo>
                    <a:pt x="167" y="41"/>
                  </a:lnTo>
                  <a:lnTo>
                    <a:pt x="169" y="40"/>
                  </a:lnTo>
                  <a:lnTo>
                    <a:pt x="171" y="38"/>
                  </a:lnTo>
                  <a:lnTo>
                    <a:pt x="173" y="38"/>
                  </a:lnTo>
                  <a:lnTo>
                    <a:pt x="178" y="37"/>
                  </a:lnTo>
                  <a:lnTo>
                    <a:pt x="183" y="38"/>
                  </a:lnTo>
                  <a:lnTo>
                    <a:pt x="185" y="38"/>
                  </a:lnTo>
                  <a:lnTo>
                    <a:pt x="186" y="40"/>
                  </a:lnTo>
                  <a:lnTo>
                    <a:pt x="188" y="41"/>
                  </a:lnTo>
                  <a:lnTo>
                    <a:pt x="189" y="43"/>
                  </a:lnTo>
                  <a:lnTo>
                    <a:pt x="190" y="46"/>
                  </a:lnTo>
                  <a:lnTo>
                    <a:pt x="190" y="48"/>
                  </a:lnTo>
                  <a:lnTo>
                    <a:pt x="164" y="48"/>
                  </a:lnTo>
                  <a:close/>
                  <a:moveTo>
                    <a:pt x="209" y="62"/>
                  </a:moveTo>
                  <a:lnTo>
                    <a:pt x="209" y="56"/>
                  </a:lnTo>
                  <a:lnTo>
                    <a:pt x="209" y="50"/>
                  </a:lnTo>
                  <a:lnTo>
                    <a:pt x="208" y="46"/>
                  </a:lnTo>
                  <a:lnTo>
                    <a:pt x="206" y="41"/>
                  </a:lnTo>
                  <a:lnTo>
                    <a:pt x="204" y="37"/>
                  </a:lnTo>
                  <a:lnTo>
                    <a:pt x="202" y="33"/>
                  </a:lnTo>
                  <a:lnTo>
                    <a:pt x="199" y="30"/>
                  </a:lnTo>
                  <a:lnTo>
                    <a:pt x="195" y="27"/>
                  </a:lnTo>
                  <a:lnTo>
                    <a:pt x="192" y="25"/>
                  </a:lnTo>
                  <a:lnTo>
                    <a:pt x="187" y="24"/>
                  </a:lnTo>
                  <a:lnTo>
                    <a:pt x="183" y="23"/>
                  </a:lnTo>
                  <a:lnTo>
                    <a:pt x="178" y="23"/>
                  </a:lnTo>
                  <a:lnTo>
                    <a:pt x="171" y="23"/>
                  </a:lnTo>
                  <a:lnTo>
                    <a:pt x="165" y="25"/>
                  </a:lnTo>
                  <a:lnTo>
                    <a:pt x="162" y="26"/>
                  </a:lnTo>
                  <a:lnTo>
                    <a:pt x="159" y="28"/>
                  </a:lnTo>
                  <a:lnTo>
                    <a:pt x="154" y="32"/>
                  </a:lnTo>
                  <a:lnTo>
                    <a:pt x="152" y="34"/>
                  </a:lnTo>
                  <a:lnTo>
                    <a:pt x="150" y="37"/>
                  </a:lnTo>
                  <a:lnTo>
                    <a:pt x="148" y="43"/>
                  </a:lnTo>
                  <a:lnTo>
                    <a:pt x="146" y="49"/>
                  </a:lnTo>
                  <a:lnTo>
                    <a:pt x="145" y="53"/>
                  </a:lnTo>
                  <a:lnTo>
                    <a:pt x="145" y="56"/>
                  </a:lnTo>
                  <a:lnTo>
                    <a:pt x="146" y="63"/>
                  </a:lnTo>
                  <a:lnTo>
                    <a:pt x="148" y="70"/>
                  </a:lnTo>
                  <a:lnTo>
                    <a:pt x="150" y="76"/>
                  </a:lnTo>
                  <a:lnTo>
                    <a:pt x="152" y="78"/>
                  </a:lnTo>
                  <a:lnTo>
                    <a:pt x="154" y="81"/>
                  </a:lnTo>
                  <a:lnTo>
                    <a:pt x="159" y="85"/>
                  </a:lnTo>
                  <a:lnTo>
                    <a:pt x="165" y="87"/>
                  </a:lnTo>
                  <a:lnTo>
                    <a:pt x="168" y="88"/>
                  </a:lnTo>
                  <a:lnTo>
                    <a:pt x="171" y="89"/>
                  </a:lnTo>
                  <a:lnTo>
                    <a:pt x="174" y="90"/>
                  </a:lnTo>
                  <a:lnTo>
                    <a:pt x="178" y="90"/>
                  </a:lnTo>
                  <a:lnTo>
                    <a:pt x="184" y="89"/>
                  </a:lnTo>
                  <a:lnTo>
                    <a:pt x="189" y="88"/>
                  </a:lnTo>
                  <a:lnTo>
                    <a:pt x="193" y="87"/>
                  </a:lnTo>
                  <a:lnTo>
                    <a:pt x="198" y="84"/>
                  </a:lnTo>
                  <a:lnTo>
                    <a:pt x="201" y="81"/>
                  </a:lnTo>
                  <a:lnTo>
                    <a:pt x="203" y="80"/>
                  </a:lnTo>
                  <a:lnTo>
                    <a:pt x="205" y="78"/>
                  </a:lnTo>
                  <a:lnTo>
                    <a:pt x="207" y="74"/>
                  </a:lnTo>
                  <a:lnTo>
                    <a:pt x="209" y="69"/>
                  </a:lnTo>
                  <a:lnTo>
                    <a:pt x="190" y="69"/>
                  </a:lnTo>
                  <a:lnTo>
                    <a:pt x="188" y="72"/>
                  </a:lnTo>
                  <a:lnTo>
                    <a:pt x="185" y="74"/>
                  </a:lnTo>
                  <a:lnTo>
                    <a:pt x="182" y="75"/>
                  </a:lnTo>
                  <a:lnTo>
                    <a:pt x="178" y="75"/>
                  </a:lnTo>
                  <a:lnTo>
                    <a:pt x="176" y="75"/>
                  </a:lnTo>
                  <a:lnTo>
                    <a:pt x="173" y="74"/>
                  </a:lnTo>
                  <a:lnTo>
                    <a:pt x="171" y="73"/>
                  </a:lnTo>
                  <a:lnTo>
                    <a:pt x="169" y="72"/>
                  </a:lnTo>
                  <a:lnTo>
                    <a:pt x="167" y="70"/>
                  </a:lnTo>
                  <a:lnTo>
                    <a:pt x="166" y="67"/>
                  </a:lnTo>
                  <a:lnTo>
                    <a:pt x="165" y="65"/>
                  </a:lnTo>
                  <a:lnTo>
                    <a:pt x="164" y="62"/>
                  </a:lnTo>
                  <a:lnTo>
                    <a:pt x="209" y="62"/>
                  </a:lnTo>
                  <a:close/>
                  <a:moveTo>
                    <a:pt x="118" y="55"/>
                  </a:moveTo>
                  <a:lnTo>
                    <a:pt x="139" y="24"/>
                  </a:lnTo>
                  <a:lnTo>
                    <a:pt x="118" y="24"/>
                  </a:lnTo>
                  <a:lnTo>
                    <a:pt x="108" y="40"/>
                  </a:lnTo>
                  <a:lnTo>
                    <a:pt x="98" y="24"/>
                  </a:lnTo>
                  <a:lnTo>
                    <a:pt x="77" y="24"/>
                  </a:lnTo>
                  <a:lnTo>
                    <a:pt x="98" y="55"/>
                  </a:lnTo>
                  <a:lnTo>
                    <a:pt x="75" y="88"/>
                  </a:lnTo>
                  <a:lnTo>
                    <a:pt x="96" y="88"/>
                  </a:lnTo>
                  <a:lnTo>
                    <a:pt x="108" y="70"/>
                  </a:lnTo>
                  <a:lnTo>
                    <a:pt x="120" y="88"/>
                  </a:lnTo>
                  <a:lnTo>
                    <a:pt x="142" y="88"/>
                  </a:lnTo>
                  <a:lnTo>
                    <a:pt x="118" y="55"/>
                  </a:lnTo>
                  <a:close/>
                  <a:moveTo>
                    <a:pt x="66" y="0"/>
                  </a:moveTo>
                  <a:lnTo>
                    <a:pt x="0" y="0"/>
                  </a:lnTo>
                  <a:lnTo>
                    <a:pt x="0" y="88"/>
                  </a:lnTo>
                  <a:lnTo>
                    <a:pt x="67" y="88"/>
                  </a:lnTo>
                  <a:lnTo>
                    <a:pt x="67" y="71"/>
                  </a:lnTo>
                  <a:lnTo>
                    <a:pt x="20" y="71"/>
                  </a:lnTo>
                  <a:lnTo>
                    <a:pt x="20" y="50"/>
                  </a:lnTo>
                  <a:lnTo>
                    <a:pt x="60" y="50"/>
                  </a:lnTo>
                  <a:lnTo>
                    <a:pt x="60" y="34"/>
                  </a:lnTo>
                  <a:lnTo>
                    <a:pt x="20" y="34"/>
                  </a:lnTo>
                  <a:lnTo>
                    <a:pt x="20" y="17"/>
                  </a:lnTo>
                  <a:lnTo>
                    <a:pt x="66" y="17"/>
                  </a:lnTo>
                  <a:lnTo>
                    <a:pt x="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15" name="Freeform 8"/>
            <p:cNvSpPr>
              <a:spLocks noEditPoints="1"/>
            </p:cNvSpPr>
            <p:nvPr userDrawn="1"/>
          </p:nvSpPr>
          <p:spPr bwMode="auto">
            <a:xfrm>
              <a:off x="4067175" y="114301"/>
              <a:ext cx="566738" cy="560388"/>
            </a:xfrm>
            <a:custGeom>
              <a:avLst/>
              <a:gdLst>
                <a:gd name="T0" fmla="*/ 223 w 357"/>
                <a:gd name="T1" fmla="*/ 220 h 353"/>
                <a:gd name="T2" fmla="*/ 134 w 357"/>
                <a:gd name="T3" fmla="*/ 220 h 353"/>
                <a:gd name="T4" fmla="*/ 179 w 357"/>
                <a:gd name="T5" fmla="*/ 100 h 353"/>
                <a:gd name="T6" fmla="*/ 223 w 357"/>
                <a:gd name="T7" fmla="*/ 220 h 353"/>
                <a:gd name="T8" fmla="*/ 357 w 357"/>
                <a:gd name="T9" fmla="*/ 353 h 353"/>
                <a:gd name="T10" fmla="*/ 230 w 357"/>
                <a:gd name="T11" fmla="*/ 0 h 353"/>
                <a:gd name="T12" fmla="*/ 127 w 357"/>
                <a:gd name="T13" fmla="*/ 0 h 353"/>
                <a:gd name="T14" fmla="*/ 0 w 357"/>
                <a:gd name="T15" fmla="*/ 353 h 353"/>
                <a:gd name="T16" fmla="*/ 91 w 357"/>
                <a:gd name="T17" fmla="*/ 353 h 353"/>
                <a:gd name="T18" fmla="*/ 113 w 357"/>
                <a:gd name="T19" fmla="*/ 291 h 353"/>
                <a:gd name="T20" fmla="*/ 245 w 357"/>
                <a:gd name="T21" fmla="*/ 291 h 353"/>
                <a:gd name="T22" fmla="*/ 267 w 357"/>
                <a:gd name="T23" fmla="*/ 353 h 353"/>
                <a:gd name="T24" fmla="*/ 357 w 357"/>
                <a:gd name="T25"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7" h="353">
                  <a:moveTo>
                    <a:pt x="223" y="220"/>
                  </a:moveTo>
                  <a:lnTo>
                    <a:pt x="134" y="220"/>
                  </a:lnTo>
                  <a:lnTo>
                    <a:pt x="179" y="100"/>
                  </a:lnTo>
                  <a:lnTo>
                    <a:pt x="223" y="220"/>
                  </a:lnTo>
                  <a:close/>
                  <a:moveTo>
                    <a:pt x="357" y="353"/>
                  </a:moveTo>
                  <a:lnTo>
                    <a:pt x="230" y="0"/>
                  </a:lnTo>
                  <a:lnTo>
                    <a:pt x="127" y="0"/>
                  </a:lnTo>
                  <a:lnTo>
                    <a:pt x="0" y="353"/>
                  </a:lnTo>
                  <a:lnTo>
                    <a:pt x="91" y="353"/>
                  </a:lnTo>
                  <a:lnTo>
                    <a:pt x="113" y="291"/>
                  </a:lnTo>
                  <a:lnTo>
                    <a:pt x="245" y="291"/>
                  </a:lnTo>
                  <a:lnTo>
                    <a:pt x="267" y="353"/>
                  </a:lnTo>
                  <a:lnTo>
                    <a:pt x="357" y="3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16" name="Freeform 9"/>
            <p:cNvSpPr>
              <a:spLocks noEditPoints="1"/>
            </p:cNvSpPr>
            <p:nvPr userDrawn="1"/>
          </p:nvSpPr>
          <p:spPr bwMode="auto">
            <a:xfrm>
              <a:off x="4686300" y="114301"/>
              <a:ext cx="858838" cy="560388"/>
            </a:xfrm>
            <a:custGeom>
              <a:avLst/>
              <a:gdLst>
                <a:gd name="T0" fmla="*/ 541 w 541"/>
                <a:gd name="T1" fmla="*/ 75 h 353"/>
                <a:gd name="T2" fmla="*/ 541 w 541"/>
                <a:gd name="T3" fmla="*/ 0 h 353"/>
                <a:gd name="T4" fmla="*/ 303 w 541"/>
                <a:gd name="T5" fmla="*/ 0 h 353"/>
                <a:gd name="T6" fmla="*/ 303 w 541"/>
                <a:gd name="T7" fmla="*/ 353 h 353"/>
                <a:gd name="T8" fmla="*/ 541 w 541"/>
                <a:gd name="T9" fmla="*/ 353 h 353"/>
                <a:gd name="T10" fmla="*/ 541 w 541"/>
                <a:gd name="T11" fmla="*/ 278 h 353"/>
                <a:gd name="T12" fmla="*/ 388 w 541"/>
                <a:gd name="T13" fmla="*/ 278 h 353"/>
                <a:gd name="T14" fmla="*/ 388 w 541"/>
                <a:gd name="T15" fmla="*/ 210 h 353"/>
                <a:gd name="T16" fmla="*/ 536 w 541"/>
                <a:gd name="T17" fmla="*/ 210 h 353"/>
                <a:gd name="T18" fmla="*/ 536 w 541"/>
                <a:gd name="T19" fmla="*/ 139 h 353"/>
                <a:gd name="T20" fmla="*/ 388 w 541"/>
                <a:gd name="T21" fmla="*/ 139 h 353"/>
                <a:gd name="T22" fmla="*/ 388 w 541"/>
                <a:gd name="T23" fmla="*/ 75 h 353"/>
                <a:gd name="T24" fmla="*/ 541 w 541"/>
                <a:gd name="T25" fmla="*/ 75 h 353"/>
                <a:gd name="T26" fmla="*/ 239 w 541"/>
                <a:gd name="T27" fmla="*/ 75 h 353"/>
                <a:gd name="T28" fmla="*/ 239 w 541"/>
                <a:gd name="T29" fmla="*/ 0 h 353"/>
                <a:gd name="T30" fmla="*/ 0 w 541"/>
                <a:gd name="T31" fmla="*/ 0 h 353"/>
                <a:gd name="T32" fmla="*/ 0 w 541"/>
                <a:gd name="T33" fmla="*/ 353 h 353"/>
                <a:gd name="T34" fmla="*/ 239 w 541"/>
                <a:gd name="T35" fmla="*/ 353 h 353"/>
                <a:gd name="T36" fmla="*/ 239 w 541"/>
                <a:gd name="T37" fmla="*/ 278 h 353"/>
                <a:gd name="T38" fmla="*/ 85 w 541"/>
                <a:gd name="T39" fmla="*/ 278 h 353"/>
                <a:gd name="T40" fmla="*/ 85 w 541"/>
                <a:gd name="T41" fmla="*/ 210 h 353"/>
                <a:gd name="T42" fmla="*/ 235 w 541"/>
                <a:gd name="T43" fmla="*/ 210 h 353"/>
                <a:gd name="T44" fmla="*/ 235 w 541"/>
                <a:gd name="T45" fmla="*/ 139 h 353"/>
                <a:gd name="T46" fmla="*/ 85 w 541"/>
                <a:gd name="T47" fmla="*/ 139 h 353"/>
                <a:gd name="T48" fmla="*/ 85 w 541"/>
                <a:gd name="T49" fmla="*/ 75 h 353"/>
                <a:gd name="T50" fmla="*/ 239 w 541"/>
                <a:gd name="T51" fmla="*/ 75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1" h="353">
                  <a:moveTo>
                    <a:pt x="541" y="75"/>
                  </a:moveTo>
                  <a:lnTo>
                    <a:pt x="541" y="0"/>
                  </a:lnTo>
                  <a:lnTo>
                    <a:pt x="303" y="0"/>
                  </a:lnTo>
                  <a:lnTo>
                    <a:pt x="303" y="353"/>
                  </a:lnTo>
                  <a:lnTo>
                    <a:pt x="541" y="353"/>
                  </a:lnTo>
                  <a:lnTo>
                    <a:pt x="541" y="278"/>
                  </a:lnTo>
                  <a:lnTo>
                    <a:pt x="388" y="278"/>
                  </a:lnTo>
                  <a:lnTo>
                    <a:pt x="388" y="210"/>
                  </a:lnTo>
                  <a:lnTo>
                    <a:pt x="536" y="210"/>
                  </a:lnTo>
                  <a:lnTo>
                    <a:pt x="536" y="139"/>
                  </a:lnTo>
                  <a:lnTo>
                    <a:pt x="388" y="139"/>
                  </a:lnTo>
                  <a:lnTo>
                    <a:pt x="388" y="75"/>
                  </a:lnTo>
                  <a:lnTo>
                    <a:pt x="541" y="75"/>
                  </a:lnTo>
                  <a:close/>
                  <a:moveTo>
                    <a:pt x="239" y="75"/>
                  </a:moveTo>
                  <a:lnTo>
                    <a:pt x="239" y="0"/>
                  </a:lnTo>
                  <a:lnTo>
                    <a:pt x="0" y="0"/>
                  </a:lnTo>
                  <a:lnTo>
                    <a:pt x="0" y="353"/>
                  </a:lnTo>
                  <a:lnTo>
                    <a:pt x="239" y="353"/>
                  </a:lnTo>
                  <a:lnTo>
                    <a:pt x="239" y="278"/>
                  </a:lnTo>
                  <a:lnTo>
                    <a:pt x="85" y="278"/>
                  </a:lnTo>
                  <a:lnTo>
                    <a:pt x="85" y="210"/>
                  </a:lnTo>
                  <a:lnTo>
                    <a:pt x="235" y="210"/>
                  </a:lnTo>
                  <a:lnTo>
                    <a:pt x="235" y="139"/>
                  </a:lnTo>
                  <a:lnTo>
                    <a:pt x="85" y="139"/>
                  </a:lnTo>
                  <a:lnTo>
                    <a:pt x="85" y="75"/>
                  </a:lnTo>
                  <a:lnTo>
                    <a:pt x="23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grpSp>
      <p:sp>
        <p:nvSpPr>
          <p:cNvPr id="7" name="Date Placeholder 6"/>
          <p:cNvSpPr>
            <a:spLocks noGrp="1"/>
          </p:cNvSpPr>
          <p:nvPr>
            <p:ph type="dt" sz="half" idx="10"/>
          </p:nvPr>
        </p:nvSpPr>
        <p:spPr/>
        <p:txBody>
          <a:bodyPr/>
          <a:lstStyle>
            <a:lvl1pPr>
              <a:defRPr>
                <a:solidFill>
                  <a:schemeClr val="bg1"/>
                </a:solidFill>
              </a:defRPr>
            </a:lvl1pPr>
          </a:lstStyle>
          <a:p>
            <a:fld id="{3CD59280-13FD-49DF-885F-8A3B48E3246F}" type="datetime1">
              <a:rPr lang="fi-FI" smtClean="0"/>
              <a:t>5.11.2023</a:t>
            </a:fld>
            <a:endParaRPr lang="en-US" dirty="0"/>
          </a:p>
        </p:txBody>
      </p:sp>
      <p:sp>
        <p:nvSpPr>
          <p:cNvPr id="8" name="Footer Placeholder 7"/>
          <p:cNvSpPr>
            <a:spLocks noGrp="1"/>
          </p:cNvSpPr>
          <p:nvPr>
            <p:ph type="ftr" sz="quarter" idx="11"/>
          </p:nvPr>
        </p:nvSpPr>
        <p:spPr/>
        <p:txBody>
          <a:bodyPr/>
          <a:lstStyle>
            <a:lvl1pPr>
              <a:defRPr>
                <a:solidFill>
                  <a:schemeClr val="bg1"/>
                </a:solidFill>
              </a:defRPr>
            </a:lvl1pPr>
          </a:lstStyle>
          <a:p>
            <a:r>
              <a:rPr lang="en-US"/>
              <a:t>© Aalto University Executive Education</a:t>
            </a:r>
            <a:endParaRPr lang="en-US" dirty="0"/>
          </a:p>
        </p:txBody>
      </p:sp>
      <p:sp>
        <p:nvSpPr>
          <p:cNvPr id="9" name="Slide Number Placeholder 8"/>
          <p:cNvSpPr>
            <a:spLocks noGrp="1"/>
          </p:cNvSpPr>
          <p:nvPr>
            <p:ph type="sldNum" sz="quarter" idx="12"/>
          </p:nvPr>
        </p:nvSpPr>
        <p:spPr/>
        <p:txBody>
          <a:bodyPr/>
          <a:lstStyle>
            <a:lvl1pPr>
              <a:defRPr>
                <a:solidFill>
                  <a:schemeClr val="bg1"/>
                </a:solidFill>
              </a:defRPr>
            </a:lvl1pPr>
          </a:lstStyle>
          <a:p>
            <a:fld id="{FCCA222D-FCF7-48C1-A274-EBDDEF75DC66}" type="slidenum">
              <a:rPr lang="en-US" smtClean="0"/>
              <a:pPr/>
              <a:t>‹#›</a:t>
            </a:fld>
            <a:endParaRPr lang="en-US" dirty="0"/>
          </a:p>
        </p:txBody>
      </p:sp>
    </p:spTree>
    <p:extLst>
      <p:ext uri="{BB962C8B-B14F-4D97-AF65-F5344CB8AC3E}">
        <p14:creationId xmlns:p14="http://schemas.microsoft.com/office/powerpoint/2010/main" val="1241884932"/>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obj" preserve="1">
  <p:cSld name="Introduction ORAN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573882"/>
            <a:ext cx="7487081" cy="602326"/>
          </a:xfrm>
          <a:solidFill>
            <a:srgbClr val="FF7900"/>
          </a:solidFill>
        </p:spPr>
        <p:txBody>
          <a:bodyPr/>
          <a:lstStyle>
            <a:lvl1pPr>
              <a:defRPr/>
            </a:lvl1pPr>
          </a:lstStyle>
          <a:p>
            <a:r>
              <a:rPr lang="en-US" dirty="0"/>
              <a:t>Click to add title</a:t>
            </a:r>
          </a:p>
        </p:txBody>
      </p:sp>
      <p:sp>
        <p:nvSpPr>
          <p:cNvPr id="3" name="Content Placeholder 2"/>
          <p:cNvSpPr>
            <a:spLocks noGrp="1"/>
          </p:cNvSpPr>
          <p:nvPr>
            <p:ph idx="1" hasCustomPrompt="1"/>
          </p:nvPr>
        </p:nvSpPr>
        <p:spPr>
          <a:xfrm>
            <a:off x="1" y="1869673"/>
            <a:ext cx="7487081" cy="2538022"/>
          </a:xfrm>
          <a:solidFill>
            <a:srgbClr val="FF7900"/>
          </a:solidFill>
        </p:spPr>
        <p:txBody>
          <a:bodyPr lIns="540000" tIns="324000" rIns="540000" bIns="324000"/>
          <a:lstStyle>
            <a:lvl1pPr marL="0" indent="0">
              <a:buFontTx/>
              <a:buNone/>
              <a:defRPr b="1">
                <a:solidFill>
                  <a:schemeClr val="bg1"/>
                </a:solidFill>
              </a:defRPr>
            </a:lvl1pPr>
            <a:lvl2pPr marL="199972" indent="-199972">
              <a:buFont typeface="Arial" pitchFamily="34" charset="0"/>
              <a:buChar char="•"/>
              <a:defRPr>
                <a:solidFill>
                  <a:schemeClr val="bg1"/>
                </a:solidFill>
              </a:defRPr>
            </a:lvl2pPr>
          </a:lstStyle>
          <a:p>
            <a:pPr lvl="0"/>
            <a:r>
              <a:rPr lang="en-US" dirty="0"/>
              <a:t>Click to add text</a:t>
            </a:r>
          </a:p>
          <a:p>
            <a:pPr lvl="1"/>
            <a:r>
              <a:rPr lang="en-US" dirty="0"/>
              <a:t>Second level</a:t>
            </a:r>
          </a:p>
        </p:txBody>
      </p:sp>
      <p:grpSp>
        <p:nvGrpSpPr>
          <p:cNvPr id="12" name="Group 11"/>
          <p:cNvGrpSpPr>
            <a:grpSpLocks noChangeAspect="1"/>
          </p:cNvGrpSpPr>
          <p:nvPr userDrawn="1"/>
        </p:nvGrpSpPr>
        <p:grpSpPr>
          <a:xfrm>
            <a:off x="7595548" y="249492"/>
            <a:ext cx="1294116" cy="199800"/>
            <a:chOff x="4067175" y="114301"/>
            <a:chExt cx="3630613" cy="560388"/>
          </a:xfrm>
          <a:solidFill>
            <a:schemeClr val="bg1"/>
          </a:solidFill>
        </p:grpSpPr>
        <p:sp>
          <p:nvSpPr>
            <p:cNvPr id="13" name="Freeform 6"/>
            <p:cNvSpPr>
              <a:spLocks noEditPoints="1"/>
            </p:cNvSpPr>
            <p:nvPr userDrawn="1"/>
          </p:nvSpPr>
          <p:spPr bwMode="auto">
            <a:xfrm>
              <a:off x="5749925" y="114301"/>
              <a:ext cx="1530350" cy="173038"/>
            </a:xfrm>
            <a:custGeom>
              <a:avLst/>
              <a:gdLst>
                <a:gd name="T0" fmla="*/ 922 w 964"/>
                <a:gd name="T1" fmla="*/ 84 h 109"/>
                <a:gd name="T2" fmla="*/ 918 w 964"/>
                <a:gd name="T3" fmla="*/ 109 h 109"/>
                <a:gd name="T4" fmla="*/ 944 w 964"/>
                <a:gd name="T5" fmla="*/ 25 h 109"/>
                <a:gd name="T6" fmla="*/ 860 w 964"/>
                <a:gd name="T7" fmla="*/ 68 h 109"/>
                <a:gd name="T8" fmla="*/ 890 w 964"/>
                <a:gd name="T9" fmla="*/ 89 h 109"/>
                <a:gd name="T10" fmla="*/ 890 w 964"/>
                <a:gd name="T11" fmla="*/ 39 h 109"/>
                <a:gd name="T12" fmla="*/ 819 w 964"/>
                <a:gd name="T13" fmla="*/ 89 h 109"/>
                <a:gd name="T14" fmla="*/ 793 w 964"/>
                <a:gd name="T15" fmla="*/ 26 h 109"/>
                <a:gd name="T16" fmla="*/ 753 w 964"/>
                <a:gd name="T17" fmla="*/ 33 h 109"/>
                <a:gd name="T18" fmla="*/ 757 w 964"/>
                <a:gd name="T19" fmla="*/ 58 h 109"/>
                <a:gd name="T20" fmla="*/ 788 w 964"/>
                <a:gd name="T21" fmla="*/ 72 h 109"/>
                <a:gd name="T22" fmla="*/ 767 w 964"/>
                <a:gd name="T23" fmla="*/ 70 h 109"/>
                <a:gd name="T24" fmla="*/ 772 w 964"/>
                <a:gd name="T25" fmla="*/ 90 h 109"/>
                <a:gd name="T26" fmla="*/ 806 w 964"/>
                <a:gd name="T27" fmla="*/ 73 h 109"/>
                <a:gd name="T28" fmla="*/ 788 w 964"/>
                <a:gd name="T29" fmla="*/ 49 h 109"/>
                <a:gd name="T30" fmla="*/ 777 w 964"/>
                <a:gd name="T31" fmla="*/ 37 h 109"/>
                <a:gd name="T32" fmla="*/ 700 w 964"/>
                <a:gd name="T33" fmla="*/ 89 h 109"/>
                <a:gd name="T34" fmla="*/ 729 w 964"/>
                <a:gd name="T35" fmla="*/ 42 h 109"/>
                <a:gd name="T36" fmla="*/ 723 w 964"/>
                <a:gd name="T37" fmla="*/ 27 h 109"/>
                <a:gd name="T38" fmla="*/ 643 w 964"/>
                <a:gd name="T39" fmla="*/ 42 h 109"/>
                <a:gd name="T40" fmla="*/ 666 w 964"/>
                <a:gd name="T41" fmla="*/ 44 h 109"/>
                <a:gd name="T42" fmla="*/ 682 w 964"/>
                <a:gd name="T43" fmla="*/ 38 h 109"/>
                <a:gd name="T44" fmla="*/ 647 w 964"/>
                <a:gd name="T45" fmla="*/ 24 h 109"/>
                <a:gd name="T46" fmla="*/ 623 w 964"/>
                <a:gd name="T47" fmla="*/ 46 h 109"/>
                <a:gd name="T48" fmla="*/ 641 w 964"/>
                <a:gd name="T49" fmla="*/ 88 h 109"/>
                <a:gd name="T50" fmla="*/ 679 w 964"/>
                <a:gd name="T51" fmla="*/ 82 h 109"/>
                <a:gd name="T52" fmla="*/ 656 w 964"/>
                <a:gd name="T53" fmla="*/ 76 h 109"/>
                <a:gd name="T54" fmla="*/ 687 w 964"/>
                <a:gd name="T55" fmla="*/ 62 h 109"/>
                <a:gd name="T56" fmla="*/ 575 w 964"/>
                <a:gd name="T57" fmla="*/ 89 h 109"/>
                <a:gd name="T58" fmla="*/ 521 w 964"/>
                <a:gd name="T59" fmla="*/ 89 h 109"/>
                <a:gd name="T60" fmla="*/ 467 w 964"/>
                <a:gd name="T61" fmla="*/ 42 h 109"/>
                <a:gd name="T62" fmla="*/ 483 w 964"/>
                <a:gd name="T63" fmla="*/ 44 h 109"/>
                <a:gd name="T64" fmla="*/ 497 w 964"/>
                <a:gd name="T65" fmla="*/ 29 h 109"/>
                <a:gd name="T66" fmla="*/ 463 w 964"/>
                <a:gd name="T67" fmla="*/ 25 h 109"/>
                <a:gd name="T68" fmla="*/ 398 w 964"/>
                <a:gd name="T69" fmla="*/ 73 h 109"/>
                <a:gd name="T70" fmla="*/ 376 w 964"/>
                <a:gd name="T71" fmla="*/ 63 h 109"/>
                <a:gd name="T72" fmla="*/ 364 w 964"/>
                <a:gd name="T73" fmla="*/ 81 h 109"/>
                <a:gd name="T74" fmla="*/ 406 w 964"/>
                <a:gd name="T75" fmla="*/ 89 h 109"/>
                <a:gd name="T76" fmla="*/ 427 w 964"/>
                <a:gd name="T77" fmla="*/ 60 h 109"/>
                <a:gd name="T78" fmla="*/ 292 w 964"/>
                <a:gd name="T79" fmla="*/ 49 h 109"/>
                <a:gd name="T80" fmla="*/ 284 w 964"/>
                <a:gd name="T81" fmla="*/ 74 h 109"/>
                <a:gd name="T82" fmla="*/ 263 w 964"/>
                <a:gd name="T83" fmla="*/ 61 h 109"/>
                <a:gd name="T84" fmla="*/ 274 w 964"/>
                <a:gd name="T85" fmla="*/ 38 h 109"/>
                <a:gd name="T86" fmla="*/ 247 w 964"/>
                <a:gd name="T87" fmla="*/ 40 h 109"/>
                <a:gd name="T88" fmla="*/ 249 w 964"/>
                <a:gd name="T89" fmla="*/ 76 h 109"/>
                <a:gd name="T90" fmla="*/ 291 w 964"/>
                <a:gd name="T91" fmla="*/ 88 h 109"/>
                <a:gd name="T92" fmla="*/ 311 w 964"/>
                <a:gd name="T93" fmla="*/ 57 h 109"/>
                <a:gd name="T94" fmla="*/ 291 w 964"/>
                <a:gd name="T95" fmla="*/ 26 h 109"/>
                <a:gd name="T96" fmla="*/ 196 w 964"/>
                <a:gd name="T97" fmla="*/ 26 h 109"/>
                <a:gd name="T98" fmla="*/ 214 w 964"/>
                <a:gd name="T99" fmla="*/ 88 h 109"/>
                <a:gd name="T100" fmla="*/ 224 w 964"/>
                <a:gd name="T101" fmla="*/ 70 h 109"/>
                <a:gd name="T102" fmla="*/ 184 w 964"/>
                <a:gd name="T103" fmla="*/ 0 h 109"/>
                <a:gd name="T104" fmla="*/ 108 w 964"/>
                <a:gd name="T105" fmla="*/ 71 h 109"/>
                <a:gd name="T106" fmla="*/ 110 w 964"/>
                <a:gd name="T107" fmla="*/ 45 h 109"/>
                <a:gd name="T108" fmla="*/ 130 w 964"/>
                <a:gd name="T109" fmla="*/ 41 h 109"/>
                <a:gd name="T110" fmla="*/ 103 w 964"/>
                <a:gd name="T111" fmla="*/ 52 h 109"/>
                <a:gd name="T112" fmla="*/ 91 w 964"/>
                <a:gd name="T113" fmla="*/ 79 h 109"/>
                <a:gd name="T114" fmla="*/ 123 w 964"/>
                <a:gd name="T115" fmla="*/ 89 h 109"/>
                <a:gd name="T116" fmla="*/ 149 w 964"/>
                <a:gd name="T117" fmla="*/ 42 h 109"/>
                <a:gd name="T118" fmla="*/ 115 w 964"/>
                <a:gd name="T119" fmla="*/ 23 h 109"/>
                <a:gd name="T120" fmla="*/ 93 w 964"/>
                <a:gd name="T121" fmla="*/ 45 h 109"/>
                <a:gd name="T122" fmla="*/ 56 w 964"/>
                <a:gd name="T1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4" h="109">
                  <a:moveTo>
                    <a:pt x="944" y="25"/>
                  </a:moveTo>
                  <a:lnTo>
                    <a:pt x="936" y="54"/>
                  </a:lnTo>
                  <a:lnTo>
                    <a:pt x="933" y="68"/>
                  </a:lnTo>
                  <a:lnTo>
                    <a:pt x="932" y="65"/>
                  </a:lnTo>
                  <a:lnTo>
                    <a:pt x="928" y="54"/>
                  </a:lnTo>
                  <a:lnTo>
                    <a:pt x="919" y="25"/>
                  </a:lnTo>
                  <a:lnTo>
                    <a:pt x="899" y="25"/>
                  </a:lnTo>
                  <a:lnTo>
                    <a:pt x="920" y="79"/>
                  </a:lnTo>
                  <a:lnTo>
                    <a:pt x="922" y="84"/>
                  </a:lnTo>
                  <a:lnTo>
                    <a:pt x="922" y="87"/>
                  </a:lnTo>
                  <a:lnTo>
                    <a:pt x="922" y="90"/>
                  </a:lnTo>
                  <a:lnTo>
                    <a:pt x="920" y="93"/>
                  </a:lnTo>
                  <a:lnTo>
                    <a:pt x="919" y="94"/>
                  </a:lnTo>
                  <a:lnTo>
                    <a:pt x="917" y="94"/>
                  </a:lnTo>
                  <a:lnTo>
                    <a:pt x="913" y="95"/>
                  </a:lnTo>
                  <a:lnTo>
                    <a:pt x="907" y="95"/>
                  </a:lnTo>
                  <a:lnTo>
                    <a:pt x="907" y="109"/>
                  </a:lnTo>
                  <a:lnTo>
                    <a:pt x="918" y="109"/>
                  </a:lnTo>
                  <a:lnTo>
                    <a:pt x="923" y="109"/>
                  </a:lnTo>
                  <a:lnTo>
                    <a:pt x="927" y="108"/>
                  </a:lnTo>
                  <a:lnTo>
                    <a:pt x="930" y="107"/>
                  </a:lnTo>
                  <a:lnTo>
                    <a:pt x="933" y="105"/>
                  </a:lnTo>
                  <a:lnTo>
                    <a:pt x="935" y="103"/>
                  </a:lnTo>
                  <a:lnTo>
                    <a:pt x="937" y="100"/>
                  </a:lnTo>
                  <a:lnTo>
                    <a:pt x="941" y="89"/>
                  </a:lnTo>
                  <a:lnTo>
                    <a:pt x="964" y="25"/>
                  </a:lnTo>
                  <a:lnTo>
                    <a:pt x="944" y="25"/>
                  </a:lnTo>
                  <a:close/>
                  <a:moveTo>
                    <a:pt x="890" y="26"/>
                  </a:moveTo>
                  <a:lnTo>
                    <a:pt x="879" y="26"/>
                  </a:lnTo>
                  <a:lnTo>
                    <a:pt x="879" y="5"/>
                  </a:lnTo>
                  <a:lnTo>
                    <a:pt x="860" y="5"/>
                  </a:lnTo>
                  <a:lnTo>
                    <a:pt x="860" y="26"/>
                  </a:lnTo>
                  <a:lnTo>
                    <a:pt x="851" y="26"/>
                  </a:lnTo>
                  <a:lnTo>
                    <a:pt x="851" y="39"/>
                  </a:lnTo>
                  <a:lnTo>
                    <a:pt x="860" y="39"/>
                  </a:lnTo>
                  <a:lnTo>
                    <a:pt x="860" y="68"/>
                  </a:lnTo>
                  <a:lnTo>
                    <a:pt x="860" y="74"/>
                  </a:lnTo>
                  <a:lnTo>
                    <a:pt x="861" y="79"/>
                  </a:lnTo>
                  <a:lnTo>
                    <a:pt x="862" y="82"/>
                  </a:lnTo>
                  <a:lnTo>
                    <a:pt x="863" y="84"/>
                  </a:lnTo>
                  <a:lnTo>
                    <a:pt x="866" y="86"/>
                  </a:lnTo>
                  <a:lnTo>
                    <a:pt x="869" y="88"/>
                  </a:lnTo>
                  <a:lnTo>
                    <a:pt x="873" y="88"/>
                  </a:lnTo>
                  <a:lnTo>
                    <a:pt x="879" y="89"/>
                  </a:lnTo>
                  <a:lnTo>
                    <a:pt x="890" y="89"/>
                  </a:lnTo>
                  <a:lnTo>
                    <a:pt x="890" y="75"/>
                  </a:lnTo>
                  <a:lnTo>
                    <a:pt x="883" y="75"/>
                  </a:lnTo>
                  <a:lnTo>
                    <a:pt x="881" y="74"/>
                  </a:lnTo>
                  <a:lnTo>
                    <a:pt x="880" y="74"/>
                  </a:lnTo>
                  <a:lnTo>
                    <a:pt x="879" y="73"/>
                  </a:lnTo>
                  <a:lnTo>
                    <a:pt x="879" y="70"/>
                  </a:lnTo>
                  <a:lnTo>
                    <a:pt x="879" y="64"/>
                  </a:lnTo>
                  <a:lnTo>
                    <a:pt x="879" y="39"/>
                  </a:lnTo>
                  <a:lnTo>
                    <a:pt x="890" y="39"/>
                  </a:lnTo>
                  <a:lnTo>
                    <a:pt x="890" y="26"/>
                  </a:lnTo>
                  <a:close/>
                  <a:moveTo>
                    <a:pt x="838" y="0"/>
                  </a:moveTo>
                  <a:lnTo>
                    <a:pt x="819" y="0"/>
                  </a:lnTo>
                  <a:lnTo>
                    <a:pt x="819" y="16"/>
                  </a:lnTo>
                  <a:lnTo>
                    <a:pt x="838" y="16"/>
                  </a:lnTo>
                  <a:lnTo>
                    <a:pt x="838" y="0"/>
                  </a:lnTo>
                  <a:close/>
                  <a:moveTo>
                    <a:pt x="838" y="25"/>
                  </a:moveTo>
                  <a:lnTo>
                    <a:pt x="819" y="25"/>
                  </a:lnTo>
                  <a:lnTo>
                    <a:pt x="819" y="89"/>
                  </a:lnTo>
                  <a:lnTo>
                    <a:pt x="838" y="89"/>
                  </a:lnTo>
                  <a:lnTo>
                    <a:pt x="838" y="25"/>
                  </a:lnTo>
                  <a:close/>
                  <a:moveTo>
                    <a:pt x="806" y="44"/>
                  </a:moveTo>
                  <a:lnTo>
                    <a:pt x="805" y="39"/>
                  </a:lnTo>
                  <a:lnTo>
                    <a:pt x="803" y="35"/>
                  </a:lnTo>
                  <a:lnTo>
                    <a:pt x="800" y="31"/>
                  </a:lnTo>
                  <a:lnTo>
                    <a:pt x="797" y="28"/>
                  </a:lnTo>
                  <a:lnTo>
                    <a:pt x="795" y="27"/>
                  </a:lnTo>
                  <a:lnTo>
                    <a:pt x="793" y="26"/>
                  </a:lnTo>
                  <a:lnTo>
                    <a:pt x="789" y="24"/>
                  </a:lnTo>
                  <a:lnTo>
                    <a:pt x="783" y="23"/>
                  </a:lnTo>
                  <a:lnTo>
                    <a:pt x="777" y="23"/>
                  </a:lnTo>
                  <a:lnTo>
                    <a:pt x="771" y="23"/>
                  </a:lnTo>
                  <a:lnTo>
                    <a:pt x="766" y="24"/>
                  </a:lnTo>
                  <a:lnTo>
                    <a:pt x="761" y="26"/>
                  </a:lnTo>
                  <a:lnTo>
                    <a:pt x="757" y="29"/>
                  </a:lnTo>
                  <a:lnTo>
                    <a:pt x="754" y="32"/>
                  </a:lnTo>
                  <a:lnTo>
                    <a:pt x="753" y="33"/>
                  </a:lnTo>
                  <a:lnTo>
                    <a:pt x="752" y="35"/>
                  </a:lnTo>
                  <a:lnTo>
                    <a:pt x="751" y="39"/>
                  </a:lnTo>
                  <a:lnTo>
                    <a:pt x="750" y="44"/>
                  </a:lnTo>
                  <a:lnTo>
                    <a:pt x="750" y="47"/>
                  </a:lnTo>
                  <a:lnTo>
                    <a:pt x="751" y="50"/>
                  </a:lnTo>
                  <a:lnTo>
                    <a:pt x="752" y="52"/>
                  </a:lnTo>
                  <a:lnTo>
                    <a:pt x="753" y="53"/>
                  </a:lnTo>
                  <a:lnTo>
                    <a:pt x="755" y="56"/>
                  </a:lnTo>
                  <a:lnTo>
                    <a:pt x="757" y="58"/>
                  </a:lnTo>
                  <a:lnTo>
                    <a:pt x="761" y="59"/>
                  </a:lnTo>
                  <a:lnTo>
                    <a:pt x="765" y="61"/>
                  </a:lnTo>
                  <a:lnTo>
                    <a:pt x="770" y="62"/>
                  </a:lnTo>
                  <a:lnTo>
                    <a:pt x="781" y="65"/>
                  </a:lnTo>
                  <a:lnTo>
                    <a:pt x="785" y="66"/>
                  </a:lnTo>
                  <a:lnTo>
                    <a:pt x="787" y="67"/>
                  </a:lnTo>
                  <a:lnTo>
                    <a:pt x="788" y="69"/>
                  </a:lnTo>
                  <a:lnTo>
                    <a:pt x="788" y="71"/>
                  </a:lnTo>
                  <a:lnTo>
                    <a:pt x="788" y="72"/>
                  </a:lnTo>
                  <a:lnTo>
                    <a:pt x="788" y="73"/>
                  </a:lnTo>
                  <a:lnTo>
                    <a:pt x="786" y="75"/>
                  </a:lnTo>
                  <a:lnTo>
                    <a:pt x="783" y="76"/>
                  </a:lnTo>
                  <a:lnTo>
                    <a:pt x="779" y="77"/>
                  </a:lnTo>
                  <a:lnTo>
                    <a:pt x="774" y="76"/>
                  </a:lnTo>
                  <a:lnTo>
                    <a:pt x="772" y="76"/>
                  </a:lnTo>
                  <a:lnTo>
                    <a:pt x="770" y="75"/>
                  </a:lnTo>
                  <a:lnTo>
                    <a:pt x="767" y="72"/>
                  </a:lnTo>
                  <a:lnTo>
                    <a:pt x="767" y="70"/>
                  </a:lnTo>
                  <a:lnTo>
                    <a:pt x="766" y="68"/>
                  </a:lnTo>
                  <a:lnTo>
                    <a:pt x="748" y="68"/>
                  </a:lnTo>
                  <a:lnTo>
                    <a:pt x="749" y="73"/>
                  </a:lnTo>
                  <a:lnTo>
                    <a:pt x="751" y="77"/>
                  </a:lnTo>
                  <a:lnTo>
                    <a:pt x="754" y="81"/>
                  </a:lnTo>
                  <a:lnTo>
                    <a:pt x="757" y="84"/>
                  </a:lnTo>
                  <a:lnTo>
                    <a:pt x="761" y="87"/>
                  </a:lnTo>
                  <a:lnTo>
                    <a:pt x="766" y="89"/>
                  </a:lnTo>
                  <a:lnTo>
                    <a:pt x="772" y="90"/>
                  </a:lnTo>
                  <a:lnTo>
                    <a:pt x="778" y="90"/>
                  </a:lnTo>
                  <a:lnTo>
                    <a:pt x="785" y="90"/>
                  </a:lnTo>
                  <a:lnTo>
                    <a:pt x="790" y="89"/>
                  </a:lnTo>
                  <a:lnTo>
                    <a:pt x="795" y="87"/>
                  </a:lnTo>
                  <a:lnTo>
                    <a:pt x="799" y="84"/>
                  </a:lnTo>
                  <a:lnTo>
                    <a:pt x="803" y="81"/>
                  </a:lnTo>
                  <a:lnTo>
                    <a:pt x="805" y="78"/>
                  </a:lnTo>
                  <a:lnTo>
                    <a:pt x="806" y="75"/>
                  </a:lnTo>
                  <a:lnTo>
                    <a:pt x="806" y="73"/>
                  </a:lnTo>
                  <a:lnTo>
                    <a:pt x="807" y="68"/>
                  </a:lnTo>
                  <a:lnTo>
                    <a:pt x="807" y="65"/>
                  </a:lnTo>
                  <a:lnTo>
                    <a:pt x="806" y="61"/>
                  </a:lnTo>
                  <a:lnTo>
                    <a:pt x="804" y="58"/>
                  </a:lnTo>
                  <a:lnTo>
                    <a:pt x="802" y="56"/>
                  </a:lnTo>
                  <a:lnTo>
                    <a:pt x="800" y="54"/>
                  </a:lnTo>
                  <a:lnTo>
                    <a:pt x="797" y="52"/>
                  </a:lnTo>
                  <a:lnTo>
                    <a:pt x="793" y="51"/>
                  </a:lnTo>
                  <a:lnTo>
                    <a:pt x="788" y="49"/>
                  </a:lnTo>
                  <a:lnTo>
                    <a:pt x="776" y="47"/>
                  </a:lnTo>
                  <a:lnTo>
                    <a:pt x="772" y="46"/>
                  </a:lnTo>
                  <a:lnTo>
                    <a:pt x="770" y="45"/>
                  </a:lnTo>
                  <a:lnTo>
                    <a:pt x="768" y="44"/>
                  </a:lnTo>
                  <a:lnTo>
                    <a:pt x="768" y="42"/>
                  </a:lnTo>
                  <a:lnTo>
                    <a:pt x="769" y="40"/>
                  </a:lnTo>
                  <a:lnTo>
                    <a:pt x="771" y="38"/>
                  </a:lnTo>
                  <a:lnTo>
                    <a:pt x="773" y="37"/>
                  </a:lnTo>
                  <a:lnTo>
                    <a:pt x="777" y="37"/>
                  </a:lnTo>
                  <a:lnTo>
                    <a:pt x="781" y="37"/>
                  </a:lnTo>
                  <a:lnTo>
                    <a:pt x="783" y="38"/>
                  </a:lnTo>
                  <a:lnTo>
                    <a:pt x="785" y="39"/>
                  </a:lnTo>
                  <a:lnTo>
                    <a:pt x="786" y="40"/>
                  </a:lnTo>
                  <a:lnTo>
                    <a:pt x="787" y="41"/>
                  </a:lnTo>
                  <a:lnTo>
                    <a:pt x="788" y="44"/>
                  </a:lnTo>
                  <a:lnTo>
                    <a:pt x="806" y="44"/>
                  </a:lnTo>
                  <a:close/>
                  <a:moveTo>
                    <a:pt x="700" y="25"/>
                  </a:moveTo>
                  <a:lnTo>
                    <a:pt x="700" y="89"/>
                  </a:lnTo>
                  <a:lnTo>
                    <a:pt x="719" y="89"/>
                  </a:lnTo>
                  <a:lnTo>
                    <a:pt x="719" y="71"/>
                  </a:lnTo>
                  <a:lnTo>
                    <a:pt x="719" y="56"/>
                  </a:lnTo>
                  <a:lnTo>
                    <a:pt x="720" y="52"/>
                  </a:lnTo>
                  <a:lnTo>
                    <a:pt x="721" y="48"/>
                  </a:lnTo>
                  <a:lnTo>
                    <a:pt x="722" y="46"/>
                  </a:lnTo>
                  <a:lnTo>
                    <a:pt x="724" y="45"/>
                  </a:lnTo>
                  <a:lnTo>
                    <a:pt x="727" y="42"/>
                  </a:lnTo>
                  <a:lnTo>
                    <a:pt x="729" y="42"/>
                  </a:lnTo>
                  <a:lnTo>
                    <a:pt x="731" y="41"/>
                  </a:lnTo>
                  <a:lnTo>
                    <a:pt x="735" y="40"/>
                  </a:lnTo>
                  <a:lnTo>
                    <a:pt x="740" y="41"/>
                  </a:lnTo>
                  <a:lnTo>
                    <a:pt x="740" y="23"/>
                  </a:lnTo>
                  <a:lnTo>
                    <a:pt x="735" y="23"/>
                  </a:lnTo>
                  <a:lnTo>
                    <a:pt x="731" y="24"/>
                  </a:lnTo>
                  <a:lnTo>
                    <a:pt x="728" y="24"/>
                  </a:lnTo>
                  <a:lnTo>
                    <a:pt x="725" y="26"/>
                  </a:lnTo>
                  <a:lnTo>
                    <a:pt x="723" y="27"/>
                  </a:lnTo>
                  <a:lnTo>
                    <a:pt x="721" y="30"/>
                  </a:lnTo>
                  <a:lnTo>
                    <a:pt x="719" y="33"/>
                  </a:lnTo>
                  <a:lnTo>
                    <a:pt x="718" y="36"/>
                  </a:lnTo>
                  <a:lnTo>
                    <a:pt x="718" y="25"/>
                  </a:lnTo>
                  <a:lnTo>
                    <a:pt x="700" y="25"/>
                  </a:lnTo>
                  <a:close/>
                  <a:moveTo>
                    <a:pt x="640" y="49"/>
                  </a:moveTo>
                  <a:lnTo>
                    <a:pt x="641" y="46"/>
                  </a:lnTo>
                  <a:lnTo>
                    <a:pt x="642" y="44"/>
                  </a:lnTo>
                  <a:lnTo>
                    <a:pt x="643" y="42"/>
                  </a:lnTo>
                  <a:lnTo>
                    <a:pt x="645" y="40"/>
                  </a:lnTo>
                  <a:lnTo>
                    <a:pt x="647" y="39"/>
                  </a:lnTo>
                  <a:lnTo>
                    <a:pt x="649" y="38"/>
                  </a:lnTo>
                  <a:lnTo>
                    <a:pt x="655" y="37"/>
                  </a:lnTo>
                  <a:lnTo>
                    <a:pt x="660" y="38"/>
                  </a:lnTo>
                  <a:lnTo>
                    <a:pt x="662" y="39"/>
                  </a:lnTo>
                  <a:lnTo>
                    <a:pt x="663" y="40"/>
                  </a:lnTo>
                  <a:lnTo>
                    <a:pt x="665" y="42"/>
                  </a:lnTo>
                  <a:lnTo>
                    <a:pt x="666" y="44"/>
                  </a:lnTo>
                  <a:lnTo>
                    <a:pt x="667" y="46"/>
                  </a:lnTo>
                  <a:lnTo>
                    <a:pt x="667" y="49"/>
                  </a:lnTo>
                  <a:lnTo>
                    <a:pt x="640" y="49"/>
                  </a:lnTo>
                  <a:close/>
                  <a:moveTo>
                    <a:pt x="687" y="62"/>
                  </a:moveTo>
                  <a:lnTo>
                    <a:pt x="686" y="56"/>
                  </a:lnTo>
                  <a:lnTo>
                    <a:pt x="686" y="51"/>
                  </a:lnTo>
                  <a:lnTo>
                    <a:pt x="685" y="47"/>
                  </a:lnTo>
                  <a:lnTo>
                    <a:pt x="684" y="43"/>
                  </a:lnTo>
                  <a:lnTo>
                    <a:pt x="682" y="38"/>
                  </a:lnTo>
                  <a:lnTo>
                    <a:pt x="679" y="34"/>
                  </a:lnTo>
                  <a:lnTo>
                    <a:pt x="676" y="31"/>
                  </a:lnTo>
                  <a:lnTo>
                    <a:pt x="673" y="28"/>
                  </a:lnTo>
                  <a:lnTo>
                    <a:pt x="669" y="26"/>
                  </a:lnTo>
                  <a:lnTo>
                    <a:pt x="667" y="25"/>
                  </a:lnTo>
                  <a:lnTo>
                    <a:pt x="665" y="24"/>
                  </a:lnTo>
                  <a:lnTo>
                    <a:pt x="660" y="23"/>
                  </a:lnTo>
                  <a:lnTo>
                    <a:pt x="655" y="23"/>
                  </a:lnTo>
                  <a:lnTo>
                    <a:pt x="647" y="24"/>
                  </a:lnTo>
                  <a:lnTo>
                    <a:pt x="641" y="26"/>
                  </a:lnTo>
                  <a:lnTo>
                    <a:pt x="638" y="27"/>
                  </a:lnTo>
                  <a:lnTo>
                    <a:pt x="635" y="29"/>
                  </a:lnTo>
                  <a:lnTo>
                    <a:pt x="630" y="32"/>
                  </a:lnTo>
                  <a:lnTo>
                    <a:pt x="628" y="35"/>
                  </a:lnTo>
                  <a:lnTo>
                    <a:pt x="627" y="37"/>
                  </a:lnTo>
                  <a:lnTo>
                    <a:pt x="625" y="40"/>
                  </a:lnTo>
                  <a:lnTo>
                    <a:pt x="624" y="43"/>
                  </a:lnTo>
                  <a:lnTo>
                    <a:pt x="623" y="46"/>
                  </a:lnTo>
                  <a:lnTo>
                    <a:pt x="622" y="50"/>
                  </a:lnTo>
                  <a:lnTo>
                    <a:pt x="621" y="53"/>
                  </a:lnTo>
                  <a:lnTo>
                    <a:pt x="621" y="57"/>
                  </a:lnTo>
                  <a:lnTo>
                    <a:pt x="622" y="64"/>
                  </a:lnTo>
                  <a:lnTo>
                    <a:pt x="624" y="71"/>
                  </a:lnTo>
                  <a:lnTo>
                    <a:pt x="626" y="76"/>
                  </a:lnTo>
                  <a:lnTo>
                    <a:pt x="630" y="81"/>
                  </a:lnTo>
                  <a:lnTo>
                    <a:pt x="635" y="85"/>
                  </a:lnTo>
                  <a:lnTo>
                    <a:pt x="641" y="88"/>
                  </a:lnTo>
                  <a:lnTo>
                    <a:pt x="644" y="89"/>
                  </a:lnTo>
                  <a:lnTo>
                    <a:pt x="647" y="90"/>
                  </a:lnTo>
                  <a:lnTo>
                    <a:pt x="650" y="90"/>
                  </a:lnTo>
                  <a:lnTo>
                    <a:pt x="655" y="90"/>
                  </a:lnTo>
                  <a:lnTo>
                    <a:pt x="661" y="90"/>
                  </a:lnTo>
                  <a:lnTo>
                    <a:pt x="666" y="89"/>
                  </a:lnTo>
                  <a:lnTo>
                    <a:pt x="671" y="87"/>
                  </a:lnTo>
                  <a:lnTo>
                    <a:pt x="675" y="85"/>
                  </a:lnTo>
                  <a:lnTo>
                    <a:pt x="679" y="82"/>
                  </a:lnTo>
                  <a:lnTo>
                    <a:pt x="680" y="80"/>
                  </a:lnTo>
                  <a:lnTo>
                    <a:pt x="682" y="78"/>
                  </a:lnTo>
                  <a:lnTo>
                    <a:pt x="684" y="74"/>
                  </a:lnTo>
                  <a:lnTo>
                    <a:pt x="686" y="70"/>
                  </a:lnTo>
                  <a:lnTo>
                    <a:pt x="667" y="70"/>
                  </a:lnTo>
                  <a:lnTo>
                    <a:pt x="665" y="73"/>
                  </a:lnTo>
                  <a:lnTo>
                    <a:pt x="662" y="74"/>
                  </a:lnTo>
                  <a:lnTo>
                    <a:pt x="659" y="75"/>
                  </a:lnTo>
                  <a:lnTo>
                    <a:pt x="656" y="76"/>
                  </a:lnTo>
                  <a:lnTo>
                    <a:pt x="653" y="76"/>
                  </a:lnTo>
                  <a:lnTo>
                    <a:pt x="649" y="75"/>
                  </a:lnTo>
                  <a:lnTo>
                    <a:pt x="647" y="74"/>
                  </a:lnTo>
                  <a:lnTo>
                    <a:pt x="645" y="72"/>
                  </a:lnTo>
                  <a:lnTo>
                    <a:pt x="643" y="70"/>
                  </a:lnTo>
                  <a:lnTo>
                    <a:pt x="642" y="68"/>
                  </a:lnTo>
                  <a:lnTo>
                    <a:pt x="641" y="65"/>
                  </a:lnTo>
                  <a:lnTo>
                    <a:pt x="640" y="62"/>
                  </a:lnTo>
                  <a:lnTo>
                    <a:pt x="687" y="62"/>
                  </a:lnTo>
                  <a:close/>
                  <a:moveTo>
                    <a:pt x="593" y="89"/>
                  </a:moveTo>
                  <a:lnTo>
                    <a:pt x="614" y="25"/>
                  </a:lnTo>
                  <a:lnTo>
                    <a:pt x="594" y="25"/>
                  </a:lnTo>
                  <a:lnTo>
                    <a:pt x="588" y="49"/>
                  </a:lnTo>
                  <a:lnTo>
                    <a:pt x="584" y="68"/>
                  </a:lnTo>
                  <a:lnTo>
                    <a:pt x="579" y="49"/>
                  </a:lnTo>
                  <a:lnTo>
                    <a:pt x="571" y="25"/>
                  </a:lnTo>
                  <a:lnTo>
                    <a:pt x="552" y="25"/>
                  </a:lnTo>
                  <a:lnTo>
                    <a:pt x="575" y="89"/>
                  </a:lnTo>
                  <a:lnTo>
                    <a:pt x="593" y="89"/>
                  </a:lnTo>
                  <a:close/>
                  <a:moveTo>
                    <a:pt x="540" y="0"/>
                  </a:moveTo>
                  <a:lnTo>
                    <a:pt x="521" y="0"/>
                  </a:lnTo>
                  <a:lnTo>
                    <a:pt x="521" y="16"/>
                  </a:lnTo>
                  <a:lnTo>
                    <a:pt x="540" y="16"/>
                  </a:lnTo>
                  <a:lnTo>
                    <a:pt x="540" y="0"/>
                  </a:lnTo>
                  <a:close/>
                  <a:moveTo>
                    <a:pt x="540" y="25"/>
                  </a:moveTo>
                  <a:lnTo>
                    <a:pt x="521" y="25"/>
                  </a:lnTo>
                  <a:lnTo>
                    <a:pt x="521" y="89"/>
                  </a:lnTo>
                  <a:lnTo>
                    <a:pt x="540" y="89"/>
                  </a:lnTo>
                  <a:lnTo>
                    <a:pt x="540" y="25"/>
                  </a:lnTo>
                  <a:close/>
                  <a:moveTo>
                    <a:pt x="445" y="25"/>
                  </a:moveTo>
                  <a:lnTo>
                    <a:pt x="445" y="89"/>
                  </a:lnTo>
                  <a:lnTo>
                    <a:pt x="464" y="89"/>
                  </a:lnTo>
                  <a:lnTo>
                    <a:pt x="464" y="53"/>
                  </a:lnTo>
                  <a:lnTo>
                    <a:pt x="465" y="46"/>
                  </a:lnTo>
                  <a:lnTo>
                    <a:pt x="465" y="44"/>
                  </a:lnTo>
                  <a:lnTo>
                    <a:pt x="467" y="42"/>
                  </a:lnTo>
                  <a:lnTo>
                    <a:pt x="468" y="41"/>
                  </a:lnTo>
                  <a:lnTo>
                    <a:pt x="470" y="40"/>
                  </a:lnTo>
                  <a:lnTo>
                    <a:pt x="472" y="39"/>
                  </a:lnTo>
                  <a:lnTo>
                    <a:pt x="475" y="39"/>
                  </a:lnTo>
                  <a:lnTo>
                    <a:pt x="477" y="39"/>
                  </a:lnTo>
                  <a:lnTo>
                    <a:pt x="479" y="40"/>
                  </a:lnTo>
                  <a:lnTo>
                    <a:pt x="481" y="41"/>
                  </a:lnTo>
                  <a:lnTo>
                    <a:pt x="482" y="43"/>
                  </a:lnTo>
                  <a:lnTo>
                    <a:pt x="483" y="44"/>
                  </a:lnTo>
                  <a:lnTo>
                    <a:pt x="484" y="47"/>
                  </a:lnTo>
                  <a:lnTo>
                    <a:pt x="484" y="54"/>
                  </a:lnTo>
                  <a:lnTo>
                    <a:pt x="484" y="89"/>
                  </a:lnTo>
                  <a:lnTo>
                    <a:pt x="503" y="89"/>
                  </a:lnTo>
                  <a:lnTo>
                    <a:pt x="503" y="47"/>
                  </a:lnTo>
                  <a:lnTo>
                    <a:pt x="503" y="42"/>
                  </a:lnTo>
                  <a:lnTo>
                    <a:pt x="502" y="37"/>
                  </a:lnTo>
                  <a:lnTo>
                    <a:pt x="500" y="33"/>
                  </a:lnTo>
                  <a:lnTo>
                    <a:pt x="497" y="29"/>
                  </a:lnTo>
                  <a:lnTo>
                    <a:pt x="494" y="27"/>
                  </a:lnTo>
                  <a:lnTo>
                    <a:pt x="490" y="25"/>
                  </a:lnTo>
                  <a:lnTo>
                    <a:pt x="486" y="23"/>
                  </a:lnTo>
                  <a:lnTo>
                    <a:pt x="481" y="23"/>
                  </a:lnTo>
                  <a:lnTo>
                    <a:pt x="476" y="23"/>
                  </a:lnTo>
                  <a:lnTo>
                    <a:pt x="472" y="25"/>
                  </a:lnTo>
                  <a:lnTo>
                    <a:pt x="468" y="27"/>
                  </a:lnTo>
                  <a:lnTo>
                    <a:pt x="463" y="31"/>
                  </a:lnTo>
                  <a:lnTo>
                    <a:pt x="463" y="25"/>
                  </a:lnTo>
                  <a:lnTo>
                    <a:pt x="445" y="25"/>
                  </a:lnTo>
                  <a:close/>
                  <a:moveTo>
                    <a:pt x="407" y="0"/>
                  </a:moveTo>
                  <a:lnTo>
                    <a:pt x="407" y="59"/>
                  </a:lnTo>
                  <a:lnTo>
                    <a:pt x="407" y="63"/>
                  </a:lnTo>
                  <a:lnTo>
                    <a:pt x="406" y="66"/>
                  </a:lnTo>
                  <a:lnTo>
                    <a:pt x="405" y="68"/>
                  </a:lnTo>
                  <a:lnTo>
                    <a:pt x="404" y="70"/>
                  </a:lnTo>
                  <a:lnTo>
                    <a:pt x="401" y="72"/>
                  </a:lnTo>
                  <a:lnTo>
                    <a:pt x="398" y="73"/>
                  </a:lnTo>
                  <a:lnTo>
                    <a:pt x="395" y="74"/>
                  </a:lnTo>
                  <a:lnTo>
                    <a:pt x="392" y="74"/>
                  </a:lnTo>
                  <a:lnTo>
                    <a:pt x="388" y="74"/>
                  </a:lnTo>
                  <a:lnTo>
                    <a:pt x="385" y="73"/>
                  </a:lnTo>
                  <a:lnTo>
                    <a:pt x="382" y="72"/>
                  </a:lnTo>
                  <a:lnTo>
                    <a:pt x="380" y="70"/>
                  </a:lnTo>
                  <a:lnTo>
                    <a:pt x="378" y="68"/>
                  </a:lnTo>
                  <a:lnTo>
                    <a:pt x="377" y="66"/>
                  </a:lnTo>
                  <a:lnTo>
                    <a:pt x="376" y="63"/>
                  </a:lnTo>
                  <a:lnTo>
                    <a:pt x="376" y="59"/>
                  </a:lnTo>
                  <a:lnTo>
                    <a:pt x="376" y="0"/>
                  </a:lnTo>
                  <a:lnTo>
                    <a:pt x="356" y="0"/>
                  </a:lnTo>
                  <a:lnTo>
                    <a:pt x="356" y="60"/>
                  </a:lnTo>
                  <a:lnTo>
                    <a:pt x="357" y="68"/>
                  </a:lnTo>
                  <a:lnTo>
                    <a:pt x="359" y="74"/>
                  </a:lnTo>
                  <a:lnTo>
                    <a:pt x="360" y="77"/>
                  </a:lnTo>
                  <a:lnTo>
                    <a:pt x="362" y="79"/>
                  </a:lnTo>
                  <a:lnTo>
                    <a:pt x="364" y="81"/>
                  </a:lnTo>
                  <a:lnTo>
                    <a:pt x="366" y="83"/>
                  </a:lnTo>
                  <a:lnTo>
                    <a:pt x="371" y="86"/>
                  </a:lnTo>
                  <a:lnTo>
                    <a:pt x="374" y="88"/>
                  </a:lnTo>
                  <a:lnTo>
                    <a:pt x="378" y="89"/>
                  </a:lnTo>
                  <a:lnTo>
                    <a:pt x="384" y="90"/>
                  </a:lnTo>
                  <a:lnTo>
                    <a:pt x="392" y="91"/>
                  </a:lnTo>
                  <a:lnTo>
                    <a:pt x="399" y="90"/>
                  </a:lnTo>
                  <a:lnTo>
                    <a:pt x="403" y="90"/>
                  </a:lnTo>
                  <a:lnTo>
                    <a:pt x="406" y="89"/>
                  </a:lnTo>
                  <a:lnTo>
                    <a:pt x="412" y="86"/>
                  </a:lnTo>
                  <a:lnTo>
                    <a:pt x="418" y="83"/>
                  </a:lnTo>
                  <a:lnTo>
                    <a:pt x="420" y="81"/>
                  </a:lnTo>
                  <a:lnTo>
                    <a:pt x="422" y="79"/>
                  </a:lnTo>
                  <a:lnTo>
                    <a:pt x="424" y="77"/>
                  </a:lnTo>
                  <a:lnTo>
                    <a:pt x="425" y="74"/>
                  </a:lnTo>
                  <a:lnTo>
                    <a:pt x="427" y="68"/>
                  </a:lnTo>
                  <a:lnTo>
                    <a:pt x="427" y="64"/>
                  </a:lnTo>
                  <a:lnTo>
                    <a:pt x="427" y="60"/>
                  </a:lnTo>
                  <a:lnTo>
                    <a:pt x="427" y="0"/>
                  </a:lnTo>
                  <a:lnTo>
                    <a:pt x="407" y="0"/>
                  </a:lnTo>
                  <a:close/>
                  <a:moveTo>
                    <a:pt x="277" y="38"/>
                  </a:moveTo>
                  <a:lnTo>
                    <a:pt x="281" y="38"/>
                  </a:lnTo>
                  <a:lnTo>
                    <a:pt x="284" y="39"/>
                  </a:lnTo>
                  <a:lnTo>
                    <a:pt x="286" y="41"/>
                  </a:lnTo>
                  <a:lnTo>
                    <a:pt x="289" y="43"/>
                  </a:lnTo>
                  <a:lnTo>
                    <a:pt x="290" y="46"/>
                  </a:lnTo>
                  <a:lnTo>
                    <a:pt x="292" y="49"/>
                  </a:lnTo>
                  <a:lnTo>
                    <a:pt x="292" y="53"/>
                  </a:lnTo>
                  <a:lnTo>
                    <a:pt x="293" y="57"/>
                  </a:lnTo>
                  <a:lnTo>
                    <a:pt x="292" y="61"/>
                  </a:lnTo>
                  <a:lnTo>
                    <a:pt x="292" y="65"/>
                  </a:lnTo>
                  <a:lnTo>
                    <a:pt x="290" y="68"/>
                  </a:lnTo>
                  <a:lnTo>
                    <a:pt x="289" y="71"/>
                  </a:lnTo>
                  <a:lnTo>
                    <a:pt x="288" y="72"/>
                  </a:lnTo>
                  <a:lnTo>
                    <a:pt x="286" y="73"/>
                  </a:lnTo>
                  <a:lnTo>
                    <a:pt x="284" y="74"/>
                  </a:lnTo>
                  <a:lnTo>
                    <a:pt x="281" y="75"/>
                  </a:lnTo>
                  <a:lnTo>
                    <a:pt x="277" y="75"/>
                  </a:lnTo>
                  <a:lnTo>
                    <a:pt x="274" y="75"/>
                  </a:lnTo>
                  <a:lnTo>
                    <a:pt x="271" y="74"/>
                  </a:lnTo>
                  <a:lnTo>
                    <a:pt x="269" y="73"/>
                  </a:lnTo>
                  <a:lnTo>
                    <a:pt x="266" y="71"/>
                  </a:lnTo>
                  <a:lnTo>
                    <a:pt x="265" y="68"/>
                  </a:lnTo>
                  <a:lnTo>
                    <a:pt x="264" y="65"/>
                  </a:lnTo>
                  <a:lnTo>
                    <a:pt x="263" y="61"/>
                  </a:lnTo>
                  <a:lnTo>
                    <a:pt x="263" y="57"/>
                  </a:lnTo>
                  <a:lnTo>
                    <a:pt x="263" y="52"/>
                  </a:lnTo>
                  <a:lnTo>
                    <a:pt x="264" y="49"/>
                  </a:lnTo>
                  <a:lnTo>
                    <a:pt x="265" y="46"/>
                  </a:lnTo>
                  <a:lnTo>
                    <a:pt x="266" y="43"/>
                  </a:lnTo>
                  <a:lnTo>
                    <a:pt x="267" y="42"/>
                  </a:lnTo>
                  <a:lnTo>
                    <a:pt x="269" y="41"/>
                  </a:lnTo>
                  <a:lnTo>
                    <a:pt x="271" y="39"/>
                  </a:lnTo>
                  <a:lnTo>
                    <a:pt x="274" y="38"/>
                  </a:lnTo>
                  <a:lnTo>
                    <a:pt x="277" y="38"/>
                  </a:lnTo>
                  <a:close/>
                  <a:moveTo>
                    <a:pt x="277" y="23"/>
                  </a:moveTo>
                  <a:lnTo>
                    <a:pt x="270" y="24"/>
                  </a:lnTo>
                  <a:lnTo>
                    <a:pt x="264" y="26"/>
                  </a:lnTo>
                  <a:lnTo>
                    <a:pt x="261" y="27"/>
                  </a:lnTo>
                  <a:lnTo>
                    <a:pt x="258" y="29"/>
                  </a:lnTo>
                  <a:lnTo>
                    <a:pt x="253" y="33"/>
                  </a:lnTo>
                  <a:lnTo>
                    <a:pt x="249" y="37"/>
                  </a:lnTo>
                  <a:lnTo>
                    <a:pt x="247" y="40"/>
                  </a:lnTo>
                  <a:lnTo>
                    <a:pt x="246" y="43"/>
                  </a:lnTo>
                  <a:lnTo>
                    <a:pt x="245" y="46"/>
                  </a:lnTo>
                  <a:lnTo>
                    <a:pt x="244" y="50"/>
                  </a:lnTo>
                  <a:lnTo>
                    <a:pt x="244" y="53"/>
                  </a:lnTo>
                  <a:lnTo>
                    <a:pt x="244" y="57"/>
                  </a:lnTo>
                  <a:lnTo>
                    <a:pt x="244" y="64"/>
                  </a:lnTo>
                  <a:lnTo>
                    <a:pt x="246" y="70"/>
                  </a:lnTo>
                  <a:lnTo>
                    <a:pt x="247" y="73"/>
                  </a:lnTo>
                  <a:lnTo>
                    <a:pt x="249" y="76"/>
                  </a:lnTo>
                  <a:lnTo>
                    <a:pt x="253" y="81"/>
                  </a:lnTo>
                  <a:lnTo>
                    <a:pt x="258" y="85"/>
                  </a:lnTo>
                  <a:lnTo>
                    <a:pt x="261" y="87"/>
                  </a:lnTo>
                  <a:lnTo>
                    <a:pt x="264" y="88"/>
                  </a:lnTo>
                  <a:lnTo>
                    <a:pt x="267" y="89"/>
                  </a:lnTo>
                  <a:lnTo>
                    <a:pt x="270" y="90"/>
                  </a:lnTo>
                  <a:lnTo>
                    <a:pt x="277" y="90"/>
                  </a:lnTo>
                  <a:lnTo>
                    <a:pt x="285" y="90"/>
                  </a:lnTo>
                  <a:lnTo>
                    <a:pt x="291" y="88"/>
                  </a:lnTo>
                  <a:lnTo>
                    <a:pt x="294" y="87"/>
                  </a:lnTo>
                  <a:lnTo>
                    <a:pt x="297" y="85"/>
                  </a:lnTo>
                  <a:lnTo>
                    <a:pt x="302" y="81"/>
                  </a:lnTo>
                  <a:lnTo>
                    <a:pt x="306" y="76"/>
                  </a:lnTo>
                  <a:lnTo>
                    <a:pt x="308" y="73"/>
                  </a:lnTo>
                  <a:lnTo>
                    <a:pt x="309" y="71"/>
                  </a:lnTo>
                  <a:lnTo>
                    <a:pt x="311" y="64"/>
                  </a:lnTo>
                  <a:lnTo>
                    <a:pt x="311" y="61"/>
                  </a:lnTo>
                  <a:lnTo>
                    <a:pt x="311" y="57"/>
                  </a:lnTo>
                  <a:lnTo>
                    <a:pt x="311" y="53"/>
                  </a:lnTo>
                  <a:lnTo>
                    <a:pt x="311" y="50"/>
                  </a:lnTo>
                  <a:lnTo>
                    <a:pt x="309" y="43"/>
                  </a:lnTo>
                  <a:lnTo>
                    <a:pt x="308" y="40"/>
                  </a:lnTo>
                  <a:lnTo>
                    <a:pt x="306" y="37"/>
                  </a:lnTo>
                  <a:lnTo>
                    <a:pt x="302" y="33"/>
                  </a:lnTo>
                  <a:lnTo>
                    <a:pt x="297" y="29"/>
                  </a:lnTo>
                  <a:lnTo>
                    <a:pt x="294" y="27"/>
                  </a:lnTo>
                  <a:lnTo>
                    <a:pt x="291" y="26"/>
                  </a:lnTo>
                  <a:lnTo>
                    <a:pt x="288" y="24"/>
                  </a:lnTo>
                  <a:lnTo>
                    <a:pt x="285" y="24"/>
                  </a:lnTo>
                  <a:lnTo>
                    <a:pt x="277" y="23"/>
                  </a:lnTo>
                  <a:close/>
                  <a:moveTo>
                    <a:pt x="235" y="26"/>
                  </a:moveTo>
                  <a:lnTo>
                    <a:pt x="224" y="26"/>
                  </a:lnTo>
                  <a:lnTo>
                    <a:pt x="224" y="5"/>
                  </a:lnTo>
                  <a:lnTo>
                    <a:pt x="205" y="5"/>
                  </a:lnTo>
                  <a:lnTo>
                    <a:pt x="205" y="26"/>
                  </a:lnTo>
                  <a:lnTo>
                    <a:pt x="196" y="26"/>
                  </a:lnTo>
                  <a:lnTo>
                    <a:pt x="196" y="39"/>
                  </a:lnTo>
                  <a:lnTo>
                    <a:pt x="205" y="39"/>
                  </a:lnTo>
                  <a:lnTo>
                    <a:pt x="205" y="68"/>
                  </a:lnTo>
                  <a:lnTo>
                    <a:pt x="205" y="74"/>
                  </a:lnTo>
                  <a:lnTo>
                    <a:pt x="206" y="79"/>
                  </a:lnTo>
                  <a:lnTo>
                    <a:pt x="207" y="82"/>
                  </a:lnTo>
                  <a:lnTo>
                    <a:pt x="209" y="84"/>
                  </a:lnTo>
                  <a:lnTo>
                    <a:pt x="211" y="86"/>
                  </a:lnTo>
                  <a:lnTo>
                    <a:pt x="214" y="88"/>
                  </a:lnTo>
                  <a:lnTo>
                    <a:pt x="218" y="88"/>
                  </a:lnTo>
                  <a:lnTo>
                    <a:pt x="224" y="89"/>
                  </a:lnTo>
                  <a:lnTo>
                    <a:pt x="235" y="89"/>
                  </a:lnTo>
                  <a:lnTo>
                    <a:pt x="235" y="75"/>
                  </a:lnTo>
                  <a:lnTo>
                    <a:pt x="228" y="75"/>
                  </a:lnTo>
                  <a:lnTo>
                    <a:pt x="226" y="74"/>
                  </a:lnTo>
                  <a:lnTo>
                    <a:pt x="225" y="74"/>
                  </a:lnTo>
                  <a:lnTo>
                    <a:pt x="224" y="73"/>
                  </a:lnTo>
                  <a:lnTo>
                    <a:pt x="224" y="70"/>
                  </a:lnTo>
                  <a:lnTo>
                    <a:pt x="224" y="64"/>
                  </a:lnTo>
                  <a:lnTo>
                    <a:pt x="224" y="39"/>
                  </a:lnTo>
                  <a:lnTo>
                    <a:pt x="235" y="39"/>
                  </a:lnTo>
                  <a:lnTo>
                    <a:pt x="235" y="26"/>
                  </a:lnTo>
                  <a:close/>
                  <a:moveTo>
                    <a:pt x="184" y="0"/>
                  </a:moveTo>
                  <a:lnTo>
                    <a:pt x="166" y="0"/>
                  </a:lnTo>
                  <a:lnTo>
                    <a:pt x="166" y="89"/>
                  </a:lnTo>
                  <a:lnTo>
                    <a:pt x="184" y="89"/>
                  </a:lnTo>
                  <a:lnTo>
                    <a:pt x="184" y="0"/>
                  </a:lnTo>
                  <a:close/>
                  <a:moveTo>
                    <a:pt x="131" y="68"/>
                  </a:moveTo>
                  <a:lnTo>
                    <a:pt x="129" y="72"/>
                  </a:lnTo>
                  <a:lnTo>
                    <a:pt x="126" y="74"/>
                  </a:lnTo>
                  <a:lnTo>
                    <a:pt x="122" y="76"/>
                  </a:lnTo>
                  <a:lnTo>
                    <a:pt x="117" y="76"/>
                  </a:lnTo>
                  <a:lnTo>
                    <a:pt x="114" y="76"/>
                  </a:lnTo>
                  <a:lnTo>
                    <a:pt x="111" y="74"/>
                  </a:lnTo>
                  <a:lnTo>
                    <a:pt x="109" y="72"/>
                  </a:lnTo>
                  <a:lnTo>
                    <a:pt x="108" y="71"/>
                  </a:lnTo>
                  <a:lnTo>
                    <a:pt x="108" y="69"/>
                  </a:lnTo>
                  <a:lnTo>
                    <a:pt x="109" y="67"/>
                  </a:lnTo>
                  <a:lnTo>
                    <a:pt x="110" y="65"/>
                  </a:lnTo>
                  <a:lnTo>
                    <a:pt x="113" y="63"/>
                  </a:lnTo>
                  <a:lnTo>
                    <a:pt x="118" y="62"/>
                  </a:lnTo>
                  <a:lnTo>
                    <a:pt x="124" y="60"/>
                  </a:lnTo>
                  <a:lnTo>
                    <a:pt x="131" y="58"/>
                  </a:lnTo>
                  <a:lnTo>
                    <a:pt x="131" y="68"/>
                  </a:lnTo>
                  <a:close/>
                  <a:moveTo>
                    <a:pt x="110" y="45"/>
                  </a:moveTo>
                  <a:lnTo>
                    <a:pt x="110" y="43"/>
                  </a:lnTo>
                  <a:lnTo>
                    <a:pt x="111" y="42"/>
                  </a:lnTo>
                  <a:lnTo>
                    <a:pt x="112" y="40"/>
                  </a:lnTo>
                  <a:lnTo>
                    <a:pt x="113" y="39"/>
                  </a:lnTo>
                  <a:lnTo>
                    <a:pt x="116" y="38"/>
                  </a:lnTo>
                  <a:lnTo>
                    <a:pt x="121" y="37"/>
                  </a:lnTo>
                  <a:lnTo>
                    <a:pt x="125" y="38"/>
                  </a:lnTo>
                  <a:lnTo>
                    <a:pt x="128" y="39"/>
                  </a:lnTo>
                  <a:lnTo>
                    <a:pt x="130" y="41"/>
                  </a:lnTo>
                  <a:lnTo>
                    <a:pt x="131" y="42"/>
                  </a:lnTo>
                  <a:lnTo>
                    <a:pt x="131" y="43"/>
                  </a:lnTo>
                  <a:lnTo>
                    <a:pt x="130" y="45"/>
                  </a:lnTo>
                  <a:lnTo>
                    <a:pt x="129" y="46"/>
                  </a:lnTo>
                  <a:lnTo>
                    <a:pt x="128" y="47"/>
                  </a:lnTo>
                  <a:lnTo>
                    <a:pt x="125" y="48"/>
                  </a:lnTo>
                  <a:lnTo>
                    <a:pt x="115" y="49"/>
                  </a:lnTo>
                  <a:lnTo>
                    <a:pt x="109" y="51"/>
                  </a:lnTo>
                  <a:lnTo>
                    <a:pt x="103" y="52"/>
                  </a:lnTo>
                  <a:lnTo>
                    <a:pt x="99" y="54"/>
                  </a:lnTo>
                  <a:lnTo>
                    <a:pt x="95" y="56"/>
                  </a:lnTo>
                  <a:lnTo>
                    <a:pt x="93" y="59"/>
                  </a:lnTo>
                  <a:lnTo>
                    <a:pt x="92" y="61"/>
                  </a:lnTo>
                  <a:lnTo>
                    <a:pt x="91" y="62"/>
                  </a:lnTo>
                  <a:lnTo>
                    <a:pt x="90" y="66"/>
                  </a:lnTo>
                  <a:lnTo>
                    <a:pt x="89" y="70"/>
                  </a:lnTo>
                  <a:lnTo>
                    <a:pt x="90" y="75"/>
                  </a:lnTo>
                  <a:lnTo>
                    <a:pt x="91" y="79"/>
                  </a:lnTo>
                  <a:lnTo>
                    <a:pt x="93" y="82"/>
                  </a:lnTo>
                  <a:lnTo>
                    <a:pt x="96" y="85"/>
                  </a:lnTo>
                  <a:lnTo>
                    <a:pt x="97" y="86"/>
                  </a:lnTo>
                  <a:lnTo>
                    <a:pt x="99" y="87"/>
                  </a:lnTo>
                  <a:lnTo>
                    <a:pt x="103" y="89"/>
                  </a:lnTo>
                  <a:lnTo>
                    <a:pt x="108" y="90"/>
                  </a:lnTo>
                  <a:lnTo>
                    <a:pt x="113" y="90"/>
                  </a:lnTo>
                  <a:lnTo>
                    <a:pt x="118" y="90"/>
                  </a:lnTo>
                  <a:lnTo>
                    <a:pt x="123" y="89"/>
                  </a:lnTo>
                  <a:lnTo>
                    <a:pt x="127" y="87"/>
                  </a:lnTo>
                  <a:lnTo>
                    <a:pt x="131" y="84"/>
                  </a:lnTo>
                  <a:lnTo>
                    <a:pt x="133" y="89"/>
                  </a:lnTo>
                  <a:lnTo>
                    <a:pt x="152" y="89"/>
                  </a:lnTo>
                  <a:lnTo>
                    <a:pt x="151" y="87"/>
                  </a:lnTo>
                  <a:lnTo>
                    <a:pt x="150" y="85"/>
                  </a:lnTo>
                  <a:lnTo>
                    <a:pt x="149" y="78"/>
                  </a:lnTo>
                  <a:lnTo>
                    <a:pt x="149" y="48"/>
                  </a:lnTo>
                  <a:lnTo>
                    <a:pt x="149" y="42"/>
                  </a:lnTo>
                  <a:lnTo>
                    <a:pt x="148" y="37"/>
                  </a:lnTo>
                  <a:lnTo>
                    <a:pt x="146" y="33"/>
                  </a:lnTo>
                  <a:lnTo>
                    <a:pt x="145" y="31"/>
                  </a:lnTo>
                  <a:lnTo>
                    <a:pt x="143" y="30"/>
                  </a:lnTo>
                  <a:lnTo>
                    <a:pt x="139" y="27"/>
                  </a:lnTo>
                  <a:lnTo>
                    <a:pt x="134" y="25"/>
                  </a:lnTo>
                  <a:lnTo>
                    <a:pt x="128" y="23"/>
                  </a:lnTo>
                  <a:lnTo>
                    <a:pt x="121" y="23"/>
                  </a:lnTo>
                  <a:lnTo>
                    <a:pt x="115" y="23"/>
                  </a:lnTo>
                  <a:lnTo>
                    <a:pt x="109" y="24"/>
                  </a:lnTo>
                  <a:lnTo>
                    <a:pt x="104" y="26"/>
                  </a:lnTo>
                  <a:lnTo>
                    <a:pt x="101" y="28"/>
                  </a:lnTo>
                  <a:lnTo>
                    <a:pt x="97" y="31"/>
                  </a:lnTo>
                  <a:lnTo>
                    <a:pt x="95" y="35"/>
                  </a:lnTo>
                  <a:lnTo>
                    <a:pt x="94" y="37"/>
                  </a:lnTo>
                  <a:lnTo>
                    <a:pt x="94" y="40"/>
                  </a:lnTo>
                  <a:lnTo>
                    <a:pt x="93" y="42"/>
                  </a:lnTo>
                  <a:lnTo>
                    <a:pt x="93" y="45"/>
                  </a:lnTo>
                  <a:lnTo>
                    <a:pt x="110" y="45"/>
                  </a:lnTo>
                  <a:close/>
                  <a:moveTo>
                    <a:pt x="52" y="55"/>
                  </a:moveTo>
                  <a:lnTo>
                    <a:pt x="32" y="55"/>
                  </a:lnTo>
                  <a:lnTo>
                    <a:pt x="43" y="20"/>
                  </a:lnTo>
                  <a:lnTo>
                    <a:pt x="52" y="55"/>
                  </a:lnTo>
                  <a:close/>
                  <a:moveTo>
                    <a:pt x="57" y="71"/>
                  </a:moveTo>
                  <a:lnTo>
                    <a:pt x="61" y="89"/>
                  </a:lnTo>
                  <a:lnTo>
                    <a:pt x="84" y="89"/>
                  </a:lnTo>
                  <a:lnTo>
                    <a:pt x="56" y="0"/>
                  </a:lnTo>
                  <a:lnTo>
                    <a:pt x="31" y="0"/>
                  </a:lnTo>
                  <a:lnTo>
                    <a:pt x="0" y="89"/>
                  </a:lnTo>
                  <a:lnTo>
                    <a:pt x="22" y="89"/>
                  </a:lnTo>
                  <a:lnTo>
                    <a:pt x="27" y="71"/>
                  </a:lnTo>
                  <a:lnTo>
                    <a:pt x="57"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14" name="Freeform 7"/>
            <p:cNvSpPr>
              <a:spLocks noEditPoints="1"/>
            </p:cNvSpPr>
            <p:nvPr userDrawn="1"/>
          </p:nvSpPr>
          <p:spPr bwMode="auto">
            <a:xfrm>
              <a:off x="5756275" y="325438"/>
              <a:ext cx="1941513" cy="142875"/>
            </a:xfrm>
            <a:custGeom>
              <a:avLst/>
              <a:gdLst>
                <a:gd name="T0" fmla="*/ 1197 w 1223"/>
                <a:gd name="T1" fmla="*/ 38 h 90"/>
                <a:gd name="T2" fmla="*/ 1220 w 1223"/>
                <a:gd name="T3" fmla="*/ 32 h 90"/>
                <a:gd name="T4" fmla="*/ 1120 w 1223"/>
                <a:gd name="T5" fmla="*/ 37 h 90"/>
                <a:gd name="T6" fmla="*/ 1131 w 1223"/>
                <a:gd name="T7" fmla="*/ 70 h 90"/>
                <a:gd name="T8" fmla="*/ 1105 w 1223"/>
                <a:gd name="T9" fmla="*/ 60 h 90"/>
                <a:gd name="T10" fmla="*/ 1112 w 1223"/>
                <a:gd name="T11" fmla="*/ 23 h 90"/>
                <a:gd name="T12" fmla="*/ 1088 w 1223"/>
                <a:gd name="T13" fmla="*/ 70 h 90"/>
                <a:gd name="T14" fmla="*/ 1136 w 1223"/>
                <a:gd name="T15" fmla="*/ 86 h 90"/>
                <a:gd name="T16" fmla="*/ 1150 w 1223"/>
                <a:gd name="T17" fmla="*/ 40 h 90"/>
                <a:gd name="T18" fmla="*/ 1074 w 1223"/>
                <a:gd name="T19" fmla="*/ 15 h 90"/>
                <a:gd name="T20" fmla="*/ 1002 w 1223"/>
                <a:gd name="T21" fmla="*/ 25 h 90"/>
                <a:gd name="T22" fmla="*/ 1041 w 1223"/>
                <a:gd name="T23" fmla="*/ 88 h 90"/>
                <a:gd name="T24" fmla="*/ 967 w 1223"/>
                <a:gd name="T25" fmla="*/ 74 h 90"/>
                <a:gd name="T26" fmla="*/ 966 w 1223"/>
                <a:gd name="T27" fmla="*/ 60 h 90"/>
                <a:gd name="T28" fmla="*/ 971 w 1223"/>
                <a:gd name="T29" fmla="*/ 40 h 90"/>
                <a:gd name="T30" fmla="*/ 934 w 1223"/>
                <a:gd name="T31" fmla="*/ 59 h 90"/>
                <a:gd name="T32" fmla="*/ 954 w 1223"/>
                <a:gd name="T33" fmla="*/ 90 h 90"/>
                <a:gd name="T34" fmla="*/ 990 w 1223"/>
                <a:gd name="T35" fmla="*/ 36 h 90"/>
                <a:gd name="T36" fmla="*/ 939 w 1223"/>
                <a:gd name="T37" fmla="*/ 31 h 90"/>
                <a:gd name="T38" fmla="*/ 907 w 1223"/>
                <a:gd name="T39" fmla="*/ 26 h 90"/>
                <a:gd name="T40" fmla="*/ 859 w 1223"/>
                <a:gd name="T41" fmla="*/ 49 h 90"/>
                <a:gd name="T42" fmla="*/ 891 w 1223"/>
                <a:gd name="T43" fmla="*/ 90 h 90"/>
                <a:gd name="T44" fmla="*/ 899 w 1223"/>
                <a:gd name="T45" fmla="*/ 72 h 90"/>
                <a:gd name="T46" fmla="*/ 878 w 1223"/>
                <a:gd name="T47" fmla="*/ 56 h 90"/>
                <a:gd name="T48" fmla="*/ 900 w 1223"/>
                <a:gd name="T49" fmla="*/ 42 h 90"/>
                <a:gd name="T50" fmla="*/ 823 w 1223"/>
                <a:gd name="T51" fmla="*/ 73 h 90"/>
                <a:gd name="T52" fmla="*/ 790 w 1223"/>
                <a:gd name="T53" fmla="*/ 71 h 90"/>
                <a:gd name="T54" fmla="*/ 828 w 1223"/>
                <a:gd name="T55" fmla="*/ 83 h 90"/>
                <a:gd name="T56" fmla="*/ 756 w 1223"/>
                <a:gd name="T57" fmla="*/ 52 h 90"/>
                <a:gd name="T58" fmla="*/ 735 w 1223"/>
                <a:gd name="T59" fmla="*/ 72 h 90"/>
                <a:gd name="T60" fmla="*/ 740 w 1223"/>
                <a:gd name="T61" fmla="*/ 38 h 90"/>
                <a:gd name="T62" fmla="*/ 719 w 1223"/>
                <a:gd name="T63" fmla="*/ 32 h 90"/>
                <a:gd name="T64" fmla="*/ 723 w 1223"/>
                <a:gd name="T65" fmla="*/ 85 h 90"/>
                <a:gd name="T66" fmla="*/ 757 w 1223"/>
                <a:gd name="T67" fmla="*/ 88 h 90"/>
                <a:gd name="T68" fmla="*/ 655 w 1223"/>
                <a:gd name="T69" fmla="*/ 34 h 90"/>
                <a:gd name="T70" fmla="*/ 556 w 1223"/>
                <a:gd name="T71" fmla="*/ 38 h 90"/>
                <a:gd name="T72" fmla="*/ 580 w 1223"/>
                <a:gd name="T73" fmla="*/ 41 h 90"/>
                <a:gd name="T74" fmla="*/ 533 w 1223"/>
                <a:gd name="T75" fmla="*/ 28 h 90"/>
                <a:gd name="T76" fmla="*/ 528 w 1223"/>
                <a:gd name="T77" fmla="*/ 81 h 90"/>
                <a:gd name="T78" fmla="*/ 577 w 1223"/>
                <a:gd name="T79" fmla="*/ 80 h 90"/>
                <a:gd name="T80" fmla="*/ 543 w 1223"/>
                <a:gd name="T81" fmla="*/ 72 h 90"/>
                <a:gd name="T82" fmla="*/ 471 w 1223"/>
                <a:gd name="T83" fmla="*/ 24 h 90"/>
                <a:gd name="T84" fmla="*/ 440 w 1223"/>
                <a:gd name="T85" fmla="*/ 88 h 90"/>
                <a:gd name="T86" fmla="*/ 376 w 1223"/>
                <a:gd name="T87" fmla="*/ 78 h 90"/>
                <a:gd name="T88" fmla="*/ 394 w 1223"/>
                <a:gd name="T89" fmla="*/ 69 h 90"/>
                <a:gd name="T90" fmla="*/ 329 w 1223"/>
                <a:gd name="T91" fmla="*/ 73 h 90"/>
                <a:gd name="T92" fmla="*/ 295 w 1223"/>
                <a:gd name="T93" fmla="*/ 71 h 90"/>
                <a:gd name="T94" fmla="*/ 333 w 1223"/>
                <a:gd name="T95" fmla="*/ 83 h 90"/>
                <a:gd name="T96" fmla="*/ 259 w 1223"/>
                <a:gd name="T97" fmla="*/ 23 h 90"/>
                <a:gd name="T98" fmla="*/ 221 w 1223"/>
                <a:gd name="T99" fmla="*/ 64 h 90"/>
                <a:gd name="T100" fmla="*/ 264 w 1223"/>
                <a:gd name="T101" fmla="*/ 88 h 90"/>
                <a:gd name="T102" fmla="*/ 257 w 1223"/>
                <a:gd name="T103" fmla="*/ 74 h 90"/>
                <a:gd name="T104" fmla="*/ 240 w 1223"/>
                <a:gd name="T105" fmla="*/ 50 h 90"/>
                <a:gd name="T106" fmla="*/ 264 w 1223"/>
                <a:gd name="T107" fmla="*/ 47 h 90"/>
                <a:gd name="T108" fmla="*/ 186 w 1223"/>
                <a:gd name="T109" fmla="*/ 40 h 90"/>
                <a:gd name="T110" fmla="*/ 202 w 1223"/>
                <a:gd name="T111" fmla="*/ 33 h 90"/>
                <a:gd name="T112" fmla="*/ 152 w 1223"/>
                <a:gd name="T113" fmla="*/ 34 h 90"/>
                <a:gd name="T114" fmla="*/ 165 w 1223"/>
                <a:gd name="T115" fmla="*/ 87 h 90"/>
                <a:gd name="T116" fmla="*/ 207 w 1223"/>
                <a:gd name="T117" fmla="*/ 74 h 90"/>
                <a:gd name="T118" fmla="*/ 166 w 1223"/>
                <a:gd name="T119" fmla="*/ 67 h 90"/>
                <a:gd name="T120" fmla="*/ 96 w 1223"/>
                <a:gd name="T121" fmla="*/ 88 h 90"/>
                <a:gd name="T122" fmla="*/ 60 w 1223"/>
                <a:gd name="T123" fmla="*/ 5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3" h="90">
                  <a:moveTo>
                    <a:pt x="1165" y="24"/>
                  </a:moveTo>
                  <a:lnTo>
                    <a:pt x="1165" y="88"/>
                  </a:lnTo>
                  <a:lnTo>
                    <a:pt x="1184" y="88"/>
                  </a:lnTo>
                  <a:lnTo>
                    <a:pt x="1184" y="52"/>
                  </a:lnTo>
                  <a:lnTo>
                    <a:pt x="1184" y="46"/>
                  </a:lnTo>
                  <a:lnTo>
                    <a:pt x="1185" y="44"/>
                  </a:lnTo>
                  <a:lnTo>
                    <a:pt x="1187" y="42"/>
                  </a:lnTo>
                  <a:lnTo>
                    <a:pt x="1188" y="40"/>
                  </a:lnTo>
                  <a:lnTo>
                    <a:pt x="1190" y="39"/>
                  </a:lnTo>
                  <a:lnTo>
                    <a:pt x="1192" y="38"/>
                  </a:lnTo>
                  <a:lnTo>
                    <a:pt x="1195" y="38"/>
                  </a:lnTo>
                  <a:lnTo>
                    <a:pt x="1197" y="38"/>
                  </a:lnTo>
                  <a:lnTo>
                    <a:pt x="1199" y="39"/>
                  </a:lnTo>
                  <a:lnTo>
                    <a:pt x="1201" y="40"/>
                  </a:lnTo>
                  <a:lnTo>
                    <a:pt x="1202" y="42"/>
                  </a:lnTo>
                  <a:lnTo>
                    <a:pt x="1203" y="44"/>
                  </a:lnTo>
                  <a:lnTo>
                    <a:pt x="1204" y="46"/>
                  </a:lnTo>
                  <a:lnTo>
                    <a:pt x="1204" y="53"/>
                  </a:lnTo>
                  <a:lnTo>
                    <a:pt x="1204" y="88"/>
                  </a:lnTo>
                  <a:lnTo>
                    <a:pt x="1223" y="88"/>
                  </a:lnTo>
                  <a:lnTo>
                    <a:pt x="1223" y="47"/>
                  </a:lnTo>
                  <a:lnTo>
                    <a:pt x="1223" y="41"/>
                  </a:lnTo>
                  <a:lnTo>
                    <a:pt x="1222" y="37"/>
                  </a:lnTo>
                  <a:lnTo>
                    <a:pt x="1220" y="32"/>
                  </a:lnTo>
                  <a:lnTo>
                    <a:pt x="1217" y="29"/>
                  </a:lnTo>
                  <a:lnTo>
                    <a:pt x="1214" y="26"/>
                  </a:lnTo>
                  <a:lnTo>
                    <a:pt x="1210" y="24"/>
                  </a:lnTo>
                  <a:lnTo>
                    <a:pt x="1206" y="23"/>
                  </a:lnTo>
                  <a:lnTo>
                    <a:pt x="1201" y="22"/>
                  </a:lnTo>
                  <a:lnTo>
                    <a:pt x="1196" y="23"/>
                  </a:lnTo>
                  <a:lnTo>
                    <a:pt x="1192" y="24"/>
                  </a:lnTo>
                  <a:lnTo>
                    <a:pt x="1188" y="27"/>
                  </a:lnTo>
                  <a:lnTo>
                    <a:pt x="1183" y="30"/>
                  </a:lnTo>
                  <a:lnTo>
                    <a:pt x="1183" y="24"/>
                  </a:lnTo>
                  <a:lnTo>
                    <a:pt x="1165" y="24"/>
                  </a:lnTo>
                  <a:close/>
                  <a:moveTo>
                    <a:pt x="1120" y="37"/>
                  </a:moveTo>
                  <a:lnTo>
                    <a:pt x="1123" y="38"/>
                  </a:lnTo>
                  <a:lnTo>
                    <a:pt x="1126" y="39"/>
                  </a:lnTo>
                  <a:lnTo>
                    <a:pt x="1129" y="40"/>
                  </a:lnTo>
                  <a:lnTo>
                    <a:pt x="1131" y="42"/>
                  </a:lnTo>
                  <a:lnTo>
                    <a:pt x="1132" y="45"/>
                  </a:lnTo>
                  <a:lnTo>
                    <a:pt x="1134" y="48"/>
                  </a:lnTo>
                  <a:lnTo>
                    <a:pt x="1134" y="52"/>
                  </a:lnTo>
                  <a:lnTo>
                    <a:pt x="1135" y="57"/>
                  </a:lnTo>
                  <a:lnTo>
                    <a:pt x="1134" y="61"/>
                  </a:lnTo>
                  <a:lnTo>
                    <a:pt x="1134" y="64"/>
                  </a:lnTo>
                  <a:lnTo>
                    <a:pt x="1132" y="67"/>
                  </a:lnTo>
                  <a:lnTo>
                    <a:pt x="1131" y="70"/>
                  </a:lnTo>
                  <a:lnTo>
                    <a:pt x="1130" y="71"/>
                  </a:lnTo>
                  <a:lnTo>
                    <a:pt x="1129" y="72"/>
                  </a:lnTo>
                  <a:lnTo>
                    <a:pt x="1126" y="74"/>
                  </a:lnTo>
                  <a:lnTo>
                    <a:pt x="1123" y="75"/>
                  </a:lnTo>
                  <a:lnTo>
                    <a:pt x="1120" y="75"/>
                  </a:lnTo>
                  <a:lnTo>
                    <a:pt x="1116" y="75"/>
                  </a:lnTo>
                  <a:lnTo>
                    <a:pt x="1113" y="74"/>
                  </a:lnTo>
                  <a:lnTo>
                    <a:pt x="1111" y="72"/>
                  </a:lnTo>
                  <a:lnTo>
                    <a:pt x="1109" y="70"/>
                  </a:lnTo>
                  <a:lnTo>
                    <a:pt x="1107" y="67"/>
                  </a:lnTo>
                  <a:lnTo>
                    <a:pt x="1106" y="64"/>
                  </a:lnTo>
                  <a:lnTo>
                    <a:pt x="1105" y="60"/>
                  </a:lnTo>
                  <a:lnTo>
                    <a:pt x="1105" y="56"/>
                  </a:lnTo>
                  <a:lnTo>
                    <a:pt x="1105" y="52"/>
                  </a:lnTo>
                  <a:lnTo>
                    <a:pt x="1106" y="48"/>
                  </a:lnTo>
                  <a:lnTo>
                    <a:pt x="1107" y="45"/>
                  </a:lnTo>
                  <a:lnTo>
                    <a:pt x="1109" y="42"/>
                  </a:lnTo>
                  <a:lnTo>
                    <a:pt x="1110" y="41"/>
                  </a:lnTo>
                  <a:lnTo>
                    <a:pt x="1111" y="40"/>
                  </a:lnTo>
                  <a:lnTo>
                    <a:pt x="1113" y="39"/>
                  </a:lnTo>
                  <a:lnTo>
                    <a:pt x="1116" y="38"/>
                  </a:lnTo>
                  <a:lnTo>
                    <a:pt x="1120" y="37"/>
                  </a:lnTo>
                  <a:close/>
                  <a:moveTo>
                    <a:pt x="1120" y="23"/>
                  </a:moveTo>
                  <a:lnTo>
                    <a:pt x="1112" y="23"/>
                  </a:lnTo>
                  <a:lnTo>
                    <a:pt x="1106" y="25"/>
                  </a:lnTo>
                  <a:lnTo>
                    <a:pt x="1103" y="26"/>
                  </a:lnTo>
                  <a:lnTo>
                    <a:pt x="1100" y="28"/>
                  </a:lnTo>
                  <a:lnTo>
                    <a:pt x="1095" y="32"/>
                  </a:lnTo>
                  <a:lnTo>
                    <a:pt x="1091" y="37"/>
                  </a:lnTo>
                  <a:lnTo>
                    <a:pt x="1090" y="40"/>
                  </a:lnTo>
                  <a:lnTo>
                    <a:pt x="1088" y="43"/>
                  </a:lnTo>
                  <a:lnTo>
                    <a:pt x="1087" y="46"/>
                  </a:lnTo>
                  <a:lnTo>
                    <a:pt x="1086" y="49"/>
                  </a:lnTo>
                  <a:lnTo>
                    <a:pt x="1086" y="56"/>
                  </a:lnTo>
                  <a:lnTo>
                    <a:pt x="1086" y="63"/>
                  </a:lnTo>
                  <a:lnTo>
                    <a:pt x="1088" y="70"/>
                  </a:lnTo>
                  <a:lnTo>
                    <a:pt x="1090" y="73"/>
                  </a:lnTo>
                  <a:lnTo>
                    <a:pt x="1091" y="76"/>
                  </a:lnTo>
                  <a:lnTo>
                    <a:pt x="1095" y="80"/>
                  </a:lnTo>
                  <a:lnTo>
                    <a:pt x="1100" y="84"/>
                  </a:lnTo>
                  <a:lnTo>
                    <a:pt x="1103" y="86"/>
                  </a:lnTo>
                  <a:lnTo>
                    <a:pt x="1106" y="87"/>
                  </a:lnTo>
                  <a:lnTo>
                    <a:pt x="1109" y="88"/>
                  </a:lnTo>
                  <a:lnTo>
                    <a:pt x="1112" y="89"/>
                  </a:lnTo>
                  <a:lnTo>
                    <a:pt x="1120" y="90"/>
                  </a:lnTo>
                  <a:lnTo>
                    <a:pt x="1127" y="89"/>
                  </a:lnTo>
                  <a:lnTo>
                    <a:pt x="1133" y="87"/>
                  </a:lnTo>
                  <a:lnTo>
                    <a:pt x="1136" y="86"/>
                  </a:lnTo>
                  <a:lnTo>
                    <a:pt x="1139" y="84"/>
                  </a:lnTo>
                  <a:lnTo>
                    <a:pt x="1144" y="80"/>
                  </a:lnTo>
                  <a:lnTo>
                    <a:pt x="1148" y="76"/>
                  </a:lnTo>
                  <a:lnTo>
                    <a:pt x="1150" y="73"/>
                  </a:lnTo>
                  <a:lnTo>
                    <a:pt x="1151" y="70"/>
                  </a:lnTo>
                  <a:lnTo>
                    <a:pt x="1153" y="64"/>
                  </a:lnTo>
                  <a:lnTo>
                    <a:pt x="1153" y="60"/>
                  </a:lnTo>
                  <a:lnTo>
                    <a:pt x="1154" y="57"/>
                  </a:lnTo>
                  <a:lnTo>
                    <a:pt x="1153" y="53"/>
                  </a:lnTo>
                  <a:lnTo>
                    <a:pt x="1153" y="49"/>
                  </a:lnTo>
                  <a:lnTo>
                    <a:pt x="1151" y="43"/>
                  </a:lnTo>
                  <a:lnTo>
                    <a:pt x="1150" y="40"/>
                  </a:lnTo>
                  <a:lnTo>
                    <a:pt x="1148" y="37"/>
                  </a:lnTo>
                  <a:lnTo>
                    <a:pt x="1144" y="32"/>
                  </a:lnTo>
                  <a:lnTo>
                    <a:pt x="1139" y="28"/>
                  </a:lnTo>
                  <a:lnTo>
                    <a:pt x="1136" y="26"/>
                  </a:lnTo>
                  <a:lnTo>
                    <a:pt x="1133" y="25"/>
                  </a:lnTo>
                  <a:lnTo>
                    <a:pt x="1130" y="24"/>
                  </a:lnTo>
                  <a:lnTo>
                    <a:pt x="1127" y="23"/>
                  </a:lnTo>
                  <a:lnTo>
                    <a:pt x="1120" y="23"/>
                  </a:lnTo>
                  <a:close/>
                  <a:moveTo>
                    <a:pt x="1074" y="0"/>
                  </a:moveTo>
                  <a:lnTo>
                    <a:pt x="1056" y="0"/>
                  </a:lnTo>
                  <a:lnTo>
                    <a:pt x="1056" y="15"/>
                  </a:lnTo>
                  <a:lnTo>
                    <a:pt x="1074" y="15"/>
                  </a:lnTo>
                  <a:lnTo>
                    <a:pt x="1074" y="0"/>
                  </a:lnTo>
                  <a:close/>
                  <a:moveTo>
                    <a:pt x="1074" y="24"/>
                  </a:moveTo>
                  <a:lnTo>
                    <a:pt x="1056" y="24"/>
                  </a:lnTo>
                  <a:lnTo>
                    <a:pt x="1056" y="88"/>
                  </a:lnTo>
                  <a:lnTo>
                    <a:pt x="1074" y="88"/>
                  </a:lnTo>
                  <a:lnTo>
                    <a:pt x="1074" y="24"/>
                  </a:lnTo>
                  <a:close/>
                  <a:moveTo>
                    <a:pt x="1041" y="25"/>
                  </a:moveTo>
                  <a:lnTo>
                    <a:pt x="1029" y="25"/>
                  </a:lnTo>
                  <a:lnTo>
                    <a:pt x="1029" y="5"/>
                  </a:lnTo>
                  <a:lnTo>
                    <a:pt x="1011" y="5"/>
                  </a:lnTo>
                  <a:lnTo>
                    <a:pt x="1011" y="25"/>
                  </a:lnTo>
                  <a:lnTo>
                    <a:pt x="1002" y="25"/>
                  </a:lnTo>
                  <a:lnTo>
                    <a:pt x="1002" y="38"/>
                  </a:lnTo>
                  <a:lnTo>
                    <a:pt x="1011" y="38"/>
                  </a:lnTo>
                  <a:lnTo>
                    <a:pt x="1011" y="67"/>
                  </a:lnTo>
                  <a:lnTo>
                    <a:pt x="1011" y="74"/>
                  </a:lnTo>
                  <a:lnTo>
                    <a:pt x="1011" y="78"/>
                  </a:lnTo>
                  <a:lnTo>
                    <a:pt x="1012" y="81"/>
                  </a:lnTo>
                  <a:lnTo>
                    <a:pt x="1014" y="84"/>
                  </a:lnTo>
                  <a:lnTo>
                    <a:pt x="1017" y="86"/>
                  </a:lnTo>
                  <a:lnTo>
                    <a:pt x="1020" y="87"/>
                  </a:lnTo>
                  <a:lnTo>
                    <a:pt x="1024" y="88"/>
                  </a:lnTo>
                  <a:lnTo>
                    <a:pt x="1029" y="88"/>
                  </a:lnTo>
                  <a:lnTo>
                    <a:pt x="1041" y="88"/>
                  </a:lnTo>
                  <a:lnTo>
                    <a:pt x="1041" y="74"/>
                  </a:lnTo>
                  <a:lnTo>
                    <a:pt x="1034" y="74"/>
                  </a:lnTo>
                  <a:lnTo>
                    <a:pt x="1032" y="74"/>
                  </a:lnTo>
                  <a:lnTo>
                    <a:pt x="1030" y="72"/>
                  </a:lnTo>
                  <a:lnTo>
                    <a:pt x="1029" y="69"/>
                  </a:lnTo>
                  <a:lnTo>
                    <a:pt x="1029" y="63"/>
                  </a:lnTo>
                  <a:lnTo>
                    <a:pt x="1029" y="38"/>
                  </a:lnTo>
                  <a:lnTo>
                    <a:pt x="1041" y="38"/>
                  </a:lnTo>
                  <a:lnTo>
                    <a:pt x="1041" y="25"/>
                  </a:lnTo>
                  <a:close/>
                  <a:moveTo>
                    <a:pt x="973" y="68"/>
                  </a:moveTo>
                  <a:lnTo>
                    <a:pt x="970" y="71"/>
                  </a:lnTo>
                  <a:lnTo>
                    <a:pt x="967" y="74"/>
                  </a:lnTo>
                  <a:lnTo>
                    <a:pt x="963" y="75"/>
                  </a:lnTo>
                  <a:lnTo>
                    <a:pt x="959" y="76"/>
                  </a:lnTo>
                  <a:lnTo>
                    <a:pt x="955" y="75"/>
                  </a:lnTo>
                  <a:lnTo>
                    <a:pt x="952" y="74"/>
                  </a:lnTo>
                  <a:lnTo>
                    <a:pt x="950" y="72"/>
                  </a:lnTo>
                  <a:lnTo>
                    <a:pt x="950" y="70"/>
                  </a:lnTo>
                  <a:lnTo>
                    <a:pt x="949" y="69"/>
                  </a:lnTo>
                  <a:lnTo>
                    <a:pt x="950" y="66"/>
                  </a:lnTo>
                  <a:lnTo>
                    <a:pt x="952" y="64"/>
                  </a:lnTo>
                  <a:lnTo>
                    <a:pt x="955" y="62"/>
                  </a:lnTo>
                  <a:lnTo>
                    <a:pt x="959" y="61"/>
                  </a:lnTo>
                  <a:lnTo>
                    <a:pt x="966" y="60"/>
                  </a:lnTo>
                  <a:lnTo>
                    <a:pt x="973" y="58"/>
                  </a:lnTo>
                  <a:lnTo>
                    <a:pt x="973" y="68"/>
                  </a:lnTo>
                  <a:close/>
                  <a:moveTo>
                    <a:pt x="951" y="44"/>
                  </a:moveTo>
                  <a:lnTo>
                    <a:pt x="951" y="43"/>
                  </a:lnTo>
                  <a:lnTo>
                    <a:pt x="952" y="41"/>
                  </a:lnTo>
                  <a:lnTo>
                    <a:pt x="953" y="40"/>
                  </a:lnTo>
                  <a:lnTo>
                    <a:pt x="954" y="39"/>
                  </a:lnTo>
                  <a:lnTo>
                    <a:pt x="958" y="37"/>
                  </a:lnTo>
                  <a:lnTo>
                    <a:pt x="962" y="37"/>
                  </a:lnTo>
                  <a:lnTo>
                    <a:pt x="966" y="37"/>
                  </a:lnTo>
                  <a:lnTo>
                    <a:pt x="970" y="38"/>
                  </a:lnTo>
                  <a:lnTo>
                    <a:pt x="971" y="40"/>
                  </a:lnTo>
                  <a:lnTo>
                    <a:pt x="972" y="41"/>
                  </a:lnTo>
                  <a:lnTo>
                    <a:pt x="972" y="43"/>
                  </a:lnTo>
                  <a:lnTo>
                    <a:pt x="972" y="44"/>
                  </a:lnTo>
                  <a:lnTo>
                    <a:pt x="971" y="46"/>
                  </a:lnTo>
                  <a:lnTo>
                    <a:pt x="969" y="46"/>
                  </a:lnTo>
                  <a:lnTo>
                    <a:pt x="966" y="47"/>
                  </a:lnTo>
                  <a:lnTo>
                    <a:pt x="956" y="49"/>
                  </a:lnTo>
                  <a:lnTo>
                    <a:pt x="950" y="50"/>
                  </a:lnTo>
                  <a:lnTo>
                    <a:pt x="945" y="52"/>
                  </a:lnTo>
                  <a:lnTo>
                    <a:pt x="940" y="54"/>
                  </a:lnTo>
                  <a:lnTo>
                    <a:pt x="937" y="56"/>
                  </a:lnTo>
                  <a:lnTo>
                    <a:pt x="934" y="59"/>
                  </a:lnTo>
                  <a:lnTo>
                    <a:pt x="933" y="60"/>
                  </a:lnTo>
                  <a:lnTo>
                    <a:pt x="932" y="62"/>
                  </a:lnTo>
                  <a:lnTo>
                    <a:pt x="931" y="66"/>
                  </a:lnTo>
                  <a:lnTo>
                    <a:pt x="931" y="70"/>
                  </a:lnTo>
                  <a:lnTo>
                    <a:pt x="931" y="74"/>
                  </a:lnTo>
                  <a:lnTo>
                    <a:pt x="933" y="78"/>
                  </a:lnTo>
                  <a:lnTo>
                    <a:pt x="935" y="81"/>
                  </a:lnTo>
                  <a:lnTo>
                    <a:pt x="937" y="84"/>
                  </a:lnTo>
                  <a:lnTo>
                    <a:pt x="941" y="87"/>
                  </a:lnTo>
                  <a:lnTo>
                    <a:pt x="945" y="88"/>
                  </a:lnTo>
                  <a:lnTo>
                    <a:pt x="949" y="89"/>
                  </a:lnTo>
                  <a:lnTo>
                    <a:pt x="954" y="90"/>
                  </a:lnTo>
                  <a:lnTo>
                    <a:pt x="960" y="90"/>
                  </a:lnTo>
                  <a:lnTo>
                    <a:pt x="964" y="88"/>
                  </a:lnTo>
                  <a:lnTo>
                    <a:pt x="968" y="86"/>
                  </a:lnTo>
                  <a:lnTo>
                    <a:pt x="973" y="83"/>
                  </a:lnTo>
                  <a:lnTo>
                    <a:pt x="974" y="88"/>
                  </a:lnTo>
                  <a:lnTo>
                    <a:pt x="993" y="88"/>
                  </a:lnTo>
                  <a:lnTo>
                    <a:pt x="992" y="86"/>
                  </a:lnTo>
                  <a:lnTo>
                    <a:pt x="991" y="84"/>
                  </a:lnTo>
                  <a:lnTo>
                    <a:pt x="991" y="77"/>
                  </a:lnTo>
                  <a:lnTo>
                    <a:pt x="991" y="48"/>
                  </a:lnTo>
                  <a:lnTo>
                    <a:pt x="991" y="41"/>
                  </a:lnTo>
                  <a:lnTo>
                    <a:pt x="990" y="36"/>
                  </a:lnTo>
                  <a:lnTo>
                    <a:pt x="988" y="32"/>
                  </a:lnTo>
                  <a:lnTo>
                    <a:pt x="986" y="31"/>
                  </a:lnTo>
                  <a:lnTo>
                    <a:pt x="985" y="29"/>
                  </a:lnTo>
                  <a:lnTo>
                    <a:pt x="980" y="26"/>
                  </a:lnTo>
                  <a:lnTo>
                    <a:pt x="975" y="24"/>
                  </a:lnTo>
                  <a:lnTo>
                    <a:pt x="969" y="23"/>
                  </a:lnTo>
                  <a:lnTo>
                    <a:pt x="962" y="23"/>
                  </a:lnTo>
                  <a:lnTo>
                    <a:pt x="956" y="23"/>
                  </a:lnTo>
                  <a:lnTo>
                    <a:pt x="951" y="24"/>
                  </a:lnTo>
                  <a:lnTo>
                    <a:pt x="946" y="26"/>
                  </a:lnTo>
                  <a:lnTo>
                    <a:pt x="942" y="28"/>
                  </a:lnTo>
                  <a:lnTo>
                    <a:pt x="939" y="31"/>
                  </a:lnTo>
                  <a:lnTo>
                    <a:pt x="937" y="35"/>
                  </a:lnTo>
                  <a:lnTo>
                    <a:pt x="936" y="37"/>
                  </a:lnTo>
                  <a:lnTo>
                    <a:pt x="935" y="39"/>
                  </a:lnTo>
                  <a:lnTo>
                    <a:pt x="934" y="42"/>
                  </a:lnTo>
                  <a:lnTo>
                    <a:pt x="934" y="44"/>
                  </a:lnTo>
                  <a:lnTo>
                    <a:pt x="951" y="44"/>
                  </a:lnTo>
                  <a:close/>
                  <a:moveTo>
                    <a:pt x="920" y="47"/>
                  </a:moveTo>
                  <a:lnTo>
                    <a:pt x="920" y="42"/>
                  </a:lnTo>
                  <a:lnTo>
                    <a:pt x="918" y="37"/>
                  </a:lnTo>
                  <a:lnTo>
                    <a:pt x="915" y="33"/>
                  </a:lnTo>
                  <a:lnTo>
                    <a:pt x="912" y="29"/>
                  </a:lnTo>
                  <a:lnTo>
                    <a:pt x="907" y="26"/>
                  </a:lnTo>
                  <a:lnTo>
                    <a:pt x="903" y="24"/>
                  </a:lnTo>
                  <a:lnTo>
                    <a:pt x="897" y="23"/>
                  </a:lnTo>
                  <a:lnTo>
                    <a:pt x="891" y="23"/>
                  </a:lnTo>
                  <a:lnTo>
                    <a:pt x="884" y="23"/>
                  </a:lnTo>
                  <a:lnTo>
                    <a:pt x="878" y="25"/>
                  </a:lnTo>
                  <a:lnTo>
                    <a:pt x="872" y="28"/>
                  </a:lnTo>
                  <a:lnTo>
                    <a:pt x="870" y="29"/>
                  </a:lnTo>
                  <a:lnTo>
                    <a:pt x="867" y="32"/>
                  </a:lnTo>
                  <a:lnTo>
                    <a:pt x="865" y="34"/>
                  </a:lnTo>
                  <a:lnTo>
                    <a:pt x="864" y="36"/>
                  </a:lnTo>
                  <a:lnTo>
                    <a:pt x="861" y="42"/>
                  </a:lnTo>
                  <a:lnTo>
                    <a:pt x="859" y="49"/>
                  </a:lnTo>
                  <a:lnTo>
                    <a:pt x="859" y="56"/>
                  </a:lnTo>
                  <a:lnTo>
                    <a:pt x="859" y="64"/>
                  </a:lnTo>
                  <a:lnTo>
                    <a:pt x="860" y="67"/>
                  </a:lnTo>
                  <a:lnTo>
                    <a:pt x="861" y="70"/>
                  </a:lnTo>
                  <a:lnTo>
                    <a:pt x="864" y="76"/>
                  </a:lnTo>
                  <a:lnTo>
                    <a:pt x="865" y="79"/>
                  </a:lnTo>
                  <a:lnTo>
                    <a:pt x="867" y="81"/>
                  </a:lnTo>
                  <a:lnTo>
                    <a:pt x="872" y="85"/>
                  </a:lnTo>
                  <a:lnTo>
                    <a:pt x="877" y="88"/>
                  </a:lnTo>
                  <a:lnTo>
                    <a:pt x="884" y="89"/>
                  </a:lnTo>
                  <a:lnTo>
                    <a:pt x="887" y="90"/>
                  </a:lnTo>
                  <a:lnTo>
                    <a:pt x="891" y="90"/>
                  </a:lnTo>
                  <a:lnTo>
                    <a:pt x="897" y="89"/>
                  </a:lnTo>
                  <a:lnTo>
                    <a:pt x="902" y="88"/>
                  </a:lnTo>
                  <a:lnTo>
                    <a:pt x="907" y="86"/>
                  </a:lnTo>
                  <a:lnTo>
                    <a:pt x="911" y="83"/>
                  </a:lnTo>
                  <a:lnTo>
                    <a:pt x="915" y="80"/>
                  </a:lnTo>
                  <a:lnTo>
                    <a:pt x="918" y="75"/>
                  </a:lnTo>
                  <a:lnTo>
                    <a:pt x="920" y="70"/>
                  </a:lnTo>
                  <a:lnTo>
                    <a:pt x="921" y="65"/>
                  </a:lnTo>
                  <a:lnTo>
                    <a:pt x="903" y="64"/>
                  </a:lnTo>
                  <a:lnTo>
                    <a:pt x="902" y="66"/>
                  </a:lnTo>
                  <a:lnTo>
                    <a:pt x="901" y="69"/>
                  </a:lnTo>
                  <a:lnTo>
                    <a:pt x="899" y="72"/>
                  </a:lnTo>
                  <a:lnTo>
                    <a:pt x="897" y="73"/>
                  </a:lnTo>
                  <a:lnTo>
                    <a:pt x="896" y="74"/>
                  </a:lnTo>
                  <a:lnTo>
                    <a:pt x="893" y="74"/>
                  </a:lnTo>
                  <a:lnTo>
                    <a:pt x="891" y="75"/>
                  </a:lnTo>
                  <a:lnTo>
                    <a:pt x="888" y="74"/>
                  </a:lnTo>
                  <a:lnTo>
                    <a:pt x="885" y="73"/>
                  </a:lnTo>
                  <a:lnTo>
                    <a:pt x="883" y="72"/>
                  </a:lnTo>
                  <a:lnTo>
                    <a:pt x="881" y="70"/>
                  </a:lnTo>
                  <a:lnTo>
                    <a:pt x="880" y="67"/>
                  </a:lnTo>
                  <a:lnTo>
                    <a:pt x="879" y="64"/>
                  </a:lnTo>
                  <a:lnTo>
                    <a:pt x="878" y="60"/>
                  </a:lnTo>
                  <a:lnTo>
                    <a:pt x="878" y="56"/>
                  </a:lnTo>
                  <a:lnTo>
                    <a:pt x="878" y="52"/>
                  </a:lnTo>
                  <a:lnTo>
                    <a:pt x="878" y="50"/>
                  </a:lnTo>
                  <a:lnTo>
                    <a:pt x="879" y="48"/>
                  </a:lnTo>
                  <a:lnTo>
                    <a:pt x="880" y="45"/>
                  </a:lnTo>
                  <a:lnTo>
                    <a:pt x="881" y="42"/>
                  </a:lnTo>
                  <a:lnTo>
                    <a:pt x="883" y="40"/>
                  </a:lnTo>
                  <a:lnTo>
                    <a:pt x="885" y="39"/>
                  </a:lnTo>
                  <a:lnTo>
                    <a:pt x="888" y="38"/>
                  </a:lnTo>
                  <a:lnTo>
                    <a:pt x="891" y="38"/>
                  </a:lnTo>
                  <a:lnTo>
                    <a:pt x="895" y="38"/>
                  </a:lnTo>
                  <a:lnTo>
                    <a:pt x="899" y="40"/>
                  </a:lnTo>
                  <a:lnTo>
                    <a:pt x="900" y="42"/>
                  </a:lnTo>
                  <a:lnTo>
                    <a:pt x="901" y="43"/>
                  </a:lnTo>
                  <a:lnTo>
                    <a:pt x="902" y="45"/>
                  </a:lnTo>
                  <a:lnTo>
                    <a:pt x="903" y="47"/>
                  </a:lnTo>
                  <a:lnTo>
                    <a:pt x="920" y="47"/>
                  </a:lnTo>
                  <a:close/>
                  <a:moveTo>
                    <a:pt x="847" y="24"/>
                  </a:moveTo>
                  <a:lnTo>
                    <a:pt x="828" y="24"/>
                  </a:lnTo>
                  <a:lnTo>
                    <a:pt x="828" y="60"/>
                  </a:lnTo>
                  <a:lnTo>
                    <a:pt x="828" y="67"/>
                  </a:lnTo>
                  <a:lnTo>
                    <a:pt x="827" y="69"/>
                  </a:lnTo>
                  <a:lnTo>
                    <a:pt x="826" y="70"/>
                  </a:lnTo>
                  <a:lnTo>
                    <a:pt x="825" y="72"/>
                  </a:lnTo>
                  <a:lnTo>
                    <a:pt x="823" y="73"/>
                  </a:lnTo>
                  <a:lnTo>
                    <a:pt x="821" y="74"/>
                  </a:lnTo>
                  <a:lnTo>
                    <a:pt x="818" y="74"/>
                  </a:lnTo>
                  <a:lnTo>
                    <a:pt x="816" y="74"/>
                  </a:lnTo>
                  <a:lnTo>
                    <a:pt x="814" y="73"/>
                  </a:lnTo>
                  <a:lnTo>
                    <a:pt x="812" y="72"/>
                  </a:lnTo>
                  <a:lnTo>
                    <a:pt x="810" y="70"/>
                  </a:lnTo>
                  <a:lnTo>
                    <a:pt x="809" y="67"/>
                  </a:lnTo>
                  <a:lnTo>
                    <a:pt x="808" y="60"/>
                  </a:lnTo>
                  <a:lnTo>
                    <a:pt x="808" y="24"/>
                  </a:lnTo>
                  <a:lnTo>
                    <a:pt x="789" y="24"/>
                  </a:lnTo>
                  <a:lnTo>
                    <a:pt x="789" y="64"/>
                  </a:lnTo>
                  <a:lnTo>
                    <a:pt x="790" y="71"/>
                  </a:lnTo>
                  <a:lnTo>
                    <a:pt x="791" y="76"/>
                  </a:lnTo>
                  <a:lnTo>
                    <a:pt x="792" y="78"/>
                  </a:lnTo>
                  <a:lnTo>
                    <a:pt x="793" y="80"/>
                  </a:lnTo>
                  <a:lnTo>
                    <a:pt x="795" y="83"/>
                  </a:lnTo>
                  <a:lnTo>
                    <a:pt x="799" y="86"/>
                  </a:lnTo>
                  <a:lnTo>
                    <a:pt x="803" y="88"/>
                  </a:lnTo>
                  <a:lnTo>
                    <a:pt x="808" y="89"/>
                  </a:lnTo>
                  <a:lnTo>
                    <a:pt x="812" y="90"/>
                  </a:lnTo>
                  <a:lnTo>
                    <a:pt x="818" y="89"/>
                  </a:lnTo>
                  <a:lnTo>
                    <a:pt x="822" y="88"/>
                  </a:lnTo>
                  <a:lnTo>
                    <a:pt x="826" y="85"/>
                  </a:lnTo>
                  <a:lnTo>
                    <a:pt x="828" y="83"/>
                  </a:lnTo>
                  <a:lnTo>
                    <a:pt x="829" y="81"/>
                  </a:lnTo>
                  <a:lnTo>
                    <a:pt x="829" y="88"/>
                  </a:lnTo>
                  <a:lnTo>
                    <a:pt x="847" y="88"/>
                  </a:lnTo>
                  <a:lnTo>
                    <a:pt x="847" y="24"/>
                  </a:lnTo>
                  <a:close/>
                  <a:moveTo>
                    <a:pt x="743" y="38"/>
                  </a:moveTo>
                  <a:lnTo>
                    <a:pt x="746" y="38"/>
                  </a:lnTo>
                  <a:lnTo>
                    <a:pt x="749" y="39"/>
                  </a:lnTo>
                  <a:lnTo>
                    <a:pt x="751" y="41"/>
                  </a:lnTo>
                  <a:lnTo>
                    <a:pt x="753" y="43"/>
                  </a:lnTo>
                  <a:lnTo>
                    <a:pt x="755" y="45"/>
                  </a:lnTo>
                  <a:lnTo>
                    <a:pt x="756" y="49"/>
                  </a:lnTo>
                  <a:lnTo>
                    <a:pt x="756" y="52"/>
                  </a:lnTo>
                  <a:lnTo>
                    <a:pt x="757" y="56"/>
                  </a:lnTo>
                  <a:lnTo>
                    <a:pt x="756" y="60"/>
                  </a:lnTo>
                  <a:lnTo>
                    <a:pt x="756" y="64"/>
                  </a:lnTo>
                  <a:lnTo>
                    <a:pt x="755" y="67"/>
                  </a:lnTo>
                  <a:lnTo>
                    <a:pt x="753" y="70"/>
                  </a:lnTo>
                  <a:lnTo>
                    <a:pt x="751" y="72"/>
                  </a:lnTo>
                  <a:lnTo>
                    <a:pt x="749" y="73"/>
                  </a:lnTo>
                  <a:lnTo>
                    <a:pt x="746" y="74"/>
                  </a:lnTo>
                  <a:lnTo>
                    <a:pt x="743" y="75"/>
                  </a:lnTo>
                  <a:lnTo>
                    <a:pt x="740" y="74"/>
                  </a:lnTo>
                  <a:lnTo>
                    <a:pt x="738" y="73"/>
                  </a:lnTo>
                  <a:lnTo>
                    <a:pt x="735" y="72"/>
                  </a:lnTo>
                  <a:lnTo>
                    <a:pt x="733" y="70"/>
                  </a:lnTo>
                  <a:lnTo>
                    <a:pt x="732" y="67"/>
                  </a:lnTo>
                  <a:lnTo>
                    <a:pt x="731" y="64"/>
                  </a:lnTo>
                  <a:lnTo>
                    <a:pt x="730" y="60"/>
                  </a:lnTo>
                  <a:lnTo>
                    <a:pt x="730" y="56"/>
                  </a:lnTo>
                  <a:lnTo>
                    <a:pt x="730" y="52"/>
                  </a:lnTo>
                  <a:lnTo>
                    <a:pt x="731" y="48"/>
                  </a:lnTo>
                  <a:lnTo>
                    <a:pt x="732" y="45"/>
                  </a:lnTo>
                  <a:lnTo>
                    <a:pt x="733" y="43"/>
                  </a:lnTo>
                  <a:lnTo>
                    <a:pt x="735" y="40"/>
                  </a:lnTo>
                  <a:lnTo>
                    <a:pt x="738" y="39"/>
                  </a:lnTo>
                  <a:lnTo>
                    <a:pt x="740" y="38"/>
                  </a:lnTo>
                  <a:lnTo>
                    <a:pt x="743" y="38"/>
                  </a:lnTo>
                  <a:close/>
                  <a:moveTo>
                    <a:pt x="775" y="0"/>
                  </a:moveTo>
                  <a:lnTo>
                    <a:pt x="756" y="0"/>
                  </a:lnTo>
                  <a:lnTo>
                    <a:pt x="756" y="29"/>
                  </a:lnTo>
                  <a:lnTo>
                    <a:pt x="753" y="26"/>
                  </a:lnTo>
                  <a:lnTo>
                    <a:pt x="749" y="24"/>
                  </a:lnTo>
                  <a:lnTo>
                    <a:pt x="745" y="23"/>
                  </a:lnTo>
                  <a:lnTo>
                    <a:pt x="740" y="22"/>
                  </a:lnTo>
                  <a:lnTo>
                    <a:pt x="734" y="23"/>
                  </a:lnTo>
                  <a:lnTo>
                    <a:pt x="728" y="25"/>
                  </a:lnTo>
                  <a:lnTo>
                    <a:pt x="723" y="28"/>
                  </a:lnTo>
                  <a:lnTo>
                    <a:pt x="719" y="32"/>
                  </a:lnTo>
                  <a:lnTo>
                    <a:pt x="716" y="37"/>
                  </a:lnTo>
                  <a:lnTo>
                    <a:pt x="713" y="42"/>
                  </a:lnTo>
                  <a:lnTo>
                    <a:pt x="712" y="46"/>
                  </a:lnTo>
                  <a:lnTo>
                    <a:pt x="712" y="49"/>
                  </a:lnTo>
                  <a:lnTo>
                    <a:pt x="711" y="56"/>
                  </a:lnTo>
                  <a:lnTo>
                    <a:pt x="712" y="64"/>
                  </a:lnTo>
                  <a:lnTo>
                    <a:pt x="712" y="67"/>
                  </a:lnTo>
                  <a:lnTo>
                    <a:pt x="713" y="70"/>
                  </a:lnTo>
                  <a:lnTo>
                    <a:pt x="716" y="76"/>
                  </a:lnTo>
                  <a:lnTo>
                    <a:pt x="717" y="78"/>
                  </a:lnTo>
                  <a:lnTo>
                    <a:pt x="719" y="81"/>
                  </a:lnTo>
                  <a:lnTo>
                    <a:pt x="723" y="85"/>
                  </a:lnTo>
                  <a:lnTo>
                    <a:pt x="728" y="87"/>
                  </a:lnTo>
                  <a:lnTo>
                    <a:pt x="730" y="88"/>
                  </a:lnTo>
                  <a:lnTo>
                    <a:pt x="733" y="89"/>
                  </a:lnTo>
                  <a:lnTo>
                    <a:pt x="736" y="90"/>
                  </a:lnTo>
                  <a:lnTo>
                    <a:pt x="739" y="90"/>
                  </a:lnTo>
                  <a:lnTo>
                    <a:pt x="745" y="89"/>
                  </a:lnTo>
                  <a:lnTo>
                    <a:pt x="747" y="89"/>
                  </a:lnTo>
                  <a:lnTo>
                    <a:pt x="749" y="88"/>
                  </a:lnTo>
                  <a:lnTo>
                    <a:pt x="751" y="87"/>
                  </a:lnTo>
                  <a:lnTo>
                    <a:pt x="753" y="85"/>
                  </a:lnTo>
                  <a:lnTo>
                    <a:pt x="757" y="81"/>
                  </a:lnTo>
                  <a:lnTo>
                    <a:pt x="757" y="88"/>
                  </a:lnTo>
                  <a:lnTo>
                    <a:pt x="775" y="88"/>
                  </a:lnTo>
                  <a:lnTo>
                    <a:pt x="775" y="0"/>
                  </a:lnTo>
                  <a:close/>
                  <a:moveTo>
                    <a:pt x="701" y="0"/>
                  </a:moveTo>
                  <a:lnTo>
                    <a:pt x="634" y="0"/>
                  </a:lnTo>
                  <a:lnTo>
                    <a:pt x="634" y="88"/>
                  </a:lnTo>
                  <a:lnTo>
                    <a:pt x="702" y="88"/>
                  </a:lnTo>
                  <a:lnTo>
                    <a:pt x="702" y="71"/>
                  </a:lnTo>
                  <a:lnTo>
                    <a:pt x="655" y="71"/>
                  </a:lnTo>
                  <a:lnTo>
                    <a:pt x="655" y="50"/>
                  </a:lnTo>
                  <a:lnTo>
                    <a:pt x="695" y="50"/>
                  </a:lnTo>
                  <a:lnTo>
                    <a:pt x="695" y="34"/>
                  </a:lnTo>
                  <a:lnTo>
                    <a:pt x="655" y="34"/>
                  </a:lnTo>
                  <a:lnTo>
                    <a:pt x="655" y="17"/>
                  </a:lnTo>
                  <a:lnTo>
                    <a:pt x="701" y="17"/>
                  </a:lnTo>
                  <a:lnTo>
                    <a:pt x="701" y="0"/>
                  </a:lnTo>
                  <a:close/>
                  <a:moveTo>
                    <a:pt x="538" y="48"/>
                  </a:moveTo>
                  <a:lnTo>
                    <a:pt x="539" y="46"/>
                  </a:lnTo>
                  <a:lnTo>
                    <a:pt x="540" y="43"/>
                  </a:lnTo>
                  <a:lnTo>
                    <a:pt x="541" y="41"/>
                  </a:lnTo>
                  <a:lnTo>
                    <a:pt x="543" y="40"/>
                  </a:lnTo>
                  <a:lnTo>
                    <a:pt x="544" y="38"/>
                  </a:lnTo>
                  <a:lnTo>
                    <a:pt x="547" y="38"/>
                  </a:lnTo>
                  <a:lnTo>
                    <a:pt x="552" y="37"/>
                  </a:lnTo>
                  <a:lnTo>
                    <a:pt x="556" y="38"/>
                  </a:lnTo>
                  <a:lnTo>
                    <a:pt x="558" y="38"/>
                  </a:lnTo>
                  <a:lnTo>
                    <a:pt x="560" y="40"/>
                  </a:lnTo>
                  <a:lnTo>
                    <a:pt x="562" y="41"/>
                  </a:lnTo>
                  <a:lnTo>
                    <a:pt x="563" y="43"/>
                  </a:lnTo>
                  <a:lnTo>
                    <a:pt x="564" y="46"/>
                  </a:lnTo>
                  <a:lnTo>
                    <a:pt x="564" y="48"/>
                  </a:lnTo>
                  <a:lnTo>
                    <a:pt x="538" y="48"/>
                  </a:lnTo>
                  <a:close/>
                  <a:moveTo>
                    <a:pt x="583" y="62"/>
                  </a:moveTo>
                  <a:lnTo>
                    <a:pt x="583" y="56"/>
                  </a:lnTo>
                  <a:lnTo>
                    <a:pt x="583" y="50"/>
                  </a:lnTo>
                  <a:lnTo>
                    <a:pt x="582" y="46"/>
                  </a:lnTo>
                  <a:lnTo>
                    <a:pt x="580" y="41"/>
                  </a:lnTo>
                  <a:lnTo>
                    <a:pt x="578" y="37"/>
                  </a:lnTo>
                  <a:lnTo>
                    <a:pt x="576" y="33"/>
                  </a:lnTo>
                  <a:lnTo>
                    <a:pt x="573" y="30"/>
                  </a:lnTo>
                  <a:lnTo>
                    <a:pt x="569" y="27"/>
                  </a:lnTo>
                  <a:lnTo>
                    <a:pt x="565" y="25"/>
                  </a:lnTo>
                  <a:lnTo>
                    <a:pt x="561" y="24"/>
                  </a:lnTo>
                  <a:lnTo>
                    <a:pt x="557" y="23"/>
                  </a:lnTo>
                  <a:lnTo>
                    <a:pt x="552" y="23"/>
                  </a:lnTo>
                  <a:lnTo>
                    <a:pt x="545" y="23"/>
                  </a:lnTo>
                  <a:lnTo>
                    <a:pt x="538" y="25"/>
                  </a:lnTo>
                  <a:lnTo>
                    <a:pt x="536" y="26"/>
                  </a:lnTo>
                  <a:lnTo>
                    <a:pt x="533" y="28"/>
                  </a:lnTo>
                  <a:lnTo>
                    <a:pt x="528" y="32"/>
                  </a:lnTo>
                  <a:lnTo>
                    <a:pt x="526" y="34"/>
                  </a:lnTo>
                  <a:lnTo>
                    <a:pt x="524" y="37"/>
                  </a:lnTo>
                  <a:lnTo>
                    <a:pt x="521" y="43"/>
                  </a:lnTo>
                  <a:lnTo>
                    <a:pt x="520" y="49"/>
                  </a:lnTo>
                  <a:lnTo>
                    <a:pt x="519" y="53"/>
                  </a:lnTo>
                  <a:lnTo>
                    <a:pt x="519" y="56"/>
                  </a:lnTo>
                  <a:lnTo>
                    <a:pt x="520" y="63"/>
                  </a:lnTo>
                  <a:lnTo>
                    <a:pt x="521" y="70"/>
                  </a:lnTo>
                  <a:lnTo>
                    <a:pt x="524" y="76"/>
                  </a:lnTo>
                  <a:lnTo>
                    <a:pt x="526" y="78"/>
                  </a:lnTo>
                  <a:lnTo>
                    <a:pt x="528" y="81"/>
                  </a:lnTo>
                  <a:lnTo>
                    <a:pt x="533" y="85"/>
                  </a:lnTo>
                  <a:lnTo>
                    <a:pt x="538" y="87"/>
                  </a:lnTo>
                  <a:lnTo>
                    <a:pt x="541" y="88"/>
                  </a:lnTo>
                  <a:lnTo>
                    <a:pt x="545" y="89"/>
                  </a:lnTo>
                  <a:lnTo>
                    <a:pt x="548" y="90"/>
                  </a:lnTo>
                  <a:lnTo>
                    <a:pt x="552" y="90"/>
                  </a:lnTo>
                  <a:lnTo>
                    <a:pt x="557" y="89"/>
                  </a:lnTo>
                  <a:lnTo>
                    <a:pt x="563" y="88"/>
                  </a:lnTo>
                  <a:lnTo>
                    <a:pt x="567" y="87"/>
                  </a:lnTo>
                  <a:lnTo>
                    <a:pt x="572" y="84"/>
                  </a:lnTo>
                  <a:lnTo>
                    <a:pt x="575" y="81"/>
                  </a:lnTo>
                  <a:lnTo>
                    <a:pt x="577" y="80"/>
                  </a:lnTo>
                  <a:lnTo>
                    <a:pt x="578" y="78"/>
                  </a:lnTo>
                  <a:lnTo>
                    <a:pt x="581" y="74"/>
                  </a:lnTo>
                  <a:lnTo>
                    <a:pt x="583" y="69"/>
                  </a:lnTo>
                  <a:lnTo>
                    <a:pt x="563" y="69"/>
                  </a:lnTo>
                  <a:lnTo>
                    <a:pt x="561" y="72"/>
                  </a:lnTo>
                  <a:lnTo>
                    <a:pt x="559" y="74"/>
                  </a:lnTo>
                  <a:lnTo>
                    <a:pt x="556" y="75"/>
                  </a:lnTo>
                  <a:lnTo>
                    <a:pt x="552" y="75"/>
                  </a:lnTo>
                  <a:lnTo>
                    <a:pt x="549" y="75"/>
                  </a:lnTo>
                  <a:lnTo>
                    <a:pt x="547" y="74"/>
                  </a:lnTo>
                  <a:lnTo>
                    <a:pt x="545" y="73"/>
                  </a:lnTo>
                  <a:lnTo>
                    <a:pt x="543" y="72"/>
                  </a:lnTo>
                  <a:lnTo>
                    <a:pt x="541" y="70"/>
                  </a:lnTo>
                  <a:lnTo>
                    <a:pt x="540" y="67"/>
                  </a:lnTo>
                  <a:lnTo>
                    <a:pt x="539" y="65"/>
                  </a:lnTo>
                  <a:lnTo>
                    <a:pt x="538" y="62"/>
                  </a:lnTo>
                  <a:lnTo>
                    <a:pt x="583" y="62"/>
                  </a:lnTo>
                  <a:close/>
                  <a:moveTo>
                    <a:pt x="493" y="88"/>
                  </a:moveTo>
                  <a:lnTo>
                    <a:pt x="514" y="24"/>
                  </a:lnTo>
                  <a:lnTo>
                    <a:pt x="494" y="24"/>
                  </a:lnTo>
                  <a:lnTo>
                    <a:pt x="488" y="49"/>
                  </a:lnTo>
                  <a:lnTo>
                    <a:pt x="484" y="67"/>
                  </a:lnTo>
                  <a:lnTo>
                    <a:pt x="479" y="49"/>
                  </a:lnTo>
                  <a:lnTo>
                    <a:pt x="471" y="24"/>
                  </a:lnTo>
                  <a:lnTo>
                    <a:pt x="452" y="24"/>
                  </a:lnTo>
                  <a:lnTo>
                    <a:pt x="475" y="88"/>
                  </a:lnTo>
                  <a:lnTo>
                    <a:pt x="493" y="88"/>
                  </a:lnTo>
                  <a:close/>
                  <a:moveTo>
                    <a:pt x="440" y="0"/>
                  </a:moveTo>
                  <a:lnTo>
                    <a:pt x="421" y="0"/>
                  </a:lnTo>
                  <a:lnTo>
                    <a:pt x="421" y="15"/>
                  </a:lnTo>
                  <a:lnTo>
                    <a:pt x="440" y="15"/>
                  </a:lnTo>
                  <a:lnTo>
                    <a:pt x="440" y="0"/>
                  </a:lnTo>
                  <a:close/>
                  <a:moveTo>
                    <a:pt x="440" y="24"/>
                  </a:moveTo>
                  <a:lnTo>
                    <a:pt x="421" y="24"/>
                  </a:lnTo>
                  <a:lnTo>
                    <a:pt x="421" y="88"/>
                  </a:lnTo>
                  <a:lnTo>
                    <a:pt x="440" y="88"/>
                  </a:lnTo>
                  <a:lnTo>
                    <a:pt x="440" y="24"/>
                  </a:lnTo>
                  <a:close/>
                  <a:moveTo>
                    <a:pt x="405" y="25"/>
                  </a:moveTo>
                  <a:lnTo>
                    <a:pt x="394" y="25"/>
                  </a:lnTo>
                  <a:lnTo>
                    <a:pt x="394" y="5"/>
                  </a:lnTo>
                  <a:lnTo>
                    <a:pt x="375" y="5"/>
                  </a:lnTo>
                  <a:lnTo>
                    <a:pt x="375" y="25"/>
                  </a:lnTo>
                  <a:lnTo>
                    <a:pt x="366" y="25"/>
                  </a:lnTo>
                  <a:lnTo>
                    <a:pt x="366" y="38"/>
                  </a:lnTo>
                  <a:lnTo>
                    <a:pt x="375" y="38"/>
                  </a:lnTo>
                  <a:lnTo>
                    <a:pt x="375" y="67"/>
                  </a:lnTo>
                  <a:lnTo>
                    <a:pt x="375" y="74"/>
                  </a:lnTo>
                  <a:lnTo>
                    <a:pt x="376" y="78"/>
                  </a:lnTo>
                  <a:lnTo>
                    <a:pt x="377" y="81"/>
                  </a:lnTo>
                  <a:lnTo>
                    <a:pt x="378" y="84"/>
                  </a:lnTo>
                  <a:lnTo>
                    <a:pt x="381" y="86"/>
                  </a:lnTo>
                  <a:lnTo>
                    <a:pt x="384" y="87"/>
                  </a:lnTo>
                  <a:lnTo>
                    <a:pt x="388" y="88"/>
                  </a:lnTo>
                  <a:lnTo>
                    <a:pt x="394" y="88"/>
                  </a:lnTo>
                  <a:lnTo>
                    <a:pt x="405" y="88"/>
                  </a:lnTo>
                  <a:lnTo>
                    <a:pt x="405" y="74"/>
                  </a:lnTo>
                  <a:lnTo>
                    <a:pt x="398" y="74"/>
                  </a:lnTo>
                  <a:lnTo>
                    <a:pt x="396" y="74"/>
                  </a:lnTo>
                  <a:lnTo>
                    <a:pt x="394" y="72"/>
                  </a:lnTo>
                  <a:lnTo>
                    <a:pt x="394" y="69"/>
                  </a:lnTo>
                  <a:lnTo>
                    <a:pt x="394" y="63"/>
                  </a:lnTo>
                  <a:lnTo>
                    <a:pt x="394" y="38"/>
                  </a:lnTo>
                  <a:lnTo>
                    <a:pt x="405" y="38"/>
                  </a:lnTo>
                  <a:lnTo>
                    <a:pt x="405" y="25"/>
                  </a:lnTo>
                  <a:close/>
                  <a:moveTo>
                    <a:pt x="353" y="24"/>
                  </a:moveTo>
                  <a:lnTo>
                    <a:pt x="334" y="24"/>
                  </a:lnTo>
                  <a:lnTo>
                    <a:pt x="334" y="60"/>
                  </a:lnTo>
                  <a:lnTo>
                    <a:pt x="334" y="67"/>
                  </a:lnTo>
                  <a:lnTo>
                    <a:pt x="333" y="69"/>
                  </a:lnTo>
                  <a:lnTo>
                    <a:pt x="332" y="70"/>
                  </a:lnTo>
                  <a:lnTo>
                    <a:pt x="331" y="72"/>
                  </a:lnTo>
                  <a:lnTo>
                    <a:pt x="329" y="73"/>
                  </a:lnTo>
                  <a:lnTo>
                    <a:pt x="327" y="74"/>
                  </a:lnTo>
                  <a:lnTo>
                    <a:pt x="324" y="74"/>
                  </a:lnTo>
                  <a:lnTo>
                    <a:pt x="322" y="74"/>
                  </a:lnTo>
                  <a:lnTo>
                    <a:pt x="319" y="73"/>
                  </a:lnTo>
                  <a:lnTo>
                    <a:pt x="317" y="72"/>
                  </a:lnTo>
                  <a:lnTo>
                    <a:pt x="316" y="70"/>
                  </a:lnTo>
                  <a:lnTo>
                    <a:pt x="314" y="67"/>
                  </a:lnTo>
                  <a:lnTo>
                    <a:pt x="314" y="60"/>
                  </a:lnTo>
                  <a:lnTo>
                    <a:pt x="314" y="24"/>
                  </a:lnTo>
                  <a:lnTo>
                    <a:pt x="295" y="24"/>
                  </a:lnTo>
                  <a:lnTo>
                    <a:pt x="295" y="64"/>
                  </a:lnTo>
                  <a:lnTo>
                    <a:pt x="295" y="71"/>
                  </a:lnTo>
                  <a:lnTo>
                    <a:pt x="296" y="76"/>
                  </a:lnTo>
                  <a:lnTo>
                    <a:pt x="297" y="78"/>
                  </a:lnTo>
                  <a:lnTo>
                    <a:pt x="298" y="80"/>
                  </a:lnTo>
                  <a:lnTo>
                    <a:pt x="301" y="83"/>
                  </a:lnTo>
                  <a:lnTo>
                    <a:pt x="305" y="86"/>
                  </a:lnTo>
                  <a:lnTo>
                    <a:pt x="309" y="88"/>
                  </a:lnTo>
                  <a:lnTo>
                    <a:pt x="313" y="89"/>
                  </a:lnTo>
                  <a:lnTo>
                    <a:pt x="318" y="90"/>
                  </a:lnTo>
                  <a:lnTo>
                    <a:pt x="323" y="89"/>
                  </a:lnTo>
                  <a:lnTo>
                    <a:pt x="328" y="88"/>
                  </a:lnTo>
                  <a:lnTo>
                    <a:pt x="332" y="85"/>
                  </a:lnTo>
                  <a:lnTo>
                    <a:pt x="333" y="83"/>
                  </a:lnTo>
                  <a:lnTo>
                    <a:pt x="335" y="81"/>
                  </a:lnTo>
                  <a:lnTo>
                    <a:pt x="335" y="88"/>
                  </a:lnTo>
                  <a:lnTo>
                    <a:pt x="353" y="88"/>
                  </a:lnTo>
                  <a:lnTo>
                    <a:pt x="353" y="24"/>
                  </a:lnTo>
                  <a:close/>
                  <a:moveTo>
                    <a:pt x="282" y="47"/>
                  </a:moveTo>
                  <a:lnTo>
                    <a:pt x="281" y="42"/>
                  </a:lnTo>
                  <a:lnTo>
                    <a:pt x="279" y="37"/>
                  </a:lnTo>
                  <a:lnTo>
                    <a:pt x="276" y="33"/>
                  </a:lnTo>
                  <a:lnTo>
                    <a:pt x="273" y="29"/>
                  </a:lnTo>
                  <a:lnTo>
                    <a:pt x="269" y="26"/>
                  </a:lnTo>
                  <a:lnTo>
                    <a:pt x="264" y="24"/>
                  </a:lnTo>
                  <a:lnTo>
                    <a:pt x="259" y="23"/>
                  </a:lnTo>
                  <a:lnTo>
                    <a:pt x="253" y="23"/>
                  </a:lnTo>
                  <a:lnTo>
                    <a:pt x="245" y="23"/>
                  </a:lnTo>
                  <a:lnTo>
                    <a:pt x="239" y="25"/>
                  </a:lnTo>
                  <a:lnTo>
                    <a:pt x="233" y="28"/>
                  </a:lnTo>
                  <a:lnTo>
                    <a:pt x="231" y="29"/>
                  </a:lnTo>
                  <a:lnTo>
                    <a:pt x="229" y="32"/>
                  </a:lnTo>
                  <a:lnTo>
                    <a:pt x="227" y="34"/>
                  </a:lnTo>
                  <a:lnTo>
                    <a:pt x="225" y="36"/>
                  </a:lnTo>
                  <a:lnTo>
                    <a:pt x="222" y="42"/>
                  </a:lnTo>
                  <a:lnTo>
                    <a:pt x="221" y="49"/>
                  </a:lnTo>
                  <a:lnTo>
                    <a:pt x="220" y="56"/>
                  </a:lnTo>
                  <a:lnTo>
                    <a:pt x="221" y="64"/>
                  </a:lnTo>
                  <a:lnTo>
                    <a:pt x="221" y="67"/>
                  </a:lnTo>
                  <a:lnTo>
                    <a:pt x="222" y="70"/>
                  </a:lnTo>
                  <a:lnTo>
                    <a:pt x="225" y="76"/>
                  </a:lnTo>
                  <a:lnTo>
                    <a:pt x="227" y="79"/>
                  </a:lnTo>
                  <a:lnTo>
                    <a:pt x="229" y="81"/>
                  </a:lnTo>
                  <a:lnTo>
                    <a:pt x="233" y="85"/>
                  </a:lnTo>
                  <a:lnTo>
                    <a:pt x="239" y="88"/>
                  </a:lnTo>
                  <a:lnTo>
                    <a:pt x="245" y="89"/>
                  </a:lnTo>
                  <a:lnTo>
                    <a:pt x="248" y="90"/>
                  </a:lnTo>
                  <a:lnTo>
                    <a:pt x="252" y="90"/>
                  </a:lnTo>
                  <a:lnTo>
                    <a:pt x="258" y="89"/>
                  </a:lnTo>
                  <a:lnTo>
                    <a:pt x="264" y="88"/>
                  </a:lnTo>
                  <a:lnTo>
                    <a:pt x="268" y="86"/>
                  </a:lnTo>
                  <a:lnTo>
                    <a:pt x="273" y="83"/>
                  </a:lnTo>
                  <a:lnTo>
                    <a:pt x="276" y="80"/>
                  </a:lnTo>
                  <a:lnTo>
                    <a:pt x="279" y="75"/>
                  </a:lnTo>
                  <a:lnTo>
                    <a:pt x="281" y="70"/>
                  </a:lnTo>
                  <a:lnTo>
                    <a:pt x="283" y="65"/>
                  </a:lnTo>
                  <a:lnTo>
                    <a:pt x="264" y="64"/>
                  </a:lnTo>
                  <a:lnTo>
                    <a:pt x="264" y="66"/>
                  </a:lnTo>
                  <a:lnTo>
                    <a:pt x="263" y="69"/>
                  </a:lnTo>
                  <a:lnTo>
                    <a:pt x="260" y="72"/>
                  </a:lnTo>
                  <a:lnTo>
                    <a:pt x="259" y="73"/>
                  </a:lnTo>
                  <a:lnTo>
                    <a:pt x="257" y="74"/>
                  </a:lnTo>
                  <a:lnTo>
                    <a:pt x="255" y="74"/>
                  </a:lnTo>
                  <a:lnTo>
                    <a:pt x="252" y="75"/>
                  </a:lnTo>
                  <a:lnTo>
                    <a:pt x="249" y="74"/>
                  </a:lnTo>
                  <a:lnTo>
                    <a:pt x="247" y="73"/>
                  </a:lnTo>
                  <a:lnTo>
                    <a:pt x="244" y="72"/>
                  </a:lnTo>
                  <a:lnTo>
                    <a:pt x="243" y="70"/>
                  </a:lnTo>
                  <a:lnTo>
                    <a:pt x="241" y="67"/>
                  </a:lnTo>
                  <a:lnTo>
                    <a:pt x="240" y="64"/>
                  </a:lnTo>
                  <a:lnTo>
                    <a:pt x="239" y="60"/>
                  </a:lnTo>
                  <a:lnTo>
                    <a:pt x="239" y="56"/>
                  </a:lnTo>
                  <a:lnTo>
                    <a:pt x="239" y="52"/>
                  </a:lnTo>
                  <a:lnTo>
                    <a:pt x="240" y="50"/>
                  </a:lnTo>
                  <a:lnTo>
                    <a:pt x="240" y="48"/>
                  </a:lnTo>
                  <a:lnTo>
                    <a:pt x="241" y="45"/>
                  </a:lnTo>
                  <a:lnTo>
                    <a:pt x="242" y="42"/>
                  </a:lnTo>
                  <a:lnTo>
                    <a:pt x="244" y="40"/>
                  </a:lnTo>
                  <a:lnTo>
                    <a:pt x="247" y="39"/>
                  </a:lnTo>
                  <a:lnTo>
                    <a:pt x="249" y="38"/>
                  </a:lnTo>
                  <a:lnTo>
                    <a:pt x="252" y="38"/>
                  </a:lnTo>
                  <a:lnTo>
                    <a:pt x="257" y="38"/>
                  </a:lnTo>
                  <a:lnTo>
                    <a:pt x="260" y="40"/>
                  </a:lnTo>
                  <a:lnTo>
                    <a:pt x="262" y="42"/>
                  </a:lnTo>
                  <a:lnTo>
                    <a:pt x="263" y="43"/>
                  </a:lnTo>
                  <a:lnTo>
                    <a:pt x="264" y="47"/>
                  </a:lnTo>
                  <a:lnTo>
                    <a:pt x="282" y="47"/>
                  </a:lnTo>
                  <a:close/>
                  <a:moveTo>
                    <a:pt x="164" y="48"/>
                  </a:moveTo>
                  <a:lnTo>
                    <a:pt x="165" y="46"/>
                  </a:lnTo>
                  <a:lnTo>
                    <a:pt x="166" y="43"/>
                  </a:lnTo>
                  <a:lnTo>
                    <a:pt x="167" y="41"/>
                  </a:lnTo>
                  <a:lnTo>
                    <a:pt x="169" y="40"/>
                  </a:lnTo>
                  <a:lnTo>
                    <a:pt x="171" y="38"/>
                  </a:lnTo>
                  <a:lnTo>
                    <a:pt x="173" y="38"/>
                  </a:lnTo>
                  <a:lnTo>
                    <a:pt x="178" y="37"/>
                  </a:lnTo>
                  <a:lnTo>
                    <a:pt x="183" y="38"/>
                  </a:lnTo>
                  <a:lnTo>
                    <a:pt x="185" y="38"/>
                  </a:lnTo>
                  <a:lnTo>
                    <a:pt x="186" y="40"/>
                  </a:lnTo>
                  <a:lnTo>
                    <a:pt x="188" y="41"/>
                  </a:lnTo>
                  <a:lnTo>
                    <a:pt x="189" y="43"/>
                  </a:lnTo>
                  <a:lnTo>
                    <a:pt x="190" y="46"/>
                  </a:lnTo>
                  <a:lnTo>
                    <a:pt x="190" y="48"/>
                  </a:lnTo>
                  <a:lnTo>
                    <a:pt x="164" y="48"/>
                  </a:lnTo>
                  <a:close/>
                  <a:moveTo>
                    <a:pt x="209" y="62"/>
                  </a:moveTo>
                  <a:lnTo>
                    <a:pt x="209" y="56"/>
                  </a:lnTo>
                  <a:lnTo>
                    <a:pt x="209" y="50"/>
                  </a:lnTo>
                  <a:lnTo>
                    <a:pt x="208" y="46"/>
                  </a:lnTo>
                  <a:lnTo>
                    <a:pt x="206" y="41"/>
                  </a:lnTo>
                  <a:lnTo>
                    <a:pt x="204" y="37"/>
                  </a:lnTo>
                  <a:lnTo>
                    <a:pt x="202" y="33"/>
                  </a:lnTo>
                  <a:lnTo>
                    <a:pt x="199" y="30"/>
                  </a:lnTo>
                  <a:lnTo>
                    <a:pt x="195" y="27"/>
                  </a:lnTo>
                  <a:lnTo>
                    <a:pt x="192" y="25"/>
                  </a:lnTo>
                  <a:lnTo>
                    <a:pt x="187" y="24"/>
                  </a:lnTo>
                  <a:lnTo>
                    <a:pt x="183" y="23"/>
                  </a:lnTo>
                  <a:lnTo>
                    <a:pt x="178" y="23"/>
                  </a:lnTo>
                  <a:lnTo>
                    <a:pt x="171" y="23"/>
                  </a:lnTo>
                  <a:lnTo>
                    <a:pt x="165" y="25"/>
                  </a:lnTo>
                  <a:lnTo>
                    <a:pt x="162" y="26"/>
                  </a:lnTo>
                  <a:lnTo>
                    <a:pt x="159" y="28"/>
                  </a:lnTo>
                  <a:lnTo>
                    <a:pt x="154" y="32"/>
                  </a:lnTo>
                  <a:lnTo>
                    <a:pt x="152" y="34"/>
                  </a:lnTo>
                  <a:lnTo>
                    <a:pt x="150" y="37"/>
                  </a:lnTo>
                  <a:lnTo>
                    <a:pt x="148" y="43"/>
                  </a:lnTo>
                  <a:lnTo>
                    <a:pt x="146" y="49"/>
                  </a:lnTo>
                  <a:lnTo>
                    <a:pt x="145" y="53"/>
                  </a:lnTo>
                  <a:lnTo>
                    <a:pt x="145" y="56"/>
                  </a:lnTo>
                  <a:lnTo>
                    <a:pt x="146" y="63"/>
                  </a:lnTo>
                  <a:lnTo>
                    <a:pt x="148" y="70"/>
                  </a:lnTo>
                  <a:lnTo>
                    <a:pt x="150" y="76"/>
                  </a:lnTo>
                  <a:lnTo>
                    <a:pt x="152" y="78"/>
                  </a:lnTo>
                  <a:lnTo>
                    <a:pt x="154" y="81"/>
                  </a:lnTo>
                  <a:lnTo>
                    <a:pt x="159" y="85"/>
                  </a:lnTo>
                  <a:lnTo>
                    <a:pt x="165" y="87"/>
                  </a:lnTo>
                  <a:lnTo>
                    <a:pt x="168" y="88"/>
                  </a:lnTo>
                  <a:lnTo>
                    <a:pt x="171" y="89"/>
                  </a:lnTo>
                  <a:lnTo>
                    <a:pt x="174" y="90"/>
                  </a:lnTo>
                  <a:lnTo>
                    <a:pt x="178" y="90"/>
                  </a:lnTo>
                  <a:lnTo>
                    <a:pt x="184" y="89"/>
                  </a:lnTo>
                  <a:lnTo>
                    <a:pt x="189" y="88"/>
                  </a:lnTo>
                  <a:lnTo>
                    <a:pt x="193" y="87"/>
                  </a:lnTo>
                  <a:lnTo>
                    <a:pt x="198" y="84"/>
                  </a:lnTo>
                  <a:lnTo>
                    <a:pt x="201" y="81"/>
                  </a:lnTo>
                  <a:lnTo>
                    <a:pt x="203" y="80"/>
                  </a:lnTo>
                  <a:lnTo>
                    <a:pt x="205" y="78"/>
                  </a:lnTo>
                  <a:lnTo>
                    <a:pt x="207" y="74"/>
                  </a:lnTo>
                  <a:lnTo>
                    <a:pt x="209" y="69"/>
                  </a:lnTo>
                  <a:lnTo>
                    <a:pt x="190" y="69"/>
                  </a:lnTo>
                  <a:lnTo>
                    <a:pt x="188" y="72"/>
                  </a:lnTo>
                  <a:lnTo>
                    <a:pt x="185" y="74"/>
                  </a:lnTo>
                  <a:lnTo>
                    <a:pt x="182" y="75"/>
                  </a:lnTo>
                  <a:lnTo>
                    <a:pt x="178" y="75"/>
                  </a:lnTo>
                  <a:lnTo>
                    <a:pt x="176" y="75"/>
                  </a:lnTo>
                  <a:lnTo>
                    <a:pt x="173" y="74"/>
                  </a:lnTo>
                  <a:lnTo>
                    <a:pt x="171" y="73"/>
                  </a:lnTo>
                  <a:lnTo>
                    <a:pt x="169" y="72"/>
                  </a:lnTo>
                  <a:lnTo>
                    <a:pt x="167" y="70"/>
                  </a:lnTo>
                  <a:lnTo>
                    <a:pt x="166" y="67"/>
                  </a:lnTo>
                  <a:lnTo>
                    <a:pt x="165" y="65"/>
                  </a:lnTo>
                  <a:lnTo>
                    <a:pt x="164" y="62"/>
                  </a:lnTo>
                  <a:lnTo>
                    <a:pt x="209" y="62"/>
                  </a:lnTo>
                  <a:close/>
                  <a:moveTo>
                    <a:pt x="118" y="55"/>
                  </a:moveTo>
                  <a:lnTo>
                    <a:pt x="139" y="24"/>
                  </a:lnTo>
                  <a:lnTo>
                    <a:pt x="118" y="24"/>
                  </a:lnTo>
                  <a:lnTo>
                    <a:pt x="108" y="40"/>
                  </a:lnTo>
                  <a:lnTo>
                    <a:pt x="98" y="24"/>
                  </a:lnTo>
                  <a:lnTo>
                    <a:pt x="77" y="24"/>
                  </a:lnTo>
                  <a:lnTo>
                    <a:pt x="98" y="55"/>
                  </a:lnTo>
                  <a:lnTo>
                    <a:pt x="75" y="88"/>
                  </a:lnTo>
                  <a:lnTo>
                    <a:pt x="96" y="88"/>
                  </a:lnTo>
                  <a:lnTo>
                    <a:pt x="108" y="70"/>
                  </a:lnTo>
                  <a:lnTo>
                    <a:pt x="120" y="88"/>
                  </a:lnTo>
                  <a:lnTo>
                    <a:pt x="142" y="88"/>
                  </a:lnTo>
                  <a:lnTo>
                    <a:pt x="118" y="55"/>
                  </a:lnTo>
                  <a:close/>
                  <a:moveTo>
                    <a:pt x="66" y="0"/>
                  </a:moveTo>
                  <a:lnTo>
                    <a:pt x="0" y="0"/>
                  </a:lnTo>
                  <a:lnTo>
                    <a:pt x="0" y="88"/>
                  </a:lnTo>
                  <a:lnTo>
                    <a:pt x="67" y="88"/>
                  </a:lnTo>
                  <a:lnTo>
                    <a:pt x="67" y="71"/>
                  </a:lnTo>
                  <a:lnTo>
                    <a:pt x="20" y="71"/>
                  </a:lnTo>
                  <a:lnTo>
                    <a:pt x="20" y="50"/>
                  </a:lnTo>
                  <a:lnTo>
                    <a:pt x="60" y="50"/>
                  </a:lnTo>
                  <a:lnTo>
                    <a:pt x="60" y="34"/>
                  </a:lnTo>
                  <a:lnTo>
                    <a:pt x="20" y="34"/>
                  </a:lnTo>
                  <a:lnTo>
                    <a:pt x="20" y="17"/>
                  </a:lnTo>
                  <a:lnTo>
                    <a:pt x="66" y="17"/>
                  </a:lnTo>
                  <a:lnTo>
                    <a:pt x="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15" name="Freeform 8"/>
            <p:cNvSpPr>
              <a:spLocks noEditPoints="1"/>
            </p:cNvSpPr>
            <p:nvPr userDrawn="1"/>
          </p:nvSpPr>
          <p:spPr bwMode="auto">
            <a:xfrm>
              <a:off x="4067175" y="114301"/>
              <a:ext cx="566738" cy="560388"/>
            </a:xfrm>
            <a:custGeom>
              <a:avLst/>
              <a:gdLst>
                <a:gd name="T0" fmla="*/ 223 w 357"/>
                <a:gd name="T1" fmla="*/ 220 h 353"/>
                <a:gd name="T2" fmla="*/ 134 w 357"/>
                <a:gd name="T3" fmla="*/ 220 h 353"/>
                <a:gd name="T4" fmla="*/ 179 w 357"/>
                <a:gd name="T5" fmla="*/ 100 h 353"/>
                <a:gd name="T6" fmla="*/ 223 w 357"/>
                <a:gd name="T7" fmla="*/ 220 h 353"/>
                <a:gd name="T8" fmla="*/ 357 w 357"/>
                <a:gd name="T9" fmla="*/ 353 h 353"/>
                <a:gd name="T10" fmla="*/ 230 w 357"/>
                <a:gd name="T11" fmla="*/ 0 h 353"/>
                <a:gd name="T12" fmla="*/ 127 w 357"/>
                <a:gd name="T13" fmla="*/ 0 h 353"/>
                <a:gd name="T14" fmla="*/ 0 w 357"/>
                <a:gd name="T15" fmla="*/ 353 h 353"/>
                <a:gd name="T16" fmla="*/ 91 w 357"/>
                <a:gd name="T17" fmla="*/ 353 h 353"/>
                <a:gd name="T18" fmla="*/ 113 w 357"/>
                <a:gd name="T19" fmla="*/ 291 h 353"/>
                <a:gd name="T20" fmla="*/ 245 w 357"/>
                <a:gd name="T21" fmla="*/ 291 h 353"/>
                <a:gd name="T22" fmla="*/ 267 w 357"/>
                <a:gd name="T23" fmla="*/ 353 h 353"/>
                <a:gd name="T24" fmla="*/ 357 w 357"/>
                <a:gd name="T25"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7" h="353">
                  <a:moveTo>
                    <a:pt x="223" y="220"/>
                  </a:moveTo>
                  <a:lnTo>
                    <a:pt x="134" y="220"/>
                  </a:lnTo>
                  <a:lnTo>
                    <a:pt x="179" y="100"/>
                  </a:lnTo>
                  <a:lnTo>
                    <a:pt x="223" y="220"/>
                  </a:lnTo>
                  <a:close/>
                  <a:moveTo>
                    <a:pt x="357" y="353"/>
                  </a:moveTo>
                  <a:lnTo>
                    <a:pt x="230" y="0"/>
                  </a:lnTo>
                  <a:lnTo>
                    <a:pt x="127" y="0"/>
                  </a:lnTo>
                  <a:lnTo>
                    <a:pt x="0" y="353"/>
                  </a:lnTo>
                  <a:lnTo>
                    <a:pt x="91" y="353"/>
                  </a:lnTo>
                  <a:lnTo>
                    <a:pt x="113" y="291"/>
                  </a:lnTo>
                  <a:lnTo>
                    <a:pt x="245" y="291"/>
                  </a:lnTo>
                  <a:lnTo>
                    <a:pt x="267" y="353"/>
                  </a:lnTo>
                  <a:lnTo>
                    <a:pt x="357" y="3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16" name="Freeform 9"/>
            <p:cNvSpPr>
              <a:spLocks noEditPoints="1"/>
            </p:cNvSpPr>
            <p:nvPr userDrawn="1"/>
          </p:nvSpPr>
          <p:spPr bwMode="auto">
            <a:xfrm>
              <a:off x="4686300" y="114301"/>
              <a:ext cx="858838" cy="560388"/>
            </a:xfrm>
            <a:custGeom>
              <a:avLst/>
              <a:gdLst>
                <a:gd name="T0" fmla="*/ 541 w 541"/>
                <a:gd name="T1" fmla="*/ 75 h 353"/>
                <a:gd name="T2" fmla="*/ 541 w 541"/>
                <a:gd name="T3" fmla="*/ 0 h 353"/>
                <a:gd name="T4" fmla="*/ 303 w 541"/>
                <a:gd name="T5" fmla="*/ 0 h 353"/>
                <a:gd name="T6" fmla="*/ 303 w 541"/>
                <a:gd name="T7" fmla="*/ 353 h 353"/>
                <a:gd name="T8" fmla="*/ 541 w 541"/>
                <a:gd name="T9" fmla="*/ 353 h 353"/>
                <a:gd name="T10" fmla="*/ 541 w 541"/>
                <a:gd name="T11" fmla="*/ 278 h 353"/>
                <a:gd name="T12" fmla="*/ 388 w 541"/>
                <a:gd name="T13" fmla="*/ 278 h 353"/>
                <a:gd name="T14" fmla="*/ 388 w 541"/>
                <a:gd name="T15" fmla="*/ 210 h 353"/>
                <a:gd name="T16" fmla="*/ 536 w 541"/>
                <a:gd name="T17" fmla="*/ 210 h 353"/>
                <a:gd name="T18" fmla="*/ 536 w 541"/>
                <a:gd name="T19" fmla="*/ 139 h 353"/>
                <a:gd name="T20" fmla="*/ 388 w 541"/>
                <a:gd name="T21" fmla="*/ 139 h 353"/>
                <a:gd name="T22" fmla="*/ 388 w 541"/>
                <a:gd name="T23" fmla="*/ 75 h 353"/>
                <a:gd name="T24" fmla="*/ 541 w 541"/>
                <a:gd name="T25" fmla="*/ 75 h 353"/>
                <a:gd name="T26" fmla="*/ 239 w 541"/>
                <a:gd name="T27" fmla="*/ 75 h 353"/>
                <a:gd name="T28" fmla="*/ 239 w 541"/>
                <a:gd name="T29" fmla="*/ 0 h 353"/>
                <a:gd name="T30" fmla="*/ 0 w 541"/>
                <a:gd name="T31" fmla="*/ 0 h 353"/>
                <a:gd name="T32" fmla="*/ 0 w 541"/>
                <a:gd name="T33" fmla="*/ 353 h 353"/>
                <a:gd name="T34" fmla="*/ 239 w 541"/>
                <a:gd name="T35" fmla="*/ 353 h 353"/>
                <a:gd name="T36" fmla="*/ 239 w 541"/>
                <a:gd name="T37" fmla="*/ 278 h 353"/>
                <a:gd name="T38" fmla="*/ 85 w 541"/>
                <a:gd name="T39" fmla="*/ 278 h 353"/>
                <a:gd name="T40" fmla="*/ 85 w 541"/>
                <a:gd name="T41" fmla="*/ 210 h 353"/>
                <a:gd name="T42" fmla="*/ 235 w 541"/>
                <a:gd name="T43" fmla="*/ 210 h 353"/>
                <a:gd name="T44" fmla="*/ 235 w 541"/>
                <a:gd name="T45" fmla="*/ 139 h 353"/>
                <a:gd name="T46" fmla="*/ 85 w 541"/>
                <a:gd name="T47" fmla="*/ 139 h 353"/>
                <a:gd name="T48" fmla="*/ 85 w 541"/>
                <a:gd name="T49" fmla="*/ 75 h 353"/>
                <a:gd name="T50" fmla="*/ 239 w 541"/>
                <a:gd name="T51" fmla="*/ 75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1" h="353">
                  <a:moveTo>
                    <a:pt x="541" y="75"/>
                  </a:moveTo>
                  <a:lnTo>
                    <a:pt x="541" y="0"/>
                  </a:lnTo>
                  <a:lnTo>
                    <a:pt x="303" y="0"/>
                  </a:lnTo>
                  <a:lnTo>
                    <a:pt x="303" y="353"/>
                  </a:lnTo>
                  <a:lnTo>
                    <a:pt x="541" y="353"/>
                  </a:lnTo>
                  <a:lnTo>
                    <a:pt x="541" y="278"/>
                  </a:lnTo>
                  <a:lnTo>
                    <a:pt x="388" y="278"/>
                  </a:lnTo>
                  <a:lnTo>
                    <a:pt x="388" y="210"/>
                  </a:lnTo>
                  <a:lnTo>
                    <a:pt x="536" y="210"/>
                  </a:lnTo>
                  <a:lnTo>
                    <a:pt x="536" y="139"/>
                  </a:lnTo>
                  <a:lnTo>
                    <a:pt x="388" y="139"/>
                  </a:lnTo>
                  <a:lnTo>
                    <a:pt x="388" y="75"/>
                  </a:lnTo>
                  <a:lnTo>
                    <a:pt x="541" y="75"/>
                  </a:lnTo>
                  <a:close/>
                  <a:moveTo>
                    <a:pt x="239" y="75"/>
                  </a:moveTo>
                  <a:lnTo>
                    <a:pt x="239" y="0"/>
                  </a:lnTo>
                  <a:lnTo>
                    <a:pt x="0" y="0"/>
                  </a:lnTo>
                  <a:lnTo>
                    <a:pt x="0" y="353"/>
                  </a:lnTo>
                  <a:lnTo>
                    <a:pt x="239" y="353"/>
                  </a:lnTo>
                  <a:lnTo>
                    <a:pt x="239" y="278"/>
                  </a:lnTo>
                  <a:lnTo>
                    <a:pt x="85" y="278"/>
                  </a:lnTo>
                  <a:lnTo>
                    <a:pt x="85" y="210"/>
                  </a:lnTo>
                  <a:lnTo>
                    <a:pt x="235" y="210"/>
                  </a:lnTo>
                  <a:lnTo>
                    <a:pt x="235" y="139"/>
                  </a:lnTo>
                  <a:lnTo>
                    <a:pt x="85" y="139"/>
                  </a:lnTo>
                  <a:lnTo>
                    <a:pt x="85" y="75"/>
                  </a:lnTo>
                  <a:lnTo>
                    <a:pt x="23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grpSp>
      <p:sp>
        <p:nvSpPr>
          <p:cNvPr id="7" name="Date Placeholder 6"/>
          <p:cNvSpPr>
            <a:spLocks noGrp="1"/>
          </p:cNvSpPr>
          <p:nvPr>
            <p:ph type="dt" sz="half" idx="10"/>
          </p:nvPr>
        </p:nvSpPr>
        <p:spPr/>
        <p:txBody>
          <a:bodyPr/>
          <a:lstStyle>
            <a:lvl1pPr>
              <a:defRPr>
                <a:solidFill>
                  <a:schemeClr val="bg1"/>
                </a:solidFill>
              </a:defRPr>
            </a:lvl1pPr>
          </a:lstStyle>
          <a:p>
            <a:fld id="{BFC846AA-585E-4E2B-956E-249E469F82E7}" type="datetime1">
              <a:rPr lang="fi-FI" smtClean="0"/>
              <a:t>5.11.2023</a:t>
            </a:fld>
            <a:endParaRPr lang="en-US" dirty="0"/>
          </a:p>
        </p:txBody>
      </p:sp>
      <p:sp>
        <p:nvSpPr>
          <p:cNvPr id="8" name="Footer Placeholder 7"/>
          <p:cNvSpPr>
            <a:spLocks noGrp="1"/>
          </p:cNvSpPr>
          <p:nvPr>
            <p:ph type="ftr" sz="quarter" idx="11"/>
          </p:nvPr>
        </p:nvSpPr>
        <p:spPr/>
        <p:txBody>
          <a:bodyPr/>
          <a:lstStyle>
            <a:lvl1pPr>
              <a:defRPr>
                <a:solidFill>
                  <a:schemeClr val="bg1"/>
                </a:solidFill>
              </a:defRPr>
            </a:lvl1pPr>
          </a:lstStyle>
          <a:p>
            <a:r>
              <a:rPr lang="en-US"/>
              <a:t>© Aalto University Executive Education</a:t>
            </a:r>
            <a:endParaRPr lang="en-US" dirty="0"/>
          </a:p>
        </p:txBody>
      </p:sp>
      <p:sp>
        <p:nvSpPr>
          <p:cNvPr id="9" name="Slide Number Placeholder 8"/>
          <p:cNvSpPr>
            <a:spLocks noGrp="1"/>
          </p:cNvSpPr>
          <p:nvPr>
            <p:ph type="sldNum" sz="quarter" idx="12"/>
          </p:nvPr>
        </p:nvSpPr>
        <p:spPr/>
        <p:txBody>
          <a:bodyPr/>
          <a:lstStyle>
            <a:lvl1pPr>
              <a:defRPr>
                <a:solidFill>
                  <a:schemeClr val="bg1"/>
                </a:solidFill>
              </a:defRPr>
            </a:lvl1pPr>
          </a:lstStyle>
          <a:p>
            <a:fld id="{FCCA222D-FCF7-48C1-A274-EBDDEF75DC66}" type="slidenum">
              <a:rPr lang="en-US" smtClean="0"/>
              <a:pPr/>
              <a:t>‹#›</a:t>
            </a:fld>
            <a:endParaRPr lang="en-US" dirty="0"/>
          </a:p>
        </p:txBody>
      </p:sp>
    </p:spTree>
    <p:extLst>
      <p:ext uri="{BB962C8B-B14F-4D97-AF65-F5344CB8AC3E}">
        <p14:creationId xmlns:p14="http://schemas.microsoft.com/office/powerpoint/2010/main" val="371227384"/>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obj" preserve="1">
  <p:cSld name="Introduction GREE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573882"/>
            <a:ext cx="7487081" cy="602326"/>
          </a:xfrm>
          <a:solidFill>
            <a:srgbClr val="69BE28"/>
          </a:solidFill>
        </p:spPr>
        <p:txBody>
          <a:bodyPr/>
          <a:lstStyle>
            <a:lvl1pPr>
              <a:defRPr/>
            </a:lvl1pPr>
          </a:lstStyle>
          <a:p>
            <a:r>
              <a:rPr lang="en-US" dirty="0"/>
              <a:t>Click to add title</a:t>
            </a:r>
          </a:p>
        </p:txBody>
      </p:sp>
      <p:sp>
        <p:nvSpPr>
          <p:cNvPr id="3" name="Content Placeholder 2"/>
          <p:cNvSpPr>
            <a:spLocks noGrp="1"/>
          </p:cNvSpPr>
          <p:nvPr>
            <p:ph idx="1" hasCustomPrompt="1"/>
          </p:nvPr>
        </p:nvSpPr>
        <p:spPr>
          <a:xfrm>
            <a:off x="1" y="1869673"/>
            <a:ext cx="7487081" cy="2538022"/>
          </a:xfrm>
          <a:solidFill>
            <a:srgbClr val="69BE28"/>
          </a:solidFill>
        </p:spPr>
        <p:txBody>
          <a:bodyPr lIns="540000" tIns="324000" rIns="540000" bIns="324000"/>
          <a:lstStyle>
            <a:lvl1pPr marL="0" indent="0">
              <a:buFontTx/>
              <a:buNone/>
              <a:defRPr b="1">
                <a:solidFill>
                  <a:schemeClr val="bg1"/>
                </a:solidFill>
              </a:defRPr>
            </a:lvl1pPr>
            <a:lvl2pPr marL="199972" indent="-199972">
              <a:buFont typeface="Arial" pitchFamily="34" charset="0"/>
              <a:buChar char="•"/>
              <a:defRPr>
                <a:solidFill>
                  <a:schemeClr val="bg1"/>
                </a:solidFill>
              </a:defRPr>
            </a:lvl2pPr>
          </a:lstStyle>
          <a:p>
            <a:pPr lvl="0"/>
            <a:r>
              <a:rPr lang="en-US" dirty="0"/>
              <a:t>Click to add text</a:t>
            </a:r>
          </a:p>
          <a:p>
            <a:pPr lvl="1"/>
            <a:r>
              <a:rPr lang="en-US" dirty="0"/>
              <a:t>Second level</a:t>
            </a:r>
          </a:p>
        </p:txBody>
      </p:sp>
      <p:grpSp>
        <p:nvGrpSpPr>
          <p:cNvPr id="12" name="Group 11"/>
          <p:cNvGrpSpPr>
            <a:grpSpLocks noChangeAspect="1"/>
          </p:cNvGrpSpPr>
          <p:nvPr userDrawn="1"/>
        </p:nvGrpSpPr>
        <p:grpSpPr>
          <a:xfrm>
            <a:off x="7595548" y="249492"/>
            <a:ext cx="1294116" cy="199800"/>
            <a:chOff x="4067175" y="114301"/>
            <a:chExt cx="3630613" cy="560388"/>
          </a:xfrm>
          <a:solidFill>
            <a:schemeClr val="bg1"/>
          </a:solidFill>
        </p:grpSpPr>
        <p:sp>
          <p:nvSpPr>
            <p:cNvPr id="13" name="Freeform 6"/>
            <p:cNvSpPr>
              <a:spLocks noEditPoints="1"/>
            </p:cNvSpPr>
            <p:nvPr userDrawn="1"/>
          </p:nvSpPr>
          <p:spPr bwMode="auto">
            <a:xfrm>
              <a:off x="5749925" y="114301"/>
              <a:ext cx="1530350" cy="173038"/>
            </a:xfrm>
            <a:custGeom>
              <a:avLst/>
              <a:gdLst>
                <a:gd name="T0" fmla="*/ 922 w 964"/>
                <a:gd name="T1" fmla="*/ 84 h 109"/>
                <a:gd name="T2" fmla="*/ 918 w 964"/>
                <a:gd name="T3" fmla="*/ 109 h 109"/>
                <a:gd name="T4" fmla="*/ 944 w 964"/>
                <a:gd name="T5" fmla="*/ 25 h 109"/>
                <a:gd name="T6" fmla="*/ 860 w 964"/>
                <a:gd name="T7" fmla="*/ 68 h 109"/>
                <a:gd name="T8" fmla="*/ 890 w 964"/>
                <a:gd name="T9" fmla="*/ 89 h 109"/>
                <a:gd name="T10" fmla="*/ 890 w 964"/>
                <a:gd name="T11" fmla="*/ 39 h 109"/>
                <a:gd name="T12" fmla="*/ 819 w 964"/>
                <a:gd name="T13" fmla="*/ 89 h 109"/>
                <a:gd name="T14" fmla="*/ 793 w 964"/>
                <a:gd name="T15" fmla="*/ 26 h 109"/>
                <a:gd name="T16" fmla="*/ 753 w 964"/>
                <a:gd name="T17" fmla="*/ 33 h 109"/>
                <a:gd name="T18" fmla="*/ 757 w 964"/>
                <a:gd name="T19" fmla="*/ 58 h 109"/>
                <a:gd name="T20" fmla="*/ 788 w 964"/>
                <a:gd name="T21" fmla="*/ 72 h 109"/>
                <a:gd name="T22" fmla="*/ 767 w 964"/>
                <a:gd name="T23" fmla="*/ 70 h 109"/>
                <a:gd name="T24" fmla="*/ 772 w 964"/>
                <a:gd name="T25" fmla="*/ 90 h 109"/>
                <a:gd name="T26" fmla="*/ 806 w 964"/>
                <a:gd name="T27" fmla="*/ 73 h 109"/>
                <a:gd name="T28" fmla="*/ 788 w 964"/>
                <a:gd name="T29" fmla="*/ 49 h 109"/>
                <a:gd name="T30" fmla="*/ 777 w 964"/>
                <a:gd name="T31" fmla="*/ 37 h 109"/>
                <a:gd name="T32" fmla="*/ 700 w 964"/>
                <a:gd name="T33" fmla="*/ 89 h 109"/>
                <a:gd name="T34" fmla="*/ 729 w 964"/>
                <a:gd name="T35" fmla="*/ 42 h 109"/>
                <a:gd name="T36" fmla="*/ 723 w 964"/>
                <a:gd name="T37" fmla="*/ 27 h 109"/>
                <a:gd name="T38" fmla="*/ 643 w 964"/>
                <a:gd name="T39" fmla="*/ 42 h 109"/>
                <a:gd name="T40" fmla="*/ 666 w 964"/>
                <a:gd name="T41" fmla="*/ 44 h 109"/>
                <a:gd name="T42" fmla="*/ 682 w 964"/>
                <a:gd name="T43" fmla="*/ 38 h 109"/>
                <a:gd name="T44" fmla="*/ 647 w 964"/>
                <a:gd name="T45" fmla="*/ 24 h 109"/>
                <a:gd name="T46" fmla="*/ 623 w 964"/>
                <a:gd name="T47" fmla="*/ 46 h 109"/>
                <a:gd name="T48" fmla="*/ 641 w 964"/>
                <a:gd name="T49" fmla="*/ 88 h 109"/>
                <a:gd name="T50" fmla="*/ 679 w 964"/>
                <a:gd name="T51" fmla="*/ 82 h 109"/>
                <a:gd name="T52" fmla="*/ 656 w 964"/>
                <a:gd name="T53" fmla="*/ 76 h 109"/>
                <a:gd name="T54" fmla="*/ 687 w 964"/>
                <a:gd name="T55" fmla="*/ 62 h 109"/>
                <a:gd name="T56" fmla="*/ 575 w 964"/>
                <a:gd name="T57" fmla="*/ 89 h 109"/>
                <a:gd name="T58" fmla="*/ 521 w 964"/>
                <a:gd name="T59" fmla="*/ 89 h 109"/>
                <a:gd name="T60" fmla="*/ 467 w 964"/>
                <a:gd name="T61" fmla="*/ 42 h 109"/>
                <a:gd name="T62" fmla="*/ 483 w 964"/>
                <a:gd name="T63" fmla="*/ 44 h 109"/>
                <a:gd name="T64" fmla="*/ 497 w 964"/>
                <a:gd name="T65" fmla="*/ 29 h 109"/>
                <a:gd name="T66" fmla="*/ 463 w 964"/>
                <a:gd name="T67" fmla="*/ 25 h 109"/>
                <a:gd name="T68" fmla="*/ 398 w 964"/>
                <a:gd name="T69" fmla="*/ 73 h 109"/>
                <a:gd name="T70" fmla="*/ 376 w 964"/>
                <a:gd name="T71" fmla="*/ 63 h 109"/>
                <a:gd name="T72" fmla="*/ 364 w 964"/>
                <a:gd name="T73" fmla="*/ 81 h 109"/>
                <a:gd name="T74" fmla="*/ 406 w 964"/>
                <a:gd name="T75" fmla="*/ 89 h 109"/>
                <a:gd name="T76" fmla="*/ 427 w 964"/>
                <a:gd name="T77" fmla="*/ 60 h 109"/>
                <a:gd name="T78" fmla="*/ 292 w 964"/>
                <a:gd name="T79" fmla="*/ 49 h 109"/>
                <a:gd name="T80" fmla="*/ 284 w 964"/>
                <a:gd name="T81" fmla="*/ 74 h 109"/>
                <a:gd name="T82" fmla="*/ 263 w 964"/>
                <a:gd name="T83" fmla="*/ 61 h 109"/>
                <a:gd name="T84" fmla="*/ 274 w 964"/>
                <a:gd name="T85" fmla="*/ 38 h 109"/>
                <a:gd name="T86" fmla="*/ 247 w 964"/>
                <a:gd name="T87" fmla="*/ 40 h 109"/>
                <a:gd name="T88" fmla="*/ 249 w 964"/>
                <a:gd name="T89" fmla="*/ 76 h 109"/>
                <a:gd name="T90" fmla="*/ 291 w 964"/>
                <a:gd name="T91" fmla="*/ 88 h 109"/>
                <a:gd name="T92" fmla="*/ 311 w 964"/>
                <a:gd name="T93" fmla="*/ 57 h 109"/>
                <a:gd name="T94" fmla="*/ 291 w 964"/>
                <a:gd name="T95" fmla="*/ 26 h 109"/>
                <a:gd name="T96" fmla="*/ 196 w 964"/>
                <a:gd name="T97" fmla="*/ 26 h 109"/>
                <a:gd name="T98" fmla="*/ 214 w 964"/>
                <a:gd name="T99" fmla="*/ 88 h 109"/>
                <a:gd name="T100" fmla="*/ 224 w 964"/>
                <a:gd name="T101" fmla="*/ 70 h 109"/>
                <a:gd name="T102" fmla="*/ 184 w 964"/>
                <a:gd name="T103" fmla="*/ 0 h 109"/>
                <a:gd name="T104" fmla="*/ 108 w 964"/>
                <a:gd name="T105" fmla="*/ 71 h 109"/>
                <a:gd name="T106" fmla="*/ 110 w 964"/>
                <a:gd name="T107" fmla="*/ 45 h 109"/>
                <a:gd name="T108" fmla="*/ 130 w 964"/>
                <a:gd name="T109" fmla="*/ 41 h 109"/>
                <a:gd name="T110" fmla="*/ 103 w 964"/>
                <a:gd name="T111" fmla="*/ 52 h 109"/>
                <a:gd name="T112" fmla="*/ 91 w 964"/>
                <a:gd name="T113" fmla="*/ 79 h 109"/>
                <a:gd name="T114" fmla="*/ 123 w 964"/>
                <a:gd name="T115" fmla="*/ 89 h 109"/>
                <a:gd name="T116" fmla="*/ 149 w 964"/>
                <a:gd name="T117" fmla="*/ 42 h 109"/>
                <a:gd name="T118" fmla="*/ 115 w 964"/>
                <a:gd name="T119" fmla="*/ 23 h 109"/>
                <a:gd name="T120" fmla="*/ 93 w 964"/>
                <a:gd name="T121" fmla="*/ 45 h 109"/>
                <a:gd name="T122" fmla="*/ 56 w 964"/>
                <a:gd name="T1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4" h="109">
                  <a:moveTo>
                    <a:pt x="944" y="25"/>
                  </a:moveTo>
                  <a:lnTo>
                    <a:pt x="936" y="54"/>
                  </a:lnTo>
                  <a:lnTo>
                    <a:pt x="933" y="68"/>
                  </a:lnTo>
                  <a:lnTo>
                    <a:pt x="932" y="65"/>
                  </a:lnTo>
                  <a:lnTo>
                    <a:pt x="928" y="54"/>
                  </a:lnTo>
                  <a:lnTo>
                    <a:pt x="919" y="25"/>
                  </a:lnTo>
                  <a:lnTo>
                    <a:pt x="899" y="25"/>
                  </a:lnTo>
                  <a:lnTo>
                    <a:pt x="920" y="79"/>
                  </a:lnTo>
                  <a:lnTo>
                    <a:pt x="922" y="84"/>
                  </a:lnTo>
                  <a:lnTo>
                    <a:pt x="922" y="87"/>
                  </a:lnTo>
                  <a:lnTo>
                    <a:pt x="922" y="90"/>
                  </a:lnTo>
                  <a:lnTo>
                    <a:pt x="920" y="93"/>
                  </a:lnTo>
                  <a:lnTo>
                    <a:pt x="919" y="94"/>
                  </a:lnTo>
                  <a:lnTo>
                    <a:pt x="917" y="94"/>
                  </a:lnTo>
                  <a:lnTo>
                    <a:pt x="913" y="95"/>
                  </a:lnTo>
                  <a:lnTo>
                    <a:pt x="907" y="95"/>
                  </a:lnTo>
                  <a:lnTo>
                    <a:pt x="907" y="109"/>
                  </a:lnTo>
                  <a:lnTo>
                    <a:pt x="918" y="109"/>
                  </a:lnTo>
                  <a:lnTo>
                    <a:pt x="923" y="109"/>
                  </a:lnTo>
                  <a:lnTo>
                    <a:pt x="927" y="108"/>
                  </a:lnTo>
                  <a:lnTo>
                    <a:pt x="930" y="107"/>
                  </a:lnTo>
                  <a:lnTo>
                    <a:pt x="933" y="105"/>
                  </a:lnTo>
                  <a:lnTo>
                    <a:pt x="935" y="103"/>
                  </a:lnTo>
                  <a:lnTo>
                    <a:pt x="937" y="100"/>
                  </a:lnTo>
                  <a:lnTo>
                    <a:pt x="941" y="89"/>
                  </a:lnTo>
                  <a:lnTo>
                    <a:pt x="964" y="25"/>
                  </a:lnTo>
                  <a:lnTo>
                    <a:pt x="944" y="25"/>
                  </a:lnTo>
                  <a:close/>
                  <a:moveTo>
                    <a:pt x="890" y="26"/>
                  </a:moveTo>
                  <a:lnTo>
                    <a:pt x="879" y="26"/>
                  </a:lnTo>
                  <a:lnTo>
                    <a:pt x="879" y="5"/>
                  </a:lnTo>
                  <a:lnTo>
                    <a:pt x="860" y="5"/>
                  </a:lnTo>
                  <a:lnTo>
                    <a:pt x="860" y="26"/>
                  </a:lnTo>
                  <a:lnTo>
                    <a:pt x="851" y="26"/>
                  </a:lnTo>
                  <a:lnTo>
                    <a:pt x="851" y="39"/>
                  </a:lnTo>
                  <a:lnTo>
                    <a:pt x="860" y="39"/>
                  </a:lnTo>
                  <a:lnTo>
                    <a:pt x="860" y="68"/>
                  </a:lnTo>
                  <a:lnTo>
                    <a:pt x="860" y="74"/>
                  </a:lnTo>
                  <a:lnTo>
                    <a:pt x="861" y="79"/>
                  </a:lnTo>
                  <a:lnTo>
                    <a:pt x="862" y="82"/>
                  </a:lnTo>
                  <a:lnTo>
                    <a:pt x="863" y="84"/>
                  </a:lnTo>
                  <a:lnTo>
                    <a:pt x="866" y="86"/>
                  </a:lnTo>
                  <a:lnTo>
                    <a:pt x="869" y="88"/>
                  </a:lnTo>
                  <a:lnTo>
                    <a:pt x="873" y="88"/>
                  </a:lnTo>
                  <a:lnTo>
                    <a:pt x="879" y="89"/>
                  </a:lnTo>
                  <a:lnTo>
                    <a:pt x="890" y="89"/>
                  </a:lnTo>
                  <a:lnTo>
                    <a:pt x="890" y="75"/>
                  </a:lnTo>
                  <a:lnTo>
                    <a:pt x="883" y="75"/>
                  </a:lnTo>
                  <a:lnTo>
                    <a:pt x="881" y="74"/>
                  </a:lnTo>
                  <a:lnTo>
                    <a:pt x="880" y="74"/>
                  </a:lnTo>
                  <a:lnTo>
                    <a:pt x="879" y="73"/>
                  </a:lnTo>
                  <a:lnTo>
                    <a:pt x="879" y="70"/>
                  </a:lnTo>
                  <a:lnTo>
                    <a:pt x="879" y="64"/>
                  </a:lnTo>
                  <a:lnTo>
                    <a:pt x="879" y="39"/>
                  </a:lnTo>
                  <a:lnTo>
                    <a:pt x="890" y="39"/>
                  </a:lnTo>
                  <a:lnTo>
                    <a:pt x="890" y="26"/>
                  </a:lnTo>
                  <a:close/>
                  <a:moveTo>
                    <a:pt x="838" y="0"/>
                  </a:moveTo>
                  <a:lnTo>
                    <a:pt x="819" y="0"/>
                  </a:lnTo>
                  <a:lnTo>
                    <a:pt x="819" y="16"/>
                  </a:lnTo>
                  <a:lnTo>
                    <a:pt x="838" y="16"/>
                  </a:lnTo>
                  <a:lnTo>
                    <a:pt x="838" y="0"/>
                  </a:lnTo>
                  <a:close/>
                  <a:moveTo>
                    <a:pt x="838" y="25"/>
                  </a:moveTo>
                  <a:lnTo>
                    <a:pt x="819" y="25"/>
                  </a:lnTo>
                  <a:lnTo>
                    <a:pt x="819" y="89"/>
                  </a:lnTo>
                  <a:lnTo>
                    <a:pt x="838" y="89"/>
                  </a:lnTo>
                  <a:lnTo>
                    <a:pt x="838" y="25"/>
                  </a:lnTo>
                  <a:close/>
                  <a:moveTo>
                    <a:pt x="806" y="44"/>
                  </a:moveTo>
                  <a:lnTo>
                    <a:pt x="805" y="39"/>
                  </a:lnTo>
                  <a:lnTo>
                    <a:pt x="803" y="35"/>
                  </a:lnTo>
                  <a:lnTo>
                    <a:pt x="800" y="31"/>
                  </a:lnTo>
                  <a:lnTo>
                    <a:pt x="797" y="28"/>
                  </a:lnTo>
                  <a:lnTo>
                    <a:pt x="795" y="27"/>
                  </a:lnTo>
                  <a:lnTo>
                    <a:pt x="793" y="26"/>
                  </a:lnTo>
                  <a:lnTo>
                    <a:pt x="789" y="24"/>
                  </a:lnTo>
                  <a:lnTo>
                    <a:pt x="783" y="23"/>
                  </a:lnTo>
                  <a:lnTo>
                    <a:pt x="777" y="23"/>
                  </a:lnTo>
                  <a:lnTo>
                    <a:pt x="771" y="23"/>
                  </a:lnTo>
                  <a:lnTo>
                    <a:pt x="766" y="24"/>
                  </a:lnTo>
                  <a:lnTo>
                    <a:pt x="761" y="26"/>
                  </a:lnTo>
                  <a:lnTo>
                    <a:pt x="757" y="29"/>
                  </a:lnTo>
                  <a:lnTo>
                    <a:pt x="754" y="32"/>
                  </a:lnTo>
                  <a:lnTo>
                    <a:pt x="753" y="33"/>
                  </a:lnTo>
                  <a:lnTo>
                    <a:pt x="752" y="35"/>
                  </a:lnTo>
                  <a:lnTo>
                    <a:pt x="751" y="39"/>
                  </a:lnTo>
                  <a:lnTo>
                    <a:pt x="750" y="44"/>
                  </a:lnTo>
                  <a:lnTo>
                    <a:pt x="750" y="47"/>
                  </a:lnTo>
                  <a:lnTo>
                    <a:pt x="751" y="50"/>
                  </a:lnTo>
                  <a:lnTo>
                    <a:pt x="752" y="52"/>
                  </a:lnTo>
                  <a:lnTo>
                    <a:pt x="753" y="53"/>
                  </a:lnTo>
                  <a:lnTo>
                    <a:pt x="755" y="56"/>
                  </a:lnTo>
                  <a:lnTo>
                    <a:pt x="757" y="58"/>
                  </a:lnTo>
                  <a:lnTo>
                    <a:pt x="761" y="59"/>
                  </a:lnTo>
                  <a:lnTo>
                    <a:pt x="765" y="61"/>
                  </a:lnTo>
                  <a:lnTo>
                    <a:pt x="770" y="62"/>
                  </a:lnTo>
                  <a:lnTo>
                    <a:pt x="781" y="65"/>
                  </a:lnTo>
                  <a:lnTo>
                    <a:pt x="785" y="66"/>
                  </a:lnTo>
                  <a:lnTo>
                    <a:pt x="787" y="67"/>
                  </a:lnTo>
                  <a:lnTo>
                    <a:pt x="788" y="69"/>
                  </a:lnTo>
                  <a:lnTo>
                    <a:pt x="788" y="71"/>
                  </a:lnTo>
                  <a:lnTo>
                    <a:pt x="788" y="72"/>
                  </a:lnTo>
                  <a:lnTo>
                    <a:pt x="788" y="73"/>
                  </a:lnTo>
                  <a:lnTo>
                    <a:pt x="786" y="75"/>
                  </a:lnTo>
                  <a:lnTo>
                    <a:pt x="783" y="76"/>
                  </a:lnTo>
                  <a:lnTo>
                    <a:pt x="779" y="77"/>
                  </a:lnTo>
                  <a:lnTo>
                    <a:pt x="774" y="76"/>
                  </a:lnTo>
                  <a:lnTo>
                    <a:pt x="772" y="76"/>
                  </a:lnTo>
                  <a:lnTo>
                    <a:pt x="770" y="75"/>
                  </a:lnTo>
                  <a:lnTo>
                    <a:pt x="767" y="72"/>
                  </a:lnTo>
                  <a:lnTo>
                    <a:pt x="767" y="70"/>
                  </a:lnTo>
                  <a:lnTo>
                    <a:pt x="766" y="68"/>
                  </a:lnTo>
                  <a:lnTo>
                    <a:pt x="748" y="68"/>
                  </a:lnTo>
                  <a:lnTo>
                    <a:pt x="749" y="73"/>
                  </a:lnTo>
                  <a:lnTo>
                    <a:pt x="751" y="77"/>
                  </a:lnTo>
                  <a:lnTo>
                    <a:pt x="754" y="81"/>
                  </a:lnTo>
                  <a:lnTo>
                    <a:pt x="757" y="84"/>
                  </a:lnTo>
                  <a:lnTo>
                    <a:pt x="761" y="87"/>
                  </a:lnTo>
                  <a:lnTo>
                    <a:pt x="766" y="89"/>
                  </a:lnTo>
                  <a:lnTo>
                    <a:pt x="772" y="90"/>
                  </a:lnTo>
                  <a:lnTo>
                    <a:pt x="778" y="90"/>
                  </a:lnTo>
                  <a:lnTo>
                    <a:pt x="785" y="90"/>
                  </a:lnTo>
                  <a:lnTo>
                    <a:pt x="790" y="89"/>
                  </a:lnTo>
                  <a:lnTo>
                    <a:pt x="795" y="87"/>
                  </a:lnTo>
                  <a:lnTo>
                    <a:pt x="799" y="84"/>
                  </a:lnTo>
                  <a:lnTo>
                    <a:pt x="803" y="81"/>
                  </a:lnTo>
                  <a:lnTo>
                    <a:pt x="805" y="78"/>
                  </a:lnTo>
                  <a:lnTo>
                    <a:pt x="806" y="75"/>
                  </a:lnTo>
                  <a:lnTo>
                    <a:pt x="806" y="73"/>
                  </a:lnTo>
                  <a:lnTo>
                    <a:pt x="807" y="68"/>
                  </a:lnTo>
                  <a:lnTo>
                    <a:pt x="807" y="65"/>
                  </a:lnTo>
                  <a:lnTo>
                    <a:pt x="806" y="61"/>
                  </a:lnTo>
                  <a:lnTo>
                    <a:pt x="804" y="58"/>
                  </a:lnTo>
                  <a:lnTo>
                    <a:pt x="802" y="56"/>
                  </a:lnTo>
                  <a:lnTo>
                    <a:pt x="800" y="54"/>
                  </a:lnTo>
                  <a:lnTo>
                    <a:pt x="797" y="52"/>
                  </a:lnTo>
                  <a:lnTo>
                    <a:pt x="793" y="51"/>
                  </a:lnTo>
                  <a:lnTo>
                    <a:pt x="788" y="49"/>
                  </a:lnTo>
                  <a:lnTo>
                    <a:pt x="776" y="47"/>
                  </a:lnTo>
                  <a:lnTo>
                    <a:pt x="772" y="46"/>
                  </a:lnTo>
                  <a:lnTo>
                    <a:pt x="770" y="45"/>
                  </a:lnTo>
                  <a:lnTo>
                    <a:pt x="768" y="44"/>
                  </a:lnTo>
                  <a:lnTo>
                    <a:pt x="768" y="42"/>
                  </a:lnTo>
                  <a:lnTo>
                    <a:pt x="769" y="40"/>
                  </a:lnTo>
                  <a:lnTo>
                    <a:pt x="771" y="38"/>
                  </a:lnTo>
                  <a:lnTo>
                    <a:pt x="773" y="37"/>
                  </a:lnTo>
                  <a:lnTo>
                    <a:pt x="777" y="37"/>
                  </a:lnTo>
                  <a:lnTo>
                    <a:pt x="781" y="37"/>
                  </a:lnTo>
                  <a:lnTo>
                    <a:pt x="783" y="38"/>
                  </a:lnTo>
                  <a:lnTo>
                    <a:pt x="785" y="39"/>
                  </a:lnTo>
                  <a:lnTo>
                    <a:pt x="786" y="40"/>
                  </a:lnTo>
                  <a:lnTo>
                    <a:pt x="787" y="41"/>
                  </a:lnTo>
                  <a:lnTo>
                    <a:pt x="788" y="44"/>
                  </a:lnTo>
                  <a:lnTo>
                    <a:pt x="806" y="44"/>
                  </a:lnTo>
                  <a:close/>
                  <a:moveTo>
                    <a:pt x="700" y="25"/>
                  </a:moveTo>
                  <a:lnTo>
                    <a:pt x="700" y="89"/>
                  </a:lnTo>
                  <a:lnTo>
                    <a:pt x="719" y="89"/>
                  </a:lnTo>
                  <a:lnTo>
                    <a:pt x="719" y="71"/>
                  </a:lnTo>
                  <a:lnTo>
                    <a:pt x="719" y="56"/>
                  </a:lnTo>
                  <a:lnTo>
                    <a:pt x="720" y="52"/>
                  </a:lnTo>
                  <a:lnTo>
                    <a:pt x="721" y="48"/>
                  </a:lnTo>
                  <a:lnTo>
                    <a:pt x="722" y="46"/>
                  </a:lnTo>
                  <a:lnTo>
                    <a:pt x="724" y="45"/>
                  </a:lnTo>
                  <a:lnTo>
                    <a:pt x="727" y="42"/>
                  </a:lnTo>
                  <a:lnTo>
                    <a:pt x="729" y="42"/>
                  </a:lnTo>
                  <a:lnTo>
                    <a:pt x="731" y="41"/>
                  </a:lnTo>
                  <a:lnTo>
                    <a:pt x="735" y="40"/>
                  </a:lnTo>
                  <a:lnTo>
                    <a:pt x="740" y="41"/>
                  </a:lnTo>
                  <a:lnTo>
                    <a:pt x="740" y="23"/>
                  </a:lnTo>
                  <a:lnTo>
                    <a:pt x="735" y="23"/>
                  </a:lnTo>
                  <a:lnTo>
                    <a:pt x="731" y="24"/>
                  </a:lnTo>
                  <a:lnTo>
                    <a:pt x="728" y="24"/>
                  </a:lnTo>
                  <a:lnTo>
                    <a:pt x="725" y="26"/>
                  </a:lnTo>
                  <a:lnTo>
                    <a:pt x="723" y="27"/>
                  </a:lnTo>
                  <a:lnTo>
                    <a:pt x="721" y="30"/>
                  </a:lnTo>
                  <a:lnTo>
                    <a:pt x="719" y="33"/>
                  </a:lnTo>
                  <a:lnTo>
                    <a:pt x="718" y="36"/>
                  </a:lnTo>
                  <a:lnTo>
                    <a:pt x="718" y="25"/>
                  </a:lnTo>
                  <a:lnTo>
                    <a:pt x="700" y="25"/>
                  </a:lnTo>
                  <a:close/>
                  <a:moveTo>
                    <a:pt x="640" y="49"/>
                  </a:moveTo>
                  <a:lnTo>
                    <a:pt x="641" y="46"/>
                  </a:lnTo>
                  <a:lnTo>
                    <a:pt x="642" y="44"/>
                  </a:lnTo>
                  <a:lnTo>
                    <a:pt x="643" y="42"/>
                  </a:lnTo>
                  <a:lnTo>
                    <a:pt x="645" y="40"/>
                  </a:lnTo>
                  <a:lnTo>
                    <a:pt x="647" y="39"/>
                  </a:lnTo>
                  <a:lnTo>
                    <a:pt x="649" y="38"/>
                  </a:lnTo>
                  <a:lnTo>
                    <a:pt x="655" y="37"/>
                  </a:lnTo>
                  <a:lnTo>
                    <a:pt x="660" y="38"/>
                  </a:lnTo>
                  <a:lnTo>
                    <a:pt x="662" y="39"/>
                  </a:lnTo>
                  <a:lnTo>
                    <a:pt x="663" y="40"/>
                  </a:lnTo>
                  <a:lnTo>
                    <a:pt x="665" y="42"/>
                  </a:lnTo>
                  <a:lnTo>
                    <a:pt x="666" y="44"/>
                  </a:lnTo>
                  <a:lnTo>
                    <a:pt x="667" y="46"/>
                  </a:lnTo>
                  <a:lnTo>
                    <a:pt x="667" y="49"/>
                  </a:lnTo>
                  <a:lnTo>
                    <a:pt x="640" y="49"/>
                  </a:lnTo>
                  <a:close/>
                  <a:moveTo>
                    <a:pt x="687" y="62"/>
                  </a:moveTo>
                  <a:lnTo>
                    <a:pt x="686" y="56"/>
                  </a:lnTo>
                  <a:lnTo>
                    <a:pt x="686" y="51"/>
                  </a:lnTo>
                  <a:lnTo>
                    <a:pt x="685" y="47"/>
                  </a:lnTo>
                  <a:lnTo>
                    <a:pt x="684" y="43"/>
                  </a:lnTo>
                  <a:lnTo>
                    <a:pt x="682" y="38"/>
                  </a:lnTo>
                  <a:lnTo>
                    <a:pt x="679" y="34"/>
                  </a:lnTo>
                  <a:lnTo>
                    <a:pt x="676" y="31"/>
                  </a:lnTo>
                  <a:lnTo>
                    <a:pt x="673" y="28"/>
                  </a:lnTo>
                  <a:lnTo>
                    <a:pt x="669" y="26"/>
                  </a:lnTo>
                  <a:lnTo>
                    <a:pt x="667" y="25"/>
                  </a:lnTo>
                  <a:lnTo>
                    <a:pt x="665" y="24"/>
                  </a:lnTo>
                  <a:lnTo>
                    <a:pt x="660" y="23"/>
                  </a:lnTo>
                  <a:lnTo>
                    <a:pt x="655" y="23"/>
                  </a:lnTo>
                  <a:lnTo>
                    <a:pt x="647" y="24"/>
                  </a:lnTo>
                  <a:lnTo>
                    <a:pt x="641" y="26"/>
                  </a:lnTo>
                  <a:lnTo>
                    <a:pt x="638" y="27"/>
                  </a:lnTo>
                  <a:lnTo>
                    <a:pt x="635" y="29"/>
                  </a:lnTo>
                  <a:lnTo>
                    <a:pt x="630" y="32"/>
                  </a:lnTo>
                  <a:lnTo>
                    <a:pt x="628" y="35"/>
                  </a:lnTo>
                  <a:lnTo>
                    <a:pt x="627" y="37"/>
                  </a:lnTo>
                  <a:lnTo>
                    <a:pt x="625" y="40"/>
                  </a:lnTo>
                  <a:lnTo>
                    <a:pt x="624" y="43"/>
                  </a:lnTo>
                  <a:lnTo>
                    <a:pt x="623" y="46"/>
                  </a:lnTo>
                  <a:lnTo>
                    <a:pt x="622" y="50"/>
                  </a:lnTo>
                  <a:lnTo>
                    <a:pt x="621" y="53"/>
                  </a:lnTo>
                  <a:lnTo>
                    <a:pt x="621" y="57"/>
                  </a:lnTo>
                  <a:lnTo>
                    <a:pt x="622" y="64"/>
                  </a:lnTo>
                  <a:lnTo>
                    <a:pt x="624" y="71"/>
                  </a:lnTo>
                  <a:lnTo>
                    <a:pt x="626" y="76"/>
                  </a:lnTo>
                  <a:lnTo>
                    <a:pt x="630" y="81"/>
                  </a:lnTo>
                  <a:lnTo>
                    <a:pt x="635" y="85"/>
                  </a:lnTo>
                  <a:lnTo>
                    <a:pt x="641" y="88"/>
                  </a:lnTo>
                  <a:lnTo>
                    <a:pt x="644" y="89"/>
                  </a:lnTo>
                  <a:lnTo>
                    <a:pt x="647" y="90"/>
                  </a:lnTo>
                  <a:lnTo>
                    <a:pt x="650" y="90"/>
                  </a:lnTo>
                  <a:lnTo>
                    <a:pt x="655" y="90"/>
                  </a:lnTo>
                  <a:lnTo>
                    <a:pt x="661" y="90"/>
                  </a:lnTo>
                  <a:lnTo>
                    <a:pt x="666" y="89"/>
                  </a:lnTo>
                  <a:lnTo>
                    <a:pt x="671" y="87"/>
                  </a:lnTo>
                  <a:lnTo>
                    <a:pt x="675" y="85"/>
                  </a:lnTo>
                  <a:lnTo>
                    <a:pt x="679" y="82"/>
                  </a:lnTo>
                  <a:lnTo>
                    <a:pt x="680" y="80"/>
                  </a:lnTo>
                  <a:lnTo>
                    <a:pt x="682" y="78"/>
                  </a:lnTo>
                  <a:lnTo>
                    <a:pt x="684" y="74"/>
                  </a:lnTo>
                  <a:lnTo>
                    <a:pt x="686" y="70"/>
                  </a:lnTo>
                  <a:lnTo>
                    <a:pt x="667" y="70"/>
                  </a:lnTo>
                  <a:lnTo>
                    <a:pt x="665" y="73"/>
                  </a:lnTo>
                  <a:lnTo>
                    <a:pt x="662" y="74"/>
                  </a:lnTo>
                  <a:lnTo>
                    <a:pt x="659" y="75"/>
                  </a:lnTo>
                  <a:lnTo>
                    <a:pt x="656" y="76"/>
                  </a:lnTo>
                  <a:lnTo>
                    <a:pt x="653" y="76"/>
                  </a:lnTo>
                  <a:lnTo>
                    <a:pt x="649" y="75"/>
                  </a:lnTo>
                  <a:lnTo>
                    <a:pt x="647" y="74"/>
                  </a:lnTo>
                  <a:lnTo>
                    <a:pt x="645" y="72"/>
                  </a:lnTo>
                  <a:lnTo>
                    <a:pt x="643" y="70"/>
                  </a:lnTo>
                  <a:lnTo>
                    <a:pt x="642" y="68"/>
                  </a:lnTo>
                  <a:lnTo>
                    <a:pt x="641" y="65"/>
                  </a:lnTo>
                  <a:lnTo>
                    <a:pt x="640" y="62"/>
                  </a:lnTo>
                  <a:lnTo>
                    <a:pt x="687" y="62"/>
                  </a:lnTo>
                  <a:close/>
                  <a:moveTo>
                    <a:pt x="593" y="89"/>
                  </a:moveTo>
                  <a:lnTo>
                    <a:pt x="614" y="25"/>
                  </a:lnTo>
                  <a:lnTo>
                    <a:pt x="594" y="25"/>
                  </a:lnTo>
                  <a:lnTo>
                    <a:pt x="588" y="49"/>
                  </a:lnTo>
                  <a:lnTo>
                    <a:pt x="584" y="68"/>
                  </a:lnTo>
                  <a:lnTo>
                    <a:pt x="579" y="49"/>
                  </a:lnTo>
                  <a:lnTo>
                    <a:pt x="571" y="25"/>
                  </a:lnTo>
                  <a:lnTo>
                    <a:pt x="552" y="25"/>
                  </a:lnTo>
                  <a:lnTo>
                    <a:pt x="575" y="89"/>
                  </a:lnTo>
                  <a:lnTo>
                    <a:pt x="593" y="89"/>
                  </a:lnTo>
                  <a:close/>
                  <a:moveTo>
                    <a:pt x="540" y="0"/>
                  </a:moveTo>
                  <a:lnTo>
                    <a:pt x="521" y="0"/>
                  </a:lnTo>
                  <a:lnTo>
                    <a:pt x="521" y="16"/>
                  </a:lnTo>
                  <a:lnTo>
                    <a:pt x="540" y="16"/>
                  </a:lnTo>
                  <a:lnTo>
                    <a:pt x="540" y="0"/>
                  </a:lnTo>
                  <a:close/>
                  <a:moveTo>
                    <a:pt x="540" y="25"/>
                  </a:moveTo>
                  <a:lnTo>
                    <a:pt x="521" y="25"/>
                  </a:lnTo>
                  <a:lnTo>
                    <a:pt x="521" y="89"/>
                  </a:lnTo>
                  <a:lnTo>
                    <a:pt x="540" y="89"/>
                  </a:lnTo>
                  <a:lnTo>
                    <a:pt x="540" y="25"/>
                  </a:lnTo>
                  <a:close/>
                  <a:moveTo>
                    <a:pt x="445" y="25"/>
                  </a:moveTo>
                  <a:lnTo>
                    <a:pt x="445" y="89"/>
                  </a:lnTo>
                  <a:lnTo>
                    <a:pt x="464" y="89"/>
                  </a:lnTo>
                  <a:lnTo>
                    <a:pt x="464" y="53"/>
                  </a:lnTo>
                  <a:lnTo>
                    <a:pt x="465" y="46"/>
                  </a:lnTo>
                  <a:lnTo>
                    <a:pt x="465" y="44"/>
                  </a:lnTo>
                  <a:lnTo>
                    <a:pt x="467" y="42"/>
                  </a:lnTo>
                  <a:lnTo>
                    <a:pt x="468" y="41"/>
                  </a:lnTo>
                  <a:lnTo>
                    <a:pt x="470" y="40"/>
                  </a:lnTo>
                  <a:lnTo>
                    <a:pt x="472" y="39"/>
                  </a:lnTo>
                  <a:lnTo>
                    <a:pt x="475" y="39"/>
                  </a:lnTo>
                  <a:lnTo>
                    <a:pt x="477" y="39"/>
                  </a:lnTo>
                  <a:lnTo>
                    <a:pt x="479" y="40"/>
                  </a:lnTo>
                  <a:lnTo>
                    <a:pt x="481" y="41"/>
                  </a:lnTo>
                  <a:lnTo>
                    <a:pt x="482" y="43"/>
                  </a:lnTo>
                  <a:lnTo>
                    <a:pt x="483" y="44"/>
                  </a:lnTo>
                  <a:lnTo>
                    <a:pt x="484" y="47"/>
                  </a:lnTo>
                  <a:lnTo>
                    <a:pt x="484" y="54"/>
                  </a:lnTo>
                  <a:lnTo>
                    <a:pt x="484" y="89"/>
                  </a:lnTo>
                  <a:lnTo>
                    <a:pt x="503" y="89"/>
                  </a:lnTo>
                  <a:lnTo>
                    <a:pt x="503" y="47"/>
                  </a:lnTo>
                  <a:lnTo>
                    <a:pt x="503" y="42"/>
                  </a:lnTo>
                  <a:lnTo>
                    <a:pt x="502" y="37"/>
                  </a:lnTo>
                  <a:lnTo>
                    <a:pt x="500" y="33"/>
                  </a:lnTo>
                  <a:lnTo>
                    <a:pt x="497" y="29"/>
                  </a:lnTo>
                  <a:lnTo>
                    <a:pt x="494" y="27"/>
                  </a:lnTo>
                  <a:lnTo>
                    <a:pt x="490" y="25"/>
                  </a:lnTo>
                  <a:lnTo>
                    <a:pt x="486" y="23"/>
                  </a:lnTo>
                  <a:lnTo>
                    <a:pt x="481" y="23"/>
                  </a:lnTo>
                  <a:lnTo>
                    <a:pt x="476" y="23"/>
                  </a:lnTo>
                  <a:lnTo>
                    <a:pt x="472" y="25"/>
                  </a:lnTo>
                  <a:lnTo>
                    <a:pt x="468" y="27"/>
                  </a:lnTo>
                  <a:lnTo>
                    <a:pt x="463" y="31"/>
                  </a:lnTo>
                  <a:lnTo>
                    <a:pt x="463" y="25"/>
                  </a:lnTo>
                  <a:lnTo>
                    <a:pt x="445" y="25"/>
                  </a:lnTo>
                  <a:close/>
                  <a:moveTo>
                    <a:pt x="407" y="0"/>
                  </a:moveTo>
                  <a:lnTo>
                    <a:pt x="407" y="59"/>
                  </a:lnTo>
                  <a:lnTo>
                    <a:pt x="407" y="63"/>
                  </a:lnTo>
                  <a:lnTo>
                    <a:pt x="406" y="66"/>
                  </a:lnTo>
                  <a:lnTo>
                    <a:pt x="405" y="68"/>
                  </a:lnTo>
                  <a:lnTo>
                    <a:pt x="404" y="70"/>
                  </a:lnTo>
                  <a:lnTo>
                    <a:pt x="401" y="72"/>
                  </a:lnTo>
                  <a:lnTo>
                    <a:pt x="398" y="73"/>
                  </a:lnTo>
                  <a:lnTo>
                    <a:pt x="395" y="74"/>
                  </a:lnTo>
                  <a:lnTo>
                    <a:pt x="392" y="74"/>
                  </a:lnTo>
                  <a:lnTo>
                    <a:pt x="388" y="74"/>
                  </a:lnTo>
                  <a:lnTo>
                    <a:pt x="385" y="73"/>
                  </a:lnTo>
                  <a:lnTo>
                    <a:pt x="382" y="72"/>
                  </a:lnTo>
                  <a:lnTo>
                    <a:pt x="380" y="70"/>
                  </a:lnTo>
                  <a:lnTo>
                    <a:pt x="378" y="68"/>
                  </a:lnTo>
                  <a:lnTo>
                    <a:pt x="377" y="66"/>
                  </a:lnTo>
                  <a:lnTo>
                    <a:pt x="376" y="63"/>
                  </a:lnTo>
                  <a:lnTo>
                    <a:pt x="376" y="59"/>
                  </a:lnTo>
                  <a:lnTo>
                    <a:pt x="376" y="0"/>
                  </a:lnTo>
                  <a:lnTo>
                    <a:pt x="356" y="0"/>
                  </a:lnTo>
                  <a:lnTo>
                    <a:pt x="356" y="60"/>
                  </a:lnTo>
                  <a:lnTo>
                    <a:pt x="357" y="68"/>
                  </a:lnTo>
                  <a:lnTo>
                    <a:pt x="359" y="74"/>
                  </a:lnTo>
                  <a:lnTo>
                    <a:pt x="360" y="77"/>
                  </a:lnTo>
                  <a:lnTo>
                    <a:pt x="362" y="79"/>
                  </a:lnTo>
                  <a:lnTo>
                    <a:pt x="364" y="81"/>
                  </a:lnTo>
                  <a:lnTo>
                    <a:pt x="366" y="83"/>
                  </a:lnTo>
                  <a:lnTo>
                    <a:pt x="371" y="86"/>
                  </a:lnTo>
                  <a:lnTo>
                    <a:pt x="374" y="88"/>
                  </a:lnTo>
                  <a:lnTo>
                    <a:pt x="378" y="89"/>
                  </a:lnTo>
                  <a:lnTo>
                    <a:pt x="384" y="90"/>
                  </a:lnTo>
                  <a:lnTo>
                    <a:pt x="392" y="91"/>
                  </a:lnTo>
                  <a:lnTo>
                    <a:pt x="399" y="90"/>
                  </a:lnTo>
                  <a:lnTo>
                    <a:pt x="403" y="90"/>
                  </a:lnTo>
                  <a:lnTo>
                    <a:pt x="406" y="89"/>
                  </a:lnTo>
                  <a:lnTo>
                    <a:pt x="412" y="86"/>
                  </a:lnTo>
                  <a:lnTo>
                    <a:pt x="418" y="83"/>
                  </a:lnTo>
                  <a:lnTo>
                    <a:pt x="420" y="81"/>
                  </a:lnTo>
                  <a:lnTo>
                    <a:pt x="422" y="79"/>
                  </a:lnTo>
                  <a:lnTo>
                    <a:pt x="424" y="77"/>
                  </a:lnTo>
                  <a:lnTo>
                    <a:pt x="425" y="74"/>
                  </a:lnTo>
                  <a:lnTo>
                    <a:pt x="427" y="68"/>
                  </a:lnTo>
                  <a:lnTo>
                    <a:pt x="427" y="64"/>
                  </a:lnTo>
                  <a:lnTo>
                    <a:pt x="427" y="60"/>
                  </a:lnTo>
                  <a:lnTo>
                    <a:pt x="427" y="0"/>
                  </a:lnTo>
                  <a:lnTo>
                    <a:pt x="407" y="0"/>
                  </a:lnTo>
                  <a:close/>
                  <a:moveTo>
                    <a:pt x="277" y="38"/>
                  </a:moveTo>
                  <a:lnTo>
                    <a:pt x="281" y="38"/>
                  </a:lnTo>
                  <a:lnTo>
                    <a:pt x="284" y="39"/>
                  </a:lnTo>
                  <a:lnTo>
                    <a:pt x="286" y="41"/>
                  </a:lnTo>
                  <a:lnTo>
                    <a:pt x="289" y="43"/>
                  </a:lnTo>
                  <a:lnTo>
                    <a:pt x="290" y="46"/>
                  </a:lnTo>
                  <a:lnTo>
                    <a:pt x="292" y="49"/>
                  </a:lnTo>
                  <a:lnTo>
                    <a:pt x="292" y="53"/>
                  </a:lnTo>
                  <a:lnTo>
                    <a:pt x="293" y="57"/>
                  </a:lnTo>
                  <a:lnTo>
                    <a:pt x="292" y="61"/>
                  </a:lnTo>
                  <a:lnTo>
                    <a:pt x="292" y="65"/>
                  </a:lnTo>
                  <a:lnTo>
                    <a:pt x="290" y="68"/>
                  </a:lnTo>
                  <a:lnTo>
                    <a:pt x="289" y="71"/>
                  </a:lnTo>
                  <a:lnTo>
                    <a:pt x="288" y="72"/>
                  </a:lnTo>
                  <a:lnTo>
                    <a:pt x="286" y="73"/>
                  </a:lnTo>
                  <a:lnTo>
                    <a:pt x="284" y="74"/>
                  </a:lnTo>
                  <a:lnTo>
                    <a:pt x="281" y="75"/>
                  </a:lnTo>
                  <a:lnTo>
                    <a:pt x="277" y="75"/>
                  </a:lnTo>
                  <a:lnTo>
                    <a:pt x="274" y="75"/>
                  </a:lnTo>
                  <a:lnTo>
                    <a:pt x="271" y="74"/>
                  </a:lnTo>
                  <a:lnTo>
                    <a:pt x="269" y="73"/>
                  </a:lnTo>
                  <a:lnTo>
                    <a:pt x="266" y="71"/>
                  </a:lnTo>
                  <a:lnTo>
                    <a:pt x="265" y="68"/>
                  </a:lnTo>
                  <a:lnTo>
                    <a:pt x="264" y="65"/>
                  </a:lnTo>
                  <a:lnTo>
                    <a:pt x="263" y="61"/>
                  </a:lnTo>
                  <a:lnTo>
                    <a:pt x="263" y="57"/>
                  </a:lnTo>
                  <a:lnTo>
                    <a:pt x="263" y="52"/>
                  </a:lnTo>
                  <a:lnTo>
                    <a:pt x="264" y="49"/>
                  </a:lnTo>
                  <a:lnTo>
                    <a:pt x="265" y="46"/>
                  </a:lnTo>
                  <a:lnTo>
                    <a:pt x="266" y="43"/>
                  </a:lnTo>
                  <a:lnTo>
                    <a:pt x="267" y="42"/>
                  </a:lnTo>
                  <a:lnTo>
                    <a:pt x="269" y="41"/>
                  </a:lnTo>
                  <a:lnTo>
                    <a:pt x="271" y="39"/>
                  </a:lnTo>
                  <a:lnTo>
                    <a:pt x="274" y="38"/>
                  </a:lnTo>
                  <a:lnTo>
                    <a:pt x="277" y="38"/>
                  </a:lnTo>
                  <a:close/>
                  <a:moveTo>
                    <a:pt x="277" y="23"/>
                  </a:moveTo>
                  <a:lnTo>
                    <a:pt x="270" y="24"/>
                  </a:lnTo>
                  <a:lnTo>
                    <a:pt x="264" y="26"/>
                  </a:lnTo>
                  <a:lnTo>
                    <a:pt x="261" y="27"/>
                  </a:lnTo>
                  <a:lnTo>
                    <a:pt x="258" y="29"/>
                  </a:lnTo>
                  <a:lnTo>
                    <a:pt x="253" y="33"/>
                  </a:lnTo>
                  <a:lnTo>
                    <a:pt x="249" y="37"/>
                  </a:lnTo>
                  <a:lnTo>
                    <a:pt x="247" y="40"/>
                  </a:lnTo>
                  <a:lnTo>
                    <a:pt x="246" y="43"/>
                  </a:lnTo>
                  <a:lnTo>
                    <a:pt x="245" y="46"/>
                  </a:lnTo>
                  <a:lnTo>
                    <a:pt x="244" y="50"/>
                  </a:lnTo>
                  <a:lnTo>
                    <a:pt x="244" y="53"/>
                  </a:lnTo>
                  <a:lnTo>
                    <a:pt x="244" y="57"/>
                  </a:lnTo>
                  <a:lnTo>
                    <a:pt x="244" y="64"/>
                  </a:lnTo>
                  <a:lnTo>
                    <a:pt x="246" y="70"/>
                  </a:lnTo>
                  <a:lnTo>
                    <a:pt x="247" y="73"/>
                  </a:lnTo>
                  <a:lnTo>
                    <a:pt x="249" y="76"/>
                  </a:lnTo>
                  <a:lnTo>
                    <a:pt x="253" y="81"/>
                  </a:lnTo>
                  <a:lnTo>
                    <a:pt x="258" y="85"/>
                  </a:lnTo>
                  <a:lnTo>
                    <a:pt x="261" y="87"/>
                  </a:lnTo>
                  <a:lnTo>
                    <a:pt x="264" y="88"/>
                  </a:lnTo>
                  <a:lnTo>
                    <a:pt x="267" y="89"/>
                  </a:lnTo>
                  <a:lnTo>
                    <a:pt x="270" y="90"/>
                  </a:lnTo>
                  <a:lnTo>
                    <a:pt x="277" y="90"/>
                  </a:lnTo>
                  <a:lnTo>
                    <a:pt x="285" y="90"/>
                  </a:lnTo>
                  <a:lnTo>
                    <a:pt x="291" y="88"/>
                  </a:lnTo>
                  <a:lnTo>
                    <a:pt x="294" y="87"/>
                  </a:lnTo>
                  <a:lnTo>
                    <a:pt x="297" y="85"/>
                  </a:lnTo>
                  <a:lnTo>
                    <a:pt x="302" y="81"/>
                  </a:lnTo>
                  <a:lnTo>
                    <a:pt x="306" y="76"/>
                  </a:lnTo>
                  <a:lnTo>
                    <a:pt x="308" y="73"/>
                  </a:lnTo>
                  <a:lnTo>
                    <a:pt x="309" y="71"/>
                  </a:lnTo>
                  <a:lnTo>
                    <a:pt x="311" y="64"/>
                  </a:lnTo>
                  <a:lnTo>
                    <a:pt x="311" y="61"/>
                  </a:lnTo>
                  <a:lnTo>
                    <a:pt x="311" y="57"/>
                  </a:lnTo>
                  <a:lnTo>
                    <a:pt x="311" y="53"/>
                  </a:lnTo>
                  <a:lnTo>
                    <a:pt x="311" y="50"/>
                  </a:lnTo>
                  <a:lnTo>
                    <a:pt x="309" y="43"/>
                  </a:lnTo>
                  <a:lnTo>
                    <a:pt x="308" y="40"/>
                  </a:lnTo>
                  <a:lnTo>
                    <a:pt x="306" y="37"/>
                  </a:lnTo>
                  <a:lnTo>
                    <a:pt x="302" y="33"/>
                  </a:lnTo>
                  <a:lnTo>
                    <a:pt x="297" y="29"/>
                  </a:lnTo>
                  <a:lnTo>
                    <a:pt x="294" y="27"/>
                  </a:lnTo>
                  <a:lnTo>
                    <a:pt x="291" y="26"/>
                  </a:lnTo>
                  <a:lnTo>
                    <a:pt x="288" y="24"/>
                  </a:lnTo>
                  <a:lnTo>
                    <a:pt x="285" y="24"/>
                  </a:lnTo>
                  <a:lnTo>
                    <a:pt x="277" y="23"/>
                  </a:lnTo>
                  <a:close/>
                  <a:moveTo>
                    <a:pt x="235" y="26"/>
                  </a:moveTo>
                  <a:lnTo>
                    <a:pt x="224" y="26"/>
                  </a:lnTo>
                  <a:lnTo>
                    <a:pt x="224" y="5"/>
                  </a:lnTo>
                  <a:lnTo>
                    <a:pt x="205" y="5"/>
                  </a:lnTo>
                  <a:lnTo>
                    <a:pt x="205" y="26"/>
                  </a:lnTo>
                  <a:lnTo>
                    <a:pt x="196" y="26"/>
                  </a:lnTo>
                  <a:lnTo>
                    <a:pt x="196" y="39"/>
                  </a:lnTo>
                  <a:lnTo>
                    <a:pt x="205" y="39"/>
                  </a:lnTo>
                  <a:lnTo>
                    <a:pt x="205" y="68"/>
                  </a:lnTo>
                  <a:lnTo>
                    <a:pt x="205" y="74"/>
                  </a:lnTo>
                  <a:lnTo>
                    <a:pt x="206" y="79"/>
                  </a:lnTo>
                  <a:lnTo>
                    <a:pt x="207" y="82"/>
                  </a:lnTo>
                  <a:lnTo>
                    <a:pt x="209" y="84"/>
                  </a:lnTo>
                  <a:lnTo>
                    <a:pt x="211" y="86"/>
                  </a:lnTo>
                  <a:lnTo>
                    <a:pt x="214" y="88"/>
                  </a:lnTo>
                  <a:lnTo>
                    <a:pt x="218" y="88"/>
                  </a:lnTo>
                  <a:lnTo>
                    <a:pt x="224" y="89"/>
                  </a:lnTo>
                  <a:lnTo>
                    <a:pt x="235" y="89"/>
                  </a:lnTo>
                  <a:lnTo>
                    <a:pt x="235" y="75"/>
                  </a:lnTo>
                  <a:lnTo>
                    <a:pt x="228" y="75"/>
                  </a:lnTo>
                  <a:lnTo>
                    <a:pt x="226" y="74"/>
                  </a:lnTo>
                  <a:lnTo>
                    <a:pt x="225" y="74"/>
                  </a:lnTo>
                  <a:lnTo>
                    <a:pt x="224" y="73"/>
                  </a:lnTo>
                  <a:lnTo>
                    <a:pt x="224" y="70"/>
                  </a:lnTo>
                  <a:lnTo>
                    <a:pt x="224" y="64"/>
                  </a:lnTo>
                  <a:lnTo>
                    <a:pt x="224" y="39"/>
                  </a:lnTo>
                  <a:lnTo>
                    <a:pt x="235" y="39"/>
                  </a:lnTo>
                  <a:lnTo>
                    <a:pt x="235" y="26"/>
                  </a:lnTo>
                  <a:close/>
                  <a:moveTo>
                    <a:pt x="184" y="0"/>
                  </a:moveTo>
                  <a:lnTo>
                    <a:pt x="166" y="0"/>
                  </a:lnTo>
                  <a:lnTo>
                    <a:pt x="166" y="89"/>
                  </a:lnTo>
                  <a:lnTo>
                    <a:pt x="184" y="89"/>
                  </a:lnTo>
                  <a:lnTo>
                    <a:pt x="184" y="0"/>
                  </a:lnTo>
                  <a:close/>
                  <a:moveTo>
                    <a:pt x="131" y="68"/>
                  </a:moveTo>
                  <a:lnTo>
                    <a:pt x="129" y="72"/>
                  </a:lnTo>
                  <a:lnTo>
                    <a:pt x="126" y="74"/>
                  </a:lnTo>
                  <a:lnTo>
                    <a:pt x="122" y="76"/>
                  </a:lnTo>
                  <a:lnTo>
                    <a:pt x="117" y="76"/>
                  </a:lnTo>
                  <a:lnTo>
                    <a:pt x="114" y="76"/>
                  </a:lnTo>
                  <a:lnTo>
                    <a:pt x="111" y="74"/>
                  </a:lnTo>
                  <a:lnTo>
                    <a:pt x="109" y="72"/>
                  </a:lnTo>
                  <a:lnTo>
                    <a:pt x="108" y="71"/>
                  </a:lnTo>
                  <a:lnTo>
                    <a:pt x="108" y="69"/>
                  </a:lnTo>
                  <a:lnTo>
                    <a:pt x="109" y="67"/>
                  </a:lnTo>
                  <a:lnTo>
                    <a:pt x="110" y="65"/>
                  </a:lnTo>
                  <a:lnTo>
                    <a:pt x="113" y="63"/>
                  </a:lnTo>
                  <a:lnTo>
                    <a:pt x="118" y="62"/>
                  </a:lnTo>
                  <a:lnTo>
                    <a:pt x="124" y="60"/>
                  </a:lnTo>
                  <a:lnTo>
                    <a:pt x="131" y="58"/>
                  </a:lnTo>
                  <a:lnTo>
                    <a:pt x="131" y="68"/>
                  </a:lnTo>
                  <a:close/>
                  <a:moveTo>
                    <a:pt x="110" y="45"/>
                  </a:moveTo>
                  <a:lnTo>
                    <a:pt x="110" y="43"/>
                  </a:lnTo>
                  <a:lnTo>
                    <a:pt x="111" y="42"/>
                  </a:lnTo>
                  <a:lnTo>
                    <a:pt x="112" y="40"/>
                  </a:lnTo>
                  <a:lnTo>
                    <a:pt x="113" y="39"/>
                  </a:lnTo>
                  <a:lnTo>
                    <a:pt x="116" y="38"/>
                  </a:lnTo>
                  <a:lnTo>
                    <a:pt x="121" y="37"/>
                  </a:lnTo>
                  <a:lnTo>
                    <a:pt x="125" y="38"/>
                  </a:lnTo>
                  <a:lnTo>
                    <a:pt x="128" y="39"/>
                  </a:lnTo>
                  <a:lnTo>
                    <a:pt x="130" y="41"/>
                  </a:lnTo>
                  <a:lnTo>
                    <a:pt x="131" y="42"/>
                  </a:lnTo>
                  <a:lnTo>
                    <a:pt x="131" y="43"/>
                  </a:lnTo>
                  <a:lnTo>
                    <a:pt x="130" y="45"/>
                  </a:lnTo>
                  <a:lnTo>
                    <a:pt x="129" y="46"/>
                  </a:lnTo>
                  <a:lnTo>
                    <a:pt x="128" y="47"/>
                  </a:lnTo>
                  <a:lnTo>
                    <a:pt x="125" y="48"/>
                  </a:lnTo>
                  <a:lnTo>
                    <a:pt x="115" y="49"/>
                  </a:lnTo>
                  <a:lnTo>
                    <a:pt x="109" y="51"/>
                  </a:lnTo>
                  <a:lnTo>
                    <a:pt x="103" y="52"/>
                  </a:lnTo>
                  <a:lnTo>
                    <a:pt x="99" y="54"/>
                  </a:lnTo>
                  <a:lnTo>
                    <a:pt x="95" y="56"/>
                  </a:lnTo>
                  <a:lnTo>
                    <a:pt x="93" y="59"/>
                  </a:lnTo>
                  <a:lnTo>
                    <a:pt x="92" y="61"/>
                  </a:lnTo>
                  <a:lnTo>
                    <a:pt x="91" y="62"/>
                  </a:lnTo>
                  <a:lnTo>
                    <a:pt x="90" y="66"/>
                  </a:lnTo>
                  <a:lnTo>
                    <a:pt x="89" y="70"/>
                  </a:lnTo>
                  <a:lnTo>
                    <a:pt x="90" y="75"/>
                  </a:lnTo>
                  <a:lnTo>
                    <a:pt x="91" y="79"/>
                  </a:lnTo>
                  <a:lnTo>
                    <a:pt x="93" y="82"/>
                  </a:lnTo>
                  <a:lnTo>
                    <a:pt x="96" y="85"/>
                  </a:lnTo>
                  <a:lnTo>
                    <a:pt x="97" y="86"/>
                  </a:lnTo>
                  <a:lnTo>
                    <a:pt x="99" y="87"/>
                  </a:lnTo>
                  <a:lnTo>
                    <a:pt x="103" y="89"/>
                  </a:lnTo>
                  <a:lnTo>
                    <a:pt x="108" y="90"/>
                  </a:lnTo>
                  <a:lnTo>
                    <a:pt x="113" y="90"/>
                  </a:lnTo>
                  <a:lnTo>
                    <a:pt x="118" y="90"/>
                  </a:lnTo>
                  <a:lnTo>
                    <a:pt x="123" y="89"/>
                  </a:lnTo>
                  <a:lnTo>
                    <a:pt x="127" y="87"/>
                  </a:lnTo>
                  <a:lnTo>
                    <a:pt x="131" y="84"/>
                  </a:lnTo>
                  <a:lnTo>
                    <a:pt x="133" y="89"/>
                  </a:lnTo>
                  <a:lnTo>
                    <a:pt x="152" y="89"/>
                  </a:lnTo>
                  <a:lnTo>
                    <a:pt x="151" y="87"/>
                  </a:lnTo>
                  <a:lnTo>
                    <a:pt x="150" y="85"/>
                  </a:lnTo>
                  <a:lnTo>
                    <a:pt x="149" y="78"/>
                  </a:lnTo>
                  <a:lnTo>
                    <a:pt x="149" y="48"/>
                  </a:lnTo>
                  <a:lnTo>
                    <a:pt x="149" y="42"/>
                  </a:lnTo>
                  <a:lnTo>
                    <a:pt x="148" y="37"/>
                  </a:lnTo>
                  <a:lnTo>
                    <a:pt x="146" y="33"/>
                  </a:lnTo>
                  <a:lnTo>
                    <a:pt x="145" y="31"/>
                  </a:lnTo>
                  <a:lnTo>
                    <a:pt x="143" y="30"/>
                  </a:lnTo>
                  <a:lnTo>
                    <a:pt x="139" y="27"/>
                  </a:lnTo>
                  <a:lnTo>
                    <a:pt x="134" y="25"/>
                  </a:lnTo>
                  <a:lnTo>
                    <a:pt x="128" y="23"/>
                  </a:lnTo>
                  <a:lnTo>
                    <a:pt x="121" y="23"/>
                  </a:lnTo>
                  <a:lnTo>
                    <a:pt x="115" y="23"/>
                  </a:lnTo>
                  <a:lnTo>
                    <a:pt x="109" y="24"/>
                  </a:lnTo>
                  <a:lnTo>
                    <a:pt x="104" y="26"/>
                  </a:lnTo>
                  <a:lnTo>
                    <a:pt x="101" y="28"/>
                  </a:lnTo>
                  <a:lnTo>
                    <a:pt x="97" y="31"/>
                  </a:lnTo>
                  <a:lnTo>
                    <a:pt x="95" y="35"/>
                  </a:lnTo>
                  <a:lnTo>
                    <a:pt x="94" y="37"/>
                  </a:lnTo>
                  <a:lnTo>
                    <a:pt x="94" y="40"/>
                  </a:lnTo>
                  <a:lnTo>
                    <a:pt x="93" y="42"/>
                  </a:lnTo>
                  <a:lnTo>
                    <a:pt x="93" y="45"/>
                  </a:lnTo>
                  <a:lnTo>
                    <a:pt x="110" y="45"/>
                  </a:lnTo>
                  <a:close/>
                  <a:moveTo>
                    <a:pt x="52" y="55"/>
                  </a:moveTo>
                  <a:lnTo>
                    <a:pt x="32" y="55"/>
                  </a:lnTo>
                  <a:lnTo>
                    <a:pt x="43" y="20"/>
                  </a:lnTo>
                  <a:lnTo>
                    <a:pt x="52" y="55"/>
                  </a:lnTo>
                  <a:close/>
                  <a:moveTo>
                    <a:pt x="57" y="71"/>
                  </a:moveTo>
                  <a:lnTo>
                    <a:pt x="61" y="89"/>
                  </a:lnTo>
                  <a:lnTo>
                    <a:pt x="84" y="89"/>
                  </a:lnTo>
                  <a:lnTo>
                    <a:pt x="56" y="0"/>
                  </a:lnTo>
                  <a:lnTo>
                    <a:pt x="31" y="0"/>
                  </a:lnTo>
                  <a:lnTo>
                    <a:pt x="0" y="89"/>
                  </a:lnTo>
                  <a:lnTo>
                    <a:pt x="22" y="89"/>
                  </a:lnTo>
                  <a:lnTo>
                    <a:pt x="27" y="71"/>
                  </a:lnTo>
                  <a:lnTo>
                    <a:pt x="57"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14" name="Freeform 7"/>
            <p:cNvSpPr>
              <a:spLocks noEditPoints="1"/>
            </p:cNvSpPr>
            <p:nvPr userDrawn="1"/>
          </p:nvSpPr>
          <p:spPr bwMode="auto">
            <a:xfrm>
              <a:off x="5756275" y="325438"/>
              <a:ext cx="1941513" cy="142875"/>
            </a:xfrm>
            <a:custGeom>
              <a:avLst/>
              <a:gdLst>
                <a:gd name="T0" fmla="*/ 1197 w 1223"/>
                <a:gd name="T1" fmla="*/ 38 h 90"/>
                <a:gd name="T2" fmla="*/ 1220 w 1223"/>
                <a:gd name="T3" fmla="*/ 32 h 90"/>
                <a:gd name="T4" fmla="*/ 1120 w 1223"/>
                <a:gd name="T5" fmla="*/ 37 h 90"/>
                <a:gd name="T6" fmla="*/ 1131 w 1223"/>
                <a:gd name="T7" fmla="*/ 70 h 90"/>
                <a:gd name="T8" fmla="*/ 1105 w 1223"/>
                <a:gd name="T9" fmla="*/ 60 h 90"/>
                <a:gd name="T10" fmla="*/ 1112 w 1223"/>
                <a:gd name="T11" fmla="*/ 23 h 90"/>
                <a:gd name="T12" fmla="*/ 1088 w 1223"/>
                <a:gd name="T13" fmla="*/ 70 h 90"/>
                <a:gd name="T14" fmla="*/ 1136 w 1223"/>
                <a:gd name="T15" fmla="*/ 86 h 90"/>
                <a:gd name="T16" fmla="*/ 1150 w 1223"/>
                <a:gd name="T17" fmla="*/ 40 h 90"/>
                <a:gd name="T18" fmla="*/ 1074 w 1223"/>
                <a:gd name="T19" fmla="*/ 15 h 90"/>
                <a:gd name="T20" fmla="*/ 1002 w 1223"/>
                <a:gd name="T21" fmla="*/ 25 h 90"/>
                <a:gd name="T22" fmla="*/ 1041 w 1223"/>
                <a:gd name="T23" fmla="*/ 88 h 90"/>
                <a:gd name="T24" fmla="*/ 967 w 1223"/>
                <a:gd name="T25" fmla="*/ 74 h 90"/>
                <a:gd name="T26" fmla="*/ 966 w 1223"/>
                <a:gd name="T27" fmla="*/ 60 h 90"/>
                <a:gd name="T28" fmla="*/ 971 w 1223"/>
                <a:gd name="T29" fmla="*/ 40 h 90"/>
                <a:gd name="T30" fmla="*/ 934 w 1223"/>
                <a:gd name="T31" fmla="*/ 59 h 90"/>
                <a:gd name="T32" fmla="*/ 954 w 1223"/>
                <a:gd name="T33" fmla="*/ 90 h 90"/>
                <a:gd name="T34" fmla="*/ 990 w 1223"/>
                <a:gd name="T35" fmla="*/ 36 h 90"/>
                <a:gd name="T36" fmla="*/ 939 w 1223"/>
                <a:gd name="T37" fmla="*/ 31 h 90"/>
                <a:gd name="T38" fmla="*/ 907 w 1223"/>
                <a:gd name="T39" fmla="*/ 26 h 90"/>
                <a:gd name="T40" fmla="*/ 859 w 1223"/>
                <a:gd name="T41" fmla="*/ 49 h 90"/>
                <a:gd name="T42" fmla="*/ 891 w 1223"/>
                <a:gd name="T43" fmla="*/ 90 h 90"/>
                <a:gd name="T44" fmla="*/ 899 w 1223"/>
                <a:gd name="T45" fmla="*/ 72 h 90"/>
                <a:gd name="T46" fmla="*/ 878 w 1223"/>
                <a:gd name="T47" fmla="*/ 56 h 90"/>
                <a:gd name="T48" fmla="*/ 900 w 1223"/>
                <a:gd name="T49" fmla="*/ 42 h 90"/>
                <a:gd name="T50" fmla="*/ 823 w 1223"/>
                <a:gd name="T51" fmla="*/ 73 h 90"/>
                <a:gd name="T52" fmla="*/ 790 w 1223"/>
                <a:gd name="T53" fmla="*/ 71 h 90"/>
                <a:gd name="T54" fmla="*/ 828 w 1223"/>
                <a:gd name="T55" fmla="*/ 83 h 90"/>
                <a:gd name="T56" fmla="*/ 756 w 1223"/>
                <a:gd name="T57" fmla="*/ 52 h 90"/>
                <a:gd name="T58" fmla="*/ 735 w 1223"/>
                <a:gd name="T59" fmla="*/ 72 h 90"/>
                <a:gd name="T60" fmla="*/ 740 w 1223"/>
                <a:gd name="T61" fmla="*/ 38 h 90"/>
                <a:gd name="T62" fmla="*/ 719 w 1223"/>
                <a:gd name="T63" fmla="*/ 32 h 90"/>
                <a:gd name="T64" fmla="*/ 723 w 1223"/>
                <a:gd name="T65" fmla="*/ 85 h 90"/>
                <a:gd name="T66" fmla="*/ 757 w 1223"/>
                <a:gd name="T67" fmla="*/ 88 h 90"/>
                <a:gd name="T68" fmla="*/ 655 w 1223"/>
                <a:gd name="T69" fmla="*/ 34 h 90"/>
                <a:gd name="T70" fmla="*/ 556 w 1223"/>
                <a:gd name="T71" fmla="*/ 38 h 90"/>
                <a:gd name="T72" fmla="*/ 580 w 1223"/>
                <a:gd name="T73" fmla="*/ 41 h 90"/>
                <a:gd name="T74" fmla="*/ 533 w 1223"/>
                <a:gd name="T75" fmla="*/ 28 h 90"/>
                <a:gd name="T76" fmla="*/ 528 w 1223"/>
                <a:gd name="T77" fmla="*/ 81 h 90"/>
                <a:gd name="T78" fmla="*/ 577 w 1223"/>
                <a:gd name="T79" fmla="*/ 80 h 90"/>
                <a:gd name="T80" fmla="*/ 543 w 1223"/>
                <a:gd name="T81" fmla="*/ 72 h 90"/>
                <a:gd name="T82" fmla="*/ 471 w 1223"/>
                <a:gd name="T83" fmla="*/ 24 h 90"/>
                <a:gd name="T84" fmla="*/ 440 w 1223"/>
                <a:gd name="T85" fmla="*/ 88 h 90"/>
                <a:gd name="T86" fmla="*/ 376 w 1223"/>
                <a:gd name="T87" fmla="*/ 78 h 90"/>
                <a:gd name="T88" fmla="*/ 394 w 1223"/>
                <a:gd name="T89" fmla="*/ 69 h 90"/>
                <a:gd name="T90" fmla="*/ 329 w 1223"/>
                <a:gd name="T91" fmla="*/ 73 h 90"/>
                <a:gd name="T92" fmla="*/ 295 w 1223"/>
                <a:gd name="T93" fmla="*/ 71 h 90"/>
                <a:gd name="T94" fmla="*/ 333 w 1223"/>
                <a:gd name="T95" fmla="*/ 83 h 90"/>
                <a:gd name="T96" fmla="*/ 259 w 1223"/>
                <a:gd name="T97" fmla="*/ 23 h 90"/>
                <a:gd name="T98" fmla="*/ 221 w 1223"/>
                <a:gd name="T99" fmla="*/ 64 h 90"/>
                <a:gd name="T100" fmla="*/ 264 w 1223"/>
                <a:gd name="T101" fmla="*/ 88 h 90"/>
                <a:gd name="T102" fmla="*/ 257 w 1223"/>
                <a:gd name="T103" fmla="*/ 74 h 90"/>
                <a:gd name="T104" fmla="*/ 240 w 1223"/>
                <a:gd name="T105" fmla="*/ 50 h 90"/>
                <a:gd name="T106" fmla="*/ 264 w 1223"/>
                <a:gd name="T107" fmla="*/ 47 h 90"/>
                <a:gd name="T108" fmla="*/ 186 w 1223"/>
                <a:gd name="T109" fmla="*/ 40 h 90"/>
                <a:gd name="T110" fmla="*/ 202 w 1223"/>
                <a:gd name="T111" fmla="*/ 33 h 90"/>
                <a:gd name="T112" fmla="*/ 152 w 1223"/>
                <a:gd name="T113" fmla="*/ 34 h 90"/>
                <a:gd name="T114" fmla="*/ 165 w 1223"/>
                <a:gd name="T115" fmla="*/ 87 h 90"/>
                <a:gd name="T116" fmla="*/ 207 w 1223"/>
                <a:gd name="T117" fmla="*/ 74 h 90"/>
                <a:gd name="T118" fmla="*/ 166 w 1223"/>
                <a:gd name="T119" fmla="*/ 67 h 90"/>
                <a:gd name="T120" fmla="*/ 96 w 1223"/>
                <a:gd name="T121" fmla="*/ 88 h 90"/>
                <a:gd name="T122" fmla="*/ 60 w 1223"/>
                <a:gd name="T123" fmla="*/ 5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3" h="90">
                  <a:moveTo>
                    <a:pt x="1165" y="24"/>
                  </a:moveTo>
                  <a:lnTo>
                    <a:pt x="1165" y="88"/>
                  </a:lnTo>
                  <a:lnTo>
                    <a:pt x="1184" y="88"/>
                  </a:lnTo>
                  <a:lnTo>
                    <a:pt x="1184" y="52"/>
                  </a:lnTo>
                  <a:lnTo>
                    <a:pt x="1184" y="46"/>
                  </a:lnTo>
                  <a:lnTo>
                    <a:pt x="1185" y="44"/>
                  </a:lnTo>
                  <a:lnTo>
                    <a:pt x="1187" y="42"/>
                  </a:lnTo>
                  <a:lnTo>
                    <a:pt x="1188" y="40"/>
                  </a:lnTo>
                  <a:lnTo>
                    <a:pt x="1190" y="39"/>
                  </a:lnTo>
                  <a:lnTo>
                    <a:pt x="1192" y="38"/>
                  </a:lnTo>
                  <a:lnTo>
                    <a:pt x="1195" y="38"/>
                  </a:lnTo>
                  <a:lnTo>
                    <a:pt x="1197" y="38"/>
                  </a:lnTo>
                  <a:lnTo>
                    <a:pt x="1199" y="39"/>
                  </a:lnTo>
                  <a:lnTo>
                    <a:pt x="1201" y="40"/>
                  </a:lnTo>
                  <a:lnTo>
                    <a:pt x="1202" y="42"/>
                  </a:lnTo>
                  <a:lnTo>
                    <a:pt x="1203" y="44"/>
                  </a:lnTo>
                  <a:lnTo>
                    <a:pt x="1204" y="46"/>
                  </a:lnTo>
                  <a:lnTo>
                    <a:pt x="1204" y="53"/>
                  </a:lnTo>
                  <a:lnTo>
                    <a:pt x="1204" y="88"/>
                  </a:lnTo>
                  <a:lnTo>
                    <a:pt x="1223" y="88"/>
                  </a:lnTo>
                  <a:lnTo>
                    <a:pt x="1223" y="47"/>
                  </a:lnTo>
                  <a:lnTo>
                    <a:pt x="1223" y="41"/>
                  </a:lnTo>
                  <a:lnTo>
                    <a:pt x="1222" y="37"/>
                  </a:lnTo>
                  <a:lnTo>
                    <a:pt x="1220" y="32"/>
                  </a:lnTo>
                  <a:lnTo>
                    <a:pt x="1217" y="29"/>
                  </a:lnTo>
                  <a:lnTo>
                    <a:pt x="1214" y="26"/>
                  </a:lnTo>
                  <a:lnTo>
                    <a:pt x="1210" y="24"/>
                  </a:lnTo>
                  <a:lnTo>
                    <a:pt x="1206" y="23"/>
                  </a:lnTo>
                  <a:lnTo>
                    <a:pt x="1201" y="22"/>
                  </a:lnTo>
                  <a:lnTo>
                    <a:pt x="1196" y="23"/>
                  </a:lnTo>
                  <a:lnTo>
                    <a:pt x="1192" y="24"/>
                  </a:lnTo>
                  <a:lnTo>
                    <a:pt x="1188" y="27"/>
                  </a:lnTo>
                  <a:lnTo>
                    <a:pt x="1183" y="30"/>
                  </a:lnTo>
                  <a:lnTo>
                    <a:pt x="1183" y="24"/>
                  </a:lnTo>
                  <a:lnTo>
                    <a:pt x="1165" y="24"/>
                  </a:lnTo>
                  <a:close/>
                  <a:moveTo>
                    <a:pt x="1120" y="37"/>
                  </a:moveTo>
                  <a:lnTo>
                    <a:pt x="1123" y="38"/>
                  </a:lnTo>
                  <a:lnTo>
                    <a:pt x="1126" y="39"/>
                  </a:lnTo>
                  <a:lnTo>
                    <a:pt x="1129" y="40"/>
                  </a:lnTo>
                  <a:lnTo>
                    <a:pt x="1131" y="42"/>
                  </a:lnTo>
                  <a:lnTo>
                    <a:pt x="1132" y="45"/>
                  </a:lnTo>
                  <a:lnTo>
                    <a:pt x="1134" y="48"/>
                  </a:lnTo>
                  <a:lnTo>
                    <a:pt x="1134" y="52"/>
                  </a:lnTo>
                  <a:lnTo>
                    <a:pt x="1135" y="57"/>
                  </a:lnTo>
                  <a:lnTo>
                    <a:pt x="1134" y="61"/>
                  </a:lnTo>
                  <a:lnTo>
                    <a:pt x="1134" y="64"/>
                  </a:lnTo>
                  <a:lnTo>
                    <a:pt x="1132" y="67"/>
                  </a:lnTo>
                  <a:lnTo>
                    <a:pt x="1131" y="70"/>
                  </a:lnTo>
                  <a:lnTo>
                    <a:pt x="1130" y="71"/>
                  </a:lnTo>
                  <a:lnTo>
                    <a:pt x="1129" y="72"/>
                  </a:lnTo>
                  <a:lnTo>
                    <a:pt x="1126" y="74"/>
                  </a:lnTo>
                  <a:lnTo>
                    <a:pt x="1123" y="75"/>
                  </a:lnTo>
                  <a:lnTo>
                    <a:pt x="1120" y="75"/>
                  </a:lnTo>
                  <a:lnTo>
                    <a:pt x="1116" y="75"/>
                  </a:lnTo>
                  <a:lnTo>
                    <a:pt x="1113" y="74"/>
                  </a:lnTo>
                  <a:lnTo>
                    <a:pt x="1111" y="72"/>
                  </a:lnTo>
                  <a:lnTo>
                    <a:pt x="1109" y="70"/>
                  </a:lnTo>
                  <a:lnTo>
                    <a:pt x="1107" y="67"/>
                  </a:lnTo>
                  <a:lnTo>
                    <a:pt x="1106" y="64"/>
                  </a:lnTo>
                  <a:lnTo>
                    <a:pt x="1105" y="60"/>
                  </a:lnTo>
                  <a:lnTo>
                    <a:pt x="1105" y="56"/>
                  </a:lnTo>
                  <a:lnTo>
                    <a:pt x="1105" y="52"/>
                  </a:lnTo>
                  <a:lnTo>
                    <a:pt x="1106" y="48"/>
                  </a:lnTo>
                  <a:lnTo>
                    <a:pt x="1107" y="45"/>
                  </a:lnTo>
                  <a:lnTo>
                    <a:pt x="1109" y="42"/>
                  </a:lnTo>
                  <a:lnTo>
                    <a:pt x="1110" y="41"/>
                  </a:lnTo>
                  <a:lnTo>
                    <a:pt x="1111" y="40"/>
                  </a:lnTo>
                  <a:lnTo>
                    <a:pt x="1113" y="39"/>
                  </a:lnTo>
                  <a:lnTo>
                    <a:pt x="1116" y="38"/>
                  </a:lnTo>
                  <a:lnTo>
                    <a:pt x="1120" y="37"/>
                  </a:lnTo>
                  <a:close/>
                  <a:moveTo>
                    <a:pt x="1120" y="23"/>
                  </a:moveTo>
                  <a:lnTo>
                    <a:pt x="1112" y="23"/>
                  </a:lnTo>
                  <a:lnTo>
                    <a:pt x="1106" y="25"/>
                  </a:lnTo>
                  <a:lnTo>
                    <a:pt x="1103" y="26"/>
                  </a:lnTo>
                  <a:lnTo>
                    <a:pt x="1100" y="28"/>
                  </a:lnTo>
                  <a:lnTo>
                    <a:pt x="1095" y="32"/>
                  </a:lnTo>
                  <a:lnTo>
                    <a:pt x="1091" y="37"/>
                  </a:lnTo>
                  <a:lnTo>
                    <a:pt x="1090" y="40"/>
                  </a:lnTo>
                  <a:lnTo>
                    <a:pt x="1088" y="43"/>
                  </a:lnTo>
                  <a:lnTo>
                    <a:pt x="1087" y="46"/>
                  </a:lnTo>
                  <a:lnTo>
                    <a:pt x="1086" y="49"/>
                  </a:lnTo>
                  <a:lnTo>
                    <a:pt x="1086" y="56"/>
                  </a:lnTo>
                  <a:lnTo>
                    <a:pt x="1086" y="63"/>
                  </a:lnTo>
                  <a:lnTo>
                    <a:pt x="1088" y="70"/>
                  </a:lnTo>
                  <a:lnTo>
                    <a:pt x="1090" y="73"/>
                  </a:lnTo>
                  <a:lnTo>
                    <a:pt x="1091" y="76"/>
                  </a:lnTo>
                  <a:lnTo>
                    <a:pt x="1095" y="80"/>
                  </a:lnTo>
                  <a:lnTo>
                    <a:pt x="1100" y="84"/>
                  </a:lnTo>
                  <a:lnTo>
                    <a:pt x="1103" y="86"/>
                  </a:lnTo>
                  <a:lnTo>
                    <a:pt x="1106" y="87"/>
                  </a:lnTo>
                  <a:lnTo>
                    <a:pt x="1109" y="88"/>
                  </a:lnTo>
                  <a:lnTo>
                    <a:pt x="1112" y="89"/>
                  </a:lnTo>
                  <a:lnTo>
                    <a:pt x="1120" y="90"/>
                  </a:lnTo>
                  <a:lnTo>
                    <a:pt x="1127" y="89"/>
                  </a:lnTo>
                  <a:lnTo>
                    <a:pt x="1133" y="87"/>
                  </a:lnTo>
                  <a:lnTo>
                    <a:pt x="1136" y="86"/>
                  </a:lnTo>
                  <a:lnTo>
                    <a:pt x="1139" y="84"/>
                  </a:lnTo>
                  <a:lnTo>
                    <a:pt x="1144" y="80"/>
                  </a:lnTo>
                  <a:lnTo>
                    <a:pt x="1148" y="76"/>
                  </a:lnTo>
                  <a:lnTo>
                    <a:pt x="1150" y="73"/>
                  </a:lnTo>
                  <a:lnTo>
                    <a:pt x="1151" y="70"/>
                  </a:lnTo>
                  <a:lnTo>
                    <a:pt x="1153" y="64"/>
                  </a:lnTo>
                  <a:lnTo>
                    <a:pt x="1153" y="60"/>
                  </a:lnTo>
                  <a:lnTo>
                    <a:pt x="1154" y="57"/>
                  </a:lnTo>
                  <a:lnTo>
                    <a:pt x="1153" y="53"/>
                  </a:lnTo>
                  <a:lnTo>
                    <a:pt x="1153" y="49"/>
                  </a:lnTo>
                  <a:lnTo>
                    <a:pt x="1151" y="43"/>
                  </a:lnTo>
                  <a:lnTo>
                    <a:pt x="1150" y="40"/>
                  </a:lnTo>
                  <a:lnTo>
                    <a:pt x="1148" y="37"/>
                  </a:lnTo>
                  <a:lnTo>
                    <a:pt x="1144" y="32"/>
                  </a:lnTo>
                  <a:lnTo>
                    <a:pt x="1139" y="28"/>
                  </a:lnTo>
                  <a:lnTo>
                    <a:pt x="1136" y="26"/>
                  </a:lnTo>
                  <a:lnTo>
                    <a:pt x="1133" y="25"/>
                  </a:lnTo>
                  <a:lnTo>
                    <a:pt x="1130" y="24"/>
                  </a:lnTo>
                  <a:lnTo>
                    <a:pt x="1127" y="23"/>
                  </a:lnTo>
                  <a:lnTo>
                    <a:pt x="1120" y="23"/>
                  </a:lnTo>
                  <a:close/>
                  <a:moveTo>
                    <a:pt x="1074" y="0"/>
                  </a:moveTo>
                  <a:lnTo>
                    <a:pt x="1056" y="0"/>
                  </a:lnTo>
                  <a:lnTo>
                    <a:pt x="1056" y="15"/>
                  </a:lnTo>
                  <a:lnTo>
                    <a:pt x="1074" y="15"/>
                  </a:lnTo>
                  <a:lnTo>
                    <a:pt x="1074" y="0"/>
                  </a:lnTo>
                  <a:close/>
                  <a:moveTo>
                    <a:pt x="1074" y="24"/>
                  </a:moveTo>
                  <a:lnTo>
                    <a:pt x="1056" y="24"/>
                  </a:lnTo>
                  <a:lnTo>
                    <a:pt x="1056" y="88"/>
                  </a:lnTo>
                  <a:lnTo>
                    <a:pt x="1074" y="88"/>
                  </a:lnTo>
                  <a:lnTo>
                    <a:pt x="1074" y="24"/>
                  </a:lnTo>
                  <a:close/>
                  <a:moveTo>
                    <a:pt x="1041" y="25"/>
                  </a:moveTo>
                  <a:lnTo>
                    <a:pt x="1029" y="25"/>
                  </a:lnTo>
                  <a:lnTo>
                    <a:pt x="1029" y="5"/>
                  </a:lnTo>
                  <a:lnTo>
                    <a:pt x="1011" y="5"/>
                  </a:lnTo>
                  <a:lnTo>
                    <a:pt x="1011" y="25"/>
                  </a:lnTo>
                  <a:lnTo>
                    <a:pt x="1002" y="25"/>
                  </a:lnTo>
                  <a:lnTo>
                    <a:pt x="1002" y="38"/>
                  </a:lnTo>
                  <a:lnTo>
                    <a:pt x="1011" y="38"/>
                  </a:lnTo>
                  <a:lnTo>
                    <a:pt x="1011" y="67"/>
                  </a:lnTo>
                  <a:lnTo>
                    <a:pt x="1011" y="74"/>
                  </a:lnTo>
                  <a:lnTo>
                    <a:pt x="1011" y="78"/>
                  </a:lnTo>
                  <a:lnTo>
                    <a:pt x="1012" y="81"/>
                  </a:lnTo>
                  <a:lnTo>
                    <a:pt x="1014" y="84"/>
                  </a:lnTo>
                  <a:lnTo>
                    <a:pt x="1017" y="86"/>
                  </a:lnTo>
                  <a:lnTo>
                    <a:pt x="1020" y="87"/>
                  </a:lnTo>
                  <a:lnTo>
                    <a:pt x="1024" y="88"/>
                  </a:lnTo>
                  <a:lnTo>
                    <a:pt x="1029" y="88"/>
                  </a:lnTo>
                  <a:lnTo>
                    <a:pt x="1041" y="88"/>
                  </a:lnTo>
                  <a:lnTo>
                    <a:pt x="1041" y="74"/>
                  </a:lnTo>
                  <a:lnTo>
                    <a:pt x="1034" y="74"/>
                  </a:lnTo>
                  <a:lnTo>
                    <a:pt x="1032" y="74"/>
                  </a:lnTo>
                  <a:lnTo>
                    <a:pt x="1030" y="72"/>
                  </a:lnTo>
                  <a:lnTo>
                    <a:pt x="1029" y="69"/>
                  </a:lnTo>
                  <a:lnTo>
                    <a:pt x="1029" y="63"/>
                  </a:lnTo>
                  <a:lnTo>
                    <a:pt x="1029" y="38"/>
                  </a:lnTo>
                  <a:lnTo>
                    <a:pt x="1041" y="38"/>
                  </a:lnTo>
                  <a:lnTo>
                    <a:pt x="1041" y="25"/>
                  </a:lnTo>
                  <a:close/>
                  <a:moveTo>
                    <a:pt x="973" y="68"/>
                  </a:moveTo>
                  <a:lnTo>
                    <a:pt x="970" y="71"/>
                  </a:lnTo>
                  <a:lnTo>
                    <a:pt x="967" y="74"/>
                  </a:lnTo>
                  <a:lnTo>
                    <a:pt x="963" y="75"/>
                  </a:lnTo>
                  <a:lnTo>
                    <a:pt x="959" y="76"/>
                  </a:lnTo>
                  <a:lnTo>
                    <a:pt x="955" y="75"/>
                  </a:lnTo>
                  <a:lnTo>
                    <a:pt x="952" y="74"/>
                  </a:lnTo>
                  <a:lnTo>
                    <a:pt x="950" y="72"/>
                  </a:lnTo>
                  <a:lnTo>
                    <a:pt x="950" y="70"/>
                  </a:lnTo>
                  <a:lnTo>
                    <a:pt x="949" y="69"/>
                  </a:lnTo>
                  <a:lnTo>
                    <a:pt x="950" y="66"/>
                  </a:lnTo>
                  <a:lnTo>
                    <a:pt x="952" y="64"/>
                  </a:lnTo>
                  <a:lnTo>
                    <a:pt x="955" y="62"/>
                  </a:lnTo>
                  <a:lnTo>
                    <a:pt x="959" y="61"/>
                  </a:lnTo>
                  <a:lnTo>
                    <a:pt x="966" y="60"/>
                  </a:lnTo>
                  <a:lnTo>
                    <a:pt x="973" y="58"/>
                  </a:lnTo>
                  <a:lnTo>
                    <a:pt x="973" y="68"/>
                  </a:lnTo>
                  <a:close/>
                  <a:moveTo>
                    <a:pt x="951" y="44"/>
                  </a:moveTo>
                  <a:lnTo>
                    <a:pt x="951" y="43"/>
                  </a:lnTo>
                  <a:lnTo>
                    <a:pt x="952" y="41"/>
                  </a:lnTo>
                  <a:lnTo>
                    <a:pt x="953" y="40"/>
                  </a:lnTo>
                  <a:lnTo>
                    <a:pt x="954" y="39"/>
                  </a:lnTo>
                  <a:lnTo>
                    <a:pt x="958" y="37"/>
                  </a:lnTo>
                  <a:lnTo>
                    <a:pt x="962" y="37"/>
                  </a:lnTo>
                  <a:lnTo>
                    <a:pt x="966" y="37"/>
                  </a:lnTo>
                  <a:lnTo>
                    <a:pt x="970" y="38"/>
                  </a:lnTo>
                  <a:lnTo>
                    <a:pt x="971" y="40"/>
                  </a:lnTo>
                  <a:lnTo>
                    <a:pt x="972" y="41"/>
                  </a:lnTo>
                  <a:lnTo>
                    <a:pt x="972" y="43"/>
                  </a:lnTo>
                  <a:lnTo>
                    <a:pt x="972" y="44"/>
                  </a:lnTo>
                  <a:lnTo>
                    <a:pt x="971" y="46"/>
                  </a:lnTo>
                  <a:lnTo>
                    <a:pt x="969" y="46"/>
                  </a:lnTo>
                  <a:lnTo>
                    <a:pt x="966" y="47"/>
                  </a:lnTo>
                  <a:lnTo>
                    <a:pt x="956" y="49"/>
                  </a:lnTo>
                  <a:lnTo>
                    <a:pt x="950" y="50"/>
                  </a:lnTo>
                  <a:lnTo>
                    <a:pt x="945" y="52"/>
                  </a:lnTo>
                  <a:lnTo>
                    <a:pt x="940" y="54"/>
                  </a:lnTo>
                  <a:lnTo>
                    <a:pt x="937" y="56"/>
                  </a:lnTo>
                  <a:lnTo>
                    <a:pt x="934" y="59"/>
                  </a:lnTo>
                  <a:lnTo>
                    <a:pt x="933" y="60"/>
                  </a:lnTo>
                  <a:lnTo>
                    <a:pt x="932" y="62"/>
                  </a:lnTo>
                  <a:lnTo>
                    <a:pt x="931" y="66"/>
                  </a:lnTo>
                  <a:lnTo>
                    <a:pt x="931" y="70"/>
                  </a:lnTo>
                  <a:lnTo>
                    <a:pt x="931" y="74"/>
                  </a:lnTo>
                  <a:lnTo>
                    <a:pt x="933" y="78"/>
                  </a:lnTo>
                  <a:lnTo>
                    <a:pt x="935" y="81"/>
                  </a:lnTo>
                  <a:lnTo>
                    <a:pt x="937" y="84"/>
                  </a:lnTo>
                  <a:lnTo>
                    <a:pt x="941" y="87"/>
                  </a:lnTo>
                  <a:lnTo>
                    <a:pt x="945" y="88"/>
                  </a:lnTo>
                  <a:lnTo>
                    <a:pt x="949" y="89"/>
                  </a:lnTo>
                  <a:lnTo>
                    <a:pt x="954" y="90"/>
                  </a:lnTo>
                  <a:lnTo>
                    <a:pt x="960" y="90"/>
                  </a:lnTo>
                  <a:lnTo>
                    <a:pt x="964" y="88"/>
                  </a:lnTo>
                  <a:lnTo>
                    <a:pt x="968" y="86"/>
                  </a:lnTo>
                  <a:lnTo>
                    <a:pt x="973" y="83"/>
                  </a:lnTo>
                  <a:lnTo>
                    <a:pt x="974" y="88"/>
                  </a:lnTo>
                  <a:lnTo>
                    <a:pt x="993" y="88"/>
                  </a:lnTo>
                  <a:lnTo>
                    <a:pt x="992" y="86"/>
                  </a:lnTo>
                  <a:lnTo>
                    <a:pt x="991" y="84"/>
                  </a:lnTo>
                  <a:lnTo>
                    <a:pt x="991" y="77"/>
                  </a:lnTo>
                  <a:lnTo>
                    <a:pt x="991" y="48"/>
                  </a:lnTo>
                  <a:lnTo>
                    <a:pt x="991" y="41"/>
                  </a:lnTo>
                  <a:lnTo>
                    <a:pt x="990" y="36"/>
                  </a:lnTo>
                  <a:lnTo>
                    <a:pt x="988" y="32"/>
                  </a:lnTo>
                  <a:lnTo>
                    <a:pt x="986" y="31"/>
                  </a:lnTo>
                  <a:lnTo>
                    <a:pt x="985" y="29"/>
                  </a:lnTo>
                  <a:lnTo>
                    <a:pt x="980" y="26"/>
                  </a:lnTo>
                  <a:lnTo>
                    <a:pt x="975" y="24"/>
                  </a:lnTo>
                  <a:lnTo>
                    <a:pt x="969" y="23"/>
                  </a:lnTo>
                  <a:lnTo>
                    <a:pt x="962" y="23"/>
                  </a:lnTo>
                  <a:lnTo>
                    <a:pt x="956" y="23"/>
                  </a:lnTo>
                  <a:lnTo>
                    <a:pt x="951" y="24"/>
                  </a:lnTo>
                  <a:lnTo>
                    <a:pt x="946" y="26"/>
                  </a:lnTo>
                  <a:lnTo>
                    <a:pt x="942" y="28"/>
                  </a:lnTo>
                  <a:lnTo>
                    <a:pt x="939" y="31"/>
                  </a:lnTo>
                  <a:lnTo>
                    <a:pt x="937" y="35"/>
                  </a:lnTo>
                  <a:lnTo>
                    <a:pt x="936" y="37"/>
                  </a:lnTo>
                  <a:lnTo>
                    <a:pt x="935" y="39"/>
                  </a:lnTo>
                  <a:lnTo>
                    <a:pt x="934" y="42"/>
                  </a:lnTo>
                  <a:lnTo>
                    <a:pt x="934" y="44"/>
                  </a:lnTo>
                  <a:lnTo>
                    <a:pt x="951" y="44"/>
                  </a:lnTo>
                  <a:close/>
                  <a:moveTo>
                    <a:pt x="920" y="47"/>
                  </a:moveTo>
                  <a:lnTo>
                    <a:pt x="920" y="42"/>
                  </a:lnTo>
                  <a:lnTo>
                    <a:pt x="918" y="37"/>
                  </a:lnTo>
                  <a:lnTo>
                    <a:pt x="915" y="33"/>
                  </a:lnTo>
                  <a:lnTo>
                    <a:pt x="912" y="29"/>
                  </a:lnTo>
                  <a:lnTo>
                    <a:pt x="907" y="26"/>
                  </a:lnTo>
                  <a:lnTo>
                    <a:pt x="903" y="24"/>
                  </a:lnTo>
                  <a:lnTo>
                    <a:pt x="897" y="23"/>
                  </a:lnTo>
                  <a:lnTo>
                    <a:pt x="891" y="23"/>
                  </a:lnTo>
                  <a:lnTo>
                    <a:pt x="884" y="23"/>
                  </a:lnTo>
                  <a:lnTo>
                    <a:pt x="878" y="25"/>
                  </a:lnTo>
                  <a:lnTo>
                    <a:pt x="872" y="28"/>
                  </a:lnTo>
                  <a:lnTo>
                    <a:pt x="870" y="29"/>
                  </a:lnTo>
                  <a:lnTo>
                    <a:pt x="867" y="32"/>
                  </a:lnTo>
                  <a:lnTo>
                    <a:pt x="865" y="34"/>
                  </a:lnTo>
                  <a:lnTo>
                    <a:pt x="864" y="36"/>
                  </a:lnTo>
                  <a:lnTo>
                    <a:pt x="861" y="42"/>
                  </a:lnTo>
                  <a:lnTo>
                    <a:pt x="859" y="49"/>
                  </a:lnTo>
                  <a:lnTo>
                    <a:pt x="859" y="56"/>
                  </a:lnTo>
                  <a:lnTo>
                    <a:pt x="859" y="64"/>
                  </a:lnTo>
                  <a:lnTo>
                    <a:pt x="860" y="67"/>
                  </a:lnTo>
                  <a:lnTo>
                    <a:pt x="861" y="70"/>
                  </a:lnTo>
                  <a:lnTo>
                    <a:pt x="864" y="76"/>
                  </a:lnTo>
                  <a:lnTo>
                    <a:pt x="865" y="79"/>
                  </a:lnTo>
                  <a:lnTo>
                    <a:pt x="867" y="81"/>
                  </a:lnTo>
                  <a:lnTo>
                    <a:pt x="872" y="85"/>
                  </a:lnTo>
                  <a:lnTo>
                    <a:pt x="877" y="88"/>
                  </a:lnTo>
                  <a:lnTo>
                    <a:pt x="884" y="89"/>
                  </a:lnTo>
                  <a:lnTo>
                    <a:pt x="887" y="90"/>
                  </a:lnTo>
                  <a:lnTo>
                    <a:pt x="891" y="90"/>
                  </a:lnTo>
                  <a:lnTo>
                    <a:pt x="897" y="89"/>
                  </a:lnTo>
                  <a:lnTo>
                    <a:pt x="902" y="88"/>
                  </a:lnTo>
                  <a:lnTo>
                    <a:pt x="907" y="86"/>
                  </a:lnTo>
                  <a:lnTo>
                    <a:pt x="911" y="83"/>
                  </a:lnTo>
                  <a:lnTo>
                    <a:pt x="915" y="80"/>
                  </a:lnTo>
                  <a:lnTo>
                    <a:pt x="918" y="75"/>
                  </a:lnTo>
                  <a:lnTo>
                    <a:pt x="920" y="70"/>
                  </a:lnTo>
                  <a:lnTo>
                    <a:pt x="921" y="65"/>
                  </a:lnTo>
                  <a:lnTo>
                    <a:pt x="903" y="64"/>
                  </a:lnTo>
                  <a:lnTo>
                    <a:pt x="902" y="66"/>
                  </a:lnTo>
                  <a:lnTo>
                    <a:pt x="901" y="69"/>
                  </a:lnTo>
                  <a:lnTo>
                    <a:pt x="899" y="72"/>
                  </a:lnTo>
                  <a:lnTo>
                    <a:pt x="897" y="73"/>
                  </a:lnTo>
                  <a:lnTo>
                    <a:pt x="896" y="74"/>
                  </a:lnTo>
                  <a:lnTo>
                    <a:pt x="893" y="74"/>
                  </a:lnTo>
                  <a:lnTo>
                    <a:pt x="891" y="75"/>
                  </a:lnTo>
                  <a:lnTo>
                    <a:pt x="888" y="74"/>
                  </a:lnTo>
                  <a:lnTo>
                    <a:pt x="885" y="73"/>
                  </a:lnTo>
                  <a:lnTo>
                    <a:pt x="883" y="72"/>
                  </a:lnTo>
                  <a:lnTo>
                    <a:pt x="881" y="70"/>
                  </a:lnTo>
                  <a:lnTo>
                    <a:pt x="880" y="67"/>
                  </a:lnTo>
                  <a:lnTo>
                    <a:pt x="879" y="64"/>
                  </a:lnTo>
                  <a:lnTo>
                    <a:pt x="878" y="60"/>
                  </a:lnTo>
                  <a:lnTo>
                    <a:pt x="878" y="56"/>
                  </a:lnTo>
                  <a:lnTo>
                    <a:pt x="878" y="52"/>
                  </a:lnTo>
                  <a:lnTo>
                    <a:pt x="878" y="50"/>
                  </a:lnTo>
                  <a:lnTo>
                    <a:pt x="879" y="48"/>
                  </a:lnTo>
                  <a:lnTo>
                    <a:pt x="880" y="45"/>
                  </a:lnTo>
                  <a:lnTo>
                    <a:pt x="881" y="42"/>
                  </a:lnTo>
                  <a:lnTo>
                    <a:pt x="883" y="40"/>
                  </a:lnTo>
                  <a:lnTo>
                    <a:pt x="885" y="39"/>
                  </a:lnTo>
                  <a:lnTo>
                    <a:pt x="888" y="38"/>
                  </a:lnTo>
                  <a:lnTo>
                    <a:pt x="891" y="38"/>
                  </a:lnTo>
                  <a:lnTo>
                    <a:pt x="895" y="38"/>
                  </a:lnTo>
                  <a:lnTo>
                    <a:pt x="899" y="40"/>
                  </a:lnTo>
                  <a:lnTo>
                    <a:pt x="900" y="42"/>
                  </a:lnTo>
                  <a:lnTo>
                    <a:pt x="901" y="43"/>
                  </a:lnTo>
                  <a:lnTo>
                    <a:pt x="902" y="45"/>
                  </a:lnTo>
                  <a:lnTo>
                    <a:pt x="903" y="47"/>
                  </a:lnTo>
                  <a:lnTo>
                    <a:pt x="920" y="47"/>
                  </a:lnTo>
                  <a:close/>
                  <a:moveTo>
                    <a:pt x="847" y="24"/>
                  </a:moveTo>
                  <a:lnTo>
                    <a:pt x="828" y="24"/>
                  </a:lnTo>
                  <a:lnTo>
                    <a:pt x="828" y="60"/>
                  </a:lnTo>
                  <a:lnTo>
                    <a:pt x="828" y="67"/>
                  </a:lnTo>
                  <a:lnTo>
                    <a:pt x="827" y="69"/>
                  </a:lnTo>
                  <a:lnTo>
                    <a:pt x="826" y="70"/>
                  </a:lnTo>
                  <a:lnTo>
                    <a:pt x="825" y="72"/>
                  </a:lnTo>
                  <a:lnTo>
                    <a:pt x="823" y="73"/>
                  </a:lnTo>
                  <a:lnTo>
                    <a:pt x="821" y="74"/>
                  </a:lnTo>
                  <a:lnTo>
                    <a:pt x="818" y="74"/>
                  </a:lnTo>
                  <a:lnTo>
                    <a:pt x="816" y="74"/>
                  </a:lnTo>
                  <a:lnTo>
                    <a:pt x="814" y="73"/>
                  </a:lnTo>
                  <a:lnTo>
                    <a:pt x="812" y="72"/>
                  </a:lnTo>
                  <a:lnTo>
                    <a:pt x="810" y="70"/>
                  </a:lnTo>
                  <a:lnTo>
                    <a:pt x="809" y="67"/>
                  </a:lnTo>
                  <a:lnTo>
                    <a:pt x="808" y="60"/>
                  </a:lnTo>
                  <a:lnTo>
                    <a:pt x="808" y="24"/>
                  </a:lnTo>
                  <a:lnTo>
                    <a:pt x="789" y="24"/>
                  </a:lnTo>
                  <a:lnTo>
                    <a:pt x="789" y="64"/>
                  </a:lnTo>
                  <a:lnTo>
                    <a:pt x="790" y="71"/>
                  </a:lnTo>
                  <a:lnTo>
                    <a:pt x="791" y="76"/>
                  </a:lnTo>
                  <a:lnTo>
                    <a:pt x="792" y="78"/>
                  </a:lnTo>
                  <a:lnTo>
                    <a:pt x="793" y="80"/>
                  </a:lnTo>
                  <a:lnTo>
                    <a:pt x="795" y="83"/>
                  </a:lnTo>
                  <a:lnTo>
                    <a:pt x="799" y="86"/>
                  </a:lnTo>
                  <a:lnTo>
                    <a:pt x="803" y="88"/>
                  </a:lnTo>
                  <a:lnTo>
                    <a:pt x="808" y="89"/>
                  </a:lnTo>
                  <a:lnTo>
                    <a:pt x="812" y="90"/>
                  </a:lnTo>
                  <a:lnTo>
                    <a:pt x="818" y="89"/>
                  </a:lnTo>
                  <a:lnTo>
                    <a:pt x="822" y="88"/>
                  </a:lnTo>
                  <a:lnTo>
                    <a:pt x="826" y="85"/>
                  </a:lnTo>
                  <a:lnTo>
                    <a:pt x="828" y="83"/>
                  </a:lnTo>
                  <a:lnTo>
                    <a:pt x="829" y="81"/>
                  </a:lnTo>
                  <a:lnTo>
                    <a:pt x="829" y="88"/>
                  </a:lnTo>
                  <a:lnTo>
                    <a:pt x="847" y="88"/>
                  </a:lnTo>
                  <a:lnTo>
                    <a:pt x="847" y="24"/>
                  </a:lnTo>
                  <a:close/>
                  <a:moveTo>
                    <a:pt x="743" y="38"/>
                  </a:moveTo>
                  <a:lnTo>
                    <a:pt x="746" y="38"/>
                  </a:lnTo>
                  <a:lnTo>
                    <a:pt x="749" y="39"/>
                  </a:lnTo>
                  <a:lnTo>
                    <a:pt x="751" y="41"/>
                  </a:lnTo>
                  <a:lnTo>
                    <a:pt x="753" y="43"/>
                  </a:lnTo>
                  <a:lnTo>
                    <a:pt x="755" y="45"/>
                  </a:lnTo>
                  <a:lnTo>
                    <a:pt x="756" y="49"/>
                  </a:lnTo>
                  <a:lnTo>
                    <a:pt x="756" y="52"/>
                  </a:lnTo>
                  <a:lnTo>
                    <a:pt x="757" y="56"/>
                  </a:lnTo>
                  <a:lnTo>
                    <a:pt x="756" y="60"/>
                  </a:lnTo>
                  <a:lnTo>
                    <a:pt x="756" y="64"/>
                  </a:lnTo>
                  <a:lnTo>
                    <a:pt x="755" y="67"/>
                  </a:lnTo>
                  <a:lnTo>
                    <a:pt x="753" y="70"/>
                  </a:lnTo>
                  <a:lnTo>
                    <a:pt x="751" y="72"/>
                  </a:lnTo>
                  <a:lnTo>
                    <a:pt x="749" y="73"/>
                  </a:lnTo>
                  <a:lnTo>
                    <a:pt x="746" y="74"/>
                  </a:lnTo>
                  <a:lnTo>
                    <a:pt x="743" y="75"/>
                  </a:lnTo>
                  <a:lnTo>
                    <a:pt x="740" y="74"/>
                  </a:lnTo>
                  <a:lnTo>
                    <a:pt x="738" y="73"/>
                  </a:lnTo>
                  <a:lnTo>
                    <a:pt x="735" y="72"/>
                  </a:lnTo>
                  <a:lnTo>
                    <a:pt x="733" y="70"/>
                  </a:lnTo>
                  <a:lnTo>
                    <a:pt x="732" y="67"/>
                  </a:lnTo>
                  <a:lnTo>
                    <a:pt x="731" y="64"/>
                  </a:lnTo>
                  <a:lnTo>
                    <a:pt x="730" y="60"/>
                  </a:lnTo>
                  <a:lnTo>
                    <a:pt x="730" y="56"/>
                  </a:lnTo>
                  <a:lnTo>
                    <a:pt x="730" y="52"/>
                  </a:lnTo>
                  <a:lnTo>
                    <a:pt x="731" y="48"/>
                  </a:lnTo>
                  <a:lnTo>
                    <a:pt x="732" y="45"/>
                  </a:lnTo>
                  <a:lnTo>
                    <a:pt x="733" y="43"/>
                  </a:lnTo>
                  <a:lnTo>
                    <a:pt x="735" y="40"/>
                  </a:lnTo>
                  <a:lnTo>
                    <a:pt x="738" y="39"/>
                  </a:lnTo>
                  <a:lnTo>
                    <a:pt x="740" y="38"/>
                  </a:lnTo>
                  <a:lnTo>
                    <a:pt x="743" y="38"/>
                  </a:lnTo>
                  <a:close/>
                  <a:moveTo>
                    <a:pt x="775" y="0"/>
                  </a:moveTo>
                  <a:lnTo>
                    <a:pt x="756" y="0"/>
                  </a:lnTo>
                  <a:lnTo>
                    <a:pt x="756" y="29"/>
                  </a:lnTo>
                  <a:lnTo>
                    <a:pt x="753" y="26"/>
                  </a:lnTo>
                  <a:lnTo>
                    <a:pt x="749" y="24"/>
                  </a:lnTo>
                  <a:lnTo>
                    <a:pt x="745" y="23"/>
                  </a:lnTo>
                  <a:lnTo>
                    <a:pt x="740" y="22"/>
                  </a:lnTo>
                  <a:lnTo>
                    <a:pt x="734" y="23"/>
                  </a:lnTo>
                  <a:lnTo>
                    <a:pt x="728" y="25"/>
                  </a:lnTo>
                  <a:lnTo>
                    <a:pt x="723" y="28"/>
                  </a:lnTo>
                  <a:lnTo>
                    <a:pt x="719" y="32"/>
                  </a:lnTo>
                  <a:lnTo>
                    <a:pt x="716" y="37"/>
                  </a:lnTo>
                  <a:lnTo>
                    <a:pt x="713" y="42"/>
                  </a:lnTo>
                  <a:lnTo>
                    <a:pt x="712" y="46"/>
                  </a:lnTo>
                  <a:lnTo>
                    <a:pt x="712" y="49"/>
                  </a:lnTo>
                  <a:lnTo>
                    <a:pt x="711" y="56"/>
                  </a:lnTo>
                  <a:lnTo>
                    <a:pt x="712" y="64"/>
                  </a:lnTo>
                  <a:lnTo>
                    <a:pt x="712" y="67"/>
                  </a:lnTo>
                  <a:lnTo>
                    <a:pt x="713" y="70"/>
                  </a:lnTo>
                  <a:lnTo>
                    <a:pt x="716" y="76"/>
                  </a:lnTo>
                  <a:lnTo>
                    <a:pt x="717" y="78"/>
                  </a:lnTo>
                  <a:lnTo>
                    <a:pt x="719" y="81"/>
                  </a:lnTo>
                  <a:lnTo>
                    <a:pt x="723" y="85"/>
                  </a:lnTo>
                  <a:lnTo>
                    <a:pt x="728" y="87"/>
                  </a:lnTo>
                  <a:lnTo>
                    <a:pt x="730" y="88"/>
                  </a:lnTo>
                  <a:lnTo>
                    <a:pt x="733" y="89"/>
                  </a:lnTo>
                  <a:lnTo>
                    <a:pt x="736" y="90"/>
                  </a:lnTo>
                  <a:lnTo>
                    <a:pt x="739" y="90"/>
                  </a:lnTo>
                  <a:lnTo>
                    <a:pt x="745" y="89"/>
                  </a:lnTo>
                  <a:lnTo>
                    <a:pt x="747" y="89"/>
                  </a:lnTo>
                  <a:lnTo>
                    <a:pt x="749" y="88"/>
                  </a:lnTo>
                  <a:lnTo>
                    <a:pt x="751" y="87"/>
                  </a:lnTo>
                  <a:lnTo>
                    <a:pt x="753" y="85"/>
                  </a:lnTo>
                  <a:lnTo>
                    <a:pt x="757" y="81"/>
                  </a:lnTo>
                  <a:lnTo>
                    <a:pt x="757" y="88"/>
                  </a:lnTo>
                  <a:lnTo>
                    <a:pt x="775" y="88"/>
                  </a:lnTo>
                  <a:lnTo>
                    <a:pt x="775" y="0"/>
                  </a:lnTo>
                  <a:close/>
                  <a:moveTo>
                    <a:pt x="701" y="0"/>
                  </a:moveTo>
                  <a:lnTo>
                    <a:pt x="634" y="0"/>
                  </a:lnTo>
                  <a:lnTo>
                    <a:pt x="634" y="88"/>
                  </a:lnTo>
                  <a:lnTo>
                    <a:pt x="702" y="88"/>
                  </a:lnTo>
                  <a:lnTo>
                    <a:pt x="702" y="71"/>
                  </a:lnTo>
                  <a:lnTo>
                    <a:pt x="655" y="71"/>
                  </a:lnTo>
                  <a:lnTo>
                    <a:pt x="655" y="50"/>
                  </a:lnTo>
                  <a:lnTo>
                    <a:pt x="695" y="50"/>
                  </a:lnTo>
                  <a:lnTo>
                    <a:pt x="695" y="34"/>
                  </a:lnTo>
                  <a:lnTo>
                    <a:pt x="655" y="34"/>
                  </a:lnTo>
                  <a:lnTo>
                    <a:pt x="655" y="17"/>
                  </a:lnTo>
                  <a:lnTo>
                    <a:pt x="701" y="17"/>
                  </a:lnTo>
                  <a:lnTo>
                    <a:pt x="701" y="0"/>
                  </a:lnTo>
                  <a:close/>
                  <a:moveTo>
                    <a:pt x="538" y="48"/>
                  </a:moveTo>
                  <a:lnTo>
                    <a:pt x="539" y="46"/>
                  </a:lnTo>
                  <a:lnTo>
                    <a:pt x="540" y="43"/>
                  </a:lnTo>
                  <a:lnTo>
                    <a:pt x="541" y="41"/>
                  </a:lnTo>
                  <a:lnTo>
                    <a:pt x="543" y="40"/>
                  </a:lnTo>
                  <a:lnTo>
                    <a:pt x="544" y="38"/>
                  </a:lnTo>
                  <a:lnTo>
                    <a:pt x="547" y="38"/>
                  </a:lnTo>
                  <a:lnTo>
                    <a:pt x="552" y="37"/>
                  </a:lnTo>
                  <a:lnTo>
                    <a:pt x="556" y="38"/>
                  </a:lnTo>
                  <a:lnTo>
                    <a:pt x="558" y="38"/>
                  </a:lnTo>
                  <a:lnTo>
                    <a:pt x="560" y="40"/>
                  </a:lnTo>
                  <a:lnTo>
                    <a:pt x="562" y="41"/>
                  </a:lnTo>
                  <a:lnTo>
                    <a:pt x="563" y="43"/>
                  </a:lnTo>
                  <a:lnTo>
                    <a:pt x="564" y="46"/>
                  </a:lnTo>
                  <a:lnTo>
                    <a:pt x="564" y="48"/>
                  </a:lnTo>
                  <a:lnTo>
                    <a:pt x="538" y="48"/>
                  </a:lnTo>
                  <a:close/>
                  <a:moveTo>
                    <a:pt x="583" y="62"/>
                  </a:moveTo>
                  <a:lnTo>
                    <a:pt x="583" y="56"/>
                  </a:lnTo>
                  <a:lnTo>
                    <a:pt x="583" y="50"/>
                  </a:lnTo>
                  <a:lnTo>
                    <a:pt x="582" y="46"/>
                  </a:lnTo>
                  <a:lnTo>
                    <a:pt x="580" y="41"/>
                  </a:lnTo>
                  <a:lnTo>
                    <a:pt x="578" y="37"/>
                  </a:lnTo>
                  <a:lnTo>
                    <a:pt x="576" y="33"/>
                  </a:lnTo>
                  <a:lnTo>
                    <a:pt x="573" y="30"/>
                  </a:lnTo>
                  <a:lnTo>
                    <a:pt x="569" y="27"/>
                  </a:lnTo>
                  <a:lnTo>
                    <a:pt x="565" y="25"/>
                  </a:lnTo>
                  <a:lnTo>
                    <a:pt x="561" y="24"/>
                  </a:lnTo>
                  <a:lnTo>
                    <a:pt x="557" y="23"/>
                  </a:lnTo>
                  <a:lnTo>
                    <a:pt x="552" y="23"/>
                  </a:lnTo>
                  <a:lnTo>
                    <a:pt x="545" y="23"/>
                  </a:lnTo>
                  <a:lnTo>
                    <a:pt x="538" y="25"/>
                  </a:lnTo>
                  <a:lnTo>
                    <a:pt x="536" y="26"/>
                  </a:lnTo>
                  <a:lnTo>
                    <a:pt x="533" y="28"/>
                  </a:lnTo>
                  <a:lnTo>
                    <a:pt x="528" y="32"/>
                  </a:lnTo>
                  <a:lnTo>
                    <a:pt x="526" y="34"/>
                  </a:lnTo>
                  <a:lnTo>
                    <a:pt x="524" y="37"/>
                  </a:lnTo>
                  <a:lnTo>
                    <a:pt x="521" y="43"/>
                  </a:lnTo>
                  <a:lnTo>
                    <a:pt x="520" y="49"/>
                  </a:lnTo>
                  <a:lnTo>
                    <a:pt x="519" y="53"/>
                  </a:lnTo>
                  <a:lnTo>
                    <a:pt x="519" y="56"/>
                  </a:lnTo>
                  <a:lnTo>
                    <a:pt x="520" y="63"/>
                  </a:lnTo>
                  <a:lnTo>
                    <a:pt x="521" y="70"/>
                  </a:lnTo>
                  <a:lnTo>
                    <a:pt x="524" y="76"/>
                  </a:lnTo>
                  <a:lnTo>
                    <a:pt x="526" y="78"/>
                  </a:lnTo>
                  <a:lnTo>
                    <a:pt x="528" y="81"/>
                  </a:lnTo>
                  <a:lnTo>
                    <a:pt x="533" y="85"/>
                  </a:lnTo>
                  <a:lnTo>
                    <a:pt x="538" y="87"/>
                  </a:lnTo>
                  <a:lnTo>
                    <a:pt x="541" y="88"/>
                  </a:lnTo>
                  <a:lnTo>
                    <a:pt x="545" y="89"/>
                  </a:lnTo>
                  <a:lnTo>
                    <a:pt x="548" y="90"/>
                  </a:lnTo>
                  <a:lnTo>
                    <a:pt x="552" y="90"/>
                  </a:lnTo>
                  <a:lnTo>
                    <a:pt x="557" y="89"/>
                  </a:lnTo>
                  <a:lnTo>
                    <a:pt x="563" y="88"/>
                  </a:lnTo>
                  <a:lnTo>
                    <a:pt x="567" y="87"/>
                  </a:lnTo>
                  <a:lnTo>
                    <a:pt x="572" y="84"/>
                  </a:lnTo>
                  <a:lnTo>
                    <a:pt x="575" y="81"/>
                  </a:lnTo>
                  <a:lnTo>
                    <a:pt x="577" y="80"/>
                  </a:lnTo>
                  <a:lnTo>
                    <a:pt x="578" y="78"/>
                  </a:lnTo>
                  <a:lnTo>
                    <a:pt x="581" y="74"/>
                  </a:lnTo>
                  <a:lnTo>
                    <a:pt x="583" y="69"/>
                  </a:lnTo>
                  <a:lnTo>
                    <a:pt x="563" y="69"/>
                  </a:lnTo>
                  <a:lnTo>
                    <a:pt x="561" y="72"/>
                  </a:lnTo>
                  <a:lnTo>
                    <a:pt x="559" y="74"/>
                  </a:lnTo>
                  <a:lnTo>
                    <a:pt x="556" y="75"/>
                  </a:lnTo>
                  <a:lnTo>
                    <a:pt x="552" y="75"/>
                  </a:lnTo>
                  <a:lnTo>
                    <a:pt x="549" y="75"/>
                  </a:lnTo>
                  <a:lnTo>
                    <a:pt x="547" y="74"/>
                  </a:lnTo>
                  <a:lnTo>
                    <a:pt x="545" y="73"/>
                  </a:lnTo>
                  <a:lnTo>
                    <a:pt x="543" y="72"/>
                  </a:lnTo>
                  <a:lnTo>
                    <a:pt x="541" y="70"/>
                  </a:lnTo>
                  <a:lnTo>
                    <a:pt x="540" y="67"/>
                  </a:lnTo>
                  <a:lnTo>
                    <a:pt x="539" y="65"/>
                  </a:lnTo>
                  <a:lnTo>
                    <a:pt x="538" y="62"/>
                  </a:lnTo>
                  <a:lnTo>
                    <a:pt x="583" y="62"/>
                  </a:lnTo>
                  <a:close/>
                  <a:moveTo>
                    <a:pt x="493" y="88"/>
                  </a:moveTo>
                  <a:lnTo>
                    <a:pt x="514" y="24"/>
                  </a:lnTo>
                  <a:lnTo>
                    <a:pt x="494" y="24"/>
                  </a:lnTo>
                  <a:lnTo>
                    <a:pt x="488" y="49"/>
                  </a:lnTo>
                  <a:lnTo>
                    <a:pt x="484" y="67"/>
                  </a:lnTo>
                  <a:lnTo>
                    <a:pt x="479" y="49"/>
                  </a:lnTo>
                  <a:lnTo>
                    <a:pt x="471" y="24"/>
                  </a:lnTo>
                  <a:lnTo>
                    <a:pt x="452" y="24"/>
                  </a:lnTo>
                  <a:lnTo>
                    <a:pt x="475" y="88"/>
                  </a:lnTo>
                  <a:lnTo>
                    <a:pt x="493" y="88"/>
                  </a:lnTo>
                  <a:close/>
                  <a:moveTo>
                    <a:pt x="440" y="0"/>
                  </a:moveTo>
                  <a:lnTo>
                    <a:pt x="421" y="0"/>
                  </a:lnTo>
                  <a:lnTo>
                    <a:pt x="421" y="15"/>
                  </a:lnTo>
                  <a:lnTo>
                    <a:pt x="440" y="15"/>
                  </a:lnTo>
                  <a:lnTo>
                    <a:pt x="440" y="0"/>
                  </a:lnTo>
                  <a:close/>
                  <a:moveTo>
                    <a:pt x="440" y="24"/>
                  </a:moveTo>
                  <a:lnTo>
                    <a:pt x="421" y="24"/>
                  </a:lnTo>
                  <a:lnTo>
                    <a:pt x="421" y="88"/>
                  </a:lnTo>
                  <a:lnTo>
                    <a:pt x="440" y="88"/>
                  </a:lnTo>
                  <a:lnTo>
                    <a:pt x="440" y="24"/>
                  </a:lnTo>
                  <a:close/>
                  <a:moveTo>
                    <a:pt x="405" y="25"/>
                  </a:moveTo>
                  <a:lnTo>
                    <a:pt x="394" y="25"/>
                  </a:lnTo>
                  <a:lnTo>
                    <a:pt x="394" y="5"/>
                  </a:lnTo>
                  <a:lnTo>
                    <a:pt x="375" y="5"/>
                  </a:lnTo>
                  <a:lnTo>
                    <a:pt x="375" y="25"/>
                  </a:lnTo>
                  <a:lnTo>
                    <a:pt x="366" y="25"/>
                  </a:lnTo>
                  <a:lnTo>
                    <a:pt x="366" y="38"/>
                  </a:lnTo>
                  <a:lnTo>
                    <a:pt x="375" y="38"/>
                  </a:lnTo>
                  <a:lnTo>
                    <a:pt x="375" y="67"/>
                  </a:lnTo>
                  <a:lnTo>
                    <a:pt x="375" y="74"/>
                  </a:lnTo>
                  <a:lnTo>
                    <a:pt x="376" y="78"/>
                  </a:lnTo>
                  <a:lnTo>
                    <a:pt x="377" y="81"/>
                  </a:lnTo>
                  <a:lnTo>
                    <a:pt x="378" y="84"/>
                  </a:lnTo>
                  <a:lnTo>
                    <a:pt x="381" y="86"/>
                  </a:lnTo>
                  <a:lnTo>
                    <a:pt x="384" y="87"/>
                  </a:lnTo>
                  <a:lnTo>
                    <a:pt x="388" y="88"/>
                  </a:lnTo>
                  <a:lnTo>
                    <a:pt x="394" y="88"/>
                  </a:lnTo>
                  <a:lnTo>
                    <a:pt x="405" y="88"/>
                  </a:lnTo>
                  <a:lnTo>
                    <a:pt x="405" y="74"/>
                  </a:lnTo>
                  <a:lnTo>
                    <a:pt x="398" y="74"/>
                  </a:lnTo>
                  <a:lnTo>
                    <a:pt x="396" y="74"/>
                  </a:lnTo>
                  <a:lnTo>
                    <a:pt x="394" y="72"/>
                  </a:lnTo>
                  <a:lnTo>
                    <a:pt x="394" y="69"/>
                  </a:lnTo>
                  <a:lnTo>
                    <a:pt x="394" y="63"/>
                  </a:lnTo>
                  <a:lnTo>
                    <a:pt x="394" y="38"/>
                  </a:lnTo>
                  <a:lnTo>
                    <a:pt x="405" y="38"/>
                  </a:lnTo>
                  <a:lnTo>
                    <a:pt x="405" y="25"/>
                  </a:lnTo>
                  <a:close/>
                  <a:moveTo>
                    <a:pt x="353" y="24"/>
                  </a:moveTo>
                  <a:lnTo>
                    <a:pt x="334" y="24"/>
                  </a:lnTo>
                  <a:lnTo>
                    <a:pt x="334" y="60"/>
                  </a:lnTo>
                  <a:lnTo>
                    <a:pt x="334" y="67"/>
                  </a:lnTo>
                  <a:lnTo>
                    <a:pt x="333" y="69"/>
                  </a:lnTo>
                  <a:lnTo>
                    <a:pt x="332" y="70"/>
                  </a:lnTo>
                  <a:lnTo>
                    <a:pt x="331" y="72"/>
                  </a:lnTo>
                  <a:lnTo>
                    <a:pt x="329" y="73"/>
                  </a:lnTo>
                  <a:lnTo>
                    <a:pt x="327" y="74"/>
                  </a:lnTo>
                  <a:lnTo>
                    <a:pt x="324" y="74"/>
                  </a:lnTo>
                  <a:lnTo>
                    <a:pt x="322" y="74"/>
                  </a:lnTo>
                  <a:lnTo>
                    <a:pt x="319" y="73"/>
                  </a:lnTo>
                  <a:lnTo>
                    <a:pt x="317" y="72"/>
                  </a:lnTo>
                  <a:lnTo>
                    <a:pt x="316" y="70"/>
                  </a:lnTo>
                  <a:lnTo>
                    <a:pt x="314" y="67"/>
                  </a:lnTo>
                  <a:lnTo>
                    <a:pt x="314" y="60"/>
                  </a:lnTo>
                  <a:lnTo>
                    <a:pt x="314" y="24"/>
                  </a:lnTo>
                  <a:lnTo>
                    <a:pt x="295" y="24"/>
                  </a:lnTo>
                  <a:lnTo>
                    <a:pt x="295" y="64"/>
                  </a:lnTo>
                  <a:lnTo>
                    <a:pt x="295" y="71"/>
                  </a:lnTo>
                  <a:lnTo>
                    <a:pt x="296" y="76"/>
                  </a:lnTo>
                  <a:lnTo>
                    <a:pt x="297" y="78"/>
                  </a:lnTo>
                  <a:lnTo>
                    <a:pt x="298" y="80"/>
                  </a:lnTo>
                  <a:lnTo>
                    <a:pt x="301" y="83"/>
                  </a:lnTo>
                  <a:lnTo>
                    <a:pt x="305" y="86"/>
                  </a:lnTo>
                  <a:lnTo>
                    <a:pt x="309" y="88"/>
                  </a:lnTo>
                  <a:lnTo>
                    <a:pt x="313" y="89"/>
                  </a:lnTo>
                  <a:lnTo>
                    <a:pt x="318" y="90"/>
                  </a:lnTo>
                  <a:lnTo>
                    <a:pt x="323" y="89"/>
                  </a:lnTo>
                  <a:lnTo>
                    <a:pt x="328" y="88"/>
                  </a:lnTo>
                  <a:lnTo>
                    <a:pt x="332" y="85"/>
                  </a:lnTo>
                  <a:lnTo>
                    <a:pt x="333" y="83"/>
                  </a:lnTo>
                  <a:lnTo>
                    <a:pt x="335" y="81"/>
                  </a:lnTo>
                  <a:lnTo>
                    <a:pt x="335" y="88"/>
                  </a:lnTo>
                  <a:lnTo>
                    <a:pt x="353" y="88"/>
                  </a:lnTo>
                  <a:lnTo>
                    <a:pt x="353" y="24"/>
                  </a:lnTo>
                  <a:close/>
                  <a:moveTo>
                    <a:pt x="282" y="47"/>
                  </a:moveTo>
                  <a:lnTo>
                    <a:pt x="281" y="42"/>
                  </a:lnTo>
                  <a:lnTo>
                    <a:pt x="279" y="37"/>
                  </a:lnTo>
                  <a:lnTo>
                    <a:pt x="276" y="33"/>
                  </a:lnTo>
                  <a:lnTo>
                    <a:pt x="273" y="29"/>
                  </a:lnTo>
                  <a:lnTo>
                    <a:pt x="269" y="26"/>
                  </a:lnTo>
                  <a:lnTo>
                    <a:pt x="264" y="24"/>
                  </a:lnTo>
                  <a:lnTo>
                    <a:pt x="259" y="23"/>
                  </a:lnTo>
                  <a:lnTo>
                    <a:pt x="253" y="23"/>
                  </a:lnTo>
                  <a:lnTo>
                    <a:pt x="245" y="23"/>
                  </a:lnTo>
                  <a:lnTo>
                    <a:pt x="239" y="25"/>
                  </a:lnTo>
                  <a:lnTo>
                    <a:pt x="233" y="28"/>
                  </a:lnTo>
                  <a:lnTo>
                    <a:pt x="231" y="29"/>
                  </a:lnTo>
                  <a:lnTo>
                    <a:pt x="229" y="32"/>
                  </a:lnTo>
                  <a:lnTo>
                    <a:pt x="227" y="34"/>
                  </a:lnTo>
                  <a:lnTo>
                    <a:pt x="225" y="36"/>
                  </a:lnTo>
                  <a:lnTo>
                    <a:pt x="222" y="42"/>
                  </a:lnTo>
                  <a:lnTo>
                    <a:pt x="221" y="49"/>
                  </a:lnTo>
                  <a:lnTo>
                    <a:pt x="220" y="56"/>
                  </a:lnTo>
                  <a:lnTo>
                    <a:pt x="221" y="64"/>
                  </a:lnTo>
                  <a:lnTo>
                    <a:pt x="221" y="67"/>
                  </a:lnTo>
                  <a:lnTo>
                    <a:pt x="222" y="70"/>
                  </a:lnTo>
                  <a:lnTo>
                    <a:pt x="225" y="76"/>
                  </a:lnTo>
                  <a:lnTo>
                    <a:pt x="227" y="79"/>
                  </a:lnTo>
                  <a:lnTo>
                    <a:pt x="229" y="81"/>
                  </a:lnTo>
                  <a:lnTo>
                    <a:pt x="233" y="85"/>
                  </a:lnTo>
                  <a:lnTo>
                    <a:pt x="239" y="88"/>
                  </a:lnTo>
                  <a:lnTo>
                    <a:pt x="245" y="89"/>
                  </a:lnTo>
                  <a:lnTo>
                    <a:pt x="248" y="90"/>
                  </a:lnTo>
                  <a:lnTo>
                    <a:pt x="252" y="90"/>
                  </a:lnTo>
                  <a:lnTo>
                    <a:pt x="258" y="89"/>
                  </a:lnTo>
                  <a:lnTo>
                    <a:pt x="264" y="88"/>
                  </a:lnTo>
                  <a:lnTo>
                    <a:pt x="268" y="86"/>
                  </a:lnTo>
                  <a:lnTo>
                    <a:pt x="273" y="83"/>
                  </a:lnTo>
                  <a:lnTo>
                    <a:pt x="276" y="80"/>
                  </a:lnTo>
                  <a:lnTo>
                    <a:pt x="279" y="75"/>
                  </a:lnTo>
                  <a:lnTo>
                    <a:pt x="281" y="70"/>
                  </a:lnTo>
                  <a:lnTo>
                    <a:pt x="283" y="65"/>
                  </a:lnTo>
                  <a:lnTo>
                    <a:pt x="264" y="64"/>
                  </a:lnTo>
                  <a:lnTo>
                    <a:pt x="264" y="66"/>
                  </a:lnTo>
                  <a:lnTo>
                    <a:pt x="263" y="69"/>
                  </a:lnTo>
                  <a:lnTo>
                    <a:pt x="260" y="72"/>
                  </a:lnTo>
                  <a:lnTo>
                    <a:pt x="259" y="73"/>
                  </a:lnTo>
                  <a:lnTo>
                    <a:pt x="257" y="74"/>
                  </a:lnTo>
                  <a:lnTo>
                    <a:pt x="255" y="74"/>
                  </a:lnTo>
                  <a:lnTo>
                    <a:pt x="252" y="75"/>
                  </a:lnTo>
                  <a:lnTo>
                    <a:pt x="249" y="74"/>
                  </a:lnTo>
                  <a:lnTo>
                    <a:pt x="247" y="73"/>
                  </a:lnTo>
                  <a:lnTo>
                    <a:pt x="244" y="72"/>
                  </a:lnTo>
                  <a:lnTo>
                    <a:pt x="243" y="70"/>
                  </a:lnTo>
                  <a:lnTo>
                    <a:pt x="241" y="67"/>
                  </a:lnTo>
                  <a:lnTo>
                    <a:pt x="240" y="64"/>
                  </a:lnTo>
                  <a:lnTo>
                    <a:pt x="239" y="60"/>
                  </a:lnTo>
                  <a:lnTo>
                    <a:pt x="239" y="56"/>
                  </a:lnTo>
                  <a:lnTo>
                    <a:pt x="239" y="52"/>
                  </a:lnTo>
                  <a:lnTo>
                    <a:pt x="240" y="50"/>
                  </a:lnTo>
                  <a:lnTo>
                    <a:pt x="240" y="48"/>
                  </a:lnTo>
                  <a:lnTo>
                    <a:pt x="241" y="45"/>
                  </a:lnTo>
                  <a:lnTo>
                    <a:pt x="242" y="42"/>
                  </a:lnTo>
                  <a:lnTo>
                    <a:pt x="244" y="40"/>
                  </a:lnTo>
                  <a:lnTo>
                    <a:pt x="247" y="39"/>
                  </a:lnTo>
                  <a:lnTo>
                    <a:pt x="249" y="38"/>
                  </a:lnTo>
                  <a:lnTo>
                    <a:pt x="252" y="38"/>
                  </a:lnTo>
                  <a:lnTo>
                    <a:pt x="257" y="38"/>
                  </a:lnTo>
                  <a:lnTo>
                    <a:pt x="260" y="40"/>
                  </a:lnTo>
                  <a:lnTo>
                    <a:pt x="262" y="42"/>
                  </a:lnTo>
                  <a:lnTo>
                    <a:pt x="263" y="43"/>
                  </a:lnTo>
                  <a:lnTo>
                    <a:pt x="264" y="47"/>
                  </a:lnTo>
                  <a:lnTo>
                    <a:pt x="282" y="47"/>
                  </a:lnTo>
                  <a:close/>
                  <a:moveTo>
                    <a:pt x="164" y="48"/>
                  </a:moveTo>
                  <a:lnTo>
                    <a:pt x="165" y="46"/>
                  </a:lnTo>
                  <a:lnTo>
                    <a:pt x="166" y="43"/>
                  </a:lnTo>
                  <a:lnTo>
                    <a:pt x="167" y="41"/>
                  </a:lnTo>
                  <a:lnTo>
                    <a:pt x="169" y="40"/>
                  </a:lnTo>
                  <a:lnTo>
                    <a:pt x="171" y="38"/>
                  </a:lnTo>
                  <a:lnTo>
                    <a:pt x="173" y="38"/>
                  </a:lnTo>
                  <a:lnTo>
                    <a:pt x="178" y="37"/>
                  </a:lnTo>
                  <a:lnTo>
                    <a:pt x="183" y="38"/>
                  </a:lnTo>
                  <a:lnTo>
                    <a:pt x="185" y="38"/>
                  </a:lnTo>
                  <a:lnTo>
                    <a:pt x="186" y="40"/>
                  </a:lnTo>
                  <a:lnTo>
                    <a:pt x="188" y="41"/>
                  </a:lnTo>
                  <a:lnTo>
                    <a:pt x="189" y="43"/>
                  </a:lnTo>
                  <a:lnTo>
                    <a:pt x="190" y="46"/>
                  </a:lnTo>
                  <a:lnTo>
                    <a:pt x="190" y="48"/>
                  </a:lnTo>
                  <a:lnTo>
                    <a:pt x="164" y="48"/>
                  </a:lnTo>
                  <a:close/>
                  <a:moveTo>
                    <a:pt x="209" y="62"/>
                  </a:moveTo>
                  <a:lnTo>
                    <a:pt x="209" y="56"/>
                  </a:lnTo>
                  <a:lnTo>
                    <a:pt x="209" y="50"/>
                  </a:lnTo>
                  <a:lnTo>
                    <a:pt x="208" y="46"/>
                  </a:lnTo>
                  <a:lnTo>
                    <a:pt x="206" y="41"/>
                  </a:lnTo>
                  <a:lnTo>
                    <a:pt x="204" y="37"/>
                  </a:lnTo>
                  <a:lnTo>
                    <a:pt x="202" y="33"/>
                  </a:lnTo>
                  <a:lnTo>
                    <a:pt x="199" y="30"/>
                  </a:lnTo>
                  <a:lnTo>
                    <a:pt x="195" y="27"/>
                  </a:lnTo>
                  <a:lnTo>
                    <a:pt x="192" y="25"/>
                  </a:lnTo>
                  <a:lnTo>
                    <a:pt x="187" y="24"/>
                  </a:lnTo>
                  <a:lnTo>
                    <a:pt x="183" y="23"/>
                  </a:lnTo>
                  <a:lnTo>
                    <a:pt x="178" y="23"/>
                  </a:lnTo>
                  <a:lnTo>
                    <a:pt x="171" y="23"/>
                  </a:lnTo>
                  <a:lnTo>
                    <a:pt x="165" y="25"/>
                  </a:lnTo>
                  <a:lnTo>
                    <a:pt x="162" y="26"/>
                  </a:lnTo>
                  <a:lnTo>
                    <a:pt x="159" y="28"/>
                  </a:lnTo>
                  <a:lnTo>
                    <a:pt x="154" y="32"/>
                  </a:lnTo>
                  <a:lnTo>
                    <a:pt x="152" y="34"/>
                  </a:lnTo>
                  <a:lnTo>
                    <a:pt x="150" y="37"/>
                  </a:lnTo>
                  <a:lnTo>
                    <a:pt x="148" y="43"/>
                  </a:lnTo>
                  <a:lnTo>
                    <a:pt x="146" y="49"/>
                  </a:lnTo>
                  <a:lnTo>
                    <a:pt x="145" y="53"/>
                  </a:lnTo>
                  <a:lnTo>
                    <a:pt x="145" y="56"/>
                  </a:lnTo>
                  <a:lnTo>
                    <a:pt x="146" y="63"/>
                  </a:lnTo>
                  <a:lnTo>
                    <a:pt x="148" y="70"/>
                  </a:lnTo>
                  <a:lnTo>
                    <a:pt x="150" y="76"/>
                  </a:lnTo>
                  <a:lnTo>
                    <a:pt x="152" y="78"/>
                  </a:lnTo>
                  <a:lnTo>
                    <a:pt x="154" y="81"/>
                  </a:lnTo>
                  <a:lnTo>
                    <a:pt x="159" y="85"/>
                  </a:lnTo>
                  <a:lnTo>
                    <a:pt x="165" y="87"/>
                  </a:lnTo>
                  <a:lnTo>
                    <a:pt x="168" y="88"/>
                  </a:lnTo>
                  <a:lnTo>
                    <a:pt x="171" y="89"/>
                  </a:lnTo>
                  <a:lnTo>
                    <a:pt x="174" y="90"/>
                  </a:lnTo>
                  <a:lnTo>
                    <a:pt x="178" y="90"/>
                  </a:lnTo>
                  <a:lnTo>
                    <a:pt x="184" y="89"/>
                  </a:lnTo>
                  <a:lnTo>
                    <a:pt x="189" y="88"/>
                  </a:lnTo>
                  <a:lnTo>
                    <a:pt x="193" y="87"/>
                  </a:lnTo>
                  <a:lnTo>
                    <a:pt x="198" y="84"/>
                  </a:lnTo>
                  <a:lnTo>
                    <a:pt x="201" y="81"/>
                  </a:lnTo>
                  <a:lnTo>
                    <a:pt x="203" y="80"/>
                  </a:lnTo>
                  <a:lnTo>
                    <a:pt x="205" y="78"/>
                  </a:lnTo>
                  <a:lnTo>
                    <a:pt x="207" y="74"/>
                  </a:lnTo>
                  <a:lnTo>
                    <a:pt x="209" y="69"/>
                  </a:lnTo>
                  <a:lnTo>
                    <a:pt x="190" y="69"/>
                  </a:lnTo>
                  <a:lnTo>
                    <a:pt x="188" y="72"/>
                  </a:lnTo>
                  <a:lnTo>
                    <a:pt x="185" y="74"/>
                  </a:lnTo>
                  <a:lnTo>
                    <a:pt x="182" y="75"/>
                  </a:lnTo>
                  <a:lnTo>
                    <a:pt x="178" y="75"/>
                  </a:lnTo>
                  <a:lnTo>
                    <a:pt x="176" y="75"/>
                  </a:lnTo>
                  <a:lnTo>
                    <a:pt x="173" y="74"/>
                  </a:lnTo>
                  <a:lnTo>
                    <a:pt x="171" y="73"/>
                  </a:lnTo>
                  <a:lnTo>
                    <a:pt x="169" y="72"/>
                  </a:lnTo>
                  <a:lnTo>
                    <a:pt x="167" y="70"/>
                  </a:lnTo>
                  <a:lnTo>
                    <a:pt x="166" y="67"/>
                  </a:lnTo>
                  <a:lnTo>
                    <a:pt x="165" y="65"/>
                  </a:lnTo>
                  <a:lnTo>
                    <a:pt x="164" y="62"/>
                  </a:lnTo>
                  <a:lnTo>
                    <a:pt x="209" y="62"/>
                  </a:lnTo>
                  <a:close/>
                  <a:moveTo>
                    <a:pt x="118" y="55"/>
                  </a:moveTo>
                  <a:lnTo>
                    <a:pt x="139" y="24"/>
                  </a:lnTo>
                  <a:lnTo>
                    <a:pt x="118" y="24"/>
                  </a:lnTo>
                  <a:lnTo>
                    <a:pt x="108" y="40"/>
                  </a:lnTo>
                  <a:lnTo>
                    <a:pt x="98" y="24"/>
                  </a:lnTo>
                  <a:lnTo>
                    <a:pt x="77" y="24"/>
                  </a:lnTo>
                  <a:lnTo>
                    <a:pt x="98" y="55"/>
                  </a:lnTo>
                  <a:lnTo>
                    <a:pt x="75" y="88"/>
                  </a:lnTo>
                  <a:lnTo>
                    <a:pt x="96" y="88"/>
                  </a:lnTo>
                  <a:lnTo>
                    <a:pt x="108" y="70"/>
                  </a:lnTo>
                  <a:lnTo>
                    <a:pt x="120" y="88"/>
                  </a:lnTo>
                  <a:lnTo>
                    <a:pt x="142" y="88"/>
                  </a:lnTo>
                  <a:lnTo>
                    <a:pt x="118" y="55"/>
                  </a:lnTo>
                  <a:close/>
                  <a:moveTo>
                    <a:pt x="66" y="0"/>
                  </a:moveTo>
                  <a:lnTo>
                    <a:pt x="0" y="0"/>
                  </a:lnTo>
                  <a:lnTo>
                    <a:pt x="0" y="88"/>
                  </a:lnTo>
                  <a:lnTo>
                    <a:pt x="67" y="88"/>
                  </a:lnTo>
                  <a:lnTo>
                    <a:pt x="67" y="71"/>
                  </a:lnTo>
                  <a:lnTo>
                    <a:pt x="20" y="71"/>
                  </a:lnTo>
                  <a:lnTo>
                    <a:pt x="20" y="50"/>
                  </a:lnTo>
                  <a:lnTo>
                    <a:pt x="60" y="50"/>
                  </a:lnTo>
                  <a:lnTo>
                    <a:pt x="60" y="34"/>
                  </a:lnTo>
                  <a:lnTo>
                    <a:pt x="20" y="34"/>
                  </a:lnTo>
                  <a:lnTo>
                    <a:pt x="20" y="17"/>
                  </a:lnTo>
                  <a:lnTo>
                    <a:pt x="66" y="17"/>
                  </a:lnTo>
                  <a:lnTo>
                    <a:pt x="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15" name="Freeform 8"/>
            <p:cNvSpPr>
              <a:spLocks noEditPoints="1"/>
            </p:cNvSpPr>
            <p:nvPr userDrawn="1"/>
          </p:nvSpPr>
          <p:spPr bwMode="auto">
            <a:xfrm>
              <a:off x="4067175" y="114301"/>
              <a:ext cx="566738" cy="560388"/>
            </a:xfrm>
            <a:custGeom>
              <a:avLst/>
              <a:gdLst>
                <a:gd name="T0" fmla="*/ 223 w 357"/>
                <a:gd name="T1" fmla="*/ 220 h 353"/>
                <a:gd name="T2" fmla="*/ 134 w 357"/>
                <a:gd name="T3" fmla="*/ 220 h 353"/>
                <a:gd name="T4" fmla="*/ 179 w 357"/>
                <a:gd name="T5" fmla="*/ 100 h 353"/>
                <a:gd name="T6" fmla="*/ 223 w 357"/>
                <a:gd name="T7" fmla="*/ 220 h 353"/>
                <a:gd name="T8" fmla="*/ 357 w 357"/>
                <a:gd name="T9" fmla="*/ 353 h 353"/>
                <a:gd name="T10" fmla="*/ 230 w 357"/>
                <a:gd name="T11" fmla="*/ 0 h 353"/>
                <a:gd name="T12" fmla="*/ 127 w 357"/>
                <a:gd name="T13" fmla="*/ 0 h 353"/>
                <a:gd name="T14" fmla="*/ 0 w 357"/>
                <a:gd name="T15" fmla="*/ 353 h 353"/>
                <a:gd name="T16" fmla="*/ 91 w 357"/>
                <a:gd name="T17" fmla="*/ 353 h 353"/>
                <a:gd name="T18" fmla="*/ 113 w 357"/>
                <a:gd name="T19" fmla="*/ 291 h 353"/>
                <a:gd name="T20" fmla="*/ 245 w 357"/>
                <a:gd name="T21" fmla="*/ 291 h 353"/>
                <a:gd name="T22" fmla="*/ 267 w 357"/>
                <a:gd name="T23" fmla="*/ 353 h 353"/>
                <a:gd name="T24" fmla="*/ 357 w 357"/>
                <a:gd name="T25"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7" h="353">
                  <a:moveTo>
                    <a:pt x="223" y="220"/>
                  </a:moveTo>
                  <a:lnTo>
                    <a:pt x="134" y="220"/>
                  </a:lnTo>
                  <a:lnTo>
                    <a:pt x="179" y="100"/>
                  </a:lnTo>
                  <a:lnTo>
                    <a:pt x="223" y="220"/>
                  </a:lnTo>
                  <a:close/>
                  <a:moveTo>
                    <a:pt x="357" y="353"/>
                  </a:moveTo>
                  <a:lnTo>
                    <a:pt x="230" y="0"/>
                  </a:lnTo>
                  <a:lnTo>
                    <a:pt x="127" y="0"/>
                  </a:lnTo>
                  <a:lnTo>
                    <a:pt x="0" y="353"/>
                  </a:lnTo>
                  <a:lnTo>
                    <a:pt x="91" y="353"/>
                  </a:lnTo>
                  <a:lnTo>
                    <a:pt x="113" y="291"/>
                  </a:lnTo>
                  <a:lnTo>
                    <a:pt x="245" y="291"/>
                  </a:lnTo>
                  <a:lnTo>
                    <a:pt x="267" y="353"/>
                  </a:lnTo>
                  <a:lnTo>
                    <a:pt x="357" y="3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16" name="Freeform 9"/>
            <p:cNvSpPr>
              <a:spLocks noEditPoints="1"/>
            </p:cNvSpPr>
            <p:nvPr userDrawn="1"/>
          </p:nvSpPr>
          <p:spPr bwMode="auto">
            <a:xfrm>
              <a:off x="4686300" y="114301"/>
              <a:ext cx="858838" cy="560388"/>
            </a:xfrm>
            <a:custGeom>
              <a:avLst/>
              <a:gdLst>
                <a:gd name="T0" fmla="*/ 541 w 541"/>
                <a:gd name="T1" fmla="*/ 75 h 353"/>
                <a:gd name="T2" fmla="*/ 541 w 541"/>
                <a:gd name="T3" fmla="*/ 0 h 353"/>
                <a:gd name="T4" fmla="*/ 303 w 541"/>
                <a:gd name="T5" fmla="*/ 0 h 353"/>
                <a:gd name="T6" fmla="*/ 303 w 541"/>
                <a:gd name="T7" fmla="*/ 353 h 353"/>
                <a:gd name="T8" fmla="*/ 541 w 541"/>
                <a:gd name="T9" fmla="*/ 353 h 353"/>
                <a:gd name="T10" fmla="*/ 541 w 541"/>
                <a:gd name="T11" fmla="*/ 278 h 353"/>
                <a:gd name="T12" fmla="*/ 388 w 541"/>
                <a:gd name="T13" fmla="*/ 278 h 353"/>
                <a:gd name="T14" fmla="*/ 388 w 541"/>
                <a:gd name="T15" fmla="*/ 210 h 353"/>
                <a:gd name="T16" fmla="*/ 536 w 541"/>
                <a:gd name="T17" fmla="*/ 210 h 353"/>
                <a:gd name="T18" fmla="*/ 536 w 541"/>
                <a:gd name="T19" fmla="*/ 139 h 353"/>
                <a:gd name="T20" fmla="*/ 388 w 541"/>
                <a:gd name="T21" fmla="*/ 139 h 353"/>
                <a:gd name="T22" fmla="*/ 388 w 541"/>
                <a:gd name="T23" fmla="*/ 75 h 353"/>
                <a:gd name="T24" fmla="*/ 541 w 541"/>
                <a:gd name="T25" fmla="*/ 75 h 353"/>
                <a:gd name="T26" fmla="*/ 239 w 541"/>
                <a:gd name="T27" fmla="*/ 75 h 353"/>
                <a:gd name="T28" fmla="*/ 239 w 541"/>
                <a:gd name="T29" fmla="*/ 0 h 353"/>
                <a:gd name="T30" fmla="*/ 0 w 541"/>
                <a:gd name="T31" fmla="*/ 0 h 353"/>
                <a:gd name="T32" fmla="*/ 0 w 541"/>
                <a:gd name="T33" fmla="*/ 353 h 353"/>
                <a:gd name="T34" fmla="*/ 239 w 541"/>
                <a:gd name="T35" fmla="*/ 353 h 353"/>
                <a:gd name="T36" fmla="*/ 239 w 541"/>
                <a:gd name="T37" fmla="*/ 278 h 353"/>
                <a:gd name="T38" fmla="*/ 85 w 541"/>
                <a:gd name="T39" fmla="*/ 278 h 353"/>
                <a:gd name="T40" fmla="*/ 85 w 541"/>
                <a:gd name="T41" fmla="*/ 210 h 353"/>
                <a:gd name="T42" fmla="*/ 235 w 541"/>
                <a:gd name="T43" fmla="*/ 210 h 353"/>
                <a:gd name="T44" fmla="*/ 235 w 541"/>
                <a:gd name="T45" fmla="*/ 139 h 353"/>
                <a:gd name="T46" fmla="*/ 85 w 541"/>
                <a:gd name="T47" fmla="*/ 139 h 353"/>
                <a:gd name="T48" fmla="*/ 85 w 541"/>
                <a:gd name="T49" fmla="*/ 75 h 353"/>
                <a:gd name="T50" fmla="*/ 239 w 541"/>
                <a:gd name="T51" fmla="*/ 75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1" h="353">
                  <a:moveTo>
                    <a:pt x="541" y="75"/>
                  </a:moveTo>
                  <a:lnTo>
                    <a:pt x="541" y="0"/>
                  </a:lnTo>
                  <a:lnTo>
                    <a:pt x="303" y="0"/>
                  </a:lnTo>
                  <a:lnTo>
                    <a:pt x="303" y="353"/>
                  </a:lnTo>
                  <a:lnTo>
                    <a:pt x="541" y="353"/>
                  </a:lnTo>
                  <a:lnTo>
                    <a:pt x="541" y="278"/>
                  </a:lnTo>
                  <a:lnTo>
                    <a:pt x="388" y="278"/>
                  </a:lnTo>
                  <a:lnTo>
                    <a:pt x="388" y="210"/>
                  </a:lnTo>
                  <a:lnTo>
                    <a:pt x="536" y="210"/>
                  </a:lnTo>
                  <a:lnTo>
                    <a:pt x="536" y="139"/>
                  </a:lnTo>
                  <a:lnTo>
                    <a:pt x="388" y="139"/>
                  </a:lnTo>
                  <a:lnTo>
                    <a:pt x="388" y="75"/>
                  </a:lnTo>
                  <a:lnTo>
                    <a:pt x="541" y="75"/>
                  </a:lnTo>
                  <a:close/>
                  <a:moveTo>
                    <a:pt x="239" y="75"/>
                  </a:moveTo>
                  <a:lnTo>
                    <a:pt x="239" y="0"/>
                  </a:lnTo>
                  <a:lnTo>
                    <a:pt x="0" y="0"/>
                  </a:lnTo>
                  <a:lnTo>
                    <a:pt x="0" y="353"/>
                  </a:lnTo>
                  <a:lnTo>
                    <a:pt x="239" y="353"/>
                  </a:lnTo>
                  <a:lnTo>
                    <a:pt x="239" y="278"/>
                  </a:lnTo>
                  <a:lnTo>
                    <a:pt x="85" y="278"/>
                  </a:lnTo>
                  <a:lnTo>
                    <a:pt x="85" y="210"/>
                  </a:lnTo>
                  <a:lnTo>
                    <a:pt x="235" y="210"/>
                  </a:lnTo>
                  <a:lnTo>
                    <a:pt x="235" y="139"/>
                  </a:lnTo>
                  <a:lnTo>
                    <a:pt x="85" y="139"/>
                  </a:lnTo>
                  <a:lnTo>
                    <a:pt x="85" y="75"/>
                  </a:lnTo>
                  <a:lnTo>
                    <a:pt x="23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grpSp>
      <p:sp>
        <p:nvSpPr>
          <p:cNvPr id="7" name="Date Placeholder 6"/>
          <p:cNvSpPr>
            <a:spLocks noGrp="1"/>
          </p:cNvSpPr>
          <p:nvPr>
            <p:ph type="dt" sz="half" idx="10"/>
          </p:nvPr>
        </p:nvSpPr>
        <p:spPr/>
        <p:txBody>
          <a:bodyPr/>
          <a:lstStyle>
            <a:lvl1pPr>
              <a:defRPr>
                <a:solidFill>
                  <a:schemeClr val="bg1"/>
                </a:solidFill>
              </a:defRPr>
            </a:lvl1pPr>
          </a:lstStyle>
          <a:p>
            <a:fld id="{874C9300-8D31-40BF-9AA5-957D6CB64534}" type="datetime1">
              <a:rPr lang="fi-FI" smtClean="0"/>
              <a:t>5.11.2023</a:t>
            </a:fld>
            <a:endParaRPr lang="en-US" dirty="0"/>
          </a:p>
        </p:txBody>
      </p:sp>
      <p:sp>
        <p:nvSpPr>
          <p:cNvPr id="8" name="Footer Placeholder 7"/>
          <p:cNvSpPr>
            <a:spLocks noGrp="1"/>
          </p:cNvSpPr>
          <p:nvPr>
            <p:ph type="ftr" sz="quarter" idx="11"/>
          </p:nvPr>
        </p:nvSpPr>
        <p:spPr/>
        <p:txBody>
          <a:bodyPr/>
          <a:lstStyle>
            <a:lvl1pPr>
              <a:defRPr>
                <a:solidFill>
                  <a:schemeClr val="bg1"/>
                </a:solidFill>
              </a:defRPr>
            </a:lvl1pPr>
          </a:lstStyle>
          <a:p>
            <a:r>
              <a:rPr lang="en-US"/>
              <a:t>© Aalto University Executive Education</a:t>
            </a:r>
            <a:endParaRPr lang="en-US" dirty="0"/>
          </a:p>
        </p:txBody>
      </p:sp>
      <p:sp>
        <p:nvSpPr>
          <p:cNvPr id="9" name="Slide Number Placeholder 8"/>
          <p:cNvSpPr>
            <a:spLocks noGrp="1"/>
          </p:cNvSpPr>
          <p:nvPr>
            <p:ph type="sldNum" sz="quarter" idx="12"/>
          </p:nvPr>
        </p:nvSpPr>
        <p:spPr/>
        <p:txBody>
          <a:bodyPr/>
          <a:lstStyle>
            <a:lvl1pPr>
              <a:defRPr>
                <a:solidFill>
                  <a:schemeClr val="bg1"/>
                </a:solidFill>
              </a:defRPr>
            </a:lvl1pPr>
          </a:lstStyle>
          <a:p>
            <a:fld id="{FCCA222D-FCF7-48C1-A274-EBDDEF75DC66}" type="slidenum">
              <a:rPr lang="en-US" smtClean="0"/>
              <a:pPr/>
              <a:t>‹#›</a:t>
            </a:fld>
            <a:endParaRPr lang="en-US" dirty="0"/>
          </a:p>
        </p:txBody>
      </p:sp>
    </p:spTree>
    <p:extLst>
      <p:ext uri="{BB962C8B-B14F-4D97-AF65-F5344CB8AC3E}">
        <p14:creationId xmlns:p14="http://schemas.microsoft.com/office/powerpoint/2010/main" val="1191163858"/>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add title</a:t>
            </a:r>
          </a:p>
        </p:txBody>
      </p:sp>
      <p:sp>
        <p:nvSpPr>
          <p:cNvPr id="3" name="Content Placeholder 2"/>
          <p:cNvSpPr>
            <a:spLocks noGrp="1"/>
          </p:cNvSpPr>
          <p:nvPr>
            <p:ph sz="half" idx="1" hasCustomPrompt="1"/>
          </p:nvPr>
        </p:nvSpPr>
        <p:spPr>
          <a:xfrm>
            <a:off x="414230" y="1869282"/>
            <a:ext cx="4049786" cy="2538413"/>
          </a:xfrm>
        </p:spPr>
        <p:txBody>
          <a:bodyPr/>
          <a:lstStyle>
            <a:lvl1pPr>
              <a:defRPr sz="1500"/>
            </a:lvl1pPr>
            <a:lvl2pPr>
              <a:defRPr sz="1350"/>
            </a:lvl2pPr>
            <a:lvl3pPr>
              <a:defRPr sz="1200"/>
            </a:lvl3pPr>
            <a:lvl4pPr>
              <a:defRPr sz="1050"/>
            </a:lvl4pPr>
            <a:lvl5pPr>
              <a:defRPr sz="1050"/>
            </a:lvl5pPr>
            <a:lvl6pPr>
              <a:defRPr sz="1350"/>
            </a:lvl6pPr>
            <a:lvl7pPr>
              <a:defRPr sz="1350"/>
            </a:lvl7pPr>
            <a:lvl8pPr>
              <a:defRPr sz="1350"/>
            </a:lvl8pPr>
            <a:lvl9pPr>
              <a:defRPr sz="135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4679983" y="1869282"/>
            <a:ext cx="4049787" cy="2538413"/>
          </a:xfrm>
        </p:spPr>
        <p:txBody>
          <a:bodyPr/>
          <a:lstStyle>
            <a:lvl1pPr>
              <a:defRPr sz="1500"/>
            </a:lvl1pPr>
            <a:lvl2pPr>
              <a:defRPr sz="1350"/>
            </a:lvl2pPr>
            <a:lvl3pPr>
              <a:defRPr sz="1200"/>
            </a:lvl3pPr>
            <a:lvl4pPr>
              <a:defRPr sz="1050"/>
            </a:lvl4pPr>
            <a:lvl5pPr>
              <a:defRPr sz="1050"/>
            </a:lvl5pPr>
            <a:lvl6pPr>
              <a:defRPr sz="1350"/>
            </a:lvl6pPr>
            <a:lvl7pPr>
              <a:defRPr sz="1350"/>
            </a:lvl7pPr>
            <a:lvl8pPr>
              <a:defRPr sz="1350"/>
            </a:lvl8pPr>
            <a:lvl9pPr>
              <a:defRPr sz="135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p>
            <a:fld id="{F842D18A-B818-4014-96A3-9460F9384D50}" type="datetime1">
              <a:rPr lang="fi-FI" smtClean="0"/>
              <a:t>5.11.2023</a:t>
            </a:fld>
            <a:endParaRPr lang="en-US"/>
          </a:p>
        </p:txBody>
      </p:sp>
      <p:sp>
        <p:nvSpPr>
          <p:cNvPr id="6" name="Footer Placeholder 5"/>
          <p:cNvSpPr>
            <a:spLocks noGrp="1"/>
          </p:cNvSpPr>
          <p:nvPr>
            <p:ph type="ftr" sz="quarter" idx="11"/>
          </p:nvPr>
        </p:nvSpPr>
        <p:spPr/>
        <p:txBody>
          <a:bodyPr/>
          <a:lstStyle/>
          <a:p>
            <a:r>
              <a:rPr lang="en-US"/>
              <a:t>© Aalto University Executive Education</a:t>
            </a:r>
          </a:p>
        </p:txBody>
      </p:sp>
      <p:sp>
        <p:nvSpPr>
          <p:cNvPr id="7" name="Slide Number Placeholder 6"/>
          <p:cNvSpPr>
            <a:spLocks noGrp="1"/>
          </p:cNvSpPr>
          <p:nvPr>
            <p:ph type="sldNum" sz="quarter" idx="12"/>
          </p:nvPr>
        </p:nvSpPr>
        <p:spPr/>
        <p:txBody>
          <a:bodyPr/>
          <a:lstStyle/>
          <a:p>
            <a:fld id="{FCCA222D-FCF7-48C1-A274-EBDDEF75DC66}" type="slidenum">
              <a:rPr lang="en-US" smtClean="0"/>
              <a:t>‹#›</a:t>
            </a:fld>
            <a:endParaRPr lang="en-US"/>
          </a:p>
        </p:txBody>
      </p:sp>
    </p:spTree>
    <p:extLst>
      <p:ext uri="{BB962C8B-B14F-4D97-AF65-F5344CB8AC3E}">
        <p14:creationId xmlns:p14="http://schemas.microsoft.com/office/powerpoint/2010/main" val="3404637127"/>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414230" y="1545431"/>
            <a:ext cx="4049786" cy="323850"/>
          </a:xfrm>
        </p:spPr>
        <p:txBody>
          <a:bodyPr anchor="b"/>
          <a:lstStyle>
            <a:lvl1pPr marL="0" indent="0">
              <a:buNone/>
              <a:defRPr sz="1350" b="0">
                <a:solidFill>
                  <a:schemeClr val="accent2"/>
                </a:solidFill>
              </a:defRPr>
            </a:lvl1pPr>
            <a:lvl2pPr marL="342809" indent="0">
              <a:buNone/>
              <a:defRPr sz="1500" b="1"/>
            </a:lvl2pPr>
            <a:lvl3pPr marL="685617" indent="0">
              <a:buNone/>
              <a:defRPr sz="1350" b="1"/>
            </a:lvl3pPr>
            <a:lvl4pPr marL="1028426" indent="0">
              <a:buNone/>
              <a:defRPr sz="1200" b="1"/>
            </a:lvl4pPr>
            <a:lvl5pPr marL="1371234" indent="0">
              <a:buNone/>
              <a:defRPr sz="1200" b="1"/>
            </a:lvl5pPr>
            <a:lvl6pPr marL="1714043" indent="0">
              <a:buNone/>
              <a:defRPr sz="1200" b="1"/>
            </a:lvl6pPr>
            <a:lvl7pPr marL="2056851" indent="0">
              <a:buNone/>
              <a:defRPr sz="1200" b="1"/>
            </a:lvl7pPr>
            <a:lvl8pPr marL="2399660" indent="0">
              <a:buNone/>
              <a:defRPr sz="1200" b="1"/>
            </a:lvl8pPr>
            <a:lvl9pPr marL="2742468" indent="0">
              <a:buNone/>
              <a:defRPr sz="1200" b="1"/>
            </a:lvl9pPr>
          </a:lstStyle>
          <a:p>
            <a:pPr lvl="0"/>
            <a:r>
              <a:rPr lang="en-US" dirty="0"/>
              <a:t>Click to add text</a:t>
            </a:r>
          </a:p>
        </p:txBody>
      </p:sp>
      <p:sp>
        <p:nvSpPr>
          <p:cNvPr id="4" name="Content Placeholder 3"/>
          <p:cNvSpPr>
            <a:spLocks noGrp="1"/>
          </p:cNvSpPr>
          <p:nvPr>
            <p:ph sz="half" idx="2" hasCustomPrompt="1"/>
          </p:nvPr>
        </p:nvSpPr>
        <p:spPr>
          <a:xfrm>
            <a:off x="414230" y="1869282"/>
            <a:ext cx="4049786" cy="2538413"/>
          </a:xfrm>
        </p:spPr>
        <p:txBody>
          <a:bodyPr/>
          <a:lstStyle>
            <a:lvl1pPr>
              <a:defRPr sz="1500"/>
            </a:lvl1pPr>
            <a:lvl2pPr>
              <a:defRPr sz="1350"/>
            </a:lvl2pPr>
            <a:lvl3pPr>
              <a:defRPr sz="1200"/>
            </a:lvl3pPr>
            <a:lvl4pPr>
              <a:defRPr sz="1050"/>
            </a:lvl4pPr>
            <a:lvl5pPr>
              <a:defRPr sz="1050"/>
            </a:lvl5pPr>
            <a:lvl6pPr>
              <a:defRPr sz="1200"/>
            </a:lvl6pPr>
            <a:lvl7pPr>
              <a:defRPr sz="1200"/>
            </a:lvl7pPr>
            <a:lvl8pPr>
              <a:defRPr sz="1200"/>
            </a:lvl8pPr>
            <a:lvl9pPr>
              <a:defRPr sz="12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hasCustomPrompt="1"/>
          </p:nvPr>
        </p:nvSpPr>
        <p:spPr>
          <a:xfrm>
            <a:off x="4679983" y="1545431"/>
            <a:ext cx="4049787" cy="323850"/>
          </a:xfrm>
        </p:spPr>
        <p:txBody>
          <a:bodyPr anchor="b"/>
          <a:lstStyle>
            <a:lvl1pPr marL="0" indent="0">
              <a:buNone/>
              <a:defRPr sz="1350" b="0">
                <a:solidFill>
                  <a:schemeClr val="accent2"/>
                </a:solidFill>
              </a:defRPr>
            </a:lvl1pPr>
            <a:lvl2pPr marL="342809" indent="0">
              <a:buNone/>
              <a:defRPr sz="1500" b="1"/>
            </a:lvl2pPr>
            <a:lvl3pPr marL="685617" indent="0">
              <a:buNone/>
              <a:defRPr sz="1350" b="1"/>
            </a:lvl3pPr>
            <a:lvl4pPr marL="1028426" indent="0">
              <a:buNone/>
              <a:defRPr sz="1200" b="1"/>
            </a:lvl4pPr>
            <a:lvl5pPr marL="1371234" indent="0">
              <a:buNone/>
              <a:defRPr sz="1200" b="1"/>
            </a:lvl5pPr>
            <a:lvl6pPr marL="1714043" indent="0">
              <a:buNone/>
              <a:defRPr sz="1200" b="1"/>
            </a:lvl6pPr>
            <a:lvl7pPr marL="2056851" indent="0">
              <a:buNone/>
              <a:defRPr sz="1200" b="1"/>
            </a:lvl7pPr>
            <a:lvl8pPr marL="2399660" indent="0">
              <a:buNone/>
              <a:defRPr sz="1200" b="1"/>
            </a:lvl8pPr>
            <a:lvl9pPr marL="2742468" indent="0">
              <a:buNone/>
              <a:defRPr sz="1200" b="1"/>
            </a:lvl9pPr>
          </a:lstStyle>
          <a:p>
            <a:pPr lvl="0"/>
            <a:r>
              <a:rPr lang="en-US" dirty="0"/>
              <a:t>Click to add text</a:t>
            </a:r>
          </a:p>
        </p:txBody>
      </p:sp>
      <p:sp>
        <p:nvSpPr>
          <p:cNvPr id="6" name="Content Placeholder 5"/>
          <p:cNvSpPr>
            <a:spLocks noGrp="1"/>
          </p:cNvSpPr>
          <p:nvPr>
            <p:ph sz="quarter" idx="4" hasCustomPrompt="1"/>
          </p:nvPr>
        </p:nvSpPr>
        <p:spPr>
          <a:xfrm>
            <a:off x="4679983" y="1869282"/>
            <a:ext cx="4049787" cy="2538413"/>
          </a:xfrm>
        </p:spPr>
        <p:txBody>
          <a:bodyPr/>
          <a:lstStyle>
            <a:lvl1pPr>
              <a:defRPr sz="1500"/>
            </a:lvl1pPr>
            <a:lvl2pPr>
              <a:defRPr sz="1350"/>
            </a:lvl2pPr>
            <a:lvl3pPr>
              <a:defRPr sz="1200"/>
            </a:lvl3pPr>
            <a:lvl4pPr>
              <a:defRPr sz="1050"/>
            </a:lvl4pPr>
            <a:lvl5pPr>
              <a:defRPr sz="1050"/>
            </a:lvl5pPr>
            <a:lvl6pPr>
              <a:defRPr sz="1200"/>
            </a:lvl6pPr>
            <a:lvl7pPr>
              <a:defRPr sz="1200"/>
            </a:lvl7pPr>
            <a:lvl8pPr>
              <a:defRPr sz="1200"/>
            </a:lvl8pPr>
            <a:lvl9pPr>
              <a:defRPr sz="12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p:txBody>
          <a:bodyPr/>
          <a:lstStyle/>
          <a:p>
            <a:fld id="{84BA04C4-8537-40D1-9461-53B174481FF5}" type="datetime1">
              <a:rPr lang="fi-FI" smtClean="0"/>
              <a:t>5.11.2023</a:t>
            </a:fld>
            <a:endParaRPr lang="en-US"/>
          </a:p>
        </p:txBody>
      </p:sp>
      <p:sp>
        <p:nvSpPr>
          <p:cNvPr id="8" name="Footer Placeholder 7"/>
          <p:cNvSpPr>
            <a:spLocks noGrp="1"/>
          </p:cNvSpPr>
          <p:nvPr>
            <p:ph type="ftr" sz="quarter" idx="11"/>
          </p:nvPr>
        </p:nvSpPr>
        <p:spPr/>
        <p:txBody>
          <a:bodyPr/>
          <a:lstStyle/>
          <a:p>
            <a:r>
              <a:rPr lang="en-US"/>
              <a:t>© Aalto University Executive Education</a:t>
            </a:r>
          </a:p>
        </p:txBody>
      </p:sp>
      <p:sp>
        <p:nvSpPr>
          <p:cNvPr id="9" name="Slide Number Placeholder 8"/>
          <p:cNvSpPr>
            <a:spLocks noGrp="1"/>
          </p:cNvSpPr>
          <p:nvPr>
            <p:ph type="sldNum" sz="quarter" idx="12"/>
          </p:nvPr>
        </p:nvSpPr>
        <p:spPr/>
        <p:txBody>
          <a:bodyPr/>
          <a:lstStyle/>
          <a:p>
            <a:fld id="{FCCA222D-FCF7-48C1-A274-EBDDEF75DC66}" type="slidenum">
              <a:rPr lang="en-US" smtClean="0"/>
              <a:t>‹#›</a:t>
            </a:fld>
            <a:endParaRPr lang="en-US"/>
          </a:p>
        </p:txBody>
      </p:sp>
      <p:sp>
        <p:nvSpPr>
          <p:cNvPr id="10" name="Title 1"/>
          <p:cNvSpPr>
            <a:spLocks noGrp="1"/>
          </p:cNvSpPr>
          <p:nvPr>
            <p:ph type="title" hasCustomPrompt="1"/>
          </p:nvPr>
        </p:nvSpPr>
        <p:spPr>
          <a:xfrm>
            <a:off x="1" y="573882"/>
            <a:ext cx="8729770" cy="456902"/>
          </a:xfrm>
          <a:solidFill>
            <a:schemeClr val="accent2"/>
          </a:solidFill>
        </p:spPr>
        <p:txBody>
          <a:bodyPr/>
          <a:lstStyle>
            <a:lvl1pPr>
              <a:defRPr sz="2249"/>
            </a:lvl1pPr>
          </a:lstStyle>
          <a:p>
            <a:r>
              <a:rPr lang="en-US" dirty="0"/>
              <a:t>Click to add title</a:t>
            </a:r>
          </a:p>
        </p:txBody>
      </p:sp>
    </p:spTree>
    <p:extLst>
      <p:ext uri="{BB962C8B-B14F-4D97-AF65-F5344CB8AC3E}">
        <p14:creationId xmlns:p14="http://schemas.microsoft.com/office/powerpoint/2010/main" val="591812467"/>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obj" preserve="1">
  <p:cSld name="Small 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573882"/>
            <a:ext cx="8729770" cy="456902"/>
          </a:xfrm>
        </p:spPr>
        <p:txBody>
          <a:bodyPr/>
          <a:lstStyle>
            <a:lvl1pPr>
              <a:defRPr sz="2249"/>
            </a:lvl1pPr>
          </a:lstStyle>
          <a:p>
            <a:r>
              <a:rPr lang="en-US" dirty="0"/>
              <a:t>Click to add title</a:t>
            </a:r>
          </a:p>
        </p:txBody>
      </p:sp>
      <p:sp>
        <p:nvSpPr>
          <p:cNvPr id="3" name="Content Placeholder 2"/>
          <p:cNvSpPr>
            <a:spLocks noGrp="1"/>
          </p:cNvSpPr>
          <p:nvPr>
            <p:ph idx="1" hasCustomPrompt="1"/>
          </p:nvPr>
        </p:nvSpPr>
        <p:spPr>
          <a:xfrm>
            <a:off x="414230" y="1545432"/>
            <a:ext cx="8315541" cy="2862263"/>
          </a:xfrm>
        </p:spPr>
        <p:txBody>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CC2D0442-C4A3-4453-9BE2-10F92029009F}" type="datetime1">
              <a:rPr lang="fi-FI" smtClean="0"/>
              <a:t>5.11.2023</a:t>
            </a:fld>
            <a:endParaRPr lang="en-US"/>
          </a:p>
        </p:txBody>
      </p:sp>
      <p:sp>
        <p:nvSpPr>
          <p:cNvPr id="5" name="Footer Placeholder 4"/>
          <p:cNvSpPr>
            <a:spLocks noGrp="1"/>
          </p:cNvSpPr>
          <p:nvPr>
            <p:ph type="ftr" sz="quarter" idx="11"/>
          </p:nvPr>
        </p:nvSpPr>
        <p:spPr/>
        <p:txBody>
          <a:bodyPr/>
          <a:lstStyle/>
          <a:p>
            <a:r>
              <a:rPr lang="en-US"/>
              <a:t>© Aalto University Executive Education</a:t>
            </a:r>
          </a:p>
        </p:txBody>
      </p:sp>
      <p:sp>
        <p:nvSpPr>
          <p:cNvPr id="6" name="Slide Number Placeholder 5"/>
          <p:cNvSpPr>
            <a:spLocks noGrp="1"/>
          </p:cNvSpPr>
          <p:nvPr>
            <p:ph type="sldNum" sz="quarter" idx="12"/>
          </p:nvPr>
        </p:nvSpPr>
        <p:spPr/>
        <p:txBody>
          <a:bodyPr/>
          <a:lstStyle/>
          <a:p>
            <a:fld id="{FCCA222D-FCF7-48C1-A274-EBDDEF75DC66}" type="slidenum">
              <a:rPr lang="en-US" smtClean="0"/>
              <a:t>‹#›</a:t>
            </a:fld>
            <a:endParaRPr lang="en-US"/>
          </a:p>
        </p:txBody>
      </p:sp>
    </p:spTree>
    <p:extLst>
      <p:ext uri="{BB962C8B-B14F-4D97-AF65-F5344CB8AC3E}">
        <p14:creationId xmlns:p14="http://schemas.microsoft.com/office/powerpoint/2010/main" val="4240589429"/>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add title</a:t>
            </a:r>
          </a:p>
        </p:txBody>
      </p:sp>
      <p:sp>
        <p:nvSpPr>
          <p:cNvPr id="3" name="Date Placeholder 2"/>
          <p:cNvSpPr>
            <a:spLocks noGrp="1"/>
          </p:cNvSpPr>
          <p:nvPr>
            <p:ph type="dt" sz="half" idx="10"/>
          </p:nvPr>
        </p:nvSpPr>
        <p:spPr/>
        <p:txBody>
          <a:bodyPr/>
          <a:lstStyle/>
          <a:p>
            <a:fld id="{672666DA-8E81-4CE6-9981-96AB2942B629}" type="datetime1">
              <a:rPr lang="fi-FI" smtClean="0"/>
              <a:t>5.11.2023</a:t>
            </a:fld>
            <a:endParaRPr lang="en-US"/>
          </a:p>
        </p:txBody>
      </p:sp>
      <p:sp>
        <p:nvSpPr>
          <p:cNvPr id="4" name="Footer Placeholder 3"/>
          <p:cNvSpPr>
            <a:spLocks noGrp="1"/>
          </p:cNvSpPr>
          <p:nvPr>
            <p:ph type="ftr" sz="quarter" idx="11"/>
          </p:nvPr>
        </p:nvSpPr>
        <p:spPr/>
        <p:txBody>
          <a:bodyPr/>
          <a:lstStyle/>
          <a:p>
            <a:r>
              <a:rPr lang="en-US"/>
              <a:t>© Aalto University Executive Education</a:t>
            </a:r>
          </a:p>
        </p:txBody>
      </p:sp>
      <p:sp>
        <p:nvSpPr>
          <p:cNvPr id="5" name="Slide Number Placeholder 4"/>
          <p:cNvSpPr>
            <a:spLocks noGrp="1"/>
          </p:cNvSpPr>
          <p:nvPr>
            <p:ph type="sldNum" sz="quarter" idx="12"/>
          </p:nvPr>
        </p:nvSpPr>
        <p:spPr/>
        <p:txBody>
          <a:bodyPr/>
          <a:lstStyle/>
          <a:p>
            <a:fld id="{FCCA222D-FCF7-48C1-A274-EBDDEF75DC66}" type="slidenum">
              <a:rPr lang="en-US" smtClean="0"/>
              <a:t>‹#›</a:t>
            </a:fld>
            <a:endParaRPr lang="en-US"/>
          </a:p>
        </p:txBody>
      </p:sp>
    </p:spTree>
    <p:extLst>
      <p:ext uri="{BB962C8B-B14F-4D97-AF65-F5344CB8AC3E}">
        <p14:creationId xmlns:p14="http://schemas.microsoft.com/office/powerpoint/2010/main" val="2213104380"/>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Content and 1/2 PIC">
    <p:spTree>
      <p:nvGrpSpPr>
        <p:cNvPr id="1" name=""/>
        <p:cNvGrpSpPr/>
        <p:nvPr/>
      </p:nvGrpSpPr>
      <p:grpSpPr>
        <a:xfrm>
          <a:off x="0" y="0"/>
          <a:ext cx="0" cy="0"/>
          <a:chOff x="0" y="0"/>
          <a:chExt cx="0" cy="0"/>
        </a:xfrm>
      </p:grpSpPr>
      <p:sp>
        <p:nvSpPr>
          <p:cNvPr id="11" name="Picture Placeholder 10"/>
          <p:cNvSpPr>
            <a:spLocks noGrp="1"/>
          </p:cNvSpPr>
          <p:nvPr>
            <p:ph type="pic" sz="quarter" idx="15"/>
          </p:nvPr>
        </p:nvSpPr>
        <p:spPr>
          <a:xfrm>
            <a:off x="1" y="0"/>
            <a:ext cx="4464015" cy="5143500"/>
          </a:xfrm>
          <a:solidFill>
            <a:schemeClr val="bg2">
              <a:lumMod val="20000"/>
              <a:lumOff val="80000"/>
            </a:schemeClr>
          </a:solidFill>
        </p:spPr>
        <p:txBody>
          <a:bodyPr/>
          <a:lstStyle>
            <a:lvl1pPr marL="0" indent="0">
              <a:buFontTx/>
              <a:buNone/>
              <a:defRPr sz="1050"/>
            </a:lvl1pPr>
          </a:lstStyle>
          <a:p>
            <a:r>
              <a:rPr lang="en-US"/>
              <a:t>Click icon to add picture</a:t>
            </a:r>
            <a:endParaRPr lang="fi-FI" dirty="0"/>
          </a:p>
        </p:txBody>
      </p:sp>
      <p:sp>
        <p:nvSpPr>
          <p:cNvPr id="2" name="Title 1"/>
          <p:cNvSpPr>
            <a:spLocks noGrp="1"/>
          </p:cNvSpPr>
          <p:nvPr>
            <p:ph type="title" hasCustomPrompt="1"/>
          </p:nvPr>
        </p:nvSpPr>
        <p:spPr/>
        <p:txBody>
          <a:bodyPr/>
          <a:lstStyle>
            <a:lvl1pPr>
              <a:defRPr/>
            </a:lvl1pPr>
          </a:lstStyle>
          <a:p>
            <a:r>
              <a:rPr lang="en-US" dirty="0"/>
              <a:t>Click to add title</a:t>
            </a:r>
          </a:p>
        </p:txBody>
      </p:sp>
      <p:sp>
        <p:nvSpPr>
          <p:cNvPr id="5" name="Date Placeholder 4"/>
          <p:cNvSpPr>
            <a:spLocks noGrp="1"/>
          </p:cNvSpPr>
          <p:nvPr>
            <p:ph type="dt" sz="half" idx="10"/>
          </p:nvPr>
        </p:nvSpPr>
        <p:spPr/>
        <p:txBody>
          <a:bodyPr/>
          <a:lstStyle>
            <a:lvl1pPr>
              <a:defRPr>
                <a:noFill/>
              </a:defRPr>
            </a:lvl1pPr>
          </a:lstStyle>
          <a:p>
            <a:fld id="{9F29C8DB-8864-495E-945C-E8E237C3EE93}" type="datetime1">
              <a:rPr lang="fi-FI" smtClean="0"/>
              <a:t>5.11.2023</a:t>
            </a:fld>
            <a:endParaRPr lang="en-US"/>
          </a:p>
        </p:txBody>
      </p:sp>
      <p:sp>
        <p:nvSpPr>
          <p:cNvPr id="6" name="Footer Placeholder 5"/>
          <p:cNvSpPr>
            <a:spLocks noGrp="1"/>
          </p:cNvSpPr>
          <p:nvPr>
            <p:ph type="ftr" sz="quarter" idx="11"/>
          </p:nvPr>
        </p:nvSpPr>
        <p:spPr/>
        <p:txBody>
          <a:bodyPr/>
          <a:lstStyle>
            <a:lvl1pPr>
              <a:defRPr>
                <a:noFill/>
              </a:defRPr>
            </a:lvl1pPr>
          </a:lstStyle>
          <a:p>
            <a:r>
              <a:rPr lang="en-US"/>
              <a:t>© Aalto University Executive Education</a:t>
            </a:r>
          </a:p>
        </p:txBody>
      </p:sp>
      <p:sp>
        <p:nvSpPr>
          <p:cNvPr id="7" name="Slide Number Placeholder 6"/>
          <p:cNvSpPr>
            <a:spLocks noGrp="1"/>
          </p:cNvSpPr>
          <p:nvPr>
            <p:ph type="sldNum" sz="quarter" idx="12"/>
          </p:nvPr>
        </p:nvSpPr>
        <p:spPr/>
        <p:txBody>
          <a:bodyPr/>
          <a:lstStyle/>
          <a:p>
            <a:fld id="{FCCA222D-FCF7-48C1-A274-EBDDEF75DC66}" type="slidenum">
              <a:rPr lang="en-US" smtClean="0"/>
              <a:t>‹#›</a:t>
            </a:fld>
            <a:endParaRPr lang="en-US"/>
          </a:p>
        </p:txBody>
      </p:sp>
      <p:sp>
        <p:nvSpPr>
          <p:cNvPr id="8" name="Content Placeholder 7"/>
          <p:cNvSpPr>
            <a:spLocks noGrp="1"/>
          </p:cNvSpPr>
          <p:nvPr>
            <p:ph sz="quarter" idx="14" hasCustomPrompt="1"/>
          </p:nvPr>
        </p:nvSpPr>
        <p:spPr>
          <a:xfrm>
            <a:off x="4679983" y="1869281"/>
            <a:ext cx="4049787" cy="2538413"/>
          </a:xfrm>
        </p:spPr>
        <p:txBody>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Tree>
    <p:extLst>
      <p:ext uri="{BB962C8B-B14F-4D97-AF65-F5344CB8AC3E}">
        <p14:creationId xmlns:p14="http://schemas.microsoft.com/office/powerpoint/2010/main" val="2079235088"/>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Content and 1/3 PIC">
    <p:spTree>
      <p:nvGrpSpPr>
        <p:cNvPr id="1" name=""/>
        <p:cNvGrpSpPr/>
        <p:nvPr/>
      </p:nvGrpSpPr>
      <p:grpSpPr>
        <a:xfrm>
          <a:off x="0" y="0"/>
          <a:ext cx="0" cy="0"/>
          <a:chOff x="0" y="0"/>
          <a:chExt cx="0" cy="0"/>
        </a:xfrm>
      </p:grpSpPr>
      <p:sp>
        <p:nvSpPr>
          <p:cNvPr id="11" name="Picture Placeholder 10"/>
          <p:cNvSpPr>
            <a:spLocks noGrp="1"/>
          </p:cNvSpPr>
          <p:nvPr>
            <p:ph type="pic" sz="quarter" idx="15"/>
          </p:nvPr>
        </p:nvSpPr>
        <p:spPr>
          <a:xfrm>
            <a:off x="1" y="0"/>
            <a:ext cx="3060300" cy="5143500"/>
          </a:xfrm>
          <a:solidFill>
            <a:schemeClr val="bg2">
              <a:lumMod val="20000"/>
              <a:lumOff val="80000"/>
            </a:schemeClr>
          </a:solidFill>
        </p:spPr>
        <p:txBody>
          <a:bodyPr/>
          <a:lstStyle>
            <a:lvl1pPr marL="0" indent="0">
              <a:buFontTx/>
              <a:buNone/>
              <a:defRPr sz="1050"/>
            </a:lvl1pPr>
          </a:lstStyle>
          <a:p>
            <a:r>
              <a:rPr lang="en-US"/>
              <a:t>Click icon to add picture</a:t>
            </a:r>
            <a:endParaRPr lang="fi-FI"/>
          </a:p>
        </p:txBody>
      </p:sp>
      <p:sp>
        <p:nvSpPr>
          <p:cNvPr id="2" name="Title 1"/>
          <p:cNvSpPr>
            <a:spLocks noGrp="1"/>
          </p:cNvSpPr>
          <p:nvPr>
            <p:ph type="title" hasCustomPrompt="1"/>
          </p:nvPr>
        </p:nvSpPr>
        <p:spPr/>
        <p:txBody>
          <a:bodyPr/>
          <a:lstStyle>
            <a:lvl1pPr>
              <a:defRPr/>
            </a:lvl1pPr>
          </a:lstStyle>
          <a:p>
            <a:r>
              <a:rPr lang="en-US" dirty="0"/>
              <a:t>Click to add title</a:t>
            </a:r>
          </a:p>
        </p:txBody>
      </p:sp>
      <p:sp>
        <p:nvSpPr>
          <p:cNvPr id="5" name="Date Placeholder 4"/>
          <p:cNvSpPr>
            <a:spLocks noGrp="1"/>
          </p:cNvSpPr>
          <p:nvPr>
            <p:ph type="dt" sz="half" idx="10"/>
          </p:nvPr>
        </p:nvSpPr>
        <p:spPr/>
        <p:txBody>
          <a:bodyPr/>
          <a:lstStyle>
            <a:lvl1pPr>
              <a:defRPr>
                <a:noFill/>
              </a:defRPr>
            </a:lvl1pPr>
          </a:lstStyle>
          <a:p>
            <a:fld id="{CE226531-C9F9-483A-B5FE-CD598EBE2D3B}" type="datetime1">
              <a:rPr lang="fi-FI" smtClean="0"/>
              <a:t>5.11.2023</a:t>
            </a:fld>
            <a:endParaRPr lang="en-US"/>
          </a:p>
        </p:txBody>
      </p:sp>
      <p:sp>
        <p:nvSpPr>
          <p:cNvPr id="6" name="Footer Placeholder 5"/>
          <p:cNvSpPr>
            <a:spLocks noGrp="1"/>
          </p:cNvSpPr>
          <p:nvPr>
            <p:ph type="ftr" sz="quarter" idx="11"/>
          </p:nvPr>
        </p:nvSpPr>
        <p:spPr/>
        <p:txBody>
          <a:bodyPr/>
          <a:lstStyle>
            <a:lvl1pPr>
              <a:defRPr>
                <a:noFill/>
              </a:defRPr>
            </a:lvl1pPr>
          </a:lstStyle>
          <a:p>
            <a:r>
              <a:rPr lang="en-US"/>
              <a:t>© Aalto University Executive Education</a:t>
            </a:r>
          </a:p>
        </p:txBody>
      </p:sp>
      <p:sp>
        <p:nvSpPr>
          <p:cNvPr id="7" name="Slide Number Placeholder 6"/>
          <p:cNvSpPr>
            <a:spLocks noGrp="1"/>
          </p:cNvSpPr>
          <p:nvPr>
            <p:ph type="sldNum" sz="quarter" idx="12"/>
          </p:nvPr>
        </p:nvSpPr>
        <p:spPr/>
        <p:txBody>
          <a:bodyPr/>
          <a:lstStyle/>
          <a:p>
            <a:fld id="{FCCA222D-FCF7-48C1-A274-EBDDEF75DC66}" type="slidenum">
              <a:rPr lang="en-US" smtClean="0"/>
              <a:t>‹#›</a:t>
            </a:fld>
            <a:endParaRPr lang="en-US"/>
          </a:p>
        </p:txBody>
      </p:sp>
      <p:sp>
        <p:nvSpPr>
          <p:cNvPr id="8" name="Content Placeholder 7"/>
          <p:cNvSpPr>
            <a:spLocks noGrp="1"/>
          </p:cNvSpPr>
          <p:nvPr>
            <p:ph sz="quarter" idx="14" hasCustomPrompt="1"/>
          </p:nvPr>
        </p:nvSpPr>
        <p:spPr>
          <a:xfrm>
            <a:off x="3276193" y="1869281"/>
            <a:ext cx="5453577" cy="2538413"/>
          </a:xfrm>
        </p:spPr>
        <p:txBody>
          <a:bodyPr/>
          <a:lstStyle>
            <a:lvl1pPr marL="0" indent="0">
              <a:buFontTx/>
              <a:buNone/>
              <a:defRPr b="1">
                <a:solidFill>
                  <a:schemeClr val="accent2"/>
                </a:solidFill>
              </a:defRPr>
            </a:lvl1pPr>
            <a:lvl2pPr marL="199972" indent="-199972">
              <a:buFont typeface="Arial" panose="020B0604020202020204" pitchFamily="34" charset="0"/>
              <a:buChar char="•"/>
              <a:defRPr sz="1500"/>
            </a:lvl2pPr>
            <a:lvl3pPr marL="404705" indent="-204733">
              <a:buFont typeface="Arial" panose="020B0604020202020204" pitchFamily="34" charset="0"/>
              <a:buChar char="–"/>
              <a:defRPr sz="1350"/>
            </a:lvl3pPr>
            <a:lvl4pPr marL="604676" indent="-199972">
              <a:buFont typeface="Arial" panose="020B0604020202020204" pitchFamily="34" charset="0"/>
              <a:buChar char="•"/>
              <a:defRPr sz="1200"/>
            </a:lvl4pPr>
            <a:lvl5pPr marL="803458" indent="-198782">
              <a:buFont typeface="Arial" panose="020B0604020202020204" pitchFamily="34" charset="0"/>
              <a:buChar char="–"/>
              <a:defRPr/>
            </a:lvl5pPr>
            <a:lvl6pPr marL="1009381" indent="-205924">
              <a:defRPr/>
            </a:lvl6pPr>
            <a:lvl7pPr marL="1209352" indent="-199972">
              <a:defRPr/>
            </a:lvl7pPr>
            <a:lvl8pPr marL="1408134" indent="-198782">
              <a:defRPr/>
            </a:lvl8pPr>
            <a:lvl9pPr marL="1614057" indent="-205924">
              <a:defRPr/>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endParaRPr lang="fi-FI" dirty="0"/>
          </a:p>
        </p:txBody>
      </p:sp>
    </p:spTree>
    <p:extLst>
      <p:ext uri="{BB962C8B-B14F-4D97-AF65-F5344CB8AC3E}">
        <p14:creationId xmlns:p14="http://schemas.microsoft.com/office/powerpoint/2010/main" val="3962231681"/>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Small Content and 1/2 PIC">
    <p:spTree>
      <p:nvGrpSpPr>
        <p:cNvPr id="1" name=""/>
        <p:cNvGrpSpPr/>
        <p:nvPr/>
      </p:nvGrpSpPr>
      <p:grpSpPr>
        <a:xfrm>
          <a:off x="0" y="0"/>
          <a:ext cx="0" cy="0"/>
          <a:chOff x="0" y="0"/>
          <a:chExt cx="0" cy="0"/>
        </a:xfrm>
      </p:grpSpPr>
      <p:sp>
        <p:nvSpPr>
          <p:cNvPr id="11" name="Picture Placeholder 10"/>
          <p:cNvSpPr>
            <a:spLocks noGrp="1"/>
          </p:cNvSpPr>
          <p:nvPr>
            <p:ph type="pic" sz="quarter" idx="15"/>
          </p:nvPr>
        </p:nvSpPr>
        <p:spPr>
          <a:xfrm>
            <a:off x="1" y="0"/>
            <a:ext cx="4464015" cy="5143500"/>
          </a:xfrm>
          <a:solidFill>
            <a:schemeClr val="bg2">
              <a:lumMod val="20000"/>
              <a:lumOff val="80000"/>
            </a:schemeClr>
          </a:solidFill>
        </p:spPr>
        <p:txBody>
          <a:bodyPr/>
          <a:lstStyle>
            <a:lvl1pPr marL="0" indent="0">
              <a:buFontTx/>
              <a:buNone/>
              <a:defRPr sz="1050"/>
            </a:lvl1pPr>
          </a:lstStyle>
          <a:p>
            <a:r>
              <a:rPr lang="en-US"/>
              <a:t>Click icon to add picture</a:t>
            </a:r>
            <a:endParaRPr lang="fi-FI" dirty="0"/>
          </a:p>
        </p:txBody>
      </p:sp>
      <p:sp>
        <p:nvSpPr>
          <p:cNvPr id="2" name="Title 1"/>
          <p:cNvSpPr>
            <a:spLocks noGrp="1"/>
          </p:cNvSpPr>
          <p:nvPr>
            <p:ph type="title" hasCustomPrompt="1"/>
          </p:nvPr>
        </p:nvSpPr>
        <p:spPr>
          <a:xfrm>
            <a:off x="1" y="573882"/>
            <a:ext cx="8729770" cy="456902"/>
          </a:xfrm>
        </p:spPr>
        <p:txBody>
          <a:bodyPr/>
          <a:lstStyle>
            <a:lvl1pPr>
              <a:defRPr sz="2249"/>
            </a:lvl1pPr>
          </a:lstStyle>
          <a:p>
            <a:r>
              <a:rPr lang="en-US" dirty="0"/>
              <a:t>Click to add title</a:t>
            </a:r>
          </a:p>
        </p:txBody>
      </p:sp>
      <p:sp>
        <p:nvSpPr>
          <p:cNvPr id="5" name="Date Placeholder 4"/>
          <p:cNvSpPr>
            <a:spLocks noGrp="1"/>
          </p:cNvSpPr>
          <p:nvPr>
            <p:ph type="dt" sz="half" idx="10"/>
          </p:nvPr>
        </p:nvSpPr>
        <p:spPr/>
        <p:txBody>
          <a:bodyPr/>
          <a:lstStyle>
            <a:lvl1pPr>
              <a:defRPr>
                <a:noFill/>
              </a:defRPr>
            </a:lvl1pPr>
          </a:lstStyle>
          <a:p>
            <a:fld id="{EF7DB285-309F-45E1-955B-34715DA4B4CD}" type="datetime1">
              <a:rPr lang="fi-FI" smtClean="0"/>
              <a:t>5.11.2023</a:t>
            </a:fld>
            <a:endParaRPr lang="en-US"/>
          </a:p>
        </p:txBody>
      </p:sp>
      <p:sp>
        <p:nvSpPr>
          <p:cNvPr id="6" name="Footer Placeholder 5"/>
          <p:cNvSpPr>
            <a:spLocks noGrp="1"/>
          </p:cNvSpPr>
          <p:nvPr>
            <p:ph type="ftr" sz="quarter" idx="11"/>
          </p:nvPr>
        </p:nvSpPr>
        <p:spPr/>
        <p:txBody>
          <a:bodyPr/>
          <a:lstStyle>
            <a:lvl1pPr>
              <a:defRPr>
                <a:noFill/>
              </a:defRPr>
            </a:lvl1pPr>
          </a:lstStyle>
          <a:p>
            <a:r>
              <a:rPr lang="en-US"/>
              <a:t>© Aalto University Executive Education</a:t>
            </a:r>
          </a:p>
        </p:txBody>
      </p:sp>
      <p:sp>
        <p:nvSpPr>
          <p:cNvPr id="7" name="Slide Number Placeholder 6"/>
          <p:cNvSpPr>
            <a:spLocks noGrp="1"/>
          </p:cNvSpPr>
          <p:nvPr>
            <p:ph type="sldNum" sz="quarter" idx="12"/>
          </p:nvPr>
        </p:nvSpPr>
        <p:spPr/>
        <p:txBody>
          <a:bodyPr/>
          <a:lstStyle/>
          <a:p>
            <a:fld id="{FCCA222D-FCF7-48C1-A274-EBDDEF75DC66}" type="slidenum">
              <a:rPr lang="en-US" smtClean="0"/>
              <a:t>‹#›</a:t>
            </a:fld>
            <a:endParaRPr lang="en-US"/>
          </a:p>
        </p:txBody>
      </p:sp>
      <p:sp>
        <p:nvSpPr>
          <p:cNvPr id="8" name="Content Placeholder 7"/>
          <p:cNvSpPr>
            <a:spLocks noGrp="1"/>
          </p:cNvSpPr>
          <p:nvPr>
            <p:ph sz="quarter" idx="14" hasCustomPrompt="1"/>
          </p:nvPr>
        </p:nvSpPr>
        <p:spPr>
          <a:xfrm>
            <a:off x="4679983" y="1545431"/>
            <a:ext cx="4049787" cy="2862263"/>
          </a:xfrm>
        </p:spPr>
        <p:txBody>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Tree>
    <p:extLst>
      <p:ext uri="{BB962C8B-B14F-4D97-AF65-F5344CB8AC3E}">
        <p14:creationId xmlns:p14="http://schemas.microsoft.com/office/powerpoint/2010/main" val="1285819184"/>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 Body slide with Subheadline">
    <p:spTree>
      <p:nvGrpSpPr>
        <p:cNvPr id="1" name=""/>
        <p:cNvGrpSpPr/>
        <p:nvPr/>
      </p:nvGrpSpPr>
      <p:grpSpPr>
        <a:xfrm>
          <a:off x="0" y="0"/>
          <a:ext cx="0" cy="0"/>
          <a:chOff x="0" y="0"/>
          <a:chExt cx="0" cy="0"/>
        </a:xfrm>
      </p:grpSpPr>
      <p:sp>
        <p:nvSpPr>
          <p:cNvPr id="11" name="Text Placeholder 3"/>
          <p:cNvSpPr>
            <a:spLocks noGrp="1"/>
          </p:cNvSpPr>
          <p:nvPr>
            <p:ph type="body" sz="half" idx="10" hasCustomPrompt="1"/>
          </p:nvPr>
        </p:nvSpPr>
        <p:spPr>
          <a:xfrm>
            <a:off x="292328" y="294871"/>
            <a:ext cx="8492897" cy="733140"/>
          </a:xfrm>
          <a:prstGeom prst="rect">
            <a:avLst/>
          </a:prstGeom>
        </p:spPr>
        <p:txBody>
          <a:bodyPr lIns="0" tIns="0" rIns="0" bIns="0"/>
          <a:lstStyle>
            <a:lvl1pPr marL="0" indent="0">
              <a:lnSpc>
                <a:spcPct val="100000"/>
              </a:lnSpc>
              <a:buNone/>
              <a:defRPr sz="3600" b="1" baseline="0">
                <a:solidFill>
                  <a:schemeClr val="tx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Body slide title </a:t>
            </a:r>
          </a:p>
        </p:txBody>
      </p:sp>
      <p:sp>
        <p:nvSpPr>
          <p:cNvPr id="13" name="Text Placeholder 3"/>
          <p:cNvSpPr>
            <a:spLocks noGrp="1"/>
          </p:cNvSpPr>
          <p:nvPr>
            <p:ph type="body" sz="half" idx="11" hasCustomPrompt="1"/>
          </p:nvPr>
        </p:nvSpPr>
        <p:spPr>
          <a:xfrm>
            <a:off x="292328" y="2024418"/>
            <a:ext cx="8492897" cy="2259582"/>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2100" b="1" baseline="0">
                <a:solidFill>
                  <a:schemeClr val="tx1"/>
                </a:solidFill>
              </a:defRPr>
            </a:lvl1pPr>
            <a:lvl2pPr marL="628650" indent="-271463">
              <a:buFont typeface="Arial" panose="020B0604020202020204" pitchFamily="34" charset="0"/>
              <a:buChar char="•"/>
              <a:defRPr sz="2100"/>
            </a:lvl2pPr>
            <a:lvl3pPr marL="804863" indent="-176213">
              <a:buFont typeface="Arial" panose="020B0604020202020204" pitchFamily="34" charset="0"/>
              <a:buChar char="•"/>
              <a:defRPr sz="16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Your text here</a:t>
            </a:r>
          </a:p>
          <a:p>
            <a:pPr lvl="1"/>
            <a:r>
              <a:rPr lang="fi-FI" dirty="0"/>
              <a:t>Second </a:t>
            </a:r>
            <a:r>
              <a:rPr lang="fi-FI" dirty="0" err="1"/>
              <a:t>level</a:t>
            </a:r>
            <a:endParaRPr lang="fi-FI" dirty="0"/>
          </a:p>
          <a:p>
            <a:pPr lvl="2"/>
            <a:r>
              <a:rPr lang="fi-FI" dirty="0"/>
              <a:t>Third </a:t>
            </a:r>
            <a:r>
              <a:rPr lang="fi-FI" dirty="0" err="1"/>
              <a:t>level</a:t>
            </a:r>
            <a:endParaRPr lang="fi-FI" dirty="0"/>
          </a:p>
        </p:txBody>
      </p:sp>
      <p:sp>
        <p:nvSpPr>
          <p:cNvPr id="7" name="Text Placeholder 3"/>
          <p:cNvSpPr>
            <a:spLocks noGrp="1"/>
          </p:cNvSpPr>
          <p:nvPr>
            <p:ph type="body" sz="half" idx="12" hasCustomPrompt="1"/>
          </p:nvPr>
        </p:nvSpPr>
        <p:spPr>
          <a:xfrm>
            <a:off x="292328" y="1199905"/>
            <a:ext cx="8492897" cy="648851"/>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Tx/>
              <a:buNone/>
              <a:tabLst/>
              <a:defRPr sz="2800" b="1" baseline="0">
                <a:solidFill>
                  <a:schemeClr val="tx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Sub Headline</a:t>
            </a:r>
          </a:p>
          <a:p>
            <a:pPr lvl="0"/>
            <a:endParaRPr lang="en-US" dirty="0"/>
          </a:p>
        </p:txBody>
      </p:sp>
      <p:sp>
        <p:nvSpPr>
          <p:cNvPr id="2" name="Päivämäärän paikkamerkki 1">
            <a:extLst>
              <a:ext uri="{FF2B5EF4-FFF2-40B4-BE49-F238E27FC236}">
                <a16:creationId xmlns:a16="http://schemas.microsoft.com/office/drawing/2014/main" id="{15F98E76-565B-438E-BE24-AF36CE784A61}"/>
              </a:ext>
            </a:extLst>
          </p:cNvPr>
          <p:cNvSpPr>
            <a:spLocks noGrp="1"/>
          </p:cNvSpPr>
          <p:nvPr>
            <p:ph type="dt" sz="half" idx="13"/>
          </p:nvPr>
        </p:nvSpPr>
        <p:spPr/>
        <p:txBody>
          <a:bodyPr/>
          <a:lstStyle/>
          <a:p>
            <a:r>
              <a:rPr lang="fi-FI" dirty="0"/>
              <a:t>dd.mm.yyyy</a:t>
            </a:r>
            <a:endParaRPr lang="en-US" dirty="0"/>
          </a:p>
        </p:txBody>
      </p:sp>
      <p:sp>
        <p:nvSpPr>
          <p:cNvPr id="3" name="Alatunnisteen paikkamerkki 2">
            <a:extLst>
              <a:ext uri="{FF2B5EF4-FFF2-40B4-BE49-F238E27FC236}">
                <a16:creationId xmlns:a16="http://schemas.microsoft.com/office/drawing/2014/main" id="{0477500B-A8BC-45B6-BA85-A082FC8528F3}"/>
              </a:ext>
            </a:extLst>
          </p:cNvPr>
          <p:cNvSpPr>
            <a:spLocks noGrp="1"/>
          </p:cNvSpPr>
          <p:nvPr>
            <p:ph type="ftr" sz="quarter" idx="14"/>
          </p:nvPr>
        </p:nvSpPr>
        <p:spPr/>
        <p:txBody>
          <a:bodyPr/>
          <a:lstStyle/>
          <a:p>
            <a:r>
              <a:rPr lang="fi-FI" dirty="0"/>
              <a:t>Your text here</a:t>
            </a:r>
          </a:p>
        </p:txBody>
      </p:sp>
      <p:sp>
        <p:nvSpPr>
          <p:cNvPr id="4" name="Dian numeron paikkamerkki 3">
            <a:extLst>
              <a:ext uri="{FF2B5EF4-FFF2-40B4-BE49-F238E27FC236}">
                <a16:creationId xmlns:a16="http://schemas.microsoft.com/office/drawing/2014/main" id="{4A736A4D-A5BC-4E4F-9FD0-C4BC6EEC989C}"/>
              </a:ext>
            </a:extLst>
          </p:cNvPr>
          <p:cNvSpPr>
            <a:spLocks noGrp="1"/>
          </p:cNvSpPr>
          <p:nvPr>
            <p:ph type="sldNum" sz="quarter" idx="15"/>
          </p:nvPr>
        </p:nvSpPr>
        <p:spPr/>
        <p:txBody>
          <a:bodyPr/>
          <a:lstStyle/>
          <a:p>
            <a:fld id="{28F7F04C-F568-F649-A2AE-EA61C66B69B4}" type="slidenum">
              <a:rPr lang="en-US" smtClean="0"/>
              <a:pPr/>
              <a:t>‹#›</a:t>
            </a:fld>
            <a:endParaRPr lang="en-US" dirty="0"/>
          </a:p>
        </p:txBody>
      </p:sp>
      <p:pic>
        <p:nvPicPr>
          <p:cNvPr id="12" name="Kuva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8790"/>
            <a:ext cx="2073704" cy="856800"/>
          </a:xfrm>
          <a:prstGeom prst="rect">
            <a:avLst/>
          </a:prstGeom>
        </p:spPr>
      </p:pic>
    </p:spTree>
    <p:extLst>
      <p:ext uri="{BB962C8B-B14F-4D97-AF65-F5344CB8AC3E}">
        <p14:creationId xmlns:p14="http://schemas.microsoft.com/office/powerpoint/2010/main" val="1164578354"/>
      </p:ext>
    </p:extLst>
  </p:cSld>
  <p:clrMapOvr>
    <a:masterClrMapping/>
  </p:clrMapOvr>
  <p:extLst>
    <p:ext uri="{DCECCB84-F9BA-43D5-87BE-67443E8EF086}">
      <p15:sldGuideLst xmlns:p15="http://schemas.microsoft.com/office/powerpoint/2012/main">
        <p15:guide id="4" pos="5534">
          <p15:clr>
            <a:srgbClr val="FBAE40"/>
          </p15:clr>
        </p15:guide>
        <p15:guide id="5" orient="horz" pos="327">
          <p15:clr>
            <a:srgbClr val="FBAE40"/>
          </p15:clr>
        </p15:guide>
        <p15:guide id="6" pos="2795">
          <p15:clr>
            <a:srgbClr val="FBAE40"/>
          </p15:clr>
        </p15:guide>
        <p15:guide id="7" pos="2965">
          <p15:clr>
            <a:srgbClr val="FBAE40"/>
          </p15:clr>
        </p15:guide>
        <p15:guide id="8" orient="horz" pos="849">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Small Content and 1/3 PIC">
    <p:spTree>
      <p:nvGrpSpPr>
        <p:cNvPr id="1" name=""/>
        <p:cNvGrpSpPr/>
        <p:nvPr/>
      </p:nvGrpSpPr>
      <p:grpSpPr>
        <a:xfrm>
          <a:off x="0" y="0"/>
          <a:ext cx="0" cy="0"/>
          <a:chOff x="0" y="0"/>
          <a:chExt cx="0" cy="0"/>
        </a:xfrm>
      </p:grpSpPr>
      <p:sp>
        <p:nvSpPr>
          <p:cNvPr id="11" name="Picture Placeholder 10"/>
          <p:cNvSpPr>
            <a:spLocks noGrp="1"/>
          </p:cNvSpPr>
          <p:nvPr>
            <p:ph type="pic" sz="quarter" idx="15"/>
          </p:nvPr>
        </p:nvSpPr>
        <p:spPr>
          <a:xfrm>
            <a:off x="1" y="0"/>
            <a:ext cx="3060300" cy="5143500"/>
          </a:xfrm>
          <a:solidFill>
            <a:schemeClr val="bg2">
              <a:lumMod val="20000"/>
              <a:lumOff val="80000"/>
            </a:schemeClr>
          </a:solidFill>
        </p:spPr>
        <p:txBody>
          <a:bodyPr/>
          <a:lstStyle>
            <a:lvl1pPr marL="0" indent="0">
              <a:buFontTx/>
              <a:buNone/>
              <a:defRPr sz="1050"/>
            </a:lvl1pPr>
          </a:lstStyle>
          <a:p>
            <a:r>
              <a:rPr lang="en-US"/>
              <a:t>Click icon to add picture</a:t>
            </a:r>
            <a:endParaRPr lang="fi-FI"/>
          </a:p>
        </p:txBody>
      </p:sp>
      <p:sp>
        <p:nvSpPr>
          <p:cNvPr id="2" name="Title 1"/>
          <p:cNvSpPr>
            <a:spLocks noGrp="1"/>
          </p:cNvSpPr>
          <p:nvPr>
            <p:ph type="title" hasCustomPrompt="1"/>
          </p:nvPr>
        </p:nvSpPr>
        <p:spPr>
          <a:xfrm>
            <a:off x="1" y="573882"/>
            <a:ext cx="8729770" cy="456902"/>
          </a:xfrm>
        </p:spPr>
        <p:txBody>
          <a:bodyPr/>
          <a:lstStyle>
            <a:lvl1pPr>
              <a:defRPr sz="2249"/>
            </a:lvl1pPr>
          </a:lstStyle>
          <a:p>
            <a:r>
              <a:rPr lang="en-US" dirty="0"/>
              <a:t>Click to add title</a:t>
            </a:r>
          </a:p>
        </p:txBody>
      </p:sp>
      <p:sp>
        <p:nvSpPr>
          <p:cNvPr id="5" name="Date Placeholder 4"/>
          <p:cNvSpPr>
            <a:spLocks noGrp="1"/>
          </p:cNvSpPr>
          <p:nvPr>
            <p:ph type="dt" sz="half" idx="10"/>
          </p:nvPr>
        </p:nvSpPr>
        <p:spPr/>
        <p:txBody>
          <a:bodyPr/>
          <a:lstStyle>
            <a:lvl1pPr>
              <a:defRPr>
                <a:noFill/>
              </a:defRPr>
            </a:lvl1pPr>
          </a:lstStyle>
          <a:p>
            <a:fld id="{22642C14-3DE9-4F64-B21D-7CB7D984F8BA}" type="datetime1">
              <a:rPr lang="fi-FI" smtClean="0"/>
              <a:t>5.11.2023</a:t>
            </a:fld>
            <a:endParaRPr lang="en-US"/>
          </a:p>
        </p:txBody>
      </p:sp>
      <p:sp>
        <p:nvSpPr>
          <p:cNvPr id="6" name="Footer Placeholder 5"/>
          <p:cNvSpPr>
            <a:spLocks noGrp="1"/>
          </p:cNvSpPr>
          <p:nvPr>
            <p:ph type="ftr" sz="quarter" idx="11"/>
          </p:nvPr>
        </p:nvSpPr>
        <p:spPr/>
        <p:txBody>
          <a:bodyPr/>
          <a:lstStyle>
            <a:lvl1pPr>
              <a:defRPr>
                <a:noFill/>
              </a:defRPr>
            </a:lvl1pPr>
          </a:lstStyle>
          <a:p>
            <a:r>
              <a:rPr lang="en-US"/>
              <a:t>© Aalto University Executive Education</a:t>
            </a:r>
          </a:p>
        </p:txBody>
      </p:sp>
      <p:sp>
        <p:nvSpPr>
          <p:cNvPr id="7" name="Slide Number Placeholder 6"/>
          <p:cNvSpPr>
            <a:spLocks noGrp="1"/>
          </p:cNvSpPr>
          <p:nvPr>
            <p:ph type="sldNum" sz="quarter" idx="12"/>
          </p:nvPr>
        </p:nvSpPr>
        <p:spPr/>
        <p:txBody>
          <a:bodyPr/>
          <a:lstStyle/>
          <a:p>
            <a:fld id="{FCCA222D-FCF7-48C1-A274-EBDDEF75DC66}" type="slidenum">
              <a:rPr lang="en-US" smtClean="0"/>
              <a:t>‹#›</a:t>
            </a:fld>
            <a:endParaRPr lang="en-US"/>
          </a:p>
        </p:txBody>
      </p:sp>
      <p:sp>
        <p:nvSpPr>
          <p:cNvPr id="8" name="Content Placeholder 7"/>
          <p:cNvSpPr>
            <a:spLocks noGrp="1"/>
          </p:cNvSpPr>
          <p:nvPr>
            <p:ph sz="quarter" idx="14" hasCustomPrompt="1"/>
          </p:nvPr>
        </p:nvSpPr>
        <p:spPr>
          <a:xfrm>
            <a:off x="3276193" y="1545431"/>
            <a:ext cx="5453577" cy="2862263"/>
          </a:xfrm>
        </p:spPr>
        <p:txBody>
          <a:bodyPr/>
          <a:lstStyle>
            <a:lvl1pPr marL="0" indent="0">
              <a:buFontTx/>
              <a:buNone/>
              <a:defRPr b="1">
                <a:solidFill>
                  <a:schemeClr val="accent2"/>
                </a:solidFill>
              </a:defRPr>
            </a:lvl1pPr>
            <a:lvl2pPr marL="199972" indent="-199972">
              <a:buFont typeface="Arial" panose="020B0604020202020204" pitchFamily="34" charset="0"/>
              <a:buChar char="•"/>
              <a:defRPr sz="1500"/>
            </a:lvl2pPr>
            <a:lvl3pPr marL="404705" indent="-204733">
              <a:buFont typeface="Arial" panose="020B0604020202020204" pitchFamily="34" charset="0"/>
              <a:buChar char="–"/>
              <a:defRPr sz="1350"/>
            </a:lvl3pPr>
            <a:lvl4pPr marL="604676" indent="-199972">
              <a:buFont typeface="Arial" panose="020B0604020202020204" pitchFamily="34" charset="0"/>
              <a:buChar char="•"/>
              <a:defRPr sz="1200"/>
            </a:lvl4pPr>
            <a:lvl5pPr marL="803458" indent="-198782">
              <a:buFont typeface="Arial" panose="020B0604020202020204" pitchFamily="34" charset="0"/>
              <a:buChar char="–"/>
              <a:defRPr/>
            </a:lvl5pPr>
            <a:lvl6pPr marL="1009381" indent="-205924">
              <a:defRPr/>
            </a:lvl6pPr>
            <a:lvl7pPr marL="1209352" indent="-199972">
              <a:defRPr/>
            </a:lvl7pPr>
            <a:lvl8pPr marL="1408134" indent="-198782">
              <a:defRPr/>
            </a:lvl8pPr>
            <a:lvl9pPr marL="1614057" indent="-205924">
              <a:defRPr/>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endParaRPr lang="fi-FI" dirty="0"/>
          </a:p>
        </p:txBody>
      </p:sp>
    </p:spTree>
    <p:extLst>
      <p:ext uri="{BB962C8B-B14F-4D97-AF65-F5344CB8AC3E}">
        <p14:creationId xmlns:p14="http://schemas.microsoft.com/office/powerpoint/2010/main" val="1238627243"/>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Content with Picture">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952DEB47-5D9B-4A82-8E12-5DD09DF8F359}" type="datetime1">
              <a:rPr lang="fi-FI" smtClean="0"/>
              <a:t>5.11.2023</a:t>
            </a:fld>
            <a:endParaRPr lang="en-US"/>
          </a:p>
        </p:txBody>
      </p:sp>
      <p:sp>
        <p:nvSpPr>
          <p:cNvPr id="4" name="Footer Placeholder 3"/>
          <p:cNvSpPr>
            <a:spLocks noGrp="1"/>
          </p:cNvSpPr>
          <p:nvPr>
            <p:ph type="ftr" sz="quarter" idx="11"/>
          </p:nvPr>
        </p:nvSpPr>
        <p:spPr/>
        <p:txBody>
          <a:bodyPr/>
          <a:lstStyle/>
          <a:p>
            <a:r>
              <a:rPr lang="en-US"/>
              <a:t>© Aalto University Executive Education</a:t>
            </a:r>
          </a:p>
        </p:txBody>
      </p:sp>
      <p:sp>
        <p:nvSpPr>
          <p:cNvPr id="5" name="Slide Number Placeholder 4"/>
          <p:cNvSpPr>
            <a:spLocks noGrp="1"/>
          </p:cNvSpPr>
          <p:nvPr>
            <p:ph type="sldNum" sz="quarter" idx="12"/>
          </p:nvPr>
        </p:nvSpPr>
        <p:spPr/>
        <p:txBody>
          <a:bodyPr/>
          <a:lstStyle/>
          <a:p>
            <a:fld id="{FCCA222D-FCF7-48C1-A274-EBDDEF75DC66}" type="slidenum">
              <a:rPr lang="en-US" smtClean="0"/>
              <a:t>‹#›</a:t>
            </a:fld>
            <a:endParaRPr lang="en-US"/>
          </a:p>
        </p:txBody>
      </p:sp>
      <p:sp>
        <p:nvSpPr>
          <p:cNvPr id="6" name="Title 1"/>
          <p:cNvSpPr>
            <a:spLocks noGrp="1"/>
          </p:cNvSpPr>
          <p:nvPr>
            <p:ph type="title" hasCustomPrompt="1"/>
          </p:nvPr>
        </p:nvSpPr>
        <p:spPr>
          <a:xfrm>
            <a:off x="1" y="573882"/>
            <a:ext cx="8729770" cy="456902"/>
          </a:xfrm>
        </p:spPr>
        <p:txBody>
          <a:bodyPr/>
          <a:lstStyle>
            <a:lvl1pPr>
              <a:defRPr sz="2249"/>
            </a:lvl1pPr>
          </a:lstStyle>
          <a:p>
            <a:r>
              <a:rPr lang="en-US" dirty="0"/>
              <a:t>Click to add title</a:t>
            </a:r>
          </a:p>
        </p:txBody>
      </p:sp>
      <p:sp>
        <p:nvSpPr>
          <p:cNvPr id="9" name="Picture Placeholder 2"/>
          <p:cNvSpPr>
            <a:spLocks noGrp="1"/>
          </p:cNvSpPr>
          <p:nvPr>
            <p:ph type="pic" idx="13"/>
          </p:nvPr>
        </p:nvSpPr>
        <p:spPr>
          <a:xfrm>
            <a:off x="7109621" y="1545433"/>
            <a:ext cx="2034379" cy="2862326"/>
          </a:xfrm>
          <a:solidFill>
            <a:schemeClr val="bg2">
              <a:lumMod val="20000"/>
              <a:lumOff val="80000"/>
            </a:schemeClr>
          </a:solidFill>
        </p:spPr>
        <p:txBody>
          <a:bodyPr/>
          <a:lstStyle>
            <a:lvl1pPr marL="0" indent="0">
              <a:buNone/>
              <a:defRPr sz="1050"/>
            </a:lvl1pPr>
            <a:lvl2pPr marL="342809" indent="0">
              <a:buNone/>
              <a:defRPr sz="2099"/>
            </a:lvl2pPr>
            <a:lvl3pPr marL="685617" indent="0">
              <a:buNone/>
              <a:defRPr sz="1800"/>
            </a:lvl3pPr>
            <a:lvl4pPr marL="1028426" indent="0">
              <a:buNone/>
              <a:defRPr sz="1500"/>
            </a:lvl4pPr>
            <a:lvl5pPr marL="1371234" indent="0">
              <a:buNone/>
              <a:defRPr sz="1500"/>
            </a:lvl5pPr>
            <a:lvl6pPr marL="1714043" indent="0">
              <a:buNone/>
              <a:defRPr sz="1500"/>
            </a:lvl6pPr>
            <a:lvl7pPr marL="2056851" indent="0">
              <a:buNone/>
              <a:defRPr sz="1500"/>
            </a:lvl7pPr>
            <a:lvl8pPr marL="2399660" indent="0">
              <a:buNone/>
              <a:defRPr sz="1500"/>
            </a:lvl8pPr>
            <a:lvl9pPr marL="2742468" indent="0">
              <a:buNone/>
              <a:defRPr sz="1500"/>
            </a:lvl9pPr>
          </a:lstStyle>
          <a:p>
            <a:r>
              <a:rPr lang="en-US"/>
              <a:t>Click icon to add picture</a:t>
            </a:r>
          </a:p>
        </p:txBody>
      </p:sp>
      <p:sp>
        <p:nvSpPr>
          <p:cNvPr id="13" name="Content Placeholder 12"/>
          <p:cNvSpPr>
            <a:spLocks noGrp="1"/>
          </p:cNvSpPr>
          <p:nvPr>
            <p:ph sz="quarter" idx="14" hasCustomPrompt="1"/>
          </p:nvPr>
        </p:nvSpPr>
        <p:spPr>
          <a:xfrm>
            <a:off x="414230" y="1545431"/>
            <a:ext cx="6479423" cy="2862263"/>
          </a:xfrm>
        </p:spPr>
        <p:txBody>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82490286"/>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Case">
    <p:spTree>
      <p:nvGrpSpPr>
        <p:cNvPr id="1" name=""/>
        <p:cNvGrpSpPr/>
        <p:nvPr/>
      </p:nvGrpSpPr>
      <p:grpSpPr>
        <a:xfrm>
          <a:off x="0" y="0"/>
          <a:ext cx="0" cy="0"/>
          <a:chOff x="0" y="0"/>
          <a:chExt cx="0" cy="0"/>
        </a:xfrm>
      </p:grpSpPr>
      <p:sp>
        <p:nvSpPr>
          <p:cNvPr id="9" name="Text Placeholder 8"/>
          <p:cNvSpPr>
            <a:spLocks noGrp="1"/>
          </p:cNvSpPr>
          <p:nvPr>
            <p:ph type="body" sz="quarter" idx="14" hasCustomPrompt="1"/>
          </p:nvPr>
        </p:nvSpPr>
        <p:spPr>
          <a:xfrm>
            <a:off x="4572000" y="2571750"/>
            <a:ext cx="4572000" cy="2571750"/>
          </a:xfrm>
          <a:solidFill>
            <a:schemeClr val="accent2"/>
          </a:solidFill>
        </p:spPr>
        <p:txBody>
          <a:bodyPr lIns="396000" tIns="360000" rIns="396000" bIns="360000"/>
          <a:lstStyle>
            <a:lvl1pPr marL="0" indent="0">
              <a:buNone/>
              <a:defRPr sz="2099" b="1">
                <a:solidFill>
                  <a:schemeClr val="bg1"/>
                </a:solidFill>
              </a:defRPr>
            </a:lvl1pPr>
            <a:lvl2pPr marL="0" indent="0">
              <a:buNone/>
              <a:defRPr sz="1050">
                <a:solidFill>
                  <a:schemeClr val="bg1"/>
                </a:solidFill>
              </a:defRPr>
            </a:lvl2pPr>
            <a:lvl3pPr marL="199972" indent="-199972">
              <a:defRPr sz="900">
                <a:solidFill>
                  <a:schemeClr val="bg1"/>
                </a:solidFill>
              </a:defRPr>
            </a:lvl3pPr>
            <a:lvl4pPr marL="604676" indent="-199972">
              <a:defRPr>
                <a:solidFill>
                  <a:schemeClr val="bg1"/>
                </a:solidFill>
              </a:defRPr>
            </a:lvl4pPr>
            <a:lvl5pPr marL="803458" indent="-198782">
              <a:defRPr>
                <a:solidFill>
                  <a:schemeClr val="bg1"/>
                </a:solidFill>
              </a:defRPr>
            </a:lvl5pPr>
          </a:lstStyle>
          <a:p>
            <a:pPr lvl="0"/>
            <a:r>
              <a:rPr lang="en-US" dirty="0"/>
              <a:t>Click to add text</a:t>
            </a:r>
          </a:p>
          <a:p>
            <a:pPr lvl="1"/>
            <a:r>
              <a:rPr lang="en-US" dirty="0"/>
              <a:t>Second level</a:t>
            </a:r>
          </a:p>
          <a:p>
            <a:pPr lvl="2"/>
            <a:r>
              <a:rPr lang="en-US" dirty="0"/>
              <a:t>Third level</a:t>
            </a:r>
          </a:p>
        </p:txBody>
      </p:sp>
      <p:sp>
        <p:nvSpPr>
          <p:cNvPr id="13" name="Picture Placeholder 12"/>
          <p:cNvSpPr>
            <a:spLocks noGrp="1"/>
          </p:cNvSpPr>
          <p:nvPr>
            <p:ph type="pic" sz="quarter" idx="15"/>
          </p:nvPr>
        </p:nvSpPr>
        <p:spPr>
          <a:xfrm>
            <a:off x="4572000" y="0"/>
            <a:ext cx="4572000" cy="2571750"/>
          </a:xfrm>
          <a:solidFill>
            <a:schemeClr val="bg2">
              <a:lumMod val="20000"/>
              <a:lumOff val="80000"/>
            </a:schemeClr>
          </a:solidFill>
        </p:spPr>
        <p:txBody>
          <a:bodyPr/>
          <a:lstStyle>
            <a:lvl1pPr marL="0" indent="0">
              <a:buNone/>
              <a:defRPr sz="1050"/>
            </a:lvl1pPr>
          </a:lstStyle>
          <a:p>
            <a:r>
              <a:rPr lang="en-US"/>
              <a:t>Click icon to add picture</a:t>
            </a:r>
            <a:endParaRPr lang="fi-FI" dirty="0"/>
          </a:p>
        </p:txBody>
      </p:sp>
      <p:sp>
        <p:nvSpPr>
          <p:cNvPr id="2" name="Title 1"/>
          <p:cNvSpPr>
            <a:spLocks noGrp="1"/>
          </p:cNvSpPr>
          <p:nvPr>
            <p:ph type="title" hasCustomPrompt="1"/>
          </p:nvPr>
        </p:nvSpPr>
        <p:spPr>
          <a:xfrm>
            <a:off x="0" y="573882"/>
            <a:ext cx="4464013" cy="456902"/>
          </a:xfrm>
        </p:spPr>
        <p:txBody>
          <a:bodyPr/>
          <a:lstStyle>
            <a:lvl1pPr>
              <a:defRPr sz="2249" baseline="0"/>
            </a:lvl1pPr>
          </a:lstStyle>
          <a:p>
            <a:r>
              <a:rPr lang="en-US" dirty="0"/>
              <a:t>Click to add title</a:t>
            </a:r>
          </a:p>
        </p:txBody>
      </p:sp>
      <p:sp>
        <p:nvSpPr>
          <p:cNvPr id="3" name="Content Placeholder 2"/>
          <p:cNvSpPr>
            <a:spLocks noGrp="1"/>
          </p:cNvSpPr>
          <p:nvPr>
            <p:ph idx="1" hasCustomPrompt="1"/>
          </p:nvPr>
        </p:nvSpPr>
        <p:spPr>
          <a:xfrm>
            <a:off x="414229" y="1168003"/>
            <a:ext cx="4049786" cy="1079702"/>
          </a:xfrm>
        </p:spPr>
        <p:txBody>
          <a:bodyPr/>
          <a:lstStyle>
            <a:lvl1pPr>
              <a:defRPr sz="1050" b="1"/>
            </a:lvl1pPr>
            <a:lvl2pPr>
              <a:defRPr sz="900"/>
            </a:lvl2pPr>
            <a:lvl3pPr>
              <a:defRPr sz="825"/>
            </a:lvl3pPr>
            <a:lvl4pPr>
              <a:defRPr sz="787"/>
            </a:lvl4pPr>
            <a:lvl5pPr>
              <a:defRPr sz="787"/>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lvl1pPr>
              <a:defRPr>
                <a:solidFill>
                  <a:srgbClr val="B3B2B2"/>
                </a:solidFill>
              </a:defRPr>
            </a:lvl1pPr>
          </a:lstStyle>
          <a:p>
            <a:fld id="{689A7EC0-9CAF-476F-AFA2-09BEF61B6716}" type="datetime1">
              <a:rPr lang="fi-FI" smtClean="0"/>
              <a:t>5.11.2023</a:t>
            </a:fld>
            <a:endParaRPr lang="en-US"/>
          </a:p>
        </p:txBody>
      </p:sp>
      <p:sp>
        <p:nvSpPr>
          <p:cNvPr id="5" name="Footer Placeholder 4"/>
          <p:cNvSpPr>
            <a:spLocks noGrp="1"/>
          </p:cNvSpPr>
          <p:nvPr>
            <p:ph type="ftr" sz="quarter" idx="11"/>
          </p:nvPr>
        </p:nvSpPr>
        <p:spPr/>
        <p:txBody>
          <a:bodyPr/>
          <a:lstStyle>
            <a:lvl1pPr>
              <a:defRPr>
                <a:noFill/>
              </a:defRPr>
            </a:lvl1pPr>
          </a:lstStyle>
          <a:p>
            <a:r>
              <a:rPr lang="en-US"/>
              <a:t>© Aalto University Executive Education</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FCCA222D-FCF7-48C1-A274-EBDDEF75DC66}" type="slidenum">
              <a:rPr lang="en-US" smtClean="0"/>
              <a:pPr/>
              <a:t>‹#›</a:t>
            </a:fld>
            <a:endParaRPr lang="en-US"/>
          </a:p>
        </p:txBody>
      </p:sp>
      <p:sp>
        <p:nvSpPr>
          <p:cNvPr id="7" name="Content Placeholder 2"/>
          <p:cNvSpPr>
            <a:spLocks noGrp="1"/>
          </p:cNvSpPr>
          <p:nvPr>
            <p:ph idx="13" hasCustomPrompt="1"/>
          </p:nvPr>
        </p:nvSpPr>
        <p:spPr>
          <a:xfrm>
            <a:off x="414230" y="2355720"/>
            <a:ext cx="4049758" cy="2051975"/>
          </a:xfrm>
        </p:spPr>
        <p:txBody>
          <a:bodyPr/>
          <a:lstStyle>
            <a:lvl1pPr marL="199972" indent="-199972">
              <a:buFont typeface="+mj-lt"/>
              <a:buAutoNum type="arabicPeriod"/>
              <a:defRPr sz="1200" b="1">
                <a:solidFill>
                  <a:schemeClr val="accent2"/>
                </a:solidFill>
              </a:defRPr>
            </a:lvl1pPr>
            <a:lvl2pPr marL="0" indent="0">
              <a:buNone/>
              <a:defRPr sz="1050"/>
            </a:lvl2pPr>
            <a:lvl3pPr marL="199972" indent="-199972">
              <a:defRPr sz="900"/>
            </a:lvl3pPr>
            <a:lvl4pPr marL="404705" indent="-204733">
              <a:defRPr sz="825"/>
            </a:lvl4pPr>
            <a:lvl5pPr marL="604676" indent="-199972">
              <a:defRPr sz="825"/>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57210711"/>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and Sched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573882"/>
            <a:ext cx="8729770" cy="456902"/>
          </a:xfrm>
        </p:spPr>
        <p:txBody>
          <a:bodyPr/>
          <a:lstStyle>
            <a:lvl1pPr>
              <a:defRPr sz="2249"/>
            </a:lvl1pPr>
          </a:lstStyle>
          <a:p>
            <a:r>
              <a:rPr lang="en-US" dirty="0"/>
              <a:t>Click to add title</a:t>
            </a:r>
          </a:p>
        </p:txBody>
      </p:sp>
      <p:sp>
        <p:nvSpPr>
          <p:cNvPr id="4" name="Date Placeholder 3"/>
          <p:cNvSpPr>
            <a:spLocks noGrp="1"/>
          </p:cNvSpPr>
          <p:nvPr>
            <p:ph type="dt" sz="half" idx="10"/>
          </p:nvPr>
        </p:nvSpPr>
        <p:spPr/>
        <p:txBody>
          <a:bodyPr/>
          <a:lstStyle/>
          <a:p>
            <a:fld id="{2739F984-E3A1-4480-8440-14CE1826A798}" type="datetime1">
              <a:rPr lang="fi-FI" smtClean="0"/>
              <a:t>5.11.2023</a:t>
            </a:fld>
            <a:endParaRPr lang="en-US"/>
          </a:p>
        </p:txBody>
      </p:sp>
      <p:sp>
        <p:nvSpPr>
          <p:cNvPr id="5" name="Footer Placeholder 4"/>
          <p:cNvSpPr>
            <a:spLocks noGrp="1"/>
          </p:cNvSpPr>
          <p:nvPr>
            <p:ph type="ftr" sz="quarter" idx="11"/>
          </p:nvPr>
        </p:nvSpPr>
        <p:spPr/>
        <p:txBody>
          <a:bodyPr/>
          <a:lstStyle/>
          <a:p>
            <a:r>
              <a:rPr lang="en-US"/>
              <a:t>© Aalto University Executive Education</a:t>
            </a:r>
          </a:p>
        </p:txBody>
      </p:sp>
      <p:sp>
        <p:nvSpPr>
          <p:cNvPr id="6" name="Slide Number Placeholder 5"/>
          <p:cNvSpPr>
            <a:spLocks noGrp="1"/>
          </p:cNvSpPr>
          <p:nvPr>
            <p:ph type="sldNum" sz="quarter" idx="12"/>
          </p:nvPr>
        </p:nvSpPr>
        <p:spPr/>
        <p:txBody>
          <a:bodyPr/>
          <a:lstStyle/>
          <a:p>
            <a:fld id="{FCCA222D-FCF7-48C1-A274-EBDDEF75DC66}" type="slidenum">
              <a:rPr lang="en-US" smtClean="0"/>
              <a:t>‹#›</a:t>
            </a:fld>
            <a:endParaRPr lang="en-US"/>
          </a:p>
        </p:txBody>
      </p:sp>
      <p:sp>
        <p:nvSpPr>
          <p:cNvPr id="9" name="Text Placeholder 8"/>
          <p:cNvSpPr>
            <a:spLocks noGrp="1"/>
          </p:cNvSpPr>
          <p:nvPr>
            <p:ph type="body" sz="quarter" idx="13" hasCustomPrompt="1"/>
          </p:nvPr>
        </p:nvSpPr>
        <p:spPr>
          <a:xfrm>
            <a:off x="252347" y="1168004"/>
            <a:ext cx="1458136" cy="161574"/>
          </a:xfrm>
          <a:solidFill>
            <a:srgbClr val="CCCCCC"/>
          </a:solidFill>
        </p:spPr>
        <p:txBody>
          <a:bodyPr anchor="ctr" anchorCtr="0"/>
          <a:lstStyle>
            <a:lvl1pPr marL="0" indent="0" algn="ctr">
              <a:buFontTx/>
              <a:buNone/>
              <a:defRPr sz="900" b="1">
                <a:solidFill>
                  <a:srgbClr val="4C4C4C"/>
                </a:solidFill>
              </a:defRPr>
            </a:lvl1pPr>
          </a:lstStyle>
          <a:p>
            <a:pPr lvl="0"/>
            <a:r>
              <a:rPr lang="en-US" dirty="0"/>
              <a:t>Month</a:t>
            </a:r>
          </a:p>
        </p:txBody>
      </p:sp>
      <p:sp>
        <p:nvSpPr>
          <p:cNvPr id="10" name="Text Placeholder 8"/>
          <p:cNvSpPr>
            <a:spLocks noGrp="1"/>
          </p:cNvSpPr>
          <p:nvPr>
            <p:ph type="body" sz="quarter" idx="14" hasCustomPrompt="1"/>
          </p:nvPr>
        </p:nvSpPr>
        <p:spPr>
          <a:xfrm>
            <a:off x="1710483" y="1168004"/>
            <a:ext cx="1403381" cy="161574"/>
          </a:xfrm>
          <a:solidFill>
            <a:srgbClr val="999999"/>
          </a:solidFill>
        </p:spPr>
        <p:txBody>
          <a:bodyPr anchor="ctr" anchorCtr="0"/>
          <a:lstStyle>
            <a:lvl1pPr marL="0" indent="0" algn="ctr">
              <a:buFontTx/>
              <a:buNone/>
              <a:defRPr sz="900" b="1">
                <a:solidFill>
                  <a:schemeClr val="bg1"/>
                </a:solidFill>
              </a:defRPr>
            </a:lvl1pPr>
          </a:lstStyle>
          <a:p>
            <a:pPr lvl="0"/>
            <a:r>
              <a:rPr lang="en-US" dirty="0"/>
              <a:t>Month</a:t>
            </a:r>
          </a:p>
        </p:txBody>
      </p:sp>
      <p:sp>
        <p:nvSpPr>
          <p:cNvPr id="11" name="Text Placeholder 8"/>
          <p:cNvSpPr>
            <a:spLocks noGrp="1"/>
          </p:cNvSpPr>
          <p:nvPr>
            <p:ph type="body" sz="quarter" idx="15" hasCustomPrompt="1"/>
          </p:nvPr>
        </p:nvSpPr>
        <p:spPr>
          <a:xfrm>
            <a:off x="3113864" y="1168004"/>
            <a:ext cx="1458136" cy="161574"/>
          </a:xfrm>
          <a:solidFill>
            <a:srgbClr val="CCCCCC"/>
          </a:solidFill>
        </p:spPr>
        <p:txBody>
          <a:bodyPr anchor="ctr" anchorCtr="0"/>
          <a:lstStyle>
            <a:lvl1pPr marL="0" indent="0" algn="ctr">
              <a:buFontTx/>
              <a:buNone/>
              <a:defRPr sz="900" b="1">
                <a:solidFill>
                  <a:srgbClr val="4C4C4C"/>
                </a:solidFill>
              </a:defRPr>
            </a:lvl1pPr>
          </a:lstStyle>
          <a:p>
            <a:pPr lvl="0"/>
            <a:r>
              <a:rPr lang="en-US" dirty="0"/>
              <a:t>Month</a:t>
            </a:r>
          </a:p>
        </p:txBody>
      </p:sp>
      <p:sp>
        <p:nvSpPr>
          <p:cNvPr id="12" name="Text Placeholder 8"/>
          <p:cNvSpPr>
            <a:spLocks noGrp="1"/>
          </p:cNvSpPr>
          <p:nvPr>
            <p:ph type="body" sz="quarter" idx="16" hasCustomPrompt="1"/>
          </p:nvPr>
        </p:nvSpPr>
        <p:spPr>
          <a:xfrm>
            <a:off x="4572001" y="1168004"/>
            <a:ext cx="1458136" cy="161574"/>
          </a:xfrm>
          <a:solidFill>
            <a:srgbClr val="999999"/>
          </a:solidFill>
        </p:spPr>
        <p:txBody>
          <a:bodyPr anchor="ctr" anchorCtr="0"/>
          <a:lstStyle>
            <a:lvl1pPr marL="0" indent="0" algn="ctr">
              <a:buFontTx/>
              <a:buNone/>
              <a:defRPr sz="900" b="1">
                <a:solidFill>
                  <a:schemeClr val="bg1"/>
                </a:solidFill>
              </a:defRPr>
            </a:lvl1pPr>
          </a:lstStyle>
          <a:p>
            <a:pPr lvl="0"/>
            <a:r>
              <a:rPr lang="en-US" dirty="0"/>
              <a:t>Month</a:t>
            </a:r>
          </a:p>
        </p:txBody>
      </p:sp>
      <p:sp>
        <p:nvSpPr>
          <p:cNvPr id="13" name="Text Placeholder 8"/>
          <p:cNvSpPr>
            <a:spLocks noGrp="1"/>
          </p:cNvSpPr>
          <p:nvPr>
            <p:ph type="body" sz="quarter" idx="17" hasCustomPrompt="1"/>
          </p:nvPr>
        </p:nvSpPr>
        <p:spPr>
          <a:xfrm>
            <a:off x="7487081" y="1168004"/>
            <a:ext cx="1404572" cy="161574"/>
          </a:xfrm>
          <a:solidFill>
            <a:srgbClr val="999999"/>
          </a:solidFill>
        </p:spPr>
        <p:txBody>
          <a:bodyPr anchor="ctr" anchorCtr="0"/>
          <a:lstStyle>
            <a:lvl1pPr marL="0" indent="0" algn="ctr">
              <a:buFontTx/>
              <a:buNone/>
              <a:defRPr sz="900" b="1">
                <a:solidFill>
                  <a:schemeClr val="bg1"/>
                </a:solidFill>
              </a:defRPr>
            </a:lvl1pPr>
          </a:lstStyle>
          <a:p>
            <a:pPr lvl="0"/>
            <a:r>
              <a:rPr lang="en-US" dirty="0"/>
              <a:t>Month</a:t>
            </a:r>
          </a:p>
        </p:txBody>
      </p:sp>
      <p:sp>
        <p:nvSpPr>
          <p:cNvPr id="14" name="Text Placeholder 8"/>
          <p:cNvSpPr>
            <a:spLocks noGrp="1"/>
          </p:cNvSpPr>
          <p:nvPr>
            <p:ph type="body" sz="quarter" idx="18" hasCustomPrompt="1"/>
          </p:nvPr>
        </p:nvSpPr>
        <p:spPr>
          <a:xfrm>
            <a:off x="6030136" y="1168004"/>
            <a:ext cx="1456946" cy="161574"/>
          </a:xfrm>
          <a:solidFill>
            <a:srgbClr val="CCCCCC"/>
          </a:solidFill>
        </p:spPr>
        <p:txBody>
          <a:bodyPr anchor="ctr" anchorCtr="0"/>
          <a:lstStyle>
            <a:lvl1pPr marL="0" indent="0" algn="ctr">
              <a:buFontTx/>
              <a:buNone/>
              <a:defRPr sz="900" b="1">
                <a:solidFill>
                  <a:srgbClr val="4C4C4C"/>
                </a:solidFill>
              </a:defRPr>
            </a:lvl1pPr>
          </a:lstStyle>
          <a:p>
            <a:pPr lvl="0"/>
            <a:r>
              <a:rPr lang="en-US" dirty="0"/>
              <a:t>Month</a:t>
            </a:r>
          </a:p>
        </p:txBody>
      </p:sp>
      <p:sp>
        <p:nvSpPr>
          <p:cNvPr id="24" name="Text Placeholder 8"/>
          <p:cNvSpPr>
            <a:spLocks noGrp="1"/>
          </p:cNvSpPr>
          <p:nvPr>
            <p:ph type="body" sz="quarter" idx="19" hasCustomPrompt="1"/>
          </p:nvPr>
        </p:nvSpPr>
        <p:spPr>
          <a:xfrm>
            <a:off x="252347" y="2787254"/>
            <a:ext cx="1458136" cy="161925"/>
          </a:xfrm>
          <a:solidFill>
            <a:srgbClr val="CCCCCC"/>
          </a:solidFill>
        </p:spPr>
        <p:txBody>
          <a:bodyPr anchor="ctr" anchorCtr="0"/>
          <a:lstStyle>
            <a:lvl1pPr marL="0" indent="0" algn="ctr">
              <a:buFontTx/>
              <a:buNone/>
              <a:defRPr sz="900" b="1">
                <a:solidFill>
                  <a:srgbClr val="4C4C4C"/>
                </a:solidFill>
              </a:defRPr>
            </a:lvl1pPr>
          </a:lstStyle>
          <a:p>
            <a:pPr lvl="0"/>
            <a:r>
              <a:rPr lang="en-US" dirty="0"/>
              <a:t>Month</a:t>
            </a:r>
          </a:p>
        </p:txBody>
      </p:sp>
      <p:sp>
        <p:nvSpPr>
          <p:cNvPr id="25" name="Text Placeholder 8"/>
          <p:cNvSpPr>
            <a:spLocks noGrp="1"/>
          </p:cNvSpPr>
          <p:nvPr>
            <p:ph type="body" sz="quarter" idx="20" hasCustomPrompt="1"/>
          </p:nvPr>
        </p:nvSpPr>
        <p:spPr>
          <a:xfrm>
            <a:off x="1710483" y="2787254"/>
            <a:ext cx="1403381" cy="161925"/>
          </a:xfrm>
          <a:solidFill>
            <a:srgbClr val="999999"/>
          </a:solidFill>
        </p:spPr>
        <p:txBody>
          <a:bodyPr anchor="ctr" anchorCtr="0"/>
          <a:lstStyle>
            <a:lvl1pPr marL="0" indent="0" algn="ctr">
              <a:buFontTx/>
              <a:buNone/>
              <a:defRPr sz="900" b="1">
                <a:solidFill>
                  <a:schemeClr val="bg1"/>
                </a:solidFill>
              </a:defRPr>
            </a:lvl1pPr>
          </a:lstStyle>
          <a:p>
            <a:pPr lvl="0"/>
            <a:r>
              <a:rPr lang="en-US" dirty="0"/>
              <a:t>Month</a:t>
            </a:r>
          </a:p>
        </p:txBody>
      </p:sp>
      <p:sp>
        <p:nvSpPr>
          <p:cNvPr id="26" name="Text Placeholder 8"/>
          <p:cNvSpPr>
            <a:spLocks noGrp="1"/>
          </p:cNvSpPr>
          <p:nvPr>
            <p:ph type="body" sz="quarter" idx="21" hasCustomPrompt="1"/>
          </p:nvPr>
        </p:nvSpPr>
        <p:spPr>
          <a:xfrm>
            <a:off x="3113864" y="2787254"/>
            <a:ext cx="1458136" cy="161925"/>
          </a:xfrm>
          <a:solidFill>
            <a:srgbClr val="CCCCCC"/>
          </a:solidFill>
        </p:spPr>
        <p:txBody>
          <a:bodyPr anchor="ctr" anchorCtr="0"/>
          <a:lstStyle>
            <a:lvl1pPr marL="0" indent="0" algn="ctr">
              <a:buFontTx/>
              <a:buNone/>
              <a:defRPr sz="900" b="1">
                <a:solidFill>
                  <a:srgbClr val="4C4C4C"/>
                </a:solidFill>
              </a:defRPr>
            </a:lvl1pPr>
          </a:lstStyle>
          <a:p>
            <a:pPr lvl="0"/>
            <a:r>
              <a:rPr lang="en-US" dirty="0"/>
              <a:t>Month</a:t>
            </a:r>
          </a:p>
        </p:txBody>
      </p:sp>
      <p:sp>
        <p:nvSpPr>
          <p:cNvPr id="27" name="Text Placeholder 8"/>
          <p:cNvSpPr>
            <a:spLocks noGrp="1"/>
          </p:cNvSpPr>
          <p:nvPr>
            <p:ph type="body" sz="quarter" idx="22" hasCustomPrompt="1"/>
          </p:nvPr>
        </p:nvSpPr>
        <p:spPr>
          <a:xfrm>
            <a:off x="4572001" y="2787254"/>
            <a:ext cx="1458136" cy="161925"/>
          </a:xfrm>
          <a:solidFill>
            <a:srgbClr val="999999"/>
          </a:solidFill>
        </p:spPr>
        <p:txBody>
          <a:bodyPr anchor="ctr" anchorCtr="0"/>
          <a:lstStyle>
            <a:lvl1pPr marL="0" indent="0" algn="ctr">
              <a:buFontTx/>
              <a:buNone/>
              <a:defRPr sz="900" b="1">
                <a:solidFill>
                  <a:schemeClr val="bg1"/>
                </a:solidFill>
              </a:defRPr>
            </a:lvl1pPr>
          </a:lstStyle>
          <a:p>
            <a:pPr lvl="0"/>
            <a:r>
              <a:rPr lang="en-US" dirty="0"/>
              <a:t>Month</a:t>
            </a:r>
          </a:p>
        </p:txBody>
      </p:sp>
      <p:sp>
        <p:nvSpPr>
          <p:cNvPr id="28" name="Text Placeholder 8"/>
          <p:cNvSpPr>
            <a:spLocks noGrp="1"/>
          </p:cNvSpPr>
          <p:nvPr>
            <p:ph type="body" sz="quarter" idx="23" hasCustomPrompt="1"/>
          </p:nvPr>
        </p:nvSpPr>
        <p:spPr>
          <a:xfrm>
            <a:off x="7487081" y="2787254"/>
            <a:ext cx="1404572" cy="161925"/>
          </a:xfrm>
          <a:solidFill>
            <a:srgbClr val="999999"/>
          </a:solidFill>
        </p:spPr>
        <p:txBody>
          <a:bodyPr anchor="ctr" anchorCtr="0"/>
          <a:lstStyle>
            <a:lvl1pPr marL="0" indent="0" algn="ctr">
              <a:buFontTx/>
              <a:buNone/>
              <a:defRPr sz="900" b="1">
                <a:solidFill>
                  <a:schemeClr val="bg1"/>
                </a:solidFill>
              </a:defRPr>
            </a:lvl1pPr>
          </a:lstStyle>
          <a:p>
            <a:pPr lvl="0"/>
            <a:r>
              <a:rPr lang="en-US" dirty="0"/>
              <a:t>Month</a:t>
            </a:r>
          </a:p>
        </p:txBody>
      </p:sp>
      <p:sp>
        <p:nvSpPr>
          <p:cNvPr id="29" name="Text Placeholder 8"/>
          <p:cNvSpPr>
            <a:spLocks noGrp="1"/>
          </p:cNvSpPr>
          <p:nvPr>
            <p:ph type="body" sz="quarter" idx="24" hasCustomPrompt="1"/>
          </p:nvPr>
        </p:nvSpPr>
        <p:spPr>
          <a:xfrm>
            <a:off x="6030136" y="2787254"/>
            <a:ext cx="1456946" cy="161925"/>
          </a:xfrm>
          <a:solidFill>
            <a:srgbClr val="CCCCCC"/>
          </a:solidFill>
        </p:spPr>
        <p:txBody>
          <a:bodyPr anchor="ctr" anchorCtr="0"/>
          <a:lstStyle>
            <a:lvl1pPr marL="0" indent="0" algn="ctr">
              <a:buFontTx/>
              <a:buNone/>
              <a:defRPr sz="900" b="1">
                <a:solidFill>
                  <a:srgbClr val="4C4C4C"/>
                </a:solidFill>
              </a:defRPr>
            </a:lvl1pPr>
          </a:lstStyle>
          <a:p>
            <a:pPr lvl="0"/>
            <a:r>
              <a:rPr lang="en-US" dirty="0"/>
              <a:t>Month</a:t>
            </a:r>
          </a:p>
        </p:txBody>
      </p:sp>
    </p:spTree>
    <p:extLst>
      <p:ext uri="{BB962C8B-B14F-4D97-AF65-F5344CB8AC3E}">
        <p14:creationId xmlns:p14="http://schemas.microsoft.com/office/powerpoint/2010/main" val="855949348"/>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le and Schedule 1/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573882"/>
            <a:ext cx="8729770" cy="456902"/>
          </a:xfrm>
        </p:spPr>
        <p:txBody>
          <a:bodyPr/>
          <a:lstStyle>
            <a:lvl1pPr>
              <a:defRPr sz="2249"/>
            </a:lvl1pPr>
          </a:lstStyle>
          <a:p>
            <a:r>
              <a:rPr lang="en-US" dirty="0"/>
              <a:t>Click to add title</a:t>
            </a:r>
          </a:p>
        </p:txBody>
      </p:sp>
      <p:sp>
        <p:nvSpPr>
          <p:cNvPr id="4" name="Date Placeholder 3"/>
          <p:cNvSpPr>
            <a:spLocks noGrp="1"/>
          </p:cNvSpPr>
          <p:nvPr>
            <p:ph type="dt" sz="half" idx="10"/>
          </p:nvPr>
        </p:nvSpPr>
        <p:spPr/>
        <p:txBody>
          <a:bodyPr/>
          <a:lstStyle/>
          <a:p>
            <a:fld id="{9563F5D9-D960-494D-97FB-91F70DCEAA0D}" type="datetime1">
              <a:rPr lang="fi-FI" smtClean="0"/>
              <a:t>5.11.2023</a:t>
            </a:fld>
            <a:endParaRPr lang="en-US"/>
          </a:p>
        </p:txBody>
      </p:sp>
      <p:sp>
        <p:nvSpPr>
          <p:cNvPr id="5" name="Footer Placeholder 4"/>
          <p:cNvSpPr>
            <a:spLocks noGrp="1"/>
          </p:cNvSpPr>
          <p:nvPr>
            <p:ph type="ftr" sz="quarter" idx="11"/>
          </p:nvPr>
        </p:nvSpPr>
        <p:spPr/>
        <p:txBody>
          <a:bodyPr/>
          <a:lstStyle/>
          <a:p>
            <a:r>
              <a:rPr lang="en-US"/>
              <a:t>© Aalto University Executive Education</a:t>
            </a:r>
          </a:p>
        </p:txBody>
      </p:sp>
      <p:sp>
        <p:nvSpPr>
          <p:cNvPr id="6" name="Slide Number Placeholder 5"/>
          <p:cNvSpPr>
            <a:spLocks noGrp="1"/>
          </p:cNvSpPr>
          <p:nvPr>
            <p:ph type="sldNum" sz="quarter" idx="12"/>
          </p:nvPr>
        </p:nvSpPr>
        <p:spPr/>
        <p:txBody>
          <a:bodyPr/>
          <a:lstStyle/>
          <a:p>
            <a:fld id="{FCCA222D-FCF7-48C1-A274-EBDDEF75DC66}" type="slidenum">
              <a:rPr lang="en-US" smtClean="0"/>
              <a:t>‹#›</a:t>
            </a:fld>
            <a:endParaRPr lang="en-US"/>
          </a:p>
        </p:txBody>
      </p:sp>
      <p:sp>
        <p:nvSpPr>
          <p:cNvPr id="9" name="Text Placeholder 8"/>
          <p:cNvSpPr>
            <a:spLocks noGrp="1"/>
          </p:cNvSpPr>
          <p:nvPr>
            <p:ph type="body" sz="quarter" idx="13" hasCustomPrompt="1"/>
          </p:nvPr>
        </p:nvSpPr>
        <p:spPr>
          <a:xfrm>
            <a:off x="252347" y="1168004"/>
            <a:ext cx="1458136" cy="161574"/>
          </a:xfrm>
          <a:solidFill>
            <a:srgbClr val="CCCCCC"/>
          </a:solidFill>
        </p:spPr>
        <p:txBody>
          <a:bodyPr anchor="ctr" anchorCtr="0"/>
          <a:lstStyle>
            <a:lvl1pPr marL="0" indent="0" algn="ctr">
              <a:buFontTx/>
              <a:buNone/>
              <a:defRPr sz="900" b="1">
                <a:solidFill>
                  <a:srgbClr val="4C4C4C"/>
                </a:solidFill>
              </a:defRPr>
            </a:lvl1pPr>
          </a:lstStyle>
          <a:p>
            <a:pPr lvl="0"/>
            <a:r>
              <a:rPr lang="en-US" dirty="0"/>
              <a:t>Month</a:t>
            </a:r>
          </a:p>
        </p:txBody>
      </p:sp>
      <p:sp>
        <p:nvSpPr>
          <p:cNvPr id="10" name="Text Placeholder 8"/>
          <p:cNvSpPr>
            <a:spLocks noGrp="1"/>
          </p:cNvSpPr>
          <p:nvPr>
            <p:ph type="body" sz="quarter" idx="14" hasCustomPrompt="1"/>
          </p:nvPr>
        </p:nvSpPr>
        <p:spPr>
          <a:xfrm>
            <a:off x="1710483" y="1168004"/>
            <a:ext cx="1403381" cy="161574"/>
          </a:xfrm>
          <a:solidFill>
            <a:srgbClr val="999999"/>
          </a:solidFill>
        </p:spPr>
        <p:txBody>
          <a:bodyPr anchor="ctr" anchorCtr="0"/>
          <a:lstStyle>
            <a:lvl1pPr marL="0" indent="0" algn="ctr">
              <a:buFontTx/>
              <a:buNone/>
              <a:defRPr sz="900" b="1">
                <a:solidFill>
                  <a:schemeClr val="bg1"/>
                </a:solidFill>
              </a:defRPr>
            </a:lvl1pPr>
          </a:lstStyle>
          <a:p>
            <a:pPr lvl="0"/>
            <a:r>
              <a:rPr lang="en-US" dirty="0"/>
              <a:t>Month</a:t>
            </a:r>
          </a:p>
        </p:txBody>
      </p:sp>
      <p:sp>
        <p:nvSpPr>
          <p:cNvPr id="11" name="Text Placeholder 8"/>
          <p:cNvSpPr>
            <a:spLocks noGrp="1"/>
          </p:cNvSpPr>
          <p:nvPr>
            <p:ph type="body" sz="quarter" idx="15" hasCustomPrompt="1"/>
          </p:nvPr>
        </p:nvSpPr>
        <p:spPr>
          <a:xfrm>
            <a:off x="3113864" y="1168004"/>
            <a:ext cx="1458136" cy="161574"/>
          </a:xfrm>
          <a:solidFill>
            <a:srgbClr val="CCCCCC"/>
          </a:solidFill>
        </p:spPr>
        <p:txBody>
          <a:bodyPr anchor="ctr" anchorCtr="0"/>
          <a:lstStyle>
            <a:lvl1pPr marL="0" indent="0" algn="ctr">
              <a:buFontTx/>
              <a:buNone/>
              <a:defRPr sz="900" b="1">
                <a:solidFill>
                  <a:srgbClr val="4C4C4C"/>
                </a:solidFill>
              </a:defRPr>
            </a:lvl1pPr>
          </a:lstStyle>
          <a:p>
            <a:pPr lvl="0"/>
            <a:r>
              <a:rPr lang="en-US" dirty="0"/>
              <a:t>Month</a:t>
            </a:r>
          </a:p>
        </p:txBody>
      </p:sp>
      <p:sp>
        <p:nvSpPr>
          <p:cNvPr id="12" name="Text Placeholder 8"/>
          <p:cNvSpPr>
            <a:spLocks noGrp="1"/>
          </p:cNvSpPr>
          <p:nvPr>
            <p:ph type="body" sz="quarter" idx="16" hasCustomPrompt="1"/>
          </p:nvPr>
        </p:nvSpPr>
        <p:spPr>
          <a:xfrm>
            <a:off x="4572001" y="1168004"/>
            <a:ext cx="1458136" cy="161574"/>
          </a:xfrm>
          <a:solidFill>
            <a:srgbClr val="999999"/>
          </a:solidFill>
        </p:spPr>
        <p:txBody>
          <a:bodyPr anchor="ctr" anchorCtr="0"/>
          <a:lstStyle>
            <a:lvl1pPr marL="0" indent="0" algn="ctr">
              <a:buFontTx/>
              <a:buNone/>
              <a:defRPr sz="900" b="1">
                <a:solidFill>
                  <a:schemeClr val="bg1"/>
                </a:solidFill>
              </a:defRPr>
            </a:lvl1pPr>
          </a:lstStyle>
          <a:p>
            <a:pPr lvl="0"/>
            <a:r>
              <a:rPr lang="en-US" dirty="0"/>
              <a:t>Month</a:t>
            </a:r>
          </a:p>
        </p:txBody>
      </p:sp>
      <p:sp>
        <p:nvSpPr>
          <p:cNvPr id="13" name="Text Placeholder 8"/>
          <p:cNvSpPr>
            <a:spLocks noGrp="1"/>
          </p:cNvSpPr>
          <p:nvPr>
            <p:ph type="body" sz="quarter" idx="17" hasCustomPrompt="1"/>
          </p:nvPr>
        </p:nvSpPr>
        <p:spPr>
          <a:xfrm>
            <a:off x="7487081" y="1168004"/>
            <a:ext cx="1404572" cy="161574"/>
          </a:xfrm>
          <a:solidFill>
            <a:srgbClr val="999999"/>
          </a:solidFill>
        </p:spPr>
        <p:txBody>
          <a:bodyPr anchor="ctr" anchorCtr="0"/>
          <a:lstStyle>
            <a:lvl1pPr marL="0" indent="0" algn="ctr">
              <a:buFontTx/>
              <a:buNone/>
              <a:defRPr sz="900" b="1">
                <a:solidFill>
                  <a:schemeClr val="bg1"/>
                </a:solidFill>
              </a:defRPr>
            </a:lvl1pPr>
          </a:lstStyle>
          <a:p>
            <a:pPr lvl="0"/>
            <a:r>
              <a:rPr lang="en-US" dirty="0"/>
              <a:t>Month</a:t>
            </a:r>
          </a:p>
        </p:txBody>
      </p:sp>
      <p:sp>
        <p:nvSpPr>
          <p:cNvPr id="14" name="Text Placeholder 8"/>
          <p:cNvSpPr>
            <a:spLocks noGrp="1"/>
          </p:cNvSpPr>
          <p:nvPr>
            <p:ph type="body" sz="quarter" idx="18" hasCustomPrompt="1"/>
          </p:nvPr>
        </p:nvSpPr>
        <p:spPr>
          <a:xfrm>
            <a:off x="6030136" y="1168004"/>
            <a:ext cx="1456946" cy="161574"/>
          </a:xfrm>
          <a:solidFill>
            <a:srgbClr val="CCCCCC"/>
          </a:solidFill>
        </p:spPr>
        <p:txBody>
          <a:bodyPr anchor="ctr" anchorCtr="0"/>
          <a:lstStyle>
            <a:lvl1pPr marL="0" indent="0" algn="ctr">
              <a:buFontTx/>
              <a:buNone/>
              <a:defRPr sz="900" b="1">
                <a:solidFill>
                  <a:srgbClr val="4C4C4C"/>
                </a:solidFill>
              </a:defRPr>
            </a:lvl1pPr>
          </a:lstStyle>
          <a:p>
            <a:pPr lvl="0"/>
            <a:r>
              <a:rPr lang="en-US" dirty="0"/>
              <a:t>Month</a:t>
            </a:r>
          </a:p>
        </p:txBody>
      </p:sp>
    </p:spTree>
    <p:extLst>
      <p:ext uri="{BB962C8B-B14F-4D97-AF65-F5344CB8AC3E}">
        <p14:creationId xmlns:p14="http://schemas.microsoft.com/office/powerpoint/2010/main" val="984360209"/>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Proces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573882"/>
            <a:ext cx="8729770" cy="456902"/>
          </a:xfrm>
        </p:spPr>
        <p:txBody>
          <a:bodyPr/>
          <a:lstStyle>
            <a:lvl1pPr>
              <a:defRPr sz="2249"/>
            </a:lvl1pPr>
          </a:lstStyle>
          <a:p>
            <a:r>
              <a:rPr lang="en-US" dirty="0"/>
              <a:t>Click to add title</a:t>
            </a:r>
          </a:p>
        </p:txBody>
      </p:sp>
      <p:sp>
        <p:nvSpPr>
          <p:cNvPr id="4" name="Date Placeholder 3"/>
          <p:cNvSpPr>
            <a:spLocks noGrp="1"/>
          </p:cNvSpPr>
          <p:nvPr>
            <p:ph type="dt" sz="half" idx="10"/>
          </p:nvPr>
        </p:nvSpPr>
        <p:spPr/>
        <p:txBody>
          <a:bodyPr/>
          <a:lstStyle/>
          <a:p>
            <a:fld id="{47D29171-FC86-4412-B9C2-159F0A152F34}" type="datetime1">
              <a:rPr lang="fi-FI" smtClean="0"/>
              <a:t>5.11.2023</a:t>
            </a:fld>
            <a:endParaRPr lang="en-US"/>
          </a:p>
        </p:txBody>
      </p:sp>
      <p:sp>
        <p:nvSpPr>
          <p:cNvPr id="5" name="Footer Placeholder 4"/>
          <p:cNvSpPr>
            <a:spLocks noGrp="1"/>
          </p:cNvSpPr>
          <p:nvPr>
            <p:ph type="ftr" sz="quarter" idx="11"/>
          </p:nvPr>
        </p:nvSpPr>
        <p:spPr/>
        <p:txBody>
          <a:bodyPr/>
          <a:lstStyle/>
          <a:p>
            <a:r>
              <a:rPr lang="en-US"/>
              <a:t>© Aalto University Executive Education</a:t>
            </a:r>
          </a:p>
        </p:txBody>
      </p:sp>
      <p:sp>
        <p:nvSpPr>
          <p:cNvPr id="6" name="Slide Number Placeholder 5"/>
          <p:cNvSpPr>
            <a:spLocks noGrp="1"/>
          </p:cNvSpPr>
          <p:nvPr>
            <p:ph type="sldNum" sz="quarter" idx="12"/>
          </p:nvPr>
        </p:nvSpPr>
        <p:spPr/>
        <p:txBody>
          <a:bodyPr/>
          <a:lstStyle/>
          <a:p>
            <a:fld id="{FCCA222D-FCF7-48C1-A274-EBDDEF75DC66}" type="slidenum">
              <a:rPr lang="en-US" smtClean="0"/>
              <a:t>‹#›</a:t>
            </a:fld>
            <a:endParaRPr lang="en-US"/>
          </a:p>
        </p:txBody>
      </p:sp>
      <p:sp>
        <p:nvSpPr>
          <p:cNvPr id="16" name="Text Placeholder 11"/>
          <p:cNvSpPr>
            <a:spLocks noGrp="1"/>
          </p:cNvSpPr>
          <p:nvPr>
            <p:ph type="body" sz="quarter" idx="13" hasCustomPrompt="1"/>
          </p:nvPr>
        </p:nvSpPr>
        <p:spPr>
          <a:xfrm>
            <a:off x="522492" y="1545432"/>
            <a:ext cx="1997305" cy="2808685"/>
          </a:xfrm>
          <a:custGeom>
            <a:avLst/>
            <a:gdLst>
              <a:gd name="connsiteX0" fmla="*/ 0 w 2520350"/>
              <a:gd name="connsiteY0" fmla="*/ 0 h 3744913"/>
              <a:gd name="connsiteX1" fmla="*/ 1470204 w 2520350"/>
              <a:gd name="connsiteY1" fmla="*/ 0 h 3744913"/>
              <a:gd name="connsiteX2" fmla="*/ 1470204 w 2520350"/>
              <a:gd name="connsiteY2" fmla="*/ 0 h 3744913"/>
              <a:gd name="connsiteX3" fmla="*/ 2100292 w 2520350"/>
              <a:gd name="connsiteY3" fmla="*/ 0 h 3744913"/>
              <a:gd name="connsiteX4" fmla="*/ 2520350 w 2520350"/>
              <a:gd name="connsiteY4" fmla="*/ 0 h 3744913"/>
              <a:gd name="connsiteX5" fmla="*/ 2520350 w 2520350"/>
              <a:gd name="connsiteY5" fmla="*/ 624152 h 3744913"/>
              <a:gd name="connsiteX6" fmla="*/ 2655340 w 2520350"/>
              <a:gd name="connsiteY6" fmla="*/ 1070820 h 3744913"/>
              <a:gd name="connsiteX7" fmla="*/ 2520350 w 2520350"/>
              <a:gd name="connsiteY7" fmla="*/ 1560380 h 3744913"/>
              <a:gd name="connsiteX8" fmla="*/ 2520350 w 2520350"/>
              <a:gd name="connsiteY8" fmla="*/ 3744913 h 3744913"/>
              <a:gd name="connsiteX9" fmla="*/ 2100292 w 2520350"/>
              <a:gd name="connsiteY9" fmla="*/ 3744913 h 3744913"/>
              <a:gd name="connsiteX10" fmla="*/ 1470204 w 2520350"/>
              <a:gd name="connsiteY10" fmla="*/ 3744913 h 3744913"/>
              <a:gd name="connsiteX11" fmla="*/ 1470204 w 2520350"/>
              <a:gd name="connsiteY11" fmla="*/ 3744913 h 3744913"/>
              <a:gd name="connsiteX12" fmla="*/ 0 w 2520350"/>
              <a:gd name="connsiteY12" fmla="*/ 3744913 h 3744913"/>
              <a:gd name="connsiteX13" fmla="*/ 0 w 2520350"/>
              <a:gd name="connsiteY13" fmla="*/ 1560380 h 3744913"/>
              <a:gd name="connsiteX14" fmla="*/ 0 w 2520350"/>
              <a:gd name="connsiteY14" fmla="*/ 624152 h 3744913"/>
              <a:gd name="connsiteX15" fmla="*/ 0 w 2520350"/>
              <a:gd name="connsiteY15" fmla="*/ 624152 h 3744913"/>
              <a:gd name="connsiteX16" fmla="*/ 0 w 2520350"/>
              <a:gd name="connsiteY16" fmla="*/ 0 h 3744913"/>
              <a:gd name="connsiteX0" fmla="*/ 0 w 2655340"/>
              <a:gd name="connsiteY0" fmla="*/ 0 h 3744913"/>
              <a:gd name="connsiteX1" fmla="*/ 1470204 w 2655340"/>
              <a:gd name="connsiteY1" fmla="*/ 0 h 3744913"/>
              <a:gd name="connsiteX2" fmla="*/ 1470204 w 2655340"/>
              <a:gd name="connsiteY2" fmla="*/ 0 h 3744913"/>
              <a:gd name="connsiteX3" fmla="*/ 2100292 w 2655340"/>
              <a:gd name="connsiteY3" fmla="*/ 0 h 3744913"/>
              <a:gd name="connsiteX4" fmla="*/ 2520350 w 2655340"/>
              <a:gd name="connsiteY4" fmla="*/ 0 h 3744913"/>
              <a:gd name="connsiteX5" fmla="*/ 2520350 w 2655340"/>
              <a:gd name="connsiteY5" fmla="*/ 624152 h 3744913"/>
              <a:gd name="connsiteX6" fmla="*/ 2655340 w 2655340"/>
              <a:gd name="connsiteY6" fmla="*/ 1070820 h 3744913"/>
              <a:gd name="connsiteX7" fmla="*/ 2520350 w 2655340"/>
              <a:gd name="connsiteY7" fmla="*/ 2007046 h 3744913"/>
              <a:gd name="connsiteX8" fmla="*/ 2520350 w 2655340"/>
              <a:gd name="connsiteY8" fmla="*/ 3744913 h 3744913"/>
              <a:gd name="connsiteX9" fmla="*/ 2100292 w 2655340"/>
              <a:gd name="connsiteY9" fmla="*/ 3744913 h 3744913"/>
              <a:gd name="connsiteX10" fmla="*/ 1470204 w 2655340"/>
              <a:gd name="connsiteY10" fmla="*/ 3744913 h 3744913"/>
              <a:gd name="connsiteX11" fmla="*/ 1470204 w 2655340"/>
              <a:gd name="connsiteY11" fmla="*/ 3744913 h 3744913"/>
              <a:gd name="connsiteX12" fmla="*/ 0 w 2655340"/>
              <a:gd name="connsiteY12" fmla="*/ 3744913 h 3744913"/>
              <a:gd name="connsiteX13" fmla="*/ 0 w 2655340"/>
              <a:gd name="connsiteY13" fmla="*/ 1560380 h 3744913"/>
              <a:gd name="connsiteX14" fmla="*/ 0 w 2655340"/>
              <a:gd name="connsiteY14" fmla="*/ 624152 h 3744913"/>
              <a:gd name="connsiteX15" fmla="*/ 0 w 2655340"/>
              <a:gd name="connsiteY15" fmla="*/ 624152 h 3744913"/>
              <a:gd name="connsiteX16" fmla="*/ 0 w 2655340"/>
              <a:gd name="connsiteY16" fmla="*/ 0 h 3744913"/>
              <a:gd name="connsiteX0" fmla="*/ 0 w 2655340"/>
              <a:gd name="connsiteY0" fmla="*/ 0 h 3744913"/>
              <a:gd name="connsiteX1" fmla="*/ 1470204 w 2655340"/>
              <a:gd name="connsiteY1" fmla="*/ 0 h 3744913"/>
              <a:gd name="connsiteX2" fmla="*/ 1470204 w 2655340"/>
              <a:gd name="connsiteY2" fmla="*/ 0 h 3744913"/>
              <a:gd name="connsiteX3" fmla="*/ 2100292 w 2655340"/>
              <a:gd name="connsiteY3" fmla="*/ 0 h 3744913"/>
              <a:gd name="connsiteX4" fmla="*/ 2520350 w 2655340"/>
              <a:gd name="connsiteY4" fmla="*/ 0 h 3744913"/>
              <a:gd name="connsiteX5" fmla="*/ 2511923 w 2655340"/>
              <a:gd name="connsiteY5" fmla="*/ 1715533 h 3744913"/>
              <a:gd name="connsiteX6" fmla="*/ 2655340 w 2655340"/>
              <a:gd name="connsiteY6" fmla="*/ 1070820 h 3744913"/>
              <a:gd name="connsiteX7" fmla="*/ 2520350 w 2655340"/>
              <a:gd name="connsiteY7" fmla="*/ 2007046 h 3744913"/>
              <a:gd name="connsiteX8" fmla="*/ 2520350 w 2655340"/>
              <a:gd name="connsiteY8" fmla="*/ 3744913 h 3744913"/>
              <a:gd name="connsiteX9" fmla="*/ 2100292 w 2655340"/>
              <a:gd name="connsiteY9" fmla="*/ 3744913 h 3744913"/>
              <a:gd name="connsiteX10" fmla="*/ 1470204 w 2655340"/>
              <a:gd name="connsiteY10" fmla="*/ 3744913 h 3744913"/>
              <a:gd name="connsiteX11" fmla="*/ 1470204 w 2655340"/>
              <a:gd name="connsiteY11" fmla="*/ 3744913 h 3744913"/>
              <a:gd name="connsiteX12" fmla="*/ 0 w 2655340"/>
              <a:gd name="connsiteY12" fmla="*/ 3744913 h 3744913"/>
              <a:gd name="connsiteX13" fmla="*/ 0 w 2655340"/>
              <a:gd name="connsiteY13" fmla="*/ 1560380 h 3744913"/>
              <a:gd name="connsiteX14" fmla="*/ 0 w 2655340"/>
              <a:gd name="connsiteY14" fmla="*/ 624152 h 3744913"/>
              <a:gd name="connsiteX15" fmla="*/ 0 w 2655340"/>
              <a:gd name="connsiteY15" fmla="*/ 624152 h 3744913"/>
              <a:gd name="connsiteX16" fmla="*/ 0 w 2655340"/>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5533 h 3744913"/>
              <a:gd name="connsiteX6" fmla="*/ 2663767 w 2663767"/>
              <a:gd name="connsiteY6" fmla="*/ 1867233 h 3744913"/>
              <a:gd name="connsiteX7" fmla="*/ 2520350 w 2663767"/>
              <a:gd name="connsiteY7" fmla="*/ 2007046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9747 h 3744913"/>
              <a:gd name="connsiteX6" fmla="*/ 2663767 w 2663767"/>
              <a:gd name="connsiteY6" fmla="*/ 1867233 h 3744913"/>
              <a:gd name="connsiteX7" fmla="*/ 2520350 w 2663767"/>
              <a:gd name="connsiteY7" fmla="*/ 2007046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9747 h 3744913"/>
              <a:gd name="connsiteX6" fmla="*/ 2663767 w 2663767"/>
              <a:gd name="connsiteY6" fmla="*/ 1867233 h 3744913"/>
              <a:gd name="connsiteX7" fmla="*/ 2520350 w 2663767"/>
              <a:gd name="connsiteY7" fmla="*/ 2016440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5054 w 2663767"/>
              <a:gd name="connsiteY5" fmla="*/ 1722879 h 3744913"/>
              <a:gd name="connsiteX6" fmla="*/ 2663767 w 2663767"/>
              <a:gd name="connsiteY6" fmla="*/ 1867233 h 3744913"/>
              <a:gd name="connsiteX7" fmla="*/ 2520350 w 2663767"/>
              <a:gd name="connsiteY7" fmla="*/ 2016440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63767" h="3744913">
                <a:moveTo>
                  <a:pt x="0" y="0"/>
                </a:moveTo>
                <a:lnTo>
                  <a:pt x="1470204" y="0"/>
                </a:lnTo>
                <a:lnTo>
                  <a:pt x="1470204" y="0"/>
                </a:lnTo>
                <a:lnTo>
                  <a:pt x="2100292" y="0"/>
                </a:lnTo>
                <a:lnTo>
                  <a:pt x="2520350" y="0"/>
                </a:lnTo>
                <a:cubicBezTo>
                  <a:pt x="2518585" y="574293"/>
                  <a:pt x="2516819" y="1148586"/>
                  <a:pt x="2515054" y="1722879"/>
                </a:cubicBezTo>
                <a:lnTo>
                  <a:pt x="2663767" y="1867233"/>
                </a:lnTo>
                <a:lnTo>
                  <a:pt x="2520350" y="2016440"/>
                </a:lnTo>
                <a:lnTo>
                  <a:pt x="2520350" y="3744913"/>
                </a:lnTo>
                <a:lnTo>
                  <a:pt x="2100292" y="3744913"/>
                </a:lnTo>
                <a:lnTo>
                  <a:pt x="1470204" y="3744913"/>
                </a:lnTo>
                <a:lnTo>
                  <a:pt x="1470204" y="3744913"/>
                </a:lnTo>
                <a:lnTo>
                  <a:pt x="0" y="3744913"/>
                </a:lnTo>
                <a:lnTo>
                  <a:pt x="0" y="1560380"/>
                </a:lnTo>
                <a:lnTo>
                  <a:pt x="0" y="624152"/>
                </a:lnTo>
                <a:lnTo>
                  <a:pt x="0" y="624152"/>
                </a:lnTo>
                <a:lnTo>
                  <a:pt x="0" y="0"/>
                </a:lnTo>
                <a:close/>
              </a:path>
            </a:pathLst>
          </a:custGeom>
          <a:solidFill>
            <a:schemeClr val="accent2"/>
          </a:solidFill>
        </p:spPr>
        <p:txBody>
          <a:bodyPr lIns="144000" tIns="108000" rIns="288000" bIns="108000"/>
          <a:lstStyle>
            <a:lvl1pPr marL="0" indent="0">
              <a:buNone/>
              <a:defRPr sz="1350" b="1">
                <a:solidFill>
                  <a:schemeClr val="bg1"/>
                </a:solidFill>
              </a:defRPr>
            </a:lvl1pPr>
            <a:lvl2pPr marL="0" indent="0">
              <a:buFontTx/>
              <a:buNone/>
              <a:defRPr>
                <a:solidFill>
                  <a:schemeClr val="bg1"/>
                </a:solidFill>
              </a:defRPr>
            </a:lvl2pPr>
            <a:lvl3pPr marL="136886" indent="-136886">
              <a:defRPr sz="1350">
                <a:solidFill>
                  <a:schemeClr val="bg1"/>
                </a:solidFill>
              </a:defRPr>
            </a:lvl3pPr>
            <a:lvl4pPr marL="267820" indent="-130934">
              <a:buFont typeface="Arial" panose="020B0604020202020204" pitchFamily="34" charset="0"/>
              <a:buChar char="•"/>
              <a:defRPr sz="1200">
                <a:solidFill>
                  <a:schemeClr val="bg1"/>
                </a:solidFill>
              </a:defRPr>
            </a:lvl4pPr>
            <a:lvl5pPr marL="404705" indent="-136886">
              <a:defRPr>
                <a:solidFill>
                  <a:schemeClr val="bg1"/>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17" name="Text Placeholder 11"/>
          <p:cNvSpPr>
            <a:spLocks noGrp="1"/>
          </p:cNvSpPr>
          <p:nvPr>
            <p:ph type="body" sz="quarter" idx="14" hasCustomPrompt="1"/>
          </p:nvPr>
        </p:nvSpPr>
        <p:spPr>
          <a:xfrm>
            <a:off x="2574696" y="1545432"/>
            <a:ext cx="1997305" cy="2808685"/>
          </a:xfrm>
          <a:custGeom>
            <a:avLst/>
            <a:gdLst>
              <a:gd name="connsiteX0" fmla="*/ 0 w 2520350"/>
              <a:gd name="connsiteY0" fmla="*/ 0 h 3744913"/>
              <a:gd name="connsiteX1" fmla="*/ 1470204 w 2520350"/>
              <a:gd name="connsiteY1" fmla="*/ 0 h 3744913"/>
              <a:gd name="connsiteX2" fmla="*/ 1470204 w 2520350"/>
              <a:gd name="connsiteY2" fmla="*/ 0 h 3744913"/>
              <a:gd name="connsiteX3" fmla="*/ 2100292 w 2520350"/>
              <a:gd name="connsiteY3" fmla="*/ 0 h 3744913"/>
              <a:gd name="connsiteX4" fmla="*/ 2520350 w 2520350"/>
              <a:gd name="connsiteY4" fmla="*/ 0 h 3744913"/>
              <a:gd name="connsiteX5" fmla="*/ 2520350 w 2520350"/>
              <a:gd name="connsiteY5" fmla="*/ 624152 h 3744913"/>
              <a:gd name="connsiteX6" fmla="*/ 2655340 w 2520350"/>
              <a:gd name="connsiteY6" fmla="*/ 1070820 h 3744913"/>
              <a:gd name="connsiteX7" fmla="*/ 2520350 w 2520350"/>
              <a:gd name="connsiteY7" fmla="*/ 1560380 h 3744913"/>
              <a:gd name="connsiteX8" fmla="*/ 2520350 w 2520350"/>
              <a:gd name="connsiteY8" fmla="*/ 3744913 h 3744913"/>
              <a:gd name="connsiteX9" fmla="*/ 2100292 w 2520350"/>
              <a:gd name="connsiteY9" fmla="*/ 3744913 h 3744913"/>
              <a:gd name="connsiteX10" fmla="*/ 1470204 w 2520350"/>
              <a:gd name="connsiteY10" fmla="*/ 3744913 h 3744913"/>
              <a:gd name="connsiteX11" fmla="*/ 1470204 w 2520350"/>
              <a:gd name="connsiteY11" fmla="*/ 3744913 h 3744913"/>
              <a:gd name="connsiteX12" fmla="*/ 0 w 2520350"/>
              <a:gd name="connsiteY12" fmla="*/ 3744913 h 3744913"/>
              <a:gd name="connsiteX13" fmla="*/ 0 w 2520350"/>
              <a:gd name="connsiteY13" fmla="*/ 1560380 h 3744913"/>
              <a:gd name="connsiteX14" fmla="*/ 0 w 2520350"/>
              <a:gd name="connsiteY14" fmla="*/ 624152 h 3744913"/>
              <a:gd name="connsiteX15" fmla="*/ 0 w 2520350"/>
              <a:gd name="connsiteY15" fmla="*/ 624152 h 3744913"/>
              <a:gd name="connsiteX16" fmla="*/ 0 w 2520350"/>
              <a:gd name="connsiteY16" fmla="*/ 0 h 3744913"/>
              <a:gd name="connsiteX0" fmla="*/ 0 w 2655340"/>
              <a:gd name="connsiteY0" fmla="*/ 0 h 3744913"/>
              <a:gd name="connsiteX1" fmla="*/ 1470204 w 2655340"/>
              <a:gd name="connsiteY1" fmla="*/ 0 h 3744913"/>
              <a:gd name="connsiteX2" fmla="*/ 1470204 w 2655340"/>
              <a:gd name="connsiteY2" fmla="*/ 0 h 3744913"/>
              <a:gd name="connsiteX3" fmla="*/ 2100292 w 2655340"/>
              <a:gd name="connsiteY3" fmla="*/ 0 h 3744913"/>
              <a:gd name="connsiteX4" fmla="*/ 2520350 w 2655340"/>
              <a:gd name="connsiteY4" fmla="*/ 0 h 3744913"/>
              <a:gd name="connsiteX5" fmla="*/ 2520350 w 2655340"/>
              <a:gd name="connsiteY5" fmla="*/ 624152 h 3744913"/>
              <a:gd name="connsiteX6" fmla="*/ 2655340 w 2655340"/>
              <a:gd name="connsiteY6" fmla="*/ 1070820 h 3744913"/>
              <a:gd name="connsiteX7" fmla="*/ 2520350 w 2655340"/>
              <a:gd name="connsiteY7" fmla="*/ 2007046 h 3744913"/>
              <a:gd name="connsiteX8" fmla="*/ 2520350 w 2655340"/>
              <a:gd name="connsiteY8" fmla="*/ 3744913 h 3744913"/>
              <a:gd name="connsiteX9" fmla="*/ 2100292 w 2655340"/>
              <a:gd name="connsiteY9" fmla="*/ 3744913 h 3744913"/>
              <a:gd name="connsiteX10" fmla="*/ 1470204 w 2655340"/>
              <a:gd name="connsiteY10" fmla="*/ 3744913 h 3744913"/>
              <a:gd name="connsiteX11" fmla="*/ 1470204 w 2655340"/>
              <a:gd name="connsiteY11" fmla="*/ 3744913 h 3744913"/>
              <a:gd name="connsiteX12" fmla="*/ 0 w 2655340"/>
              <a:gd name="connsiteY12" fmla="*/ 3744913 h 3744913"/>
              <a:gd name="connsiteX13" fmla="*/ 0 w 2655340"/>
              <a:gd name="connsiteY13" fmla="*/ 1560380 h 3744913"/>
              <a:gd name="connsiteX14" fmla="*/ 0 w 2655340"/>
              <a:gd name="connsiteY14" fmla="*/ 624152 h 3744913"/>
              <a:gd name="connsiteX15" fmla="*/ 0 w 2655340"/>
              <a:gd name="connsiteY15" fmla="*/ 624152 h 3744913"/>
              <a:gd name="connsiteX16" fmla="*/ 0 w 2655340"/>
              <a:gd name="connsiteY16" fmla="*/ 0 h 3744913"/>
              <a:gd name="connsiteX0" fmla="*/ 0 w 2655340"/>
              <a:gd name="connsiteY0" fmla="*/ 0 h 3744913"/>
              <a:gd name="connsiteX1" fmla="*/ 1470204 w 2655340"/>
              <a:gd name="connsiteY1" fmla="*/ 0 h 3744913"/>
              <a:gd name="connsiteX2" fmla="*/ 1470204 w 2655340"/>
              <a:gd name="connsiteY2" fmla="*/ 0 h 3744913"/>
              <a:gd name="connsiteX3" fmla="*/ 2100292 w 2655340"/>
              <a:gd name="connsiteY3" fmla="*/ 0 h 3744913"/>
              <a:gd name="connsiteX4" fmla="*/ 2520350 w 2655340"/>
              <a:gd name="connsiteY4" fmla="*/ 0 h 3744913"/>
              <a:gd name="connsiteX5" fmla="*/ 2511923 w 2655340"/>
              <a:gd name="connsiteY5" fmla="*/ 1715533 h 3744913"/>
              <a:gd name="connsiteX6" fmla="*/ 2655340 w 2655340"/>
              <a:gd name="connsiteY6" fmla="*/ 1070820 h 3744913"/>
              <a:gd name="connsiteX7" fmla="*/ 2520350 w 2655340"/>
              <a:gd name="connsiteY7" fmla="*/ 2007046 h 3744913"/>
              <a:gd name="connsiteX8" fmla="*/ 2520350 w 2655340"/>
              <a:gd name="connsiteY8" fmla="*/ 3744913 h 3744913"/>
              <a:gd name="connsiteX9" fmla="*/ 2100292 w 2655340"/>
              <a:gd name="connsiteY9" fmla="*/ 3744913 h 3744913"/>
              <a:gd name="connsiteX10" fmla="*/ 1470204 w 2655340"/>
              <a:gd name="connsiteY10" fmla="*/ 3744913 h 3744913"/>
              <a:gd name="connsiteX11" fmla="*/ 1470204 w 2655340"/>
              <a:gd name="connsiteY11" fmla="*/ 3744913 h 3744913"/>
              <a:gd name="connsiteX12" fmla="*/ 0 w 2655340"/>
              <a:gd name="connsiteY12" fmla="*/ 3744913 h 3744913"/>
              <a:gd name="connsiteX13" fmla="*/ 0 w 2655340"/>
              <a:gd name="connsiteY13" fmla="*/ 1560380 h 3744913"/>
              <a:gd name="connsiteX14" fmla="*/ 0 w 2655340"/>
              <a:gd name="connsiteY14" fmla="*/ 624152 h 3744913"/>
              <a:gd name="connsiteX15" fmla="*/ 0 w 2655340"/>
              <a:gd name="connsiteY15" fmla="*/ 624152 h 3744913"/>
              <a:gd name="connsiteX16" fmla="*/ 0 w 2655340"/>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5533 h 3744913"/>
              <a:gd name="connsiteX6" fmla="*/ 2663767 w 2663767"/>
              <a:gd name="connsiteY6" fmla="*/ 1867233 h 3744913"/>
              <a:gd name="connsiteX7" fmla="*/ 2520350 w 2663767"/>
              <a:gd name="connsiteY7" fmla="*/ 2007046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9747 h 3744913"/>
              <a:gd name="connsiteX6" fmla="*/ 2663767 w 2663767"/>
              <a:gd name="connsiteY6" fmla="*/ 1867233 h 3744913"/>
              <a:gd name="connsiteX7" fmla="*/ 2520350 w 2663767"/>
              <a:gd name="connsiteY7" fmla="*/ 2007046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9747 h 3744913"/>
              <a:gd name="connsiteX6" fmla="*/ 2663767 w 2663767"/>
              <a:gd name="connsiteY6" fmla="*/ 1867233 h 3744913"/>
              <a:gd name="connsiteX7" fmla="*/ 2520350 w 2663767"/>
              <a:gd name="connsiteY7" fmla="*/ 2016440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5054 w 2663767"/>
              <a:gd name="connsiteY5" fmla="*/ 1722879 h 3744913"/>
              <a:gd name="connsiteX6" fmla="*/ 2663767 w 2663767"/>
              <a:gd name="connsiteY6" fmla="*/ 1867233 h 3744913"/>
              <a:gd name="connsiteX7" fmla="*/ 2520350 w 2663767"/>
              <a:gd name="connsiteY7" fmla="*/ 2016440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63767" h="3744913">
                <a:moveTo>
                  <a:pt x="0" y="0"/>
                </a:moveTo>
                <a:lnTo>
                  <a:pt x="1470204" y="0"/>
                </a:lnTo>
                <a:lnTo>
                  <a:pt x="1470204" y="0"/>
                </a:lnTo>
                <a:lnTo>
                  <a:pt x="2100292" y="0"/>
                </a:lnTo>
                <a:lnTo>
                  <a:pt x="2520350" y="0"/>
                </a:lnTo>
                <a:cubicBezTo>
                  <a:pt x="2518585" y="574293"/>
                  <a:pt x="2516819" y="1148586"/>
                  <a:pt x="2515054" y="1722879"/>
                </a:cubicBezTo>
                <a:lnTo>
                  <a:pt x="2663767" y="1867233"/>
                </a:lnTo>
                <a:lnTo>
                  <a:pt x="2520350" y="2016440"/>
                </a:lnTo>
                <a:lnTo>
                  <a:pt x="2520350" y="3744913"/>
                </a:lnTo>
                <a:lnTo>
                  <a:pt x="2100292" y="3744913"/>
                </a:lnTo>
                <a:lnTo>
                  <a:pt x="1470204" y="3744913"/>
                </a:lnTo>
                <a:lnTo>
                  <a:pt x="1470204" y="3744913"/>
                </a:lnTo>
                <a:lnTo>
                  <a:pt x="0" y="3744913"/>
                </a:lnTo>
                <a:lnTo>
                  <a:pt x="0" y="1560380"/>
                </a:lnTo>
                <a:lnTo>
                  <a:pt x="0" y="624152"/>
                </a:lnTo>
                <a:lnTo>
                  <a:pt x="0" y="624152"/>
                </a:lnTo>
                <a:lnTo>
                  <a:pt x="0" y="0"/>
                </a:lnTo>
                <a:close/>
              </a:path>
            </a:pathLst>
          </a:custGeom>
          <a:solidFill>
            <a:schemeClr val="accent2"/>
          </a:solidFill>
        </p:spPr>
        <p:txBody>
          <a:bodyPr lIns="144000" tIns="108000" rIns="288000" bIns="108000"/>
          <a:lstStyle>
            <a:lvl1pPr marL="0" indent="0">
              <a:buNone/>
              <a:defRPr sz="1350" b="1">
                <a:solidFill>
                  <a:schemeClr val="bg1"/>
                </a:solidFill>
              </a:defRPr>
            </a:lvl1pPr>
            <a:lvl2pPr marL="0" indent="0">
              <a:buFontTx/>
              <a:buNone/>
              <a:defRPr>
                <a:solidFill>
                  <a:schemeClr val="bg1"/>
                </a:solidFill>
              </a:defRPr>
            </a:lvl2pPr>
            <a:lvl3pPr marL="136886" indent="-136886">
              <a:defRPr sz="1350">
                <a:solidFill>
                  <a:schemeClr val="bg1"/>
                </a:solidFill>
              </a:defRPr>
            </a:lvl3pPr>
            <a:lvl4pPr marL="267820" indent="-130934">
              <a:buFont typeface="Arial" panose="020B0604020202020204" pitchFamily="34" charset="0"/>
              <a:buChar char="•"/>
              <a:defRPr sz="1200">
                <a:solidFill>
                  <a:schemeClr val="bg1"/>
                </a:solidFill>
              </a:defRPr>
            </a:lvl4pPr>
            <a:lvl5pPr marL="404705" indent="-136886">
              <a:defRPr>
                <a:solidFill>
                  <a:schemeClr val="bg1"/>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18" name="Text Placeholder 11"/>
          <p:cNvSpPr>
            <a:spLocks noGrp="1"/>
          </p:cNvSpPr>
          <p:nvPr>
            <p:ph type="body" sz="quarter" idx="15" hasCustomPrompt="1"/>
          </p:nvPr>
        </p:nvSpPr>
        <p:spPr>
          <a:xfrm>
            <a:off x="4625993" y="1545432"/>
            <a:ext cx="1997305" cy="2808685"/>
          </a:xfrm>
          <a:custGeom>
            <a:avLst/>
            <a:gdLst>
              <a:gd name="connsiteX0" fmla="*/ 0 w 2520350"/>
              <a:gd name="connsiteY0" fmla="*/ 0 h 3744913"/>
              <a:gd name="connsiteX1" fmla="*/ 1470204 w 2520350"/>
              <a:gd name="connsiteY1" fmla="*/ 0 h 3744913"/>
              <a:gd name="connsiteX2" fmla="*/ 1470204 w 2520350"/>
              <a:gd name="connsiteY2" fmla="*/ 0 h 3744913"/>
              <a:gd name="connsiteX3" fmla="*/ 2100292 w 2520350"/>
              <a:gd name="connsiteY3" fmla="*/ 0 h 3744913"/>
              <a:gd name="connsiteX4" fmla="*/ 2520350 w 2520350"/>
              <a:gd name="connsiteY4" fmla="*/ 0 h 3744913"/>
              <a:gd name="connsiteX5" fmla="*/ 2520350 w 2520350"/>
              <a:gd name="connsiteY5" fmla="*/ 624152 h 3744913"/>
              <a:gd name="connsiteX6" fmla="*/ 2655340 w 2520350"/>
              <a:gd name="connsiteY6" fmla="*/ 1070820 h 3744913"/>
              <a:gd name="connsiteX7" fmla="*/ 2520350 w 2520350"/>
              <a:gd name="connsiteY7" fmla="*/ 1560380 h 3744913"/>
              <a:gd name="connsiteX8" fmla="*/ 2520350 w 2520350"/>
              <a:gd name="connsiteY8" fmla="*/ 3744913 h 3744913"/>
              <a:gd name="connsiteX9" fmla="*/ 2100292 w 2520350"/>
              <a:gd name="connsiteY9" fmla="*/ 3744913 h 3744913"/>
              <a:gd name="connsiteX10" fmla="*/ 1470204 w 2520350"/>
              <a:gd name="connsiteY10" fmla="*/ 3744913 h 3744913"/>
              <a:gd name="connsiteX11" fmla="*/ 1470204 w 2520350"/>
              <a:gd name="connsiteY11" fmla="*/ 3744913 h 3744913"/>
              <a:gd name="connsiteX12" fmla="*/ 0 w 2520350"/>
              <a:gd name="connsiteY12" fmla="*/ 3744913 h 3744913"/>
              <a:gd name="connsiteX13" fmla="*/ 0 w 2520350"/>
              <a:gd name="connsiteY13" fmla="*/ 1560380 h 3744913"/>
              <a:gd name="connsiteX14" fmla="*/ 0 w 2520350"/>
              <a:gd name="connsiteY14" fmla="*/ 624152 h 3744913"/>
              <a:gd name="connsiteX15" fmla="*/ 0 w 2520350"/>
              <a:gd name="connsiteY15" fmla="*/ 624152 h 3744913"/>
              <a:gd name="connsiteX16" fmla="*/ 0 w 2520350"/>
              <a:gd name="connsiteY16" fmla="*/ 0 h 3744913"/>
              <a:gd name="connsiteX0" fmla="*/ 0 w 2655340"/>
              <a:gd name="connsiteY0" fmla="*/ 0 h 3744913"/>
              <a:gd name="connsiteX1" fmla="*/ 1470204 w 2655340"/>
              <a:gd name="connsiteY1" fmla="*/ 0 h 3744913"/>
              <a:gd name="connsiteX2" fmla="*/ 1470204 w 2655340"/>
              <a:gd name="connsiteY2" fmla="*/ 0 h 3744913"/>
              <a:gd name="connsiteX3" fmla="*/ 2100292 w 2655340"/>
              <a:gd name="connsiteY3" fmla="*/ 0 h 3744913"/>
              <a:gd name="connsiteX4" fmla="*/ 2520350 w 2655340"/>
              <a:gd name="connsiteY4" fmla="*/ 0 h 3744913"/>
              <a:gd name="connsiteX5" fmla="*/ 2520350 w 2655340"/>
              <a:gd name="connsiteY5" fmla="*/ 624152 h 3744913"/>
              <a:gd name="connsiteX6" fmla="*/ 2655340 w 2655340"/>
              <a:gd name="connsiteY6" fmla="*/ 1070820 h 3744913"/>
              <a:gd name="connsiteX7" fmla="*/ 2520350 w 2655340"/>
              <a:gd name="connsiteY7" fmla="*/ 2007046 h 3744913"/>
              <a:gd name="connsiteX8" fmla="*/ 2520350 w 2655340"/>
              <a:gd name="connsiteY8" fmla="*/ 3744913 h 3744913"/>
              <a:gd name="connsiteX9" fmla="*/ 2100292 w 2655340"/>
              <a:gd name="connsiteY9" fmla="*/ 3744913 h 3744913"/>
              <a:gd name="connsiteX10" fmla="*/ 1470204 w 2655340"/>
              <a:gd name="connsiteY10" fmla="*/ 3744913 h 3744913"/>
              <a:gd name="connsiteX11" fmla="*/ 1470204 w 2655340"/>
              <a:gd name="connsiteY11" fmla="*/ 3744913 h 3744913"/>
              <a:gd name="connsiteX12" fmla="*/ 0 w 2655340"/>
              <a:gd name="connsiteY12" fmla="*/ 3744913 h 3744913"/>
              <a:gd name="connsiteX13" fmla="*/ 0 w 2655340"/>
              <a:gd name="connsiteY13" fmla="*/ 1560380 h 3744913"/>
              <a:gd name="connsiteX14" fmla="*/ 0 w 2655340"/>
              <a:gd name="connsiteY14" fmla="*/ 624152 h 3744913"/>
              <a:gd name="connsiteX15" fmla="*/ 0 w 2655340"/>
              <a:gd name="connsiteY15" fmla="*/ 624152 h 3744913"/>
              <a:gd name="connsiteX16" fmla="*/ 0 w 2655340"/>
              <a:gd name="connsiteY16" fmla="*/ 0 h 3744913"/>
              <a:gd name="connsiteX0" fmla="*/ 0 w 2655340"/>
              <a:gd name="connsiteY0" fmla="*/ 0 h 3744913"/>
              <a:gd name="connsiteX1" fmla="*/ 1470204 w 2655340"/>
              <a:gd name="connsiteY1" fmla="*/ 0 h 3744913"/>
              <a:gd name="connsiteX2" fmla="*/ 1470204 w 2655340"/>
              <a:gd name="connsiteY2" fmla="*/ 0 h 3744913"/>
              <a:gd name="connsiteX3" fmla="*/ 2100292 w 2655340"/>
              <a:gd name="connsiteY3" fmla="*/ 0 h 3744913"/>
              <a:gd name="connsiteX4" fmla="*/ 2520350 w 2655340"/>
              <a:gd name="connsiteY4" fmla="*/ 0 h 3744913"/>
              <a:gd name="connsiteX5" fmla="*/ 2511923 w 2655340"/>
              <a:gd name="connsiteY5" fmla="*/ 1715533 h 3744913"/>
              <a:gd name="connsiteX6" fmla="*/ 2655340 w 2655340"/>
              <a:gd name="connsiteY6" fmla="*/ 1070820 h 3744913"/>
              <a:gd name="connsiteX7" fmla="*/ 2520350 w 2655340"/>
              <a:gd name="connsiteY7" fmla="*/ 2007046 h 3744913"/>
              <a:gd name="connsiteX8" fmla="*/ 2520350 w 2655340"/>
              <a:gd name="connsiteY8" fmla="*/ 3744913 h 3744913"/>
              <a:gd name="connsiteX9" fmla="*/ 2100292 w 2655340"/>
              <a:gd name="connsiteY9" fmla="*/ 3744913 h 3744913"/>
              <a:gd name="connsiteX10" fmla="*/ 1470204 w 2655340"/>
              <a:gd name="connsiteY10" fmla="*/ 3744913 h 3744913"/>
              <a:gd name="connsiteX11" fmla="*/ 1470204 w 2655340"/>
              <a:gd name="connsiteY11" fmla="*/ 3744913 h 3744913"/>
              <a:gd name="connsiteX12" fmla="*/ 0 w 2655340"/>
              <a:gd name="connsiteY12" fmla="*/ 3744913 h 3744913"/>
              <a:gd name="connsiteX13" fmla="*/ 0 w 2655340"/>
              <a:gd name="connsiteY13" fmla="*/ 1560380 h 3744913"/>
              <a:gd name="connsiteX14" fmla="*/ 0 w 2655340"/>
              <a:gd name="connsiteY14" fmla="*/ 624152 h 3744913"/>
              <a:gd name="connsiteX15" fmla="*/ 0 w 2655340"/>
              <a:gd name="connsiteY15" fmla="*/ 624152 h 3744913"/>
              <a:gd name="connsiteX16" fmla="*/ 0 w 2655340"/>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5533 h 3744913"/>
              <a:gd name="connsiteX6" fmla="*/ 2663767 w 2663767"/>
              <a:gd name="connsiteY6" fmla="*/ 1867233 h 3744913"/>
              <a:gd name="connsiteX7" fmla="*/ 2520350 w 2663767"/>
              <a:gd name="connsiteY7" fmla="*/ 2007046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9747 h 3744913"/>
              <a:gd name="connsiteX6" fmla="*/ 2663767 w 2663767"/>
              <a:gd name="connsiteY6" fmla="*/ 1867233 h 3744913"/>
              <a:gd name="connsiteX7" fmla="*/ 2520350 w 2663767"/>
              <a:gd name="connsiteY7" fmla="*/ 2007046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9747 h 3744913"/>
              <a:gd name="connsiteX6" fmla="*/ 2663767 w 2663767"/>
              <a:gd name="connsiteY6" fmla="*/ 1867233 h 3744913"/>
              <a:gd name="connsiteX7" fmla="*/ 2520350 w 2663767"/>
              <a:gd name="connsiteY7" fmla="*/ 2016440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5054 w 2663767"/>
              <a:gd name="connsiteY5" fmla="*/ 1722879 h 3744913"/>
              <a:gd name="connsiteX6" fmla="*/ 2663767 w 2663767"/>
              <a:gd name="connsiteY6" fmla="*/ 1867233 h 3744913"/>
              <a:gd name="connsiteX7" fmla="*/ 2520350 w 2663767"/>
              <a:gd name="connsiteY7" fmla="*/ 2016440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63767" h="3744913">
                <a:moveTo>
                  <a:pt x="0" y="0"/>
                </a:moveTo>
                <a:lnTo>
                  <a:pt x="1470204" y="0"/>
                </a:lnTo>
                <a:lnTo>
                  <a:pt x="1470204" y="0"/>
                </a:lnTo>
                <a:lnTo>
                  <a:pt x="2100292" y="0"/>
                </a:lnTo>
                <a:lnTo>
                  <a:pt x="2520350" y="0"/>
                </a:lnTo>
                <a:cubicBezTo>
                  <a:pt x="2518585" y="574293"/>
                  <a:pt x="2516819" y="1148586"/>
                  <a:pt x="2515054" y="1722879"/>
                </a:cubicBezTo>
                <a:lnTo>
                  <a:pt x="2663767" y="1867233"/>
                </a:lnTo>
                <a:lnTo>
                  <a:pt x="2520350" y="2016440"/>
                </a:lnTo>
                <a:lnTo>
                  <a:pt x="2520350" y="3744913"/>
                </a:lnTo>
                <a:lnTo>
                  <a:pt x="2100292" y="3744913"/>
                </a:lnTo>
                <a:lnTo>
                  <a:pt x="1470204" y="3744913"/>
                </a:lnTo>
                <a:lnTo>
                  <a:pt x="1470204" y="3744913"/>
                </a:lnTo>
                <a:lnTo>
                  <a:pt x="0" y="3744913"/>
                </a:lnTo>
                <a:lnTo>
                  <a:pt x="0" y="1560380"/>
                </a:lnTo>
                <a:lnTo>
                  <a:pt x="0" y="624152"/>
                </a:lnTo>
                <a:lnTo>
                  <a:pt x="0" y="624152"/>
                </a:lnTo>
                <a:lnTo>
                  <a:pt x="0" y="0"/>
                </a:lnTo>
                <a:close/>
              </a:path>
            </a:pathLst>
          </a:custGeom>
          <a:solidFill>
            <a:schemeClr val="accent2"/>
          </a:solidFill>
        </p:spPr>
        <p:txBody>
          <a:bodyPr lIns="144000" tIns="108000" rIns="288000" bIns="108000"/>
          <a:lstStyle>
            <a:lvl1pPr marL="0" indent="0">
              <a:buNone/>
              <a:defRPr sz="1350" b="1">
                <a:solidFill>
                  <a:schemeClr val="bg1"/>
                </a:solidFill>
              </a:defRPr>
            </a:lvl1pPr>
            <a:lvl2pPr marL="0" indent="0">
              <a:buFontTx/>
              <a:buNone/>
              <a:defRPr>
                <a:solidFill>
                  <a:schemeClr val="bg1"/>
                </a:solidFill>
              </a:defRPr>
            </a:lvl2pPr>
            <a:lvl3pPr marL="136886" indent="-136886">
              <a:defRPr sz="1350">
                <a:solidFill>
                  <a:schemeClr val="bg1"/>
                </a:solidFill>
              </a:defRPr>
            </a:lvl3pPr>
            <a:lvl4pPr marL="267820" indent="-130934">
              <a:buFont typeface="Arial" panose="020B0604020202020204" pitchFamily="34" charset="0"/>
              <a:buChar char="•"/>
              <a:defRPr sz="1200">
                <a:solidFill>
                  <a:schemeClr val="bg1"/>
                </a:solidFill>
              </a:defRPr>
            </a:lvl4pPr>
            <a:lvl5pPr marL="404705" indent="-136886">
              <a:defRPr>
                <a:solidFill>
                  <a:schemeClr val="bg1"/>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19" name="Text Placeholder 11"/>
          <p:cNvSpPr>
            <a:spLocks noGrp="1"/>
          </p:cNvSpPr>
          <p:nvPr>
            <p:ph type="body" sz="quarter" idx="16" hasCustomPrompt="1"/>
          </p:nvPr>
        </p:nvSpPr>
        <p:spPr>
          <a:xfrm>
            <a:off x="6678196" y="1545432"/>
            <a:ext cx="1997305" cy="2808685"/>
          </a:xfrm>
          <a:custGeom>
            <a:avLst/>
            <a:gdLst>
              <a:gd name="connsiteX0" fmla="*/ 0 w 2520350"/>
              <a:gd name="connsiteY0" fmla="*/ 0 h 3744913"/>
              <a:gd name="connsiteX1" fmla="*/ 1470204 w 2520350"/>
              <a:gd name="connsiteY1" fmla="*/ 0 h 3744913"/>
              <a:gd name="connsiteX2" fmla="*/ 1470204 w 2520350"/>
              <a:gd name="connsiteY2" fmla="*/ 0 h 3744913"/>
              <a:gd name="connsiteX3" fmla="*/ 2100292 w 2520350"/>
              <a:gd name="connsiteY3" fmla="*/ 0 h 3744913"/>
              <a:gd name="connsiteX4" fmla="*/ 2520350 w 2520350"/>
              <a:gd name="connsiteY4" fmla="*/ 0 h 3744913"/>
              <a:gd name="connsiteX5" fmla="*/ 2520350 w 2520350"/>
              <a:gd name="connsiteY5" fmla="*/ 624152 h 3744913"/>
              <a:gd name="connsiteX6" fmla="*/ 2655340 w 2520350"/>
              <a:gd name="connsiteY6" fmla="*/ 1070820 h 3744913"/>
              <a:gd name="connsiteX7" fmla="*/ 2520350 w 2520350"/>
              <a:gd name="connsiteY7" fmla="*/ 1560380 h 3744913"/>
              <a:gd name="connsiteX8" fmla="*/ 2520350 w 2520350"/>
              <a:gd name="connsiteY8" fmla="*/ 3744913 h 3744913"/>
              <a:gd name="connsiteX9" fmla="*/ 2100292 w 2520350"/>
              <a:gd name="connsiteY9" fmla="*/ 3744913 h 3744913"/>
              <a:gd name="connsiteX10" fmla="*/ 1470204 w 2520350"/>
              <a:gd name="connsiteY10" fmla="*/ 3744913 h 3744913"/>
              <a:gd name="connsiteX11" fmla="*/ 1470204 w 2520350"/>
              <a:gd name="connsiteY11" fmla="*/ 3744913 h 3744913"/>
              <a:gd name="connsiteX12" fmla="*/ 0 w 2520350"/>
              <a:gd name="connsiteY12" fmla="*/ 3744913 h 3744913"/>
              <a:gd name="connsiteX13" fmla="*/ 0 w 2520350"/>
              <a:gd name="connsiteY13" fmla="*/ 1560380 h 3744913"/>
              <a:gd name="connsiteX14" fmla="*/ 0 w 2520350"/>
              <a:gd name="connsiteY14" fmla="*/ 624152 h 3744913"/>
              <a:gd name="connsiteX15" fmla="*/ 0 w 2520350"/>
              <a:gd name="connsiteY15" fmla="*/ 624152 h 3744913"/>
              <a:gd name="connsiteX16" fmla="*/ 0 w 2520350"/>
              <a:gd name="connsiteY16" fmla="*/ 0 h 3744913"/>
              <a:gd name="connsiteX0" fmla="*/ 0 w 2655340"/>
              <a:gd name="connsiteY0" fmla="*/ 0 h 3744913"/>
              <a:gd name="connsiteX1" fmla="*/ 1470204 w 2655340"/>
              <a:gd name="connsiteY1" fmla="*/ 0 h 3744913"/>
              <a:gd name="connsiteX2" fmla="*/ 1470204 w 2655340"/>
              <a:gd name="connsiteY2" fmla="*/ 0 h 3744913"/>
              <a:gd name="connsiteX3" fmla="*/ 2100292 w 2655340"/>
              <a:gd name="connsiteY3" fmla="*/ 0 h 3744913"/>
              <a:gd name="connsiteX4" fmla="*/ 2520350 w 2655340"/>
              <a:gd name="connsiteY4" fmla="*/ 0 h 3744913"/>
              <a:gd name="connsiteX5" fmla="*/ 2520350 w 2655340"/>
              <a:gd name="connsiteY5" fmla="*/ 624152 h 3744913"/>
              <a:gd name="connsiteX6" fmla="*/ 2655340 w 2655340"/>
              <a:gd name="connsiteY6" fmla="*/ 1070820 h 3744913"/>
              <a:gd name="connsiteX7" fmla="*/ 2520350 w 2655340"/>
              <a:gd name="connsiteY7" fmla="*/ 2007046 h 3744913"/>
              <a:gd name="connsiteX8" fmla="*/ 2520350 w 2655340"/>
              <a:gd name="connsiteY8" fmla="*/ 3744913 h 3744913"/>
              <a:gd name="connsiteX9" fmla="*/ 2100292 w 2655340"/>
              <a:gd name="connsiteY9" fmla="*/ 3744913 h 3744913"/>
              <a:gd name="connsiteX10" fmla="*/ 1470204 w 2655340"/>
              <a:gd name="connsiteY10" fmla="*/ 3744913 h 3744913"/>
              <a:gd name="connsiteX11" fmla="*/ 1470204 w 2655340"/>
              <a:gd name="connsiteY11" fmla="*/ 3744913 h 3744913"/>
              <a:gd name="connsiteX12" fmla="*/ 0 w 2655340"/>
              <a:gd name="connsiteY12" fmla="*/ 3744913 h 3744913"/>
              <a:gd name="connsiteX13" fmla="*/ 0 w 2655340"/>
              <a:gd name="connsiteY13" fmla="*/ 1560380 h 3744913"/>
              <a:gd name="connsiteX14" fmla="*/ 0 w 2655340"/>
              <a:gd name="connsiteY14" fmla="*/ 624152 h 3744913"/>
              <a:gd name="connsiteX15" fmla="*/ 0 w 2655340"/>
              <a:gd name="connsiteY15" fmla="*/ 624152 h 3744913"/>
              <a:gd name="connsiteX16" fmla="*/ 0 w 2655340"/>
              <a:gd name="connsiteY16" fmla="*/ 0 h 3744913"/>
              <a:gd name="connsiteX0" fmla="*/ 0 w 2655340"/>
              <a:gd name="connsiteY0" fmla="*/ 0 h 3744913"/>
              <a:gd name="connsiteX1" fmla="*/ 1470204 w 2655340"/>
              <a:gd name="connsiteY1" fmla="*/ 0 h 3744913"/>
              <a:gd name="connsiteX2" fmla="*/ 1470204 w 2655340"/>
              <a:gd name="connsiteY2" fmla="*/ 0 h 3744913"/>
              <a:gd name="connsiteX3" fmla="*/ 2100292 w 2655340"/>
              <a:gd name="connsiteY3" fmla="*/ 0 h 3744913"/>
              <a:gd name="connsiteX4" fmla="*/ 2520350 w 2655340"/>
              <a:gd name="connsiteY4" fmla="*/ 0 h 3744913"/>
              <a:gd name="connsiteX5" fmla="*/ 2511923 w 2655340"/>
              <a:gd name="connsiteY5" fmla="*/ 1715533 h 3744913"/>
              <a:gd name="connsiteX6" fmla="*/ 2655340 w 2655340"/>
              <a:gd name="connsiteY6" fmla="*/ 1070820 h 3744913"/>
              <a:gd name="connsiteX7" fmla="*/ 2520350 w 2655340"/>
              <a:gd name="connsiteY7" fmla="*/ 2007046 h 3744913"/>
              <a:gd name="connsiteX8" fmla="*/ 2520350 w 2655340"/>
              <a:gd name="connsiteY8" fmla="*/ 3744913 h 3744913"/>
              <a:gd name="connsiteX9" fmla="*/ 2100292 w 2655340"/>
              <a:gd name="connsiteY9" fmla="*/ 3744913 h 3744913"/>
              <a:gd name="connsiteX10" fmla="*/ 1470204 w 2655340"/>
              <a:gd name="connsiteY10" fmla="*/ 3744913 h 3744913"/>
              <a:gd name="connsiteX11" fmla="*/ 1470204 w 2655340"/>
              <a:gd name="connsiteY11" fmla="*/ 3744913 h 3744913"/>
              <a:gd name="connsiteX12" fmla="*/ 0 w 2655340"/>
              <a:gd name="connsiteY12" fmla="*/ 3744913 h 3744913"/>
              <a:gd name="connsiteX13" fmla="*/ 0 w 2655340"/>
              <a:gd name="connsiteY13" fmla="*/ 1560380 h 3744913"/>
              <a:gd name="connsiteX14" fmla="*/ 0 w 2655340"/>
              <a:gd name="connsiteY14" fmla="*/ 624152 h 3744913"/>
              <a:gd name="connsiteX15" fmla="*/ 0 w 2655340"/>
              <a:gd name="connsiteY15" fmla="*/ 624152 h 3744913"/>
              <a:gd name="connsiteX16" fmla="*/ 0 w 2655340"/>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5533 h 3744913"/>
              <a:gd name="connsiteX6" fmla="*/ 2663767 w 2663767"/>
              <a:gd name="connsiteY6" fmla="*/ 1867233 h 3744913"/>
              <a:gd name="connsiteX7" fmla="*/ 2520350 w 2663767"/>
              <a:gd name="connsiteY7" fmla="*/ 2007046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9747 h 3744913"/>
              <a:gd name="connsiteX6" fmla="*/ 2663767 w 2663767"/>
              <a:gd name="connsiteY6" fmla="*/ 1867233 h 3744913"/>
              <a:gd name="connsiteX7" fmla="*/ 2520350 w 2663767"/>
              <a:gd name="connsiteY7" fmla="*/ 2007046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9747 h 3744913"/>
              <a:gd name="connsiteX6" fmla="*/ 2663767 w 2663767"/>
              <a:gd name="connsiteY6" fmla="*/ 1867233 h 3744913"/>
              <a:gd name="connsiteX7" fmla="*/ 2520350 w 2663767"/>
              <a:gd name="connsiteY7" fmla="*/ 2016440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5054 w 2663767"/>
              <a:gd name="connsiteY5" fmla="*/ 1722879 h 3744913"/>
              <a:gd name="connsiteX6" fmla="*/ 2663767 w 2663767"/>
              <a:gd name="connsiteY6" fmla="*/ 1867233 h 3744913"/>
              <a:gd name="connsiteX7" fmla="*/ 2520350 w 2663767"/>
              <a:gd name="connsiteY7" fmla="*/ 2016440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63767" h="3744913">
                <a:moveTo>
                  <a:pt x="0" y="0"/>
                </a:moveTo>
                <a:lnTo>
                  <a:pt x="1470204" y="0"/>
                </a:lnTo>
                <a:lnTo>
                  <a:pt x="1470204" y="0"/>
                </a:lnTo>
                <a:lnTo>
                  <a:pt x="2100292" y="0"/>
                </a:lnTo>
                <a:lnTo>
                  <a:pt x="2520350" y="0"/>
                </a:lnTo>
                <a:cubicBezTo>
                  <a:pt x="2518585" y="574293"/>
                  <a:pt x="2516819" y="1148586"/>
                  <a:pt x="2515054" y="1722879"/>
                </a:cubicBezTo>
                <a:lnTo>
                  <a:pt x="2663767" y="1867233"/>
                </a:lnTo>
                <a:lnTo>
                  <a:pt x="2520350" y="2016440"/>
                </a:lnTo>
                <a:lnTo>
                  <a:pt x="2520350" y="3744913"/>
                </a:lnTo>
                <a:lnTo>
                  <a:pt x="2100292" y="3744913"/>
                </a:lnTo>
                <a:lnTo>
                  <a:pt x="1470204" y="3744913"/>
                </a:lnTo>
                <a:lnTo>
                  <a:pt x="1470204" y="3744913"/>
                </a:lnTo>
                <a:lnTo>
                  <a:pt x="0" y="3744913"/>
                </a:lnTo>
                <a:lnTo>
                  <a:pt x="0" y="1560380"/>
                </a:lnTo>
                <a:lnTo>
                  <a:pt x="0" y="624152"/>
                </a:lnTo>
                <a:lnTo>
                  <a:pt x="0" y="624152"/>
                </a:lnTo>
                <a:lnTo>
                  <a:pt x="0" y="0"/>
                </a:lnTo>
                <a:close/>
              </a:path>
            </a:pathLst>
          </a:custGeom>
          <a:solidFill>
            <a:schemeClr val="accent2"/>
          </a:solidFill>
        </p:spPr>
        <p:txBody>
          <a:bodyPr lIns="144000" tIns="108000" rIns="288000" bIns="108000"/>
          <a:lstStyle>
            <a:lvl1pPr marL="0" indent="0">
              <a:buNone/>
              <a:defRPr sz="1350" b="1">
                <a:solidFill>
                  <a:schemeClr val="bg1"/>
                </a:solidFill>
              </a:defRPr>
            </a:lvl1pPr>
            <a:lvl2pPr marL="0" indent="0">
              <a:buFontTx/>
              <a:buNone/>
              <a:defRPr>
                <a:solidFill>
                  <a:schemeClr val="bg1"/>
                </a:solidFill>
              </a:defRPr>
            </a:lvl2pPr>
            <a:lvl3pPr marL="136886" indent="-136886">
              <a:defRPr sz="1350">
                <a:solidFill>
                  <a:schemeClr val="bg1"/>
                </a:solidFill>
              </a:defRPr>
            </a:lvl3pPr>
            <a:lvl4pPr marL="267820" indent="-130934">
              <a:buFont typeface="Arial" panose="020B0604020202020204" pitchFamily="34" charset="0"/>
              <a:buChar char="•"/>
              <a:defRPr sz="1200">
                <a:solidFill>
                  <a:schemeClr val="bg1"/>
                </a:solidFill>
              </a:defRPr>
            </a:lvl4pPr>
            <a:lvl5pPr marL="404705" indent="-136886">
              <a:defRPr>
                <a:solidFill>
                  <a:schemeClr val="bg1"/>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Tree>
    <p:extLst>
      <p:ext uri="{BB962C8B-B14F-4D97-AF65-F5344CB8AC3E}">
        <p14:creationId xmlns:p14="http://schemas.microsoft.com/office/powerpoint/2010/main" val="1948926720"/>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Map">
    <p:spTree>
      <p:nvGrpSpPr>
        <p:cNvPr id="1" name=""/>
        <p:cNvGrpSpPr/>
        <p:nvPr/>
      </p:nvGrpSpPr>
      <p:grpSpPr>
        <a:xfrm>
          <a:off x="0" y="0"/>
          <a:ext cx="0" cy="0"/>
          <a:chOff x="0" y="0"/>
          <a:chExt cx="0" cy="0"/>
        </a:xfrm>
      </p:grpSpPr>
      <p:sp>
        <p:nvSpPr>
          <p:cNvPr id="9" name="Freeform 6"/>
          <p:cNvSpPr>
            <a:spLocks noEditPoints="1"/>
          </p:cNvSpPr>
          <p:nvPr userDrawn="1"/>
        </p:nvSpPr>
        <p:spPr bwMode="auto">
          <a:xfrm>
            <a:off x="900447" y="789502"/>
            <a:ext cx="7343106" cy="3897404"/>
          </a:xfrm>
          <a:custGeom>
            <a:avLst/>
            <a:gdLst>
              <a:gd name="T0" fmla="*/ 5457 w 6532"/>
              <a:gd name="T1" fmla="*/ 2143 h 3466"/>
              <a:gd name="T2" fmla="*/ 5174 w 6532"/>
              <a:gd name="T3" fmla="*/ 2900 h 3466"/>
              <a:gd name="T4" fmla="*/ 5719 w 6532"/>
              <a:gd name="T5" fmla="*/ 3005 h 3466"/>
              <a:gd name="T6" fmla="*/ 5580 w 6532"/>
              <a:gd name="T7" fmla="*/ 2474 h 3466"/>
              <a:gd name="T8" fmla="*/ 5149 w 6532"/>
              <a:gd name="T9" fmla="*/ 2615 h 3466"/>
              <a:gd name="T10" fmla="*/ 6127 w 6532"/>
              <a:gd name="T11" fmla="*/ 3171 h 3466"/>
              <a:gd name="T12" fmla="*/ 6271 w 6532"/>
              <a:gd name="T13" fmla="*/ 3002 h 3466"/>
              <a:gd name="T14" fmla="*/ 5156 w 6532"/>
              <a:gd name="T15" fmla="*/ 2268 h 3466"/>
              <a:gd name="T16" fmla="*/ 4931 w 6532"/>
              <a:gd name="T17" fmla="*/ 2174 h 3466"/>
              <a:gd name="T18" fmla="*/ 5219 w 6532"/>
              <a:gd name="T19" fmla="*/ 1897 h 3466"/>
              <a:gd name="T20" fmla="*/ 1676 w 6532"/>
              <a:gd name="T21" fmla="*/ 1643 h 3466"/>
              <a:gd name="T22" fmla="*/ 5516 w 6532"/>
              <a:gd name="T23" fmla="*/ 1301 h 3466"/>
              <a:gd name="T24" fmla="*/ 5655 w 6532"/>
              <a:gd name="T25" fmla="*/ 839 h 3466"/>
              <a:gd name="T26" fmla="*/ 3083 w 6532"/>
              <a:gd name="T27" fmla="*/ 842 h 3466"/>
              <a:gd name="T28" fmla="*/ 2705 w 6532"/>
              <a:gd name="T29" fmla="*/ 478 h 3466"/>
              <a:gd name="T30" fmla="*/ 2383 w 6532"/>
              <a:gd name="T31" fmla="*/ 2356 h 3466"/>
              <a:gd name="T32" fmla="*/ 1925 w 6532"/>
              <a:gd name="T33" fmla="*/ 1878 h 3466"/>
              <a:gd name="T34" fmla="*/ 1375 w 6532"/>
              <a:gd name="T35" fmla="*/ 1671 h 3466"/>
              <a:gd name="T36" fmla="*/ 1593 w 6532"/>
              <a:gd name="T37" fmla="*/ 1514 h 3466"/>
              <a:gd name="T38" fmla="*/ 1838 w 6532"/>
              <a:gd name="T39" fmla="*/ 1020 h 3466"/>
              <a:gd name="T40" fmla="*/ 1936 w 6532"/>
              <a:gd name="T41" fmla="*/ 877 h 3466"/>
              <a:gd name="T42" fmla="*/ 1790 w 6532"/>
              <a:gd name="T43" fmla="*/ 562 h 3466"/>
              <a:gd name="T44" fmla="*/ 1334 w 6532"/>
              <a:gd name="T45" fmla="*/ 617 h 3466"/>
              <a:gd name="T46" fmla="*/ 1472 w 6532"/>
              <a:gd name="T47" fmla="*/ 375 h 3466"/>
              <a:gd name="T48" fmla="*/ 1166 w 6532"/>
              <a:gd name="T49" fmla="*/ 344 h 3466"/>
              <a:gd name="T50" fmla="*/ 671 w 6532"/>
              <a:gd name="T51" fmla="*/ 272 h 3466"/>
              <a:gd name="T52" fmla="*/ 107 w 6532"/>
              <a:gd name="T53" fmla="*/ 380 h 3466"/>
              <a:gd name="T54" fmla="*/ 160 w 6532"/>
              <a:gd name="T55" fmla="*/ 693 h 3466"/>
              <a:gd name="T56" fmla="*/ 467 w 6532"/>
              <a:gd name="T57" fmla="*/ 589 h 3466"/>
              <a:gd name="T58" fmla="*/ 733 w 6532"/>
              <a:gd name="T59" fmla="*/ 828 h 3466"/>
              <a:gd name="T60" fmla="*/ 1013 w 6532"/>
              <a:gd name="T61" fmla="*/ 1495 h 3466"/>
              <a:gd name="T62" fmla="*/ 1427 w 6532"/>
              <a:gd name="T63" fmla="*/ 1791 h 3466"/>
              <a:gd name="T64" fmla="*/ 1681 w 6532"/>
              <a:gd name="T65" fmla="*/ 2415 h 3466"/>
              <a:gd name="T66" fmla="*/ 1706 w 6532"/>
              <a:gd name="T67" fmla="*/ 3322 h 3466"/>
              <a:gd name="T68" fmla="*/ 1836 w 6532"/>
              <a:gd name="T69" fmla="*/ 3450 h 3466"/>
              <a:gd name="T70" fmla="*/ 1998 w 6532"/>
              <a:gd name="T71" fmla="*/ 2861 h 3466"/>
              <a:gd name="T72" fmla="*/ 3210 w 6532"/>
              <a:gd name="T73" fmla="*/ 1064 h 3466"/>
              <a:gd name="T74" fmla="*/ 3459 w 6532"/>
              <a:gd name="T75" fmla="*/ 1211 h 3466"/>
              <a:gd name="T76" fmla="*/ 3626 w 6532"/>
              <a:gd name="T77" fmla="*/ 1370 h 3466"/>
              <a:gd name="T78" fmla="*/ 2824 w 6532"/>
              <a:gd name="T79" fmla="*/ 1477 h 3466"/>
              <a:gd name="T80" fmla="*/ 3231 w 6532"/>
              <a:gd name="T81" fmla="*/ 2006 h 3466"/>
              <a:gd name="T82" fmla="*/ 3617 w 6532"/>
              <a:gd name="T83" fmla="*/ 2815 h 3466"/>
              <a:gd name="T84" fmla="*/ 3937 w 6532"/>
              <a:gd name="T85" fmla="*/ 1836 h 3466"/>
              <a:gd name="T86" fmla="*/ 3941 w 6532"/>
              <a:gd name="T87" fmla="*/ 1781 h 3466"/>
              <a:gd name="T88" fmla="*/ 4194 w 6532"/>
              <a:gd name="T89" fmla="*/ 1523 h 3466"/>
              <a:gd name="T90" fmla="*/ 4700 w 6532"/>
              <a:gd name="T91" fmla="*/ 1613 h 3466"/>
              <a:gd name="T92" fmla="*/ 4982 w 6532"/>
              <a:gd name="T93" fmla="*/ 1900 h 3466"/>
              <a:gd name="T94" fmla="*/ 5263 w 6532"/>
              <a:gd name="T95" fmla="*/ 1326 h 3466"/>
              <a:gd name="T96" fmla="*/ 5442 w 6532"/>
              <a:gd name="T97" fmla="*/ 1098 h 3466"/>
              <a:gd name="T98" fmla="*/ 5788 w 6532"/>
              <a:gd name="T99" fmla="*/ 631 h 3466"/>
              <a:gd name="T100" fmla="*/ 5959 w 6532"/>
              <a:gd name="T101" fmla="*/ 847 h 3466"/>
              <a:gd name="T102" fmla="*/ 6395 w 6532"/>
              <a:gd name="T103" fmla="*/ 431 h 3466"/>
              <a:gd name="T104" fmla="*/ 5970 w 6532"/>
              <a:gd name="T105" fmla="*/ 252 h 3466"/>
              <a:gd name="T106" fmla="*/ 5456 w 6532"/>
              <a:gd name="T107" fmla="*/ 251 h 3466"/>
              <a:gd name="T108" fmla="*/ 5023 w 6532"/>
              <a:gd name="T109" fmla="*/ 173 h 3466"/>
              <a:gd name="T110" fmla="*/ 4575 w 6532"/>
              <a:gd name="T111" fmla="*/ 206 h 3466"/>
              <a:gd name="T112" fmla="*/ 4436 w 6532"/>
              <a:gd name="T113" fmla="*/ 341 h 3466"/>
              <a:gd name="T114" fmla="*/ 4078 w 6532"/>
              <a:gd name="T115" fmla="*/ 343 h 3466"/>
              <a:gd name="T116" fmla="*/ 3819 w 6532"/>
              <a:gd name="T117" fmla="*/ 368 h 3466"/>
              <a:gd name="T118" fmla="*/ 3402 w 6532"/>
              <a:gd name="T119" fmla="*/ 304 h 3466"/>
              <a:gd name="T120" fmla="*/ 3175 w 6532"/>
              <a:gd name="T121" fmla="*/ 652 h 3466"/>
              <a:gd name="T122" fmla="*/ 3496 w 6532"/>
              <a:gd name="T123" fmla="*/ 577 h 3466"/>
              <a:gd name="T124" fmla="*/ 3255 w 6532"/>
              <a:gd name="T125" fmla="*/ 669 h 3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532" h="3466">
                <a:moveTo>
                  <a:pt x="5155" y="2007"/>
                </a:moveTo>
                <a:lnTo>
                  <a:pt x="5152" y="2005"/>
                </a:lnTo>
                <a:lnTo>
                  <a:pt x="5150" y="2005"/>
                </a:lnTo>
                <a:lnTo>
                  <a:pt x="5147" y="2010"/>
                </a:lnTo>
                <a:lnTo>
                  <a:pt x="5141" y="2021"/>
                </a:lnTo>
                <a:lnTo>
                  <a:pt x="5136" y="2031"/>
                </a:lnTo>
                <a:lnTo>
                  <a:pt x="5133" y="2036"/>
                </a:lnTo>
                <a:lnTo>
                  <a:pt x="5132" y="2036"/>
                </a:lnTo>
                <a:lnTo>
                  <a:pt x="5130" y="2037"/>
                </a:lnTo>
                <a:lnTo>
                  <a:pt x="5125" y="2036"/>
                </a:lnTo>
                <a:lnTo>
                  <a:pt x="5121" y="2036"/>
                </a:lnTo>
                <a:lnTo>
                  <a:pt x="5117" y="2036"/>
                </a:lnTo>
                <a:lnTo>
                  <a:pt x="5113" y="2037"/>
                </a:lnTo>
                <a:lnTo>
                  <a:pt x="5110" y="2038"/>
                </a:lnTo>
                <a:lnTo>
                  <a:pt x="5107" y="2039"/>
                </a:lnTo>
                <a:lnTo>
                  <a:pt x="5105" y="2041"/>
                </a:lnTo>
                <a:lnTo>
                  <a:pt x="5102" y="2045"/>
                </a:lnTo>
                <a:lnTo>
                  <a:pt x="5100" y="2050"/>
                </a:lnTo>
                <a:lnTo>
                  <a:pt x="5099" y="2055"/>
                </a:lnTo>
                <a:lnTo>
                  <a:pt x="5098" y="2060"/>
                </a:lnTo>
                <a:lnTo>
                  <a:pt x="5098" y="2065"/>
                </a:lnTo>
                <a:lnTo>
                  <a:pt x="5097" y="2069"/>
                </a:lnTo>
                <a:lnTo>
                  <a:pt x="5083" y="2062"/>
                </a:lnTo>
                <a:lnTo>
                  <a:pt x="5069" y="2055"/>
                </a:lnTo>
                <a:lnTo>
                  <a:pt x="5058" y="2073"/>
                </a:lnTo>
                <a:lnTo>
                  <a:pt x="5055" y="2079"/>
                </a:lnTo>
                <a:lnTo>
                  <a:pt x="5054" y="2081"/>
                </a:lnTo>
                <a:lnTo>
                  <a:pt x="5053" y="2084"/>
                </a:lnTo>
                <a:lnTo>
                  <a:pt x="5053" y="2086"/>
                </a:lnTo>
                <a:lnTo>
                  <a:pt x="5054" y="2089"/>
                </a:lnTo>
                <a:lnTo>
                  <a:pt x="5055" y="2096"/>
                </a:lnTo>
                <a:lnTo>
                  <a:pt x="5060" y="2120"/>
                </a:lnTo>
                <a:lnTo>
                  <a:pt x="5062" y="2121"/>
                </a:lnTo>
                <a:lnTo>
                  <a:pt x="5063" y="2121"/>
                </a:lnTo>
                <a:lnTo>
                  <a:pt x="5063" y="2123"/>
                </a:lnTo>
                <a:lnTo>
                  <a:pt x="5063" y="2124"/>
                </a:lnTo>
                <a:lnTo>
                  <a:pt x="5062" y="2127"/>
                </a:lnTo>
                <a:lnTo>
                  <a:pt x="5060" y="2129"/>
                </a:lnTo>
                <a:lnTo>
                  <a:pt x="5063" y="2128"/>
                </a:lnTo>
                <a:lnTo>
                  <a:pt x="5064" y="2128"/>
                </a:lnTo>
                <a:lnTo>
                  <a:pt x="5067" y="2127"/>
                </a:lnTo>
                <a:lnTo>
                  <a:pt x="5072" y="2123"/>
                </a:lnTo>
                <a:lnTo>
                  <a:pt x="5077" y="2143"/>
                </a:lnTo>
                <a:lnTo>
                  <a:pt x="5083" y="2165"/>
                </a:lnTo>
                <a:lnTo>
                  <a:pt x="5090" y="2166"/>
                </a:lnTo>
                <a:lnTo>
                  <a:pt x="5097" y="2166"/>
                </a:lnTo>
                <a:lnTo>
                  <a:pt x="5103" y="2166"/>
                </a:lnTo>
                <a:lnTo>
                  <a:pt x="5106" y="2166"/>
                </a:lnTo>
                <a:lnTo>
                  <a:pt x="5108" y="2165"/>
                </a:lnTo>
                <a:lnTo>
                  <a:pt x="5111" y="2165"/>
                </a:lnTo>
                <a:lnTo>
                  <a:pt x="5111" y="2174"/>
                </a:lnTo>
                <a:lnTo>
                  <a:pt x="5119" y="2175"/>
                </a:lnTo>
                <a:lnTo>
                  <a:pt x="5125" y="2176"/>
                </a:lnTo>
                <a:lnTo>
                  <a:pt x="5131" y="2171"/>
                </a:lnTo>
                <a:lnTo>
                  <a:pt x="5135" y="2170"/>
                </a:lnTo>
                <a:lnTo>
                  <a:pt x="5143" y="2170"/>
                </a:lnTo>
                <a:lnTo>
                  <a:pt x="5153" y="2171"/>
                </a:lnTo>
                <a:lnTo>
                  <a:pt x="5162" y="2176"/>
                </a:lnTo>
                <a:lnTo>
                  <a:pt x="5160" y="2177"/>
                </a:lnTo>
                <a:lnTo>
                  <a:pt x="5160" y="2178"/>
                </a:lnTo>
                <a:lnTo>
                  <a:pt x="5161" y="2180"/>
                </a:lnTo>
                <a:lnTo>
                  <a:pt x="5164" y="2182"/>
                </a:lnTo>
                <a:lnTo>
                  <a:pt x="5170" y="2178"/>
                </a:lnTo>
                <a:lnTo>
                  <a:pt x="5173" y="2175"/>
                </a:lnTo>
                <a:lnTo>
                  <a:pt x="5176" y="2174"/>
                </a:lnTo>
                <a:lnTo>
                  <a:pt x="5177" y="2174"/>
                </a:lnTo>
                <a:lnTo>
                  <a:pt x="5180" y="2174"/>
                </a:lnTo>
                <a:lnTo>
                  <a:pt x="5182" y="2174"/>
                </a:lnTo>
                <a:lnTo>
                  <a:pt x="5184" y="2174"/>
                </a:lnTo>
                <a:lnTo>
                  <a:pt x="5185" y="2172"/>
                </a:lnTo>
                <a:lnTo>
                  <a:pt x="5186" y="2171"/>
                </a:lnTo>
                <a:lnTo>
                  <a:pt x="5187" y="2167"/>
                </a:lnTo>
                <a:lnTo>
                  <a:pt x="5188" y="2163"/>
                </a:lnTo>
                <a:lnTo>
                  <a:pt x="5190" y="2160"/>
                </a:lnTo>
                <a:lnTo>
                  <a:pt x="5192" y="2156"/>
                </a:lnTo>
                <a:lnTo>
                  <a:pt x="5195" y="2151"/>
                </a:lnTo>
                <a:lnTo>
                  <a:pt x="5200" y="2151"/>
                </a:lnTo>
                <a:lnTo>
                  <a:pt x="5204" y="2151"/>
                </a:lnTo>
                <a:lnTo>
                  <a:pt x="5201" y="2142"/>
                </a:lnTo>
                <a:lnTo>
                  <a:pt x="5198" y="2134"/>
                </a:lnTo>
                <a:lnTo>
                  <a:pt x="5202" y="2131"/>
                </a:lnTo>
                <a:lnTo>
                  <a:pt x="5204" y="2129"/>
                </a:lnTo>
                <a:lnTo>
                  <a:pt x="5209" y="2126"/>
                </a:lnTo>
                <a:lnTo>
                  <a:pt x="5210" y="2120"/>
                </a:lnTo>
                <a:lnTo>
                  <a:pt x="5210" y="2109"/>
                </a:lnTo>
                <a:lnTo>
                  <a:pt x="5209" y="2099"/>
                </a:lnTo>
                <a:lnTo>
                  <a:pt x="5209" y="2092"/>
                </a:lnTo>
                <a:lnTo>
                  <a:pt x="5212" y="2090"/>
                </a:lnTo>
                <a:lnTo>
                  <a:pt x="5215" y="2087"/>
                </a:lnTo>
                <a:lnTo>
                  <a:pt x="5218" y="2085"/>
                </a:lnTo>
                <a:lnTo>
                  <a:pt x="5221" y="2084"/>
                </a:lnTo>
                <a:lnTo>
                  <a:pt x="5223" y="2083"/>
                </a:lnTo>
                <a:lnTo>
                  <a:pt x="5226" y="2084"/>
                </a:lnTo>
                <a:lnTo>
                  <a:pt x="5229" y="2084"/>
                </a:lnTo>
                <a:lnTo>
                  <a:pt x="5232" y="2084"/>
                </a:lnTo>
                <a:lnTo>
                  <a:pt x="5231" y="2083"/>
                </a:lnTo>
                <a:lnTo>
                  <a:pt x="5231" y="2082"/>
                </a:lnTo>
                <a:lnTo>
                  <a:pt x="5231" y="2079"/>
                </a:lnTo>
                <a:lnTo>
                  <a:pt x="5230" y="2077"/>
                </a:lnTo>
                <a:lnTo>
                  <a:pt x="5230" y="2076"/>
                </a:lnTo>
                <a:lnTo>
                  <a:pt x="5229" y="2075"/>
                </a:lnTo>
                <a:lnTo>
                  <a:pt x="5225" y="2073"/>
                </a:lnTo>
                <a:lnTo>
                  <a:pt x="5221" y="2072"/>
                </a:lnTo>
                <a:lnTo>
                  <a:pt x="5219" y="2071"/>
                </a:lnTo>
                <a:lnTo>
                  <a:pt x="5217" y="2070"/>
                </a:lnTo>
                <a:lnTo>
                  <a:pt x="5216" y="2068"/>
                </a:lnTo>
                <a:lnTo>
                  <a:pt x="5215" y="2067"/>
                </a:lnTo>
                <a:lnTo>
                  <a:pt x="5214" y="2064"/>
                </a:lnTo>
                <a:lnTo>
                  <a:pt x="5214" y="2061"/>
                </a:lnTo>
                <a:lnTo>
                  <a:pt x="5214" y="2056"/>
                </a:lnTo>
                <a:lnTo>
                  <a:pt x="5215" y="2050"/>
                </a:lnTo>
                <a:lnTo>
                  <a:pt x="5215" y="2047"/>
                </a:lnTo>
                <a:lnTo>
                  <a:pt x="5215" y="2044"/>
                </a:lnTo>
                <a:lnTo>
                  <a:pt x="5213" y="2041"/>
                </a:lnTo>
                <a:lnTo>
                  <a:pt x="5211" y="2038"/>
                </a:lnTo>
                <a:lnTo>
                  <a:pt x="5208" y="2035"/>
                </a:lnTo>
                <a:lnTo>
                  <a:pt x="5207" y="2033"/>
                </a:lnTo>
                <a:lnTo>
                  <a:pt x="5206" y="2030"/>
                </a:lnTo>
                <a:lnTo>
                  <a:pt x="5207" y="2027"/>
                </a:lnTo>
                <a:lnTo>
                  <a:pt x="5208" y="2024"/>
                </a:lnTo>
                <a:lnTo>
                  <a:pt x="5209" y="2024"/>
                </a:lnTo>
                <a:lnTo>
                  <a:pt x="5210" y="2024"/>
                </a:lnTo>
                <a:lnTo>
                  <a:pt x="5210" y="2023"/>
                </a:lnTo>
                <a:lnTo>
                  <a:pt x="5209" y="2022"/>
                </a:lnTo>
                <a:lnTo>
                  <a:pt x="5209" y="2021"/>
                </a:lnTo>
                <a:lnTo>
                  <a:pt x="5210" y="2021"/>
                </a:lnTo>
                <a:lnTo>
                  <a:pt x="5212" y="2022"/>
                </a:lnTo>
                <a:lnTo>
                  <a:pt x="5209" y="2015"/>
                </a:lnTo>
                <a:lnTo>
                  <a:pt x="5207" y="2010"/>
                </a:lnTo>
                <a:lnTo>
                  <a:pt x="5214" y="2010"/>
                </a:lnTo>
                <a:lnTo>
                  <a:pt x="5218" y="2009"/>
                </a:lnTo>
                <a:lnTo>
                  <a:pt x="5221" y="2008"/>
                </a:lnTo>
                <a:lnTo>
                  <a:pt x="5222" y="2006"/>
                </a:lnTo>
                <a:lnTo>
                  <a:pt x="5223" y="2005"/>
                </a:lnTo>
                <a:lnTo>
                  <a:pt x="5225" y="2002"/>
                </a:lnTo>
                <a:lnTo>
                  <a:pt x="5225" y="2000"/>
                </a:lnTo>
                <a:lnTo>
                  <a:pt x="5225" y="1997"/>
                </a:lnTo>
                <a:lnTo>
                  <a:pt x="5223" y="1993"/>
                </a:lnTo>
                <a:lnTo>
                  <a:pt x="5223" y="1992"/>
                </a:lnTo>
                <a:lnTo>
                  <a:pt x="5223" y="1991"/>
                </a:lnTo>
                <a:lnTo>
                  <a:pt x="5225" y="1991"/>
                </a:lnTo>
                <a:lnTo>
                  <a:pt x="5227" y="1992"/>
                </a:lnTo>
                <a:lnTo>
                  <a:pt x="5229" y="1993"/>
                </a:lnTo>
                <a:lnTo>
                  <a:pt x="5230" y="1994"/>
                </a:lnTo>
                <a:lnTo>
                  <a:pt x="5232" y="1994"/>
                </a:lnTo>
                <a:lnTo>
                  <a:pt x="5237" y="1988"/>
                </a:lnTo>
                <a:lnTo>
                  <a:pt x="5240" y="1988"/>
                </a:lnTo>
                <a:lnTo>
                  <a:pt x="5238" y="1985"/>
                </a:lnTo>
                <a:lnTo>
                  <a:pt x="5236" y="1981"/>
                </a:lnTo>
                <a:lnTo>
                  <a:pt x="5234" y="1977"/>
                </a:lnTo>
                <a:lnTo>
                  <a:pt x="5232" y="1974"/>
                </a:lnTo>
                <a:lnTo>
                  <a:pt x="5228" y="1972"/>
                </a:lnTo>
                <a:lnTo>
                  <a:pt x="5224" y="1971"/>
                </a:lnTo>
                <a:lnTo>
                  <a:pt x="5221" y="1970"/>
                </a:lnTo>
                <a:lnTo>
                  <a:pt x="5219" y="1969"/>
                </a:lnTo>
                <a:lnTo>
                  <a:pt x="5218" y="1968"/>
                </a:lnTo>
                <a:lnTo>
                  <a:pt x="5217" y="1967"/>
                </a:lnTo>
                <a:lnTo>
                  <a:pt x="5217" y="1966"/>
                </a:lnTo>
                <a:lnTo>
                  <a:pt x="5217" y="1964"/>
                </a:lnTo>
                <a:lnTo>
                  <a:pt x="5218" y="1963"/>
                </a:lnTo>
                <a:lnTo>
                  <a:pt x="5221" y="1960"/>
                </a:lnTo>
                <a:lnTo>
                  <a:pt x="5214" y="1954"/>
                </a:lnTo>
                <a:lnTo>
                  <a:pt x="5209" y="1951"/>
                </a:lnTo>
                <a:lnTo>
                  <a:pt x="5207" y="1949"/>
                </a:lnTo>
                <a:lnTo>
                  <a:pt x="5204" y="1948"/>
                </a:lnTo>
                <a:lnTo>
                  <a:pt x="5195" y="1946"/>
                </a:lnTo>
                <a:lnTo>
                  <a:pt x="5195" y="1948"/>
                </a:lnTo>
                <a:lnTo>
                  <a:pt x="5195" y="1951"/>
                </a:lnTo>
                <a:lnTo>
                  <a:pt x="5196" y="1954"/>
                </a:lnTo>
                <a:lnTo>
                  <a:pt x="5195" y="1957"/>
                </a:lnTo>
                <a:lnTo>
                  <a:pt x="5190" y="1960"/>
                </a:lnTo>
                <a:lnTo>
                  <a:pt x="5183" y="1969"/>
                </a:lnTo>
                <a:lnTo>
                  <a:pt x="5179" y="1976"/>
                </a:lnTo>
                <a:lnTo>
                  <a:pt x="5178" y="1980"/>
                </a:lnTo>
                <a:lnTo>
                  <a:pt x="5178" y="1984"/>
                </a:lnTo>
                <a:lnTo>
                  <a:pt x="5178" y="1988"/>
                </a:lnTo>
                <a:lnTo>
                  <a:pt x="5178" y="1994"/>
                </a:lnTo>
                <a:lnTo>
                  <a:pt x="5175" y="1995"/>
                </a:lnTo>
                <a:lnTo>
                  <a:pt x="5171" y="1995"/>
                </a:lnTo>
                <a:lnTo>
                  <a:pt x="5168" y="1995"/>
                </a:lnTo>
                <a:lnTo>
                  <a:pt x="5164" y="1996"/>
                </a:lnTo>
                <a:lnTo>
                  <a:pt x="5164" y="1997"/>
                </a:lnTo>
                <a:lnTo>
                  <a:pt x="5163" y="1998"/>
                </a:lnTo>
                <a:lnTo>
                  <a:pt x="5163" y="2001"/>
                </a:lnTo>
                <a:lnTo>
                  <a:pt x="5162" y="2003"/>
                </a:lnTo>
                <a:lnTo>
                  <a:pt x="5162" y="2005"/>
                </a:lnTo>
                <a:lnTo>
                  <a:pt x="5161" y="2005"/>
                </a:lnTo>
                <a:lnTo>
                  <a:pt x="5160" y="2005"/>
                </a:lnTo>
                <a:lnTo>
                  <a:pt x="5159" y="2005"/>
                </a:lnTo>
                <a:lnTo>
                  <a:pt x="5157" y="2004"/>
                </a:lnTo>
                <a:lnTo>
                  <a:pt x="5157" y="2005"/>
                </a:lnTo>
                <a:lnTo>
                  <a:pt x="5156" y="2005"/>
                </a:lnTo>
                <a:lnTo>
                  <a:pt x="5155" y="2007"/>
                </a:lnTo>
                <a:close/>
                <a:moveTo>
                  <a:pt x="5628" y="2167"/>
                </a:moveTo>
                <a:lnTo>
                  <a:pt x="5627" y="2166"/>
                </a:lnTo>
                <a:lnTo>
                  <a:pt x="5627" y="2164"/>
                </a:lnTo>
                <a:lnTo>
                  <a:pt x="5627" y="2163"/>
                </a:lnTo>
                <a:lnTo>
                  <a:pt x="5626" y="2162"/>
                </a:lnTo>
                <a:lnTo>
                  <a:pt x="5623" y="2162"/>
                </a:lnTo>
                <a:lnTo>
                  <a:pt x="5621" y="2162"/>
                </a:lnTo>
                <a:lnTo>
                  <a:pt x="5616" y="2162"/>
                </a:lnTo>
                <a:lnTo>
                  <a:pt x="5611" y="2163"/>
                </a:lnTo>
                <a:lnTo>
                  <a:pt x="5608" y="2163"/>
                </a:lnTo>
                <a:lnTo>
                  <a:pt x="5606" y="2162"/>
                </a:lnTo>
                <a:lnTo>
                  <a:pt x="5602" y="2161"/>
                </a:lnTo>
                <a:lnTo>
                  <a:pt x="5598" y="2158"/>
                </a:lnTo>
                <a:lnTo>
                  <a:pt x="5590" y="2151"/>
                </a:lnTo>
                <a:lnTo>
                  <a:pt x="5585" y="2148"/>
                </a:lnTo>
                <a:lnTo>
                  <a:pt x="5580" y="2146"/>
                </a:lnTo>
                <a:lnTo>
                  <a:pt x="5575" y="2145"/>
                </a:lnTo>
                <a:lnTo>
                  <a:pt x="5572" y="2145"/>
                </a:lnTo>
                <a:lnTo>
                  <a:pt x="5569" y="2145"/>
                </a:lnTo>
                <a:lnTo>
                  <a:pt x="5568" y="2146"/>
                </a:lnTo>
                <a:lnTo>
                  <a:pt x="5567" y="2147"/>
                </a:lnTo>
                <a:lnTo>
                  <a:pt x="5566" y="2151"/>
                </a:lnTo>
                <a:lnTo>
                  <a:pt x="5565" y="2154"/>
                </a:lnTo>
                <a:lnTo>
                  <a:pt x="5564" y="2157"/>
                </a:lnTo>
                <a:lnTo>
                  <a:pt x="5562" y="2158"/>
                </a:lnTo>
                <a:lnTo>
                  <a:pt x="5560" y="2159"/>
                </a:lnTo>
                <a:lnTo>
                  <a:pt x="5556" y="2159"/>
                </a:lnTo>
                <a:lnTo>
                  <a:pt x="5553" y="2160"/>
                </a:lnTo>
                <a:lnTo>
                  <a:pt x="5551" y="2161"/>
                </a:lnTo>
                <a:lnTo>
                  <a:pt x="5550" y="2162"/>
                </a:lnTo>
                <a:lnTo>
                  <a:pt x="5548" y="2165"/>
                </a:lnTo>
                <a:lnTo>
                  <a:pt x="5547" y="2170"/>
                </a:lnTo>
                <a:lnTo>
                  <a:pt x="5546" y="2174"/>
                </a:lnTo>
                <a:lnTo>
                  <a:pt x="5544" y="2176"/>
                </a:lnTo>
                <a:lnTo>
                  <a:pt x="5542" y="2177"/>
                </a:lnTo>
                <a:lnTo>
                  <a:pt x="5540" y="2178"/>
                </a:lnTo>
                <a:lnTo>
                  <a:pt x="5536" y="2178"/>
                </a:lnTo>
                <a:lnTo>
                  <a:pt x="5532" y="2178"/>
                </a:lnTo>
                <a:lnTo>
                  <a:pt x="5530" y="2178"/>
                </a:lnTo>
                <a:lnTo>
                  <a:pt x="5527" y="2179"/>
                </a:lnTo>
                <a:lnTo>
                  <a:pt x="5525" y="2175"/>
                </a:lnTo>
                <a:lnTo>
                  <a:pt x="5524" y="2171"/>
                </a:lnTo>
                <a:lnTo>
                  <a:pt x="5522" y="2162"/>
                </a:lnTo>
                <a:lnTo>
                  <a:pt x="5518" y="2165"/>
                </a:lnTo>
                <a:lnTo>
                  <a:pt x="5515" y="2166"/>
                </a:lnTo>
                <a:lnTo>
                  <a:pt x="5514" y="2166"/>
                </a:lnTo>
                <a:lnTo>
                  <a:pt x="5513" y="2165"/>
                </a:lnTo>
                <a:lnTo>
                  <a:pt x="5512" y="2161"/>
                </a:lnTo>
                <a:lnTo>
                  <a:pt x="5512" y="2156"/>
                </a:lnTo>
                <a:lnTo>
                  <a:pt x="5512" y="2151"/>
                </a:lnTo>
                <a:lnTo>
                  <a:pt x="5512" y="2146"/>
                </a:lnTo>
                <a:lnTo>
                  <a:pt x="5513" y="2135"/>
                </a:lnTo>
                <a:lnTo>
                  <a:pt x="5513" y="2126"/>
                </a:lnTo>
                <a:lnTo>
                  <a:pt x="5507" y="2123"/>
                </a:lnTo>
                <a:lnTo>
                  <a:pt x="5502" y="2120"/>
                </a:lnTo>
                <a:lnTo>
                  <a:pt x="5497" y="2122"/>
                </a:lnTo>
                <a:lnTo>
                  <a:pt x="5493" y="2123"/>
                </a:lnTo>
                <a:lnTo>
                  <a:pt x="5490" y="2122"/>
                </a:lnTo>
                <a:lnTo>
                  <a:pt x="5486" y="2119"/>
                </a:lnTo>
                <a:lnTo>
                  <a:pt x="5484" y="2118"/>
                </a:lnTo>
                <a:lnTo>
                  <a:pt x="5482" y="2118"/>
                </a:lnTo>
                <a:lnTo>
                  <a:pt x="5479" y="2117"/>
                </a:lnTo>
                <a:lnTo>
                  <a:pt x="5477" y="2117"/>
                </a:lnTo>
                <a:lnTo>
                  <a:pt x="5476" y="2118"/>
                </a:lnTo>
                <a:lnTo>
                  <a:pt x="5475" y="2119"/>
                </a:lnTo>
                <a:lnTo>
                  <a:pt x="5473" y="2122"/>
                </a:lnTo>
                <a:lnTo>
                  <a:pt x="5471" y="2126"/>
                </a:lnTo>
                <a:lnTo>
                  <a:pt x="5468" y="2126"/>
                </a:lnTo>
                <a:lnTo>
                  <a:pt x="5464" y="2126"/>
                </a:lnTo>
                <a:lnTo>
                  <a:pt x="5460" y="2125"/>
                </a:lnTo>
                <a:lnTo>
                  <a:pt x="5458" y="2125"/>
                </a:lnTo>
                <a:lnTo>
                  <a:pt x="5457" y="2126"/>
                </a:lnTo>
                <a:lnTo>
                  <a:pt x="5457" y="2137"/>
                </a:lnTo>
                <a:lnTo>
                  <a:pt x="5457" y="2143"/>
                </a:lnTo>
                <a:lnTo>
                  <a:pt x="5464" y="2142"/>
                </a:lnTo>
                <a:lnTo>
                  <a:pt x="5468" y="2142"/>
                </a:lnTo>
                <a:lnTo>
                  <a:pt x="5470" y="2142"/>
                </a:lnTo>
                <a:lnTo>
                  <a:pt x="5471" y="2143"/>
                </a:lnTo>
                <a:lnTo>
                  <a:pt x="5472" y="2144"/>
                </a:lnTo>
                <a:lnTo>
                  <a:pt x="5473" y="2145"/>
                </a:lnTo>
                <a:lnTo>
                  <a:pt x="5473" y="2147"/>
                </a:lnTo>
                <a:lnTo>
                  <a:pt x="5473" y="2150"/>
                </a:lnTo>
                <a:lnTo>
                  <a:pt x="5474" y="2154"/>
                </a:lnTo>
                <a:lnTo>
                  <a:pt x="5482" y="2154"/>
                </a:lnTo>
                <a:lnTo>
                  <a:pt x="5491" y="2154"/>
                </a:lnTo>
                <a:lnTo>
                  <a:pt x="5498" y="2154"/>
                </a:lnTo>
                <a:lnTo>
                  <a:pt x="5502" y="2154"/>
                </a:lnTo>
                <a:lnTo>
                  <a:pt x="5504" y="2155"/>
                </a:lnTo>
                <a:lnTo>
                  <a:pt x="5504" y="2156"/>
                </a:lnTo>
                <a:lnTo>
                  <a:pt x="5504" y="2157"/>
                </a:lnTo>
                <a:lnTo>
                  <a:pt x="5504" y="2159"/>
                </a:lnTo>
                <a:lnTo>
                  <a:pt x="5503" y="2160"/>
                </a:lnTo>
                <a:lnTo>
                  <a:pt x="5503" y="2161"/>
                </a:lnTo>
                <a:lnTo>
                  <a:pt x="5502" y="2162"/>
                </a:lnTo>
                <a:lnTo>
                  <a:pt x="5487" y="2164"/>
                </a:lnTo>
                <a:lnTo>
                  <a:pt x="5471" y="2165"/>
                </a:lnTo>
                <a:lnTo>
                  <a:pt x="5480" y="2166"/>
                </a:lnTo>
                <a:lnTo>
                  <a:pt x="5487" y="2167"/>
                </a:lnTo>
                <a:lnTo>
                  <a:pt x="5491" y="2168"/>
                </a:lnTo>
                <a:lnTo>
                  <a:pt x="5493" y="2168"/>
                </a:lnTo>
                <a:lnTo>
                  <a:pt x="5493" y="2169"/>
                </a:lnTo>
                <a:lnTo>
                  <a:pt x="5492" y="2169"/>
                </a:lnTo>
                <a:lnTo>
                  <a:pt x="5487" y="2170"/>
                </a:lnTo>
                <a:lnTo>
                  <a:pt x="5480" y="2171"/>
                </a:lnTo>
                <a:lnTo>
                  <a:pt x="5475" y="2170"/>
                </a:lnTo>
                <a:lnTo>
                  <a:pt x="5474" y="2170"/>
                </a:lnTo>
                <a:lnTo>
                  <a:pt x="5475" y="2169"/>
                </a:lnTo>
                <a:lnTo>
                  <a:pt x="5479" y="2168"/>
                </a:lnTo>
                <a:lnTo>
                  <a:pt x="5483" y="2174"/>
                </a:lnTo>
                <a:lnTo>
                  <a:pt x="5486" y="2180"/>
                </a:lnTo>
                <a:lnTo>
                  <a:pt x="5493" y="2190"/>
                </a:lnTo>
                <a:lnTo>
                  <a:pt x="5495" y="2185"/>
                </a:lnTo>
                <a:lnTo>
                  <a:pt x="5497" y="2183"/>
                </a:lnTo>
                <a:lnTo>
                  <a:pt x="5499" y="2182"/>
                </a:lnTo>
                <a:lnTo>
                  <a:pt x="5498" y="2181"/>
                </a:lnTo>
                <a:lnTo>
                  <a:pt x="5500" y="2181"/>
                </a:lnTo>
                <a:lnTo>
                  <a:pt x="5502" y="2181"/>
                </a:lnTo>
                <a:lnTo>
                  <a:pt x="5504" y="2182"/>
                </a:lnTo>
                <a:lnTo>
                  <a:pt x="5505" y="2183"/>
                </a:lnTo>
                <a:lnTo>
                  <a:pt x="5506" y="2184"/>
                </a:lnTo>
                <a:lnTo>
                  <a:pt x="5505" y="2185"/>
                </a:lnTo>
                <a:lnTo>
                  <a:pt x="5508" y="2186"/>
                </a:lnTo>
                <a:lnTo>
                  <a:pt x="5512" y="2187"/>
                </a:lnTo>
                <a:lnTo>
                  <a:pt x="5516" y="2189"/>
                </a:lnTo>
                <a:lnTo>
                  <a:pt x="5519" y="2190"/>
                </a:lnTo>
                <a:lnTo>
                  <a:pt x="5519" y="2191"/>
                </a:lnTo>
                <a:lnTo>
                  <a:pt x="5520" y="2192"/>
                </a:lnTo>
                <a:lnTo>
                  <a:pt x="5520" y="2193"/>
                </a:lnTo>
                <a:lnTo>
                  <a:pt x="5520" y="2196"/>
                </a:lnTo>
                <a:lnTo>
                  <a:pt x="5520" y="2199"/>
                </a:lnTo>
                <a:lnTo>
                  <a:pt x="5520" y="2201"/>
                </a:lnTo>
                <a:lnTo>
                  <a:pt x="5522" y="2202"/>
                </a:lnTo>
                <a:lnTo>
                  <a:pt x="5526" y="2204"/>
                </a:lnTo>
                <a:lnTo>
                  <a:pt x="5531" y="2205"/>
                </a:lnTo>
                <a:lnTo>
                  <a:pt x="5540" y="2206"/>
                </a:lnTo>
                <a:lnTo>
                  <a:pt x="5545" y="2206"/>
                </a:lnTo>
                <a:lnTo>
                  <a:pt x="5550" y="2207"/>
                </a:lnTo>
                <a:lnTo>
                  <a:pt x="5554" y="2208"/>
                </a:lnTo>
                <a:lnTo>
                  <a:pt x="5558" y="2210"/>
                </a:lnTo>
                <a:lnTo>
                  <a:pt x="5559" y="2211"/>
                </a:lnTo>
                <a:lnTo>
                  <a:pt x="5559" y="2212"/>
                </a:lnTo>
                <a:lnTo>
                  <a:pt x="5559" y="2216"/>
                </a:lnTo>
                <a:lnTo>
                  <a:pt x="5560" y="2219"/>
                </a:lnTo>
                <a:lnTo>
                  <a:pt x="5561" y="2221"/>
                </a:lnTo>
                <a:lnTo>
                  <a:pt x="5562" y="2222"/>
                </a:lnTo>
                <a:lnTo>
                  <a:pt x="5563" y="2222"/>
                </a:lnTo>
                <a:lnTo>
                  <a:pt x="5563" y="2221"/>
                </a:lnTo>
                <a:lnTo>
                  <a:pt x="5564" y="2219"/>
                </a:lnTo>
                <a:lnTo>
                  <a:pt x="5565" y="2219"/>
                </a:lnTo>
                <a:lnTo>
                  <a:pt x="5567" y="2219"/>
                </a:lnTo>
                <a:lnTo>
                  <a:pt x="5572" y="2221"/>
                </a:lnTo>
                <a:lnTo>
                  <a:pt x="5577" y="2223"/>
                </a:lnTo>
                <a:lnTo>
                  <a:pt x="5581" y="2224"/>
                </a:lnTo>
                <a:lnTo>
                  <a:pt x="5584" y="2239"/>
                </a:lnTo>
                <a:lnTo>
                  <a:pt x="5589" y="2254"/>
                </a:lnTo>
                <a:lnTo>
                  <a:pt x="5592" y="2269"/>
                </a:lnTo>
                <a:lnTo>
                  <a:pt x="5595" y="2283"/>
                </a:lnTo>
                <a:lnTo>
                  <a:pt x="5592" y="2284"/>
                </a:lnTo>
                <a:lnTo>
                  <a:pt x="5589" y="2283"/>
                </a:lnTo>
                <a:lnTo>
                  <a:pt x="5586" y="2283"/>
                </a:lnTo>
                <a:lnTo>
                  <a:pt x="5583" y="2283"/>
                </a:lnTo>
                <a:lnTo>
                  <a:pt x="5582" y="2284"/>
                </a:lnTo>
                <a:lnTo>
                  <a:pt x="5581" y="2286"/>
                </a:lnTo>
                <a:lnTo>
                  <a:pt x="5578" y="2290"/>
                </a:lnTo>
                <a:lnTo>
                  <a:pt x="5572" y="2297"/>
                </a:lnTo>
                <a:lnTo>
                  <a:pt x="5577" y="2296"/>
                </a:lnTo>
                <a:lnTo>
                  <a:pt x="5581" y="2296"/>
                </a:lnTo>
                <a:lnTo>
                  <a:pt x="5592" y="2295"/>
                </a:lnTo>
                <a:lnTo>
                  <a:pt x="5592" y="2289"/>
                </a:lnTo>
                <a:lnTo>
                  <a:pt x="5598" y="2289"/>
                </a:lnTo>
                <a:lnTo>
                  <a:pt x="5605" y="2290"/>
                </a:lnTo>
                <a:lnTo>
                  <a:pt x="5612" y="2291"/>
                </a:lnTo>
                <a:lnTo>
                  <a:pt x="5617" y="2292"/>
                </a:lnTo>
                <a:lnTo>
                  <a:pt x="5623" y="2304"/>
                </a:lnTo>
                <a:lnTo>
                  <a:pt x="5628" y="2314"/>
                </a:lnTo>
                <a:lnTo>
                  <a:pt x="5643" y="2313"/>
                </a:lnTo>
                <a:lnTo>
                  <a:pt x="5659" y="2312"/>
                </a:lnTo>
                <a:lnTo>
                  <a:pt x="5666" y="2311"/>
                </a:lnTo>
                <a:lnTo>
                  <a:pt x="5669" y="2310"/>
                </a:lnTo>
                <a:lnTo>
                  <a:pt x="5672" y="2309"/>
                </a:lnTo>
                <a:lnTo>
                  <a:pt x="5674" y="2307"/>
                </a:lnTo>
                <a:lnTo>
                  <a:pt x="5676" y="2305"/>
                </a:lnTo>
                <a:lnTo>
                  <a:pt x="5678" y="2303"/>
                </a:lnTo>
                <a:lnTo>
                  <a:pt x="5679" y="2300"/>
                </a:lnTo>
                <a:lnTo>
                  <a:pt x="5679" y="2298"/>
                </a:lnTo>
                <a:lnTo>
                  <a:pt x="5679" y="2297"/>
                </a:lnTo>
                <a:lnTo>
                  <a:pt x="5679" y="2293"/>
                </a:lnTo>
                <a:lnTo>
                  <a:pt x="5679" y="2290"/>
                </a:lnTo>
                <a:lnTo>
                  <a:pt x="5679" y="2288"/>
                </a:lnTo>
                <a:lnTo>
                  <a:pt x="5679" y="2286"/>
                </a:lnTo>
                <a:lnTo>
                  <a:pt x="5691" y="2287"/>
                </a:lnTo>
                <a:lnTo>
                  <a:pt x="5698" y="2288"/>
                </a:lnTo>
                <a:lnTo>
                  <a:pt x="5706" y="2289"/>
                </a:lnTo>
                <a:lnTo>
                  <a:pt x="5713" y="2290"/>
                </a:lnTo>
                <a:lnTo>
                  <a:pt x="5721" y="2293"/>
                </a:lnTo>
                <a:lnTo>
                  <a:pt x="5726" y="2296"/>
                </a:lnTo>
                <a:lnTo>
                  <a:pt x="5729" y="2298"/>
                </a:lnTo>
                <a:lnTo>
                  <a:pt x="5731" y="2300"/>
                </a:lnTo>
                <a:lnTo>
                  <a:pt x="5731" y="2301"/>
                </a:lnTo>
                <a:lnTo>
                  <a:pt x="5732" y="2302"/>
                </a:lnTo>
                <a:lnTo>
                  <a:pt x="5732" y="2304"/>
                </a:lnTo>
                <a:lnTo>
                  <a:pt x="5733" y="2309"/>
                </a:lnTo>
                <a:lnTo>
                  <a:pt x="5734" y="2314"/>
                </a:lnTo>
                <a:lnTo>
                  <a:pt x="5735" y="2316"/>
                </a:lnTo>
                <a:lnTo>
                  <a:pt x="5736" y="2317"/>
                </a:lnTo>
                <a:lnTo>
                  <a:pt x="5737" y="2318"/>
                </a:lnTo>
                <a:lnTo>
                  <a:pt x="5739" y="2318"/>
                </a:lnTo>
                <a:lnTo>
                  <a:pt x="5742" y="2318"/>
                </a:lnTo>
                <a:lnTo>
                  <a:pt x="5745" y="2319"/>
                </a:lnTo>
                <a:lnTo>
                  <a:pt x="5748" y="2320"/>
                </a:lnTo>
                <a:lnTo>
                  <a:pt x="5756" y="2337"/>
                </a:lnTo>
                <a:lnTo>
                  <a:pt x="5761" y="2339"/>
                </a:lnTo>
                <a:lnTo>
                  <a:pt x="5766" y="2341"/>
                </a:lnTo>
                <a:lnTo>
                  <a:pt x="5779" y="2343"/>
                </a:lnTo>
                <a:lnTo>
                  <a:pt x="5792" y="2345"/>
                </a:lnTo>
                <a:lnTo>
                  <a:pt x="5799" y="2347"/>
                </a:lnTo>
                <a:lnTo>
                  <a:pt x="5804" y="2348"/>
                </a:lnTo>
                <a:lnTo>
                  <a:pt x="5804" y="2344"/>
                </a:lnTo>
                <a:lnTo>
                  <a:pt x="5804" y="2340"/>
                </a:lnTo>
                <a:lnTo>
                  <a:pt x="5800" y="2338"/>
                </a:lnTo>
                <a:lnTo>
                  <a:pt x="5798" y="2337"/>
                </a:lnTo>
                <a:lnTo>
                  <a:pt x="5795" y="2336"/>
                </a:lnTo>
                <a:lnTo>
                  <a:pt x="5793" y="2334"/>
                </a:lnTo>
                <a:lnTo>
                  <a:pt x="5795" y="2331"/>
                </a:lnTo>
                <a:lnTo>
                  <a:pt x="5796" y="2330"/>
                </a:lnTo>
                <a:lnTo>
                  <a:pt x="5796" y="2329"/>
                </a:lnTo>
                <a:lnTo>
                  <a:pt x="5795" y="2328"/>
                </a:lnTo>
                <a:lnTo>
                  <a:pt x="5794" y="2327"/>
                </a:lnTo>
                <a:lnTo>
                  <a:pt x="5792" y="2327"/>
                </a:lnTo>
                <a:lnTo>
                  <a:pt x="5789" y="2327"/>
                </a:lnTo>
                <a:lnTo>
                  <a:pt x="5785" y="2327"/>
                </a:lnTo>
                <a:lnTo>
                  <a:pt x="5783" y="2326"/>
                </a:lnTo>
                <a:lnTo>
                  <a:pt x="5781" y="2326"/>
                </a:lnTo>
                <a:lnTo>
                  <a:pt x="5780" y="2324"/>
                </a:lnTo>
                <a:lnTo>
                  <a:pt x="5780" y="2323"/>
                </a:lnTo>
                <a:lnTo>
                  <a:pt x="5780" y="2321"/>
                </a:lnTo>
                <a:lnTo>
                  <a:pt x="5780" y="2319"/>
                </a:lnTo>
                <a:lnTo>
                  <a:pt x="5781" y="2316"/>
                </a:lnTo>
                <a:lnTo>
                  <a:pt x="5781" y="2314"/>
                </a:lnTo>
                <a:lnTo>
                  <a:pt x="5780" y="2314"/>
                </a:lnTo>
                <a:lnTo>
                  <a:pt x="5779" y="2313"/>
                </a:lnTo>
                <a:lnTo>
                  <a:pt x="5776" y="2313"/>
                </a:lnTo>
                <a:lnTo>
                  <a:pt x="5773" y="2313"/>
                </a:lnTo>
                <a:lnTo>
                  <a:pt x="5770" y="2311"/>
                </a:lnTo>
                <a:lnTo>
                  <a:pt x="5769" y="2311"/>
                </a:lnTo>
                <a:lnTo>
                  <a:pt x="5768" y="2310"/>
                </a:lnTo>
                <a:lnTo>
                  <a:pt x="5768" y="2307"/>
                </a:lnTo>
                <a:lnTo>
                  <a:pt x="5767" y="2305"/>
                </a:lnTo>
                <a:lnTo>
                  <a:pt x="5767" y="2302"/>
                </a:lnTo>
                <a:lnTo>
                  <a:pt x="5766" y="2297"/>
                </a:lnTo>
                <a:lnTo>
                  <a:pt x="5766" y="2294"/>
                </a:lnTo>
                <a:lnTo>
                  <a:pt x="5764" y="2292"/>
                </a:lnTo>
                <a:lnTo>
                  <a:pt x="5764" y="2291"/>
                </a:lnTo>
                <a:lnTo>
                  <a:pt x="5762" y="2291"/>
                </a:lnTo>
                <a:lnTo>
                  <a:pt x="5759" y="2290"/>
                </a:lnTo>
                <a:lnTo>
                  <a:pt x="5756" y="2290"/>
                </a:lnTo>
                <a:lnTo>
                  <a:pt x="5753" y="2289"/>
                </a:lnTo>
                <a:lnTo>
                  <a:pt x="5751" y="2287"/>
                </a:lnTo>
                <a:lnTo>
                  <a:pt x="5750" y="2284"/>
                </a:lnTo>
                <a:lnTo>
                  <a:pt x="5749" y="2281"/>
                </a:lnTo>
                <a:lnTo>
                  <a:pt x="5748" y="2277"/>
                </a:lnTo>
                <a:lnTo>
                  <a:pt x="5745" y="2264"/>
                </a:lnTo>
                <a:lnTo>
                  <a:pt x="5751" y="2261"/>
                </a:lnTo>
                <a:lnTo>
                  <a:pt x="5759" y="2258"/>
                </a:lnTo>
                <a:lnTo>
                  <a:pt x="5756" y="2241"/>
                </a:lnTo>
                <a:lnTo>
                  <a:pt x="5754" y="2241"/>
                </a:lnTo>
                <a:lnTo>
                  <a:pt x="5752" y="2241"/>
                </a:lnTo>
                <a:lnTo>
                  <a:pt x="5749" y="2241"/>
                </a:lnTo>
                <a:lnTo>
                  <a:pt x="5745" y="2242"/>
                </a:lnTo>
                <a:lnTo>
                  <a:pt x="5744" y="2242"/>
                </a:lnTo>
                <a:lnTo>
                  <a:pt x="5742" y="2241"/>
                </a:lnTo>
                <a:lnTo>
                  <a:pt x="5741" y="2240"/>
                </a:lnTo>
                <a:lnTo>
                  <a:pt x="5740" y="2239"/>
                </a:lnTo>
                <a:lnTo>
                  <a:pt x="5739" y="2236"/>
                </a:lnTo>
                <a:lnTo>
                  <a:pt x="5738" y="2232"/>
                </a:lnTo>
                <a:lnTo>
                  <a:pt x="5736" y="2230"/>
                </a:lnTo>
                <a:lnTo>
                  <a:pt x="5734" y="2229"/>
                </a:lnTo>
                <a:lnTo>
                  <a:pt x="5732" y="2229"/>
                </a:lnTo>
                <a:lnTo>
                  <a:pt x="5728" y="2229"/>
                </a:lnTo>
                <a:lnTo>
                  <a:pt x="5723" y="2229"/>
                </a:lnTo>
                <a:lnTo>
                  <a:pt x="5721" y="2228"/>
                </a:lnTo>
                <a:lnTo>
                  <a:pt x="5719" y="2227"/>
                </a:lnTo>
                <a:lnTo>
                  <a:pt x="5719" y="2225"/>
                </a:lnTo>
                <a:lnTo>
                  <a:pt x="5719" y="2222"/>
                </a:lnTo>
                <a:lnTo>
                  <a:pt x="5719" y="2218"/>
                </a:lnTo>
                <a:lnTo>
                  <a:pt x="5719" y="2216"/>
                </a:lnTo>
                <a:lnTo>
                  <a:pt x="5713" y="2209"/>
                </a:lnTo>
                <a:lnTo>
                  <a:pt x="5707" y="2202"/>
                </a:lnTo>
                <a:lnTo>
                  <a:pt x="5705" y="2201"/>
                </a:lnTo>
                <a:lnTo>
                  <a:pt x="5703" y="2201"/>
                </a:lnTo>
                <a:lnTo>
                  <a:pt x="5701" y="2202"/>
                </a:lnTo>
                <a:lnTo>
                  <a:pt x="5699" y="2202"/>
                </a:lnTo>
                <a:lnTo>
                  <a:pt x="5697" y="2200"/>
                </a:lnTo>
                <a:lnTo>
                  <a:pt x="5694" y="2196"/>
                </a:lnTo>
                <a:lnTo>
                  <a:pt x="5692" y="2193"/>
                </a:lnTo>
                <a:lnTo>
                  <a:pt x="5690" y="2190"/>
                </a:lnTo>
                <a:lnTo>
                  <a:pt x="5686" y="2188"/>
                </a:lnTo>
                <a:lnTo>
                  <a:pt x="5680" y="2186"/>
                </a:lnTo>
                <a:lnTo>
                  <a:pt x="5668" y="2183"/>
                </a:lnTo>
                <a:lnTo>
                  <a:pt x="5656" y="2180"/>
                </a:lnTo>
                <a:lnTo>
                  <a:pt x="5650" y="2178"/>
                </a:lnTo>
                <a:lnTo>
                  <a:pt x="5645" y="2176"/>
                </a:lnTo>
                <a:lnTo>
                  <a:pt x="5639" y="2173"/>
                </a:lnTo>
                <a:lnTo>
                  <a:pt x="5628" y="2167"/>
                </a:lnTo>
                <a:close/>
                <a:moveTo>
                  <a:pt x="5162" y="2760"/>
                </a:moveTo>
                <a:lnTo>
                  <a:pt x="5162" y="2761"/>
                </a:lnTo>
                <a:lnTo>
                  <a:pt x="5162" y="2763"/>
                </a:lnTo>
                <a:lnTo>
                  <a:pt x="5160" y="2765"/>
                </a:lnTo>
                <a:lnTo>
                  <a:pt x="5159" y="2767"/>
                </a:lnTo>
                <a:lnTo>
                  <a:pt x="5158" y="2767"/>
                </a:lnTo>
                <a:lnTo>
                  <a:pt x="5159" y="2768"/>
                </a:lnTo>
                <a:lnTo>
                  <a:pt x="5161" y="2770"/>
                </a:lnTo>
                <a:lnTo>
                  <a:pt x="5162" y="2772"/>
                </a:lnTo>
                <a:lnTo>
                  <a:pt x="5164" y="2777"/>
                </a:lnTo>
                <a:lnTo>
                  <a:pt x="5165" y="2779"/>
                </a:lnTo>
                <a:lnTo>
                  <a:pt x="5165" y="2781"/>
                </a:lnTo>
                <a:lnTo>
                  <a:pt x="5166" y="2786"/>
                </a:lnTo>
                <a:lnTo>
                  <a:pt x="5166" y="2797"/>
                </a:lnTo>
                <a:lnTo>
                  <a:pt x="5166" y="2803"/>
                </a:lnTo>
                <a:lnTo>
                  <a:pt x="5167" y="2810"/>
                </a:lnTo>
                <a:lnTo>
                  <a:pt x="5173" y="2813"/>
                </a:lnTo>
                <a:lnTo>
                  <a:pt x="5174" y="2816"/>
                </a:lnTo>
                <a:lnTo>
                  <a:pt x="5174" y="2819"/>
                </a:lnTo>
                <a:lnTo>
                  <a:pt x="5175" y="2826"/>
                </a:lnTo>
                <a:lnTo>
                  <a:pt x="5175" y="2833"/>
                </a:lnTo>
                <a:lnTo>
                  <a:pt x="5176" y="2839"/>
                </a:lnTo>
                <a:lnTo>
                  <a:pt x="5178" y="2839"/>
                </a:lnTo>
                <a:lnTo>
                  <a:pt x="5179" y="2844"/>
                </a:lnTo>
                <a:lnTo>
                  <a:pt x="5179" y="2849"/>
                </a:lnTo>
                <a:lnTo>
                  <a:pt x="5179" y="2854"/>
                </a:lnTo>
                <a:lnTo>
                  <a:pt x="5178" y="2860"/>
                </a:lnTo>
                <a:lnTo>
                  <a:pt x="5177" y="2872"/>
                </a:lnTo>
                <a:lnTo>
                  <a:pt x="5176" y="2886"/>
                </a:lnTo>
                <a:lnTo>
                  <a:pt x="5167" y="2886"/>
                </a:lnTo>
                <a:lnTo>
                  <a:pt x="5162" y="2886"/>
                </a:lnTo>
                <a:lnTo>
                  <a:pt x="5164" y="2892"/>
                </a:lnTo>
                <a:lnTo>
                  <a:pt x="5166" y="2895"/>
                </a:lnTo>
                <a:lnTo>
                  <a:pt x="5167" y="2898"/>
                </a:lnTo>
                <a:lnTo>
                  <a:pt x="5169" y="2899"/>
                </a:lnTo>
                <a:lnTo>
                  <a:pt x="5170" y="2899"/>
                </a:lnTo>
                <a:lnTo>
                  <a:pt x="5174" y="2900"/>
                </a:lnTo>
                <a:lnTo>
                  <a:pt x="5178" y="2901"/>
                </a:lnTo>
                <a:lnTo>
                  <a:pt x="5181" y="2903"/>
                </a:lnTo>
                <a:lnTo>
                  <a:pt x="5182" y="2904"/>
                </a:lnTo>
                <a:lnTo>
                  <a:pt x="5182" y="2905"/>
                </a:lnTo>
                <a:lnTo>
                  <a:pt x="5182" y="2908"/>
                </a:lnTo>
                <a:lnTo>
                  <a:pt x="5183" y="2910"/>
                </a:lnTo>
                <a:lnTo>
                  <a:pt x="5183" y="2911"/>
                </a:lnTo>
                <a:lnTo>
                  <a:pt x="5184" y="2912"/>
                </a:lnTo>
                <a:lnTo>
                  <a:pt x="5187" y="2913"/>
                </a:lnTo>
                <a:lnTo>
                  <a:pt x="5189" y="2913"/>
                </a:lnTo>
                <a:lnTo>
                  <a:pt x="5192" y="2913"/>
                </a:lnTo>
                <a:lnTo>
                  <a:pt x="5194" y="2913"/>
                </a:lnTo>
                <a:lnTo>
                  <a:pt x="5197" y="2912"/>
                </a:lnTo>
                <a:lnTo>
                  <a:pt x="5199" y="2912"/>
                </a:lnTo>
                <a:lnTo>
                  <a:pt x="5201" y="2912"/>
                </a:lnTo>
                <a:lnTo>
                  <a:pt x="5209" y="2917"/>
                </a:lnTo>
                <a:lnTo>
                  <a:pt x="5212" y="2917"/>
                </a:lnTo>
                <a:lnTo>
                  <a:pt x="5214" y="2917"/>
                </a:lnTo>
                <a:lnTo>
                  <a:pt x="5218" y="2916"/>
                </a:lnTo>
                <a:lnTo>
                  <a:pt x="5220" y="2915"/>
                </a:lnTo>
                <a:lnTo>
                  <a:pt x="5221" y="2914"/>
                </a:lnTo>
                <a:lnTo>
                  <a:pt x="5224" y="2911"/>
                </a:lnTo>
                <a:lnTo>
                  <a:pt x="5228" y="2904"/>
                </a:lnTo>
                <a:lnTo>
                  <a:pt x="5232" y="2898"/>
                </a:lnTo>
                <a:lnTo>
                  <a:pt x="5234" y="2900"/>
                </a:lnTo>
                <a:lnTo>
                  <a:pt x="5236" y="2903"/>
                </a:lnTo>
                <a:lnTo>
                  <a:pt x="5238" y="2904"/>
                </a:lnTo>
                <a:lnTo>
                  <a:pt x="5239" y="2905"/>
                </a:lnTo>
                <a:lnTo>
                  <a:pt x="5241" y="2906"/>
                </a:lnTo>
                <a:lnTo>
                  <a:pt x="5243" y="2906"/>
                </a:lnTo>
                <a:lnTo>
                  <a:pt x="5244" y="2905"/>
                </a:lnTo>
                <a:lnTo>
                  <a:pt x="5245" y="2904"/>
                </a:lnTo>
                <a:lnTo>
                  <a:pt x="5245" y="2901"/>
                </a:lnTo>
                <a:lnTo>
                  <a:pt x="5244" y="2899"/>
                </a:lnTo>
                <a:lnTo>
                  <a:pt x="5243" y="2894"/>
                </a:lnTo>
                <a:lnTo>
                  <a:pt x="5243" y="2892"/>
                </a:lnTo>
                <a:lnTo>
                  <a:pt x="5244" y="2892"/>
                </a:lnTo>
                <a:lnTo>
                  <a:pt x="5247" y="2893"/>
                </a:lnTo>
                <a:lnTo>
                  <a:pt x="5251" y="2894"/>
                </a:lnTo>
                <a:lnTo>
                  <a:pt x="5253" y="2895"/>
                </a:lnTo>
                <a:lnTo>
                  <a:pt x="5254" y="2895"/>
                </a:lnTo>
                <a:lnTo>
                  <a:pt x="5257" y="2894"/>
                </a:lnTo>
                <a:lnTo>
                  <a:pt x="5261" y="2893"/>
                </a:lnTo>
                <a:lnTo>
                  <a:pt x="5271" y="2890"/>
                </a:lnTo>
                <a:lnTo>
                  <a:pt x="5280" y="2888"/>
                </a:lnTo>
                <a:lnTo>
                  <a:pt x="5285" y="2887"/>
                </a:lnTo>
                <a:lnTo>
                  <a:pt x="5288" y="2886"/>
                </a:lnTo>
                <a:lnTo>
                  <a:pt x="5289" y="2887"/>
                </a:lnTo>
                <a:lnTo>
                  <a:pt x="5290" y="2887"/>
                </a:lnTo>
                <a:lnTo>
                  <a:pt x="5292" y="2889"/>
                </a:lnTo>
                <a:lnTo>
                  <a:pt x="5293" y="2891"/>
                </a:lnTo>
                <a:lnTo>
                  <a:pt x="5294" y="2892"/>
                </a:lnTo>
                <a:lnTo>
                  <a:pt x="5296" y="2891"/>
                </a:lnTo>
                <a:lnTo>
                  <a:pt x="5300" y="2889"/>
                </a:lnTo>
                <a:lnTo>
                  <a:pt x="5305" y="2886"/>
                </a:lnTo>
                <a:lnTo>
                  <a:pt x="5307" y="2886"/>
                </a:lnTo>
                <a:lnTo>
                  <a:pt x="5309" y="2887"/>
                </a:lnTo>
                <a:lnTo>
                  <a:pt x="5312" y="2889"/>
                </a:lnTo>
                <a:lnTo>
                  <a:pt x="5315" y="2890"/>
                </a:lnTo>
                <a:lnTo>
                  <a:pt x="5317" y="2890"/>
                </a:lnTo>
                <a:lnTo>
                  <a:pt x="5319" y="2889"/>
                </a:lnTo>
                <a:lnTo>
                  <a:pt x="5320" y="2889"/>
                </a:lnTo>
                <a:lnTo>
                  <a:pt x="5321" y="2888"/>
                </a:lnTo>
                <a:lnTo>
                  <a:pt x="5322" y="2887"/>
                </a:lnTo>
                <a:lnTo>
                  <a:pt x="5323" y="2886"/>
                </a:lnTo>
                <a:lnTo>
                  <a:pt x="5324" y="2883"/>
                </a:lnTo>
                <a:lnTo>
                  <a:pt x="5325" y="2880"/>
                </a:lnTo>
                <a:lnTo>
                  <a:pt x="5327" y="2874"/>
                </a:lnTo>
                <a:lnTo>
                  <a:pt x="5329" y="2871"/>
                </a:lnTo>
                <a:lnTo>
                  <a:pt x="5330" y="2869"/>
                </a:lnTo>
                <a:lnTo>
                  <a:pt x="5333" y="2868"/>
                </a:lnTo>
                <a:lnTo>
                  <a:pt x="5335" y="2868"/>
                </a:lnTo>
                <a:lnTo>
                  <a:pt x="5336" y="2868"/>
                </a:lnTo>
                <a:lnTo>
                  <a:pt x="5337" y="2868"/>
                </a:lnTo>
                <a:lnTo>
                  <a:pt x="5340" y="2870"/>
                </a:lnTo>
                <a:lnTo>
                  <a:pt x="5342" y="2870"/>
                </a:lnTo>
                <a:lnTo>
                  <a:pt x="5344" y="2869"/>
                </a:lnTo>
                <a:lnTo>
                  <a:pt x="5344" y="2864"/>
                </a:lnTo>
                <a:lnTo>
                  <a:pt x="5345" y="2863"/>
                </a:lnTo>
                <a:lnTo>
                  <a:pt x="5346" y="2862"/>
                </a:lnTo>
                <a:lnTo>
                  <a:pt x="5349" y="2862"/>
                </a:lnTo>
                <a:lnTo>
                  <a:pt x="5353" y="2862"/>
                </a:lnTo>
                <a:lnTo>
                  <a:pt x="5354" y="2862"/>
                </a:lnTo>
                <a:lnTo>
                  <a:pt x="5356" y="2861"/>
                </a:lnTo>
                <a:lnTo>
                  <a:pt x="5356" y="2860"/>
                </a:lnTo>
                <a:lnTo>
                  <a:pt x="5357" y="2857"/>
                </a:lnTo>
                <a:lnTo>
                  <a:pt x="5357" y="2854"/>
                </a:lnTo>
                <a:lnTo>
                  <a:pt x="5358" y="2853"/>
                </a:lnTo>
                <a:lnTo>
                  <a:pt x="5361" y="2853"/>
                </a:lnTo>
                <a:lnTo>
                  <a:pt x="5361" y="2850"/>
                </a:lnTo>
                <a:lnTo>
                  <a:pt x="5363" y="2849"/>
                </a:lnTo>
                <a:lnTo>
                  <a:pt x="5365" y="2850"/>
                </a:lnTo>
                <a:lnTo>
                  <a:pt x="5369" y="2851"/>
                </a:lnTo>
                <a:lnTo>
                  <a:pt x="5373" y="2852"/>
                </a:lnTo>
                <a:lnTo>
                  <a:pt x="5376" y="2853"/>
                </a:lnTo>
                <a:lnTo>
                  <a:pt x="5378" y="2853"/>
                </a:lnTo>
                <a:lnTo>
                  <a:pt x="5382" y="2852"/>
                </a:lnTo>
                <a:lnTo>
                  <a:pt x="5386" y="2851"/>
                </a:lnTo>
                <a:lnTo>
                  <a:pt x="5396" y="2848"/>
                </a:lnTo>
                <a:lnTo>
                  <a:pt x="5419" y="2840"/>
                </a:lnTo>
                <a:lnTo>
                  <a:pt x="5431" y="2837"/>
                </a:lnTo>
                <a:lnTo>
                  <a:pt x="5443" y="2834"/>
                </a:lnTo>
                <a:lnTo>
                  <a:pt x="5454" y="2832"/>
                </a:lnTo>
                <a:lnTo>
                  <a:pt x="5458" y="2832"/>
                </a:lnTo>
                <a:lnTo>
                  <a:pt x="5462" y="2833"/>
                </a:lnTo>
                <a:lnTo>
                  <a:pt x="5465" y="2834"/>
                </a:lnTo>
                <a:lnTo>
                  <a:pt x="5466" y="2836"/>
                </a:lnTo>
                <a:lnTo>
                  <a:pt x="5469" y="2840"/>
                </a:lnTo>
                <a:lnTo>
                  <a:pt x="5471" y="2844"/>
                </a:lnTo>
                <a:lnTo>
                  <a:pt x="5472" y="2846"/>
                </a:lnTo>
                <a:lnTo>
                  <a:pt x="5474" y="2847"/>
                </a:lnTo>
                <a:lnTo>
                  <a:pt x="5477" y="2848"/>
                </a:lnTo>
                <a:lnTo>
                  <a:pt x="5480" y="2847"/>
                </a:lnTo>
                <a:lnTo>
                  <a:pt x="5487" y="2846"/>
                </a:lnTo>
                <a:lnTo>
                  <a:pt x="5494" y="2845"/>
                </a:lnTo>
                <a:lnTo>
                  <a:pt x="5498" y="2846"/>
                </a:lnTo>
                <a:lnTo>
                  <a:pt x="5502" y="2847"/>
                </a:lnTo>
                <a:lnTo>
                  <a:pt x="5502" y="2850"/>
                </a:lnTo>
                <a:lnTo>
                  <a:pt x="5504" y="2852"/>
                </a:lnTo>
                <a:lnTo>
                  <a:pt x="5505" y="2854"/>
                </a:lnTo>
                <a:lnTo>
                  <a:pt x="5504" y="2856"/>
                </a:lnTo>
                <a:lnTo>
                  <a:pt x="5502" y="2858"/>
                </a:lnTo>
                <a:lnTo>
                  <a:pt x="5507" y="2859"/>
                </a:lnTo>
                <a:lnTo>
                  <a:pt x="5511" y="2859"/>
                </a:lnTo>
                <a:lnTo>
                  <a:pt x="5513" y="2860"/>
                </a:lnTo>
                <a:lnTo>
                  <a:pt x="5512" y="2862"/>
                </a:lnTo>
                <a:lnTo>
                  <a:pt x="5510" y="2864"/>
                </a:lnTo>
                <a:lnTo>
                  <a:pt x="5510" y="2865"/>
                </a:lnTo>
                <a:lnTo>
                  <a:pt x="5510" y="2866"/>
                </a:lnTo>
                <a:lnTo>
                  <a:pt x="5510" y="2867"/>
                </a:lnTo>
                <a:lnTo>
                  <a:pt x="5511" y="2867"/>
                </a:lnTo>
                <a:lnTo>
                  <a:pt x="5510" y="2867"/>
                </a:lnTo>
                <a:lnTo>
                  <a:pt x="5507" y="2867"/>
                </a:lnTo>
                <a:lnTo>
                  <a:pt x="5509" y="2869"/>
                </a:lnTo>
                <a:lnTo>
                  <a:pt x="5510" y="2871"/>
                </a:lnTo>
                <a:lnTo>
                  <a:pt x="5511" y="2872"/>
                </a:lnTo>
                <a:lnTo>
                  <a:pt x="5510" y="2872"/>
                </a:lnTo>
                <a:lnTo>
                  <a:pt x="5518" y="2874"/>
                </a:lnTo>
                <a:lnTo>
                  <a:pt x="5524" y="2875"/>
                </a:lnTo>
                <a:lnTo>
                  <a:pt x="5525" y="2883"/>
                </a:lnTo>
                <a:lnTo>
                  <a:pt x="5525" y="2889"/>
                </a:lnTo>
                <a:lnTo>
                  <a:pt x="5526" y="2891"/>
                </a:lnTo>
                <a:lnTo>
                  <a:pt x="5527" y="2895"/>
                </a:lnTo>
                <a:lnTo>
                  <a:pt x="5528" y="2899"/>
                </a:lnTo>
                <a:lnTo>
                  <a:pt x="5530" y="2903"/>
                </a:lnTo>
                <a:lnTo>
                  <a:pt x="5531" y="2903"/>
                </a:lnTo>
                <a:lnTo>
                  <a:pt x="5534" y="2904"/>
                </a:lnTo>
                <a:lnTo>
                  <a:pt x="5538" y="2906"/>
                </a:lnTo>
                <a:lnTo>
                  <a:pt x="5555" y="2884"/>
                </a:lnTo>
                <a:lnTo>
                  <a:pt x="5557" y="2883"/>
                </a:lnTo>
                <a:lnTo>
                  <a:pt x="5560" y="2884"/>
                </a:lnTo>
                <a:lnTo>
                  <a:pt x="5562" y="2884"/>
                </a:lnTo>
                <a:lnTo>
                  <a:pt x="5563" y="2884"/>
                </a:lnTo>
                <a:lnTo>
                  <a:pt x="5564" y="2884"/>
                </a:lnTo>
                <a:lnTo>
                  <a:pt x="5566" y="2881"/>
                </a:lnTo>
                <a:lnTo>
                  <a:pt x="5568" y="2876"/>
                </a:lnTo>
                <a:lnTo>
                  <a:pt x="5570" y="2872"/>
                </a:lnTo>
                <a:lnTo>
                  <a:pt x="5572" y="2869"/>
                </a:lnTo>
                <a:lnTo>
                  <a:pt x="5574" y="2869"/>
                </a:lnTo>
                <a:lnTo>
                  <a:pt x="5576" y="2870"/>
                </a:lnTo>
                <a:lnTo>
                  <a:pt x="5576" y="2871"/>
                </a:lnTo>
                <a:lnTo>
                  <a:pt x="5577" y="2873"/>
                </a:lnTo>
                <a:lnTo>
                  <a:pt x="5576" y="2878"/>
                </a:lnTo>
                <a:lnTo>
                  <a:pt x="5574" y="2883"/>
                </a:lnTo>
                <a:lnTo>
                  <a:pt x="5569" y="2895"/>
                </a:lnTo>
                <a:lnTo>
                  <a:pt x="5567" y="2900"/>
                </a:lnTo>
                <a:lnTo>
                  <a:pt x="5567" y="2902"/>
                </a:lnTo>
                <a:lnTo>
                  <a:pt x="5567" y="2904"/>
                </a:lnTo>
                <a:lnTo>
                  <a:pt x="5568" y="2909"/>
                </a:lnTo>
                <a:lnTo>
                  <a:pt x="5570" y="2912"/>
                </a:lnTo>
                <a:lnTo>
                  <a:pt x="5570" y="2914"/>
                </a:lnTo>
                <a:lnTo>
                  <a:pt x="5569" y="2915"/>
                </a:lnTo>
                <a:lnTo>
                  <a:pt x="5567" y="2916"/>
                </a:lnTo>
                <a:lnTo>
                  <a:pt x="5564" y="2916"/>
                </a:lnTo>
                <a:lnTo>
                  <a:pt x="5561" y="2916"/>
                </a:lnTo>
                <a:lnTo>
                  <a:pt x="5558" y="2917"/>
                </a:lnTo>
                <a:lnTo>
                  <a:pt x="5558" y="2923"/>
                </a:lnTo>
                <a:lnTo>
                  <a:pt x="5560" y="2922"/>
                </a:lnTo>
                <a:lnTo>
                  <a:pt x="5562" y="2921"/>
                </a:lnTo>
                <a:lnTo>
                  <a:pt x="5564" y="2920"/>
                </a:lnTo>
                <a:lnTo>
                  <a:pt x="5571" y="2917"/>
                </a:lnTo>
                <a:lnTo>
                  <a:pt x="5573" y="2916"/>
                </a:lnTo>
                <a:lnTo>
                  <a:pt x="5574" y="2914"/>
                </a:lnTo>
                <a:lnTo>
                  <a:pt x="5574" y="2912"/>
                </a:lnTo>
                <a:lnTo>
                  <a:pt x="5574" y="2909"/>
                </a:lnTo>
                <a:lnTo>
                  <a:pt x="5575" y="2900"/>
                </a:lnTo>
                <a:lnTo>
                  <a:pt x="5579" y="2901"/>
                </a:lnTo>
                <a:lnTo>
                  <a:pt x="5583" y="2900"/>
                </a:lnTo>
                <a:lnTo>
                  <a:pt x="5583" y="2901"/>
                </a:lnTo>
                <a:lnTo>
                  <a:pt x="5583" y="2902"/>
                </a:lnTo>
                <a:lnTo>
                  <a:pt x="5581" y="2904"/>
                </a:lnTo>
                <a:lnTo>
                  <a:pt x="5580" y="2905"/>
                </a:lnTo>
                <a:lnTo>
                  <a:pt x="5580" y="2906"/>
                </a:lnTo>
                <a:lnTo>
                  <a:pt x="5581" y="2906"/>
                </a:lnTo>
                <a:lnTo>
                  <a:pt x="5582" y="2908"/>
                </a:lnTo>
                <a:lnTo>
                  <a:pt x="5584" y="2910"/>
                </a:lnTo>
                <a:lnTo>
                  <a:pt x="5587" y="2916"/>
                </a:lnTo>
                <a:lnTo>
                  <a:pt x="5588" y="2919"/>
                </a:lnTo>
                <a:lnTo>
                  <a:pt x="5589" y="2922"/>
                </a:lnTo>
                <a:lnTo>
                  <a:pt x="5589" y="2926"/>
                </a:lnTo>
                <a:lnTo>
                  <a:pt x="5589" y="2929"/>
                </a:lnTo>
                <a:lnTo>
                  <a:pt x="5586" y="2937"/>
                </a:lnTo>
                <a:lnTo>
                  <a:pt x="5595" y="2935"/>
                </a:lnTo>
                <a:lnTo>
                  <a:pt x="5603" y="2931"/>
                </a:lnTo>
                <a:lnTo>
                  <a:pt x="5607" y="2944"/>
                </a:lnTo>
                <a:lnTo>
                  <a:pt x="5610" y="2957"/>
                </a:lnTo>
                <a:lnTo>
                  <a:pt x="5611" y="2970"/>
                </a:lnTo>
                <a:lnTo>
                  <a:pt x="5612" y="2976"/>
                </a:lnTo>
                <a:lnTo>
                  <a:pt x="5612" y="2982"/>
                </a:lnTo>
                <a:lnTo>
                  <a:pt x="5617" y="2984"/>
                </a:lnTo>
                <a:lnTo>
                  <a:pt x="5620" y="2986"/>
                </a:lnTo>
                <a:lnTo>
                  <a:pt x="5623" y="2988"/>
                </a:lnTo>
                <a:lnTo>
                  <a:pt x="5624" y="2989"/>
                </a:lnTo>
                <a:lnTo>
                  <a:pt x="5624" y="2990"/>
                </a:lnTo>
                <a:lnTo>
                  <a:pt x="5625" y="2993"/>
                </a:lnTo>
                <a:lnTo>
                  <a:pt x="5626" y="2996"/>
                </a:lnTo>
                <a:lnTo>
                  <a:pt x="5627" y="2998"/>
                </a:lnTo>
                <a:lnTo>
                  <a:pt x="5628" y="2999"/>
                </a:lnTo>
                <a:lnTo>
                  <a:pt x="5632" y="3001"/>
                </a:lnTo>
                <a:lnTo>
                  <a:pt x="5637" y="3003"/>
                </a:lnTo>
                <a:lnTo>
                  <a:pt x="5645" y="3007"/>
                </a:lnTo>
                <a:lnTo>
                  <a:pt x="5646" y="3007"/>
                </a:lnTo>
                <a:lnTo>
                  <a:pt x="5646" y="3006"/>
                </a:lnTo>
                <a:lnTo>
                  <a:pt x="5647" y="3003"/>
                </a:lnTo>
                <a:lnTo>
                  <a:pt x="5649" y="3002"/>
                </a:lnTo>
                <a:lnTo>
                  <a:pt x="5650" y="3001"/>
                </a:lnTo>
                <a:lnTo>
                  <a:pt x="5651" y="3002"/>
                </a:lnTo>
                <a:lnTo>
                  <a:pt x="5653" y="3003"/>
                </a:lnTo>
                <a:lnTo>
                  <a:pt x="5655" y="3005"/>
                </a:lnTo>
                <a:lnTo>
                  <a:pt x="5657" y="3008"/>
                </a:lnTo>
                <a:lnTo>
                  <a:pt x="5659" y="3013"/>
                </a:lnTo>
                <a:lnTo>
                  <a:pt x="5661" y="3014"/>
                </a:lnTo>
                <a:lnTo>
                  <a:pt x="5662" y="3016"/>
                </a:lnTo>
                <a:lnTo>
                  <a:pt x="5666" y="3018"/>
                </a:lnTo>
                <a:lnTo>
                  <a:pt x="5670" y="3020"/>
                </a:lnTo>
                <a:lnTo>
                  <a:pt x="5673" y="3021"/>
                </a:lnTo>
                <a:lnTo>
                  <a:pt x="5676" y="3021"/>
                </a:lnTo>
                <a:lnTo>
                  <a:pt x="5679" y="3021"/>
                </a:lnTo>
                <a:lnTo>
                  <a:pt x="5681" y="3020"/>
                </a:lnTo>
                <a:lnTo>
                  <a:pt x="5684" y="3017"/>
                </a:lnTo>
                <a:lnTo>
                  <a:pt x="5686" y="3013"/>
                </a:lnTo>
                <a:lnTo>
                  <a:pt x="5689" y="3010"/>
                </a:lnTo>
                <a:lnTo>
                  <a:pt x="5691" y="3006"/>
                </a:lnTo>
                <a:lnTo>
                  <a:pt x="5692" y="3005"/>
                </a:lnTo>
                <a:lnTo>
                  <a:pt x="5693" y="3005"/>
                </a:lnTo>
                <a:lnTo>
                  <a:pt x="5699" y="3005"/>
                </a:lnTo>
                <a:lnTo>
                  <a:pt x="5697" y="3002"/>
                </a:lnTo>
                <a:lnTo>
                  <a:pt x="5696" y="3000"/>
                </a:lnTo>
                <a:lnTo>
                  <a:pt x="5696" y="2999"/>
                </a:lnTo>
                <a:lnTo>
                  <a:pt x="5698" y="2997"/>
                </a:lnTo>
                <a:lnTo>
                  <a:pt x="5702" y="2995"/>
                </a:lnTo>
                <a:lnTo>
                  <a:pt x="5705" y="2993"/>
                </a:lnTo>
                <a:lnTo>
                  <a:pt x="5707" y="2990"/>
                </a:lnTo>
                <a:lnTo>
                  <a:pt x="5707" y="2992"/>
                </a:lnTo>
                <a:lnTo>
                  <a:pt x="5707" y="2994"/>
                </a:lnTo>
                <a:lnTo>
                  <a:pt x="5707" y="2995"/>
                </a:lnTo>
                <a:lnTo>
                  <a:pt x="5709" y="2997"/>
                </a:lnTo>
                <a:lnTo>
                  <a:pt x="5710" y="2999"/>
                </a:lnTo>
                <a:lnTo>
                  <a:pt x="5705" y="3002"/>
                </a:lnTo>
                <a:lnTo>
                  <a:pt x="5703" y="3004"/>
                </a:lnTo>
                <a:lnTo>
                  <a:pt x="5702" y="3006"/>
                </a:lnTo>
                <a:lnTo>
                  <a:pt x="5702" y="3007"/>
                </a:lnTo>
                <a:lnTo>
                  <a:pt x="5709" y="3005"/>
                </a:lnTo>
                <a:lnTo>
                  <a:pt x="5717" y="3004"/>
                </a:lnTo>
                <a:lnTo>
                  <a:pt x="5719" y="3004"/>
                </a:lnTo>
                <a:lnTo>
                  <a:pt x="5720" y="3004"/>
                </a:lnTo>
                <a:lnTo>
                  <a:pt x="5719" y="3005"/>
                </a:lnTo>
                <a:lnTo>
                  <a:pt x="5718" y="3006"/>
                </a:lnTo>
                <a:lnTo>
                  <a:pt x="5717" y="3008"/>
                </a:lnTo>
                <a:lnTo>
                  <a:pt x="5710" y="3013"/>
                </a:lnTo>
                <a:lnTo>
                  <a:pt x="5714" y="3015"/>
                </a:lnTo>
                <a:lnTo>
                  <a:pt x="5719" y="3017"/>
                </a:lnTo>
                <a:lnTo>
                  <a:pt x="5724" y="3019"/>
                </a:lnTo>
                <a:lnTo>
                  <a:pt x="5728" y="3021"/>
                </a:lnTo>
                <a:lnTo>
                  <a:pt x="5728" y="3022"/>
                </a:lnTo>
                <a:lnTo>
                  <a:pt x="5729" y="3023"/>
                </a:lnTo>
                <a:lnTo>
                  <a:pt x="5729" y="3026"/>
                </a:lnTo>
                <a:lnTo>
                  <a:pt x="5730" y="3028"/>
                </a:lnTo>
                <a:lnTo>
                  <a:pt x="5731" y="3030"/>
                </a:lnTo>
                <a:lnTo>
                  <a:pt x="5731" y="3029"/>
                </a:lnTo>
                <a:lnTo>
                  <a:pt x="5732" y="3028"/>
                </a:lnTo>
                <a:lnTo>
                  <a:pt x="5732" y="3025"/>
                </a:lnTo>
                <a:lnTo>
                  <a:pt x="5733" y="3023"/>
                </a:lnTo>
                <a:lnTo>
                  <a:pt x="5734" y="3021"/>
                </a:lnTo>
                <a:lnTo>
                  <a:pt x="5735" y="3021"/>
                </a:lnTo>
                <a:lnTo>
                  <a:pt x="5737" y="3021"/>
                </a:lnTo>
                <a:lnTo>
                  <a:pt x="5740" y="3022"/>
                </a:lnTo>
                <a:lnTo>
                  <a:pt x="5742" y="3021"/>
                </a:lnTo>
                <a:lnTo>
                  <a:pt x="5745" y="3019"/>
                </a:lnTo>
                <a:lnTo>
                  <a:pt x="5748" y="3016"/>
                </a:lnTo>
                <a:lnTo>
                  <a:pt x="5750" y="3012"/>
                </a:lnTo>
                <a:lnTo>
                  <a:pt x="5752" y="3008"/>
                </a:lnTo>
                <a:lnTo>
                  <a:pt x="5755" y="2999"/>
                </a:lnTo>
                <a:lnTo>
                  <a:pt x="5756" y="2993"/>
                </a:lnTo>
                <a:lnTo>
                  <a:pt x="5766" y="2993"/>
                </a:lnTo>
                <a:lnTo>
                  <a:pt x="5775" y="2994"/>
                </a:lnTo>
                <a:lnTo>
                  <a:pt x="5784" y="2994"/>
                </a:lnTo>
                <a:lnTo>
                  <a:pt x="5787" y="2994"/>
                </a:lnTo>
                <a:lnTo>
                  <a:pt x="5790" y="2993"/>
                </a:lnTo>
                <a:lnTo>
                  <a:pt x="5790" y="2992"/>
                </a:lnTo>
                <a:lnTo>
                  <a:pt x="5791" y="2991"/>
                </a:lnTo>
                <a:lnTo>
                  <a:pt x="5792" y="2989"/>
                </a:lnTo>
                <a:lnTo>
                  <a:pt x="5794" y="2988"/>
                </a:lnTo>
                <a:lnTo>
                  <a:pt x="5795" y="2988"/>
                </a:lnTo>
                <a:lnTo>
                  <a:pt x="5795" y="2984"/>
                </a:lnTo>
                <a:lnTo>
                  <a:pt x="5796" y="2981"/>
                </a:lnTo>
                <a:lnTo>
                  <a:pt x="5798" y="2979"/>
                </a:lnTo>
                <a:lnTo>
                  <a:pt x="5798" y="2976"/>
                </a:lnTo>
                <a:lnTo>
                  <a:pt x="5798" y="2975"/>
                </a:lnTo>
                <a:lnTo>
                  <a:pt x="5796" y="2974"/>
                </a:lnTo>
                <a:lnTo>
                  <a:pt x="5793" y="2972"/>
                </a:lnTo>
                <a:lnTo>
                  <a:pt x="5792" y="2971"/>
                </a:lnTo>
                <a:lnTo>
                  <a:pt x="5791" y="2971"/>
                </a:lnTo>
                <a:lnTo>
                  <a:pt x="5790" y="2970"/>
                </a:lnTo>
                <a:lnTo>
                  <a:pt x="5790" y="2968"/>
                </a:lnTo>
                <a:lnTo>
                  <a:pt x="5790" y="2965"/>
                </a:lnTo>
                <a:lnTo>
                  <a:pt x="5791" y="2964"/>
                </a:lnTo>
                <a:lnTo>
                  <a:pt x="5794" y="2962"/>
                </a:lnTo>
                <a:lnTo>
                  <a:pt x="5798" y="2960"/>
                </a:lnTo>
                <a:lnTo>
                  <a:pt x="5799" y="2957"/>
                </a:lnTo>
                <a:lnTo>
                  <a:pt x="5800" y="2954"/>
                </a:lnTo>
                <a:lnTo>
                  <a:pt x="5800" y="2948"/>
                </a:lnTo>
                <a:lnTo>
                  <a:pt x="5800" y="2941"/>
                </a:lnTo>
                <a:lnTo>
                  <a:pt x="5800" y="2938"/>
                </a:lnTo>
                <a:lnTo>
                  <a:pt x="5801" y="2934"/>
                </a:lnTo>
                <a:lnTo>
                  <a:pt x="5802" y="2931"/>
                </a:lnTo>
                <a:lnTo>
                  <a:pt x="5804" y="2928"/>
                </a:lnTo>
                <a:lnTo>
                  <a:pt x="5808" y="2921"/>
                </a:lnTo>
                <a:lnTo>
                  <a:pt x="5812" y="2913"/>
                </a:lnTo>
                <a:lnTo>
                  <a:pt x="5814" y="2910"/>
                </a:lnTo>
                <a:lnTo>
                  <a:pt x="5815" y="2906"/>
                </a:lnTo>
                <a:lnTo>
                  <a:pt x="5816" y="2902"/>
                </a:lnTo>
                <a:lnTo>
                  <a:pt x="5816" y="2899"/>
                </a:lnTo>
                <a:lnTo>
                  <a:pt x="5815" y="2895"/>
                </a:lnTo>
                <a:lnTo>
                  <a:pt x="5815" y="2892"/>
                </a:lnTo>
                <a:lnTo>
                  <a:pt x="5814" y="2886"/>
                </a:lnTo>
                <a:lnTo>
                  <a:pt x="5814" y="2883"/>
                </a:lnTo>
                <a:lnTo>
                  <a:pt x="5815" y="2881"/>
                </a:lnTo>
                <a:lnTo>
                  <a:pt x="5819" y="2881"/>
                </a:lnTo>
                <a:lnTo>
                  <a:pt x="5824" y="2881"/>
                </a:lnTo>
                <a:lnTo>
                  <a:pt x="5824" y="2879"/>
                </a:lnTo>
                <a:lnTo>
                  <a:pt x="5824" y="2877"/>
                </a:lnTo>
                <a:lnTo>
                  <a:pt x="5823" y="2874"/>
                </a:lnTo>
                <a:lnTo>
                  <a:pt x="5824" y="2872"/>
                </a:lnTo>
                <a:lnTo>
                  <a:pt x="5825" y="2871"/>
                </a:lnTo>
                <a:lnTo>
                  <a:pt x="5827" y="2869"/>
                </a:lnTo>
                <a:lnTo>
                  <a:pt x="5832" y="2866"/>
                </a:lnTo>
                <a:lnTo>
                  <a:pt x="5843" y="2861"/>
                </a:lnTo>
                <a:lnTo>
                  <a:pt x="5843" y="2855"/>
                </a:lnTo>
                <a:lnTo>
                  <a:pt x="5843" y="2856"/>
                </a:lnTo>
                <a:lnTo>
                  <a:pt x="5842" y="2856"/>
                </a:lnTo>
                <a:lnTo>
                  <a:pt x="5842" y="2853"/>
                </a:lnTo>
                <a:lnTo>
                  <a:pt x="5842" y="2850"/>
                </a:lnTo>
                <a:lnTo>
                  <a:pt x="5843" y="2847"/>
                </a:lnTo>
                <a:lnTo>
                  <a:pt x="5849" y="2847"/>
                </a:lnTo>
                <a:lnTo>
                  <a:pt x="5849" y="2844"/>
                </a:lnTo>
                <a:lnTo>
                  <a:pt x="5850" y="2842"/>
                </a:lnTo>
                <a:lnTo>
                  <a:pt x="5852" y="2839"/>
                </a:lnTo>
                <a:lnTo>
                  <a:pt x="5852" y="2836"/>
                </a:lnTo>
                <a:lnTo>
                  <a:pt x="5852" y="2833"/>
                </a:lnTo>
                <a:lnTo>
                  <a:pt x="5852" y="2827"/>
                </a:lnTo>
                <a:lnTo>
                  <a:pt x="5852" y="2822"/>
                </a:lnTo>
                <a:lnTo>
                  <a:pt x="5852" y="2816"/>
                </a:lnTo>
                <a:lnTo>
                  <a:pt x="5852" y="2813"/>
                </a:lnTo>
                <a:lnTo>
                  <a:pt x="5852" y="2810"/>
                </a:lnTo>
                <a:lnTo>
                  <a:pt x="5852" y="2801"/>
                </a:lnTo>
                <a:lnTo>
                  <a:pt x="5851" y="2793"/>
                </a:lnTo>
                <a:lnTo>
                  <a:pt x="5852" y="2785"/>
                </a:lnTo>
                <a:lnTo>
                  <a:pt x="5857" y="2785"/>
                </a:lnTo>
                <a:lnTo>
                  <a:pt x="5859" y="2778"/>
                </a:lnTo>
                <a:lnTo>
                  <a:pt x="5860" y="2774"/>
                </a:lnTo>
                <a:lnTo>
                  <a:pt x="5860" y="2769"/>
                </a:lnTo>
                <a:lnTo>
                  <a:pt x="5859" y="2763"/>
                </a:lnTo>
                <a:lnTo>
                  <a:pt x="5857" y="2757"/>
                </a:lnTo>
                <a:lnTo>
                  <a:pt x="5853" y="2747"/>
                </a:lnTo>
                <a:lnTo>
                  <a:pt x="5850" y="2742"/>
                </a:lnTo>
                <a:lnTo>
                  <a:pt x="5849" y="2737"/>
                </a:lnTo>
                <a:lnTo>
                  <a:pt x="5849" y="2733"/>
                </a:lnTo>
                <a:lnTo>
                  <a:pt x="5849" y="2727"/>
                </a:lnTo>
                <a:lnTo>
                  <a:pt x="5851" y="2715"/>
                </a:lnTo>
                <a:lnTo>
                  <a:pt x="5851" y="2708"/>
                </a:lnTo>
                <a:lnTo>
                  <a:pt x="5852" y="2701"/>
                </a:lnTo>
                <a:lnTo>
                  <a:pt x="5851" y="2698"/>
                </a:lnTo>
                <a:lnTo>
                  <a:pt x="5851" y="2695"/>
                </a:lnTo>
                <a:lnTo>
                  <a:pt x="5850" y="2692"/>
                </a:lnTo>
                <a:lnTo>
                  <a:pt x="5849" y="2689"/>
                </a:lnTo>
                <a:lnTo>
                  <a:pt x="5832" y="2678"/>
                </a:lnTo>
                <a:lnTo>
                  <a:pt x="5832" y="2677"/>
                </a:lnTo>
                <a:lnTo>
                  <a:pt x="5831" y="2676"/>
                </a:lnTo>
                <a:lnTo>
                  <a:pt x="5832" y="2673"/>
                </a:lnTo>
                <a:lnTo>
                  <a:pt x="5832" y="2670"/>
                </a:lnTo>
                <a:lnTo>
                  <a:pt x="5832" y="2667"/>
                </a:lnTo>
                <a:lnTo>
                  <a:pt x="5829" y="2664"/>
                </a:lnTo>
                <a:lnTo>
                  <a:pt x="5823" y="2661"/>
                </a:lnTo>
                <a:lnTo>
                  <a:pt x="5815" y="2656"/>
                </a:lnTo>
                <a:lnTo>
                  <a:pt x="5814" y="2653"/>
                </a:lnTo>
                <a:lnTo>
                  <a:pt x="5813" y="2650"/>
                </a:lnTo>
                <a:lnTo>
                  <a:pt x="5813" y="2646"/>
                </a:lnTo>
                <a:lnTo>
                  <a:pt x="5812" y="2643"/>
                </a:lnTo>
                <a:lnTo>
                  <a:pt x="5812" y="2635"/>
                </a:lnTo>
                <a:lnTo>
                  <a:pt x="5812" y="2628"/>
                </a:lnTo>
                <a:lnTo>
                  <a:pt x="5806" y="2625"/>
                </a:lnTo>
                <a:lnTo>
                  <a:pt x="5801" y="2621"/>
                </a:lnTo>
                <a:lnTo>
                  <a:pt x="5799" y="2620"/>
                </a:lnTo>
                <a:lnTo>
                  <a:pt x="5796" y="2619"/>
                </a:lnTo>
                <a:lnTo>
                  <a:pt x="5793" y="2617"/>
                </a:lnTo>
                <a:lnTo>
                  <a:pt x="5790" y="2616"/>
                </a:lnTo>
                <a:lnTo>
                  <a:pt x="5790" y="2606"/>
                </a:lnTo>
                <a:lnTo>
                  <a:pt x="5790" y="2595"/>
                </a:lnTo>
                <a:lnTo>
                  <a:pt x="5789" y="2591"/>
                </a:lnTo>
                <a:lnTo>
                  <a:pt x="5788" y="2587"/>
                </a:lnTo>
                <a:lnTo>
                  <a:pt x="5787" y="2585"/>
                </a:lnTo>
                <a:lnTo>
                  <a:pt x="5785" y="2584"/>
                </a:lnTo>
                <a:lnTo>
                  <a:pt x="5783" y="2582"/>
                </a:lnTo>
                <a:lnTo>
                  <a:pt x="5781" y="2582"/>
                </a:lnTo>
                <a:lnTo>
                  <a:pt x="5776" y="2582"/>
                </a:lnTo>
                <a:lnTo>
                  <a:pt x="5777" y="2578"/>
                </a:lnTo>
                <a:lnTo>
                  <a:pt x="5779" y="2576"/>
                </a:lnTo>
                <a:lnTo>
                  <a:pt x="5780" y="2574"/>
                </a:lnTo>
                <a:lnTo>
                  <a:pt x="5781" y="2573"/>
                </a:lnTo>
                <a:lnTo>
                  <a:pt x="5781" y="2572"/>
                </a:lnTo>
                <a:lnTo>
                  <a:pt x="5781" y="2571"/>
                </a:lnTo>
                <a:lnTo>
                  <a:pt x="5780" y="2570"/>
                </a:lnTo>
                <a:lnTo>
                  <a:pt x="5779" y="2569"/>
                </a:lnTo>
                <a:lnTo>
                  <a:pt x="5779" y="2568"/>
                </a:lnTo>
                <a:lnTo>
                  <a:pt x="5779" y="2565"/>
                </a:lnTo>
                <a:lnTo>
                  <a:pt x="5774" y="2562"/>
                </a:lnTo>
                <a:lnTo>
                  <a:pt x="5769" y="2559"/>
                </a:lnTo>
                <a:lnTo>
                  <a:pt x="5754" y="2552"/>
                </a:lnTo>
                <a:lnTo>
                  <a:pt x="5747" y="2548"/>
                </a:lnTo>
                <a:lnTo>
                  <a:pt x="5741" y="2545"/>
                </a:lnTo>
                <a:lnTo>
                  <a:pt x="5736" y="2542"/>
                </a:lnTo>
                <a:lnTo>
                  <a:pt x="5734" y="2541"/>
                </a:lnTo>
                <a:lnTo>
                  <a:pt x="5734" y="2539"/>
                </a:lnTo>
                <a:lnTo>
                  <a:pt x="5732" y="2535"/>
                </a:lnTo>
                <a:lnTo>
                  <a:pt x="5731" y="2533"/>
                </a:lnTo>
                <a:lnTo>
                  <a:pt x="5731" y="2530"/>
                </a:lnTo>
                <a:lnTo>
                  <a:pt x="5731" y="2520"/>
                </a:lnTo>
                <a:lnTo>
                  <a:pt x="5732" y="2510"/>
                </a:lnTo>
                <a:lnTo>
                  <a:pt x="5731" y="2505"/>
                </a:lnTo>
                <a:lnTo>
                  <a:pt x="5731" y="2500"/>
                </a:lnTo>
                <a:lnTo>
                  <a:pt x="5730" y="2497"/>
                </a:lnTo>
                <a:lnTo>
                  <a:pt x="5728" y="2494"/>
                </a:lnTo>
                <a:lnTo>
                  <a:pt x="5724" y="2488"/>
                </a:lnTo>
                <a:lnTo>
                  <a:pt x="5719" y="2483"/>
                </a:lnTo>
                <a:lnTo>
                  <a:pt x="5718" y="2480"/>
                </a:lnTo>
                <a:lnTo>
                  <a:pt x="5717" y="2477"/>
                </a:lnTo>
                <a:lnTo>
                  <a:pt x="5716" y="2473"/>
                </a:lnTo>
                <a:lnTo>
                  <a:pt x="5716" y="2469"/>
                </a:lnTo>
                <a:lnTo>
                  <a:pt x="5717" y="2460"/>
                </a:lnTo>
                <a:lnTo>
                  <a:pt x="5718" y="2452"/>
                </a:lnTo>
                <a:lnTo>
                  <a:pt x="5718" y="2448"/>
                </a:lnTo>
                <a:lnTo>
                  <a:pt x="5717" y="2444"/>
                </a:lnTo>
                <a:lnTo>
                  <a:pt x="5707" y="2444"/>
                </a:lnTo>
                <a:lnTo>
                  <a:pt x="5704" y="2438"/>
                </a:lnTo>
                <a:lnTo>
                  <a:pt x="5702" y="2438"/>
                </a:lnTo>
                <a:lnTo>
                  <a:pt x="5702" y="2434"/>
                </a:lnTo>
                <a:lnTo>
                  <a:pt x="5702" y="2430"/>
                </a:lnTo>
                <a:lnTo>
                  <a:pt x="5699" y="2431"/>
                </a:lnTo>
                <a:lnTo>
                  <a:pt x="5698" y="2431"/>
                </a:lnTo>
                <a:lnTo>
                  <a:pt x="5693" y="2432"/>
                </a:lnTo>
                <a:lnTo>
                  <a:pt x="5693" y="2438"/>
                </a:lnTo>
                <a:lnTo>
                  <a:pt x="5691" y="2438"/>
                </a:lnTo>
                <a:lnTo>
                  <a:pt x="5689" y="2438"/>
                </a:lnTo>
                <a:lnTo>
                  <a:pt x="5688" y="2438"/>
                </a:lnTo>
                <a:lnTo>
                  <a:pt x="5688" y="2437"/>
                </a:lnTo>
                <a:lnTo>
                  <a:pt x="5687" y="2435"/>
                </a:lnTo>
                <a:lnTo>
                  <a:pt x="5686" y="2435"/>
                </a:lnTo>
                <a:lnTo>
                  <a:pt x="5685" y="2435"/>
                </a:lnTo>
                <a:lnTo>
                  <a:pt x="5684" y="2422"/>
                </a:lnTo>
                <a:lnTo>
                  <a:pt x="5683" y="2411"/>
                </a:lnTo>
                <a:lnTo>
                  <a:pt x="5681" y="2401"/>
                </a:lnTo>
                <a:lnTo>
                  <a:pt x="5678" y="2392"/>
                </a:lnTo>
                <a:lnTo>
                  <a:pt x="5675" y="2384"/>
                </a:lnTo>
                <a:lnTo>
                  <a:pt x="5671" y="2376"/>
                </a:lnTo>
                <a:lnTo>
                  <a:pt x="5662" y="2359"/>
                </a:lnTo>
                <a:lnTo>
                  <a:pt x="5658" y="2359"/>
                </a:lnTo>
                <a:lnTo>
                  <a:pt x="5654" y="2359"/>
                </a:lnTo>
                <a:lnTo>
                  <a:pt x="5652" y="2375"/>
                </a:lnTo>
                <a:lnTo>
                  <a:pt x="5651" y="2388"/>
                </a:lnTo>
                <a:lnTo>
                  <a:pt x="5650" y="2400"/>
                </a:lnTo>
                <a:lnTo>
                  <a:pt x="5651" y="2413"/>
                </a:lnTo>
                <a:lnTo>
                  <a:pt x="5645" y="2416"/>
                </a:lnTo>
                <a:lnTo>
                  <a:pt x="5645" y="2424"/>
                </a:lnTo>
                <a:lnTo>
                  <a:pt x="5645" y="2431"/>
                </a:lnTo>
                <a:lnTo>
                  <a:pt x="5646" y="2438"/>
                </a:lnTo>
                <a:lnTo>
                  <a:pt x="5646" y="2445"/>
                </a:lnTo>
                <a:lnTo>
                  <a:pt x="5647" y="2452"/>
                </a:lnTo>
                <a:lnTo>
                  <a:pt x="5647" y="2459"/>
                </a:lnTo>
                <a:lnTo>
                  <a:pt x="5647" y="2467"/>
                </a:lnTo>
                <a:lnTo>
                  <a:pt x="5645" y="2475"/>
                </a:lnTo>
                <a:lnTo>
                  <a:pt x="5642" y="2476"/>
                </a:lnTo>
                <a:lnTo>
                  <a:pt x="5641" y="2477"/>
                </a:lnTo>
                <a:lnTo>
                  <a:pt x="5640" y="2477"/>
                </a:lnTo>
                <a:lnTo>
                  <a:pt x="5639" y="2479"/>
                </a:lnTo>
                <a:lnTo>
                  <a:pt x="5639" y="2481"/>
                </a:lnTo>
                <a:lnTo>
                  <a:pt x="5639" y="2484"/>
                </a:lnTo>
                <a:lnTo>
                  <a:pt x="5640" y="2488"/>
                </a:lnTo>
                <a:lnTo>
                  <a:pt x="5640" y="2492"/>
                </a:lnTo>
                <a:lnTo>
                  <a:pt x="5634" y="2497"/>
                </a:lnTo>
                <a:lnTo>
                  <a:pt x="5634" y="2500"/>
                </a:lnTo>
                <a:lnTo>
                  <a:pt x="5634" y="2503"/>
                </a:lnTo>
                <a:lnTo>
                  <a:pt x="5634" y="2506"/>
                </a:lnTo>
                <a:lnTo>
                  <a:pt x="5634" y="2507"/>
                </a:lnTo>
                <a:lnTo>
                  <a:pt x="5634" y="2508"/>
                </a:lnTo>
                <a:lnTo>
                  <a:pt x="5633" y="2509"/>
                </a:lnTo>
                <a:lnTo>
                  <a:pt x="5631" y="2509"/>
                </a:lnTo>
                <a:lnTo>
                  <a:pt x="5630" y="2509"/>
                </a:lnTo>
                <a:lnTo>
                  <a:pt x="5628" y="2511"/>
                </a:lnTo>
                <a:lnTo>
                  <a:pt x="5627" y="2511"/>
                </a:lnTo>
                <a:lnTo>
                  <a:pt x="5625" y="2511"/>
                </a:lnTo>
                <a:lnTo>
                  <a:pt x="5621" y="2511"/>
                </a:lnTo>
                <a:lnTo>
                  <a:pt x="5618" y="2512"/>
                </a:lnTo>
                <a:lnTo>
                  <a:pt x="5616" y="2512"/>
                </a:lnTo>
                <a:lnTo>
                  <a:pt x="5614" y="2511"/>
                </a:lnTo>
                <a:lnTo>
                  <a:pt x="5613" y="2510"/>
                </a:lnTo>
                <a:lnTo>
                  <a:pt x="5611" y="2508"/>
                </a:lnTo>
                <a:lnTo>
                  <a:pt x="5609" y="2503"/>
                </a:lnTo>
                <a:lnTo>
                  <a:pt x="5608" y="2498"/>
                </a:lnTo>
                <a:lnTo>
                  <a:pt x="5607" y="2496"/>
                </a:lnTo>
                <a:lnTo>
                  <a:pt x="5607" y="2495"/>
                </a:lnTo>
                <a:lnTo>
                  <a:pt x="5606" y="2494"/>
                </a:lnTo>
                <a:lnTo>
                  <a:pt x="5604" y="2494"/>
                </a:lnTo>
                <a:lnTo>
                  <a:pt x="5602" y="2494"/>
                </a:lnTo>
                <a:lnTo>
                  <a:pt x="5599" y="2494"/>
                </a:lnTo>
                <a:lnTo>
                  <a:pt x="5597" y="2494"/>
                </a:lnTo>
                <a:lnTo>
                  <a:pt x="5596" y="2494"/>
                </a:lnTo>
                <a:lnTo>
                  <a:pt x="5595" y="2493"/>
                </a:lnTo>
                <a:lnTo>
                  <a:pt x="5592" y="2490"/>
                </a:lnTo>
                <a:lnTo>
                  <a:pt x="5590" y="2487"/>
                </a:lnTo>
                <a:lnTo>
                  <a:pt x="5587" y="2483"/>
                </a:lnTo>
                <a:lnTo>
                  <a:pt x="5585" y="2480"/>
                </a:lnTo>
                <a:lnTo>
                  <a:pt x="5583" y="2477"/>
                </a:lnTo>
                <a:lnTo>
                  <a:pt x="5580" y="2474"/>
                </a:lnTo>
                <a:lnTo>
                  <a:pt x="5578" y="2472"/>
                </a:lnTo>
                <a:lnTo>
                  <a:pt x="5575" y="2470"/>
                </a:lnTo>
                <a:lnTo>
                  <a:pt x="5572" y="2470"/>
                </a:lnTo>
                <a:lnTo>
                  <a:pt x="5567" y="2469"/>
                </a:lnTo>
                <a:lnTo>
                  <a:pt x="5561" y="2468"/>
                </a:lnTo>
                <a:lnTo>
                  <a:pt x="5558" y="2468"/>
                </a:lnTo>
                <a:lnTo>
                  <a:pt x="5555" y="2466"/>
                </a:lnTo>
                <a:lnTo>
                  <a:pt x="5555" y="2461"/>
                </a:lnTo>
                <a:lnTo>
                  <a:pt x="5547" y="2456"/>
                </a:lnTo>
                <a:lnTo>
                  <a:pt x="5543" y="2455"/>
                </a:lnTo>
                <a:lnTo>
                  <a:pt x="5538" y="2452"/>
                </a:lnTo>
                <a:lnTo>
                  <a:pt x="5539" y="2447"/>
                </a:lnTo>
                <a:lnTo>
                  <a:pt x="5539" y="2442"/>
                </a:lnTo>
                <a:lnTo>
                  <a:pt x="5538" y="2432"/>
                </a:lnTo>
                <a:lnTo>
                  <a:pt x="5544" y="2430"/>
                </a:lnTo>
                <a:lnTo>
                  <a:pt x="5545" y="2424"/>
                </a:lnTo>
                <a:lnTo>
                  <a:pt x="5545" y="2419"/>
                </a:lnTo>
                <a:lnTo>
                  <a:pt x="5545" y="2417"/>
                </a:lnTo>
                <a:lnTo>
                  <a:pt x="5544" y="2415"/>
                </a:lnTo>
                <a:lnTo>
                  <a:pt x="5543" y="2414"/>
                </a:lnTo>
                <a:lnTo>
                  <a:pt x="5541" y="2413"/>
                </a:lnTo>
                <a:lnTo>
                  <a:pt x="5545" y="2412"/>
                </a:lnTo>
                <a:lnTo>
                  <a:pt x="5548" y="2412"/>
                </a:lnTo>
                <a:lnTo>
                  <a:pt x="5555" y="2413"/>
                </a:lnTo>
                <a:lnTo>
                  <a:pt x="5555" y="2408"/>
                </a:lnTo>
                <a:lnTo>
                  <a:pt x="5555" y="2404"/>
                </a:lnTo>
                <a:lnTo>
                  <a:pt x="5554" y="2403"/>
                </a:lnTo>
                <a:lnTo>
                  <a:pt x="5553" y="2403"/>
                </a:lnTo>
                <a:lnTo>
                  <a:pt x="5552" y="2402"/>
                </a:lnTo>
                <a:lnTo>
                  <a:pt x="5552" y="2400"/>
                </a:lnTo>
                <a:lnTo>
                  <a:pt x="5552" y="2399"/>
                </a:lnTo>
                <a:lnTo>
                  <a:pt x="5554" y="2398"/>
                </a:lnTo>
                <a:lnTo>
                  <a:pt x="5556" y="2397"/>
                </a:lnTo>
                <a:lnTo>
                  <a:pt x="5559" y="2395"/>
                </a:lnTo>
                <a:lnTo>
                  <a:pt x="5560" y="2394"/>
                </a:lnTo>
                <a:lnTo>
                  <a:pt x="5561" y="2393"/>
                </a:lnTo>
                <a:lnTo>
                  <a:pt x="5561" y="2391"/>
                </a:lnTo>
                <a:lnTo>
                  <a:pt x="5560" y="2388"/>
                </a:lnTo>
                <a:lnTo>
                  <a:pt x="5558" y="2382"/>
                </a:lnTo>
                <a:lnTo>
                  <a:pt x="5555" y="2383"/>
                </a:lnTo>
                <a:lnTo>
                  <a:pt x="5548" y="2386"/>
                </a:lnTo>
                <a:lnTo>
                  <a:pt x="5544" y="2387"/>
                </a:lnTo>
                <a:lnTo>
                  <a:pt x="5541" y="2382"/>
                </a:lnTo>
                <a:lnTo>
                  <a:pt x="5534" y="2382"/>
                </a:lnTo>
                <a:lnTo>
                  <a:pt x="5527" y="2382"/>
                </a:lnTo>
                <a:lnTo>
                  <a:pt x="5520" y="2381"/>
                </a:lnTo>
                <a:lnTo>
                  <a:pt x="5510" y="2379"/>
                </a:lnTo>
                <a:lnTo>
                  <a:pt x="5512" y="2379"/>
                </a:lnTo>
                <a:lnTo>
                  <a:pt x="5509" y="2378"/>
                </a:lnTo>
                <a:lnTo>
                  <a:pt x="5506" y="2378"/>
                </a:lnTo>
                <a:lnTo>
                  <a:pt x="5507" y="2379"/>
                </a:lnTo>
                <a:lnTo>
                  <a:pt x="5504" y="2377"/>
                </a:lnTo>
                <a:lnTo>
                  <a:pt x="5502" y="2375"/>
                </a:lnTo>
                <a:lnTo>
                  <a:pt x="5501" y="2373"/>
                </a:lnTo>
                <a:lnTo>
                  <a:pt x="5499" y="2371"/>
                </a:lnTo>
                <a:lnTo>
                  <a:pt x="5495" y="2373"/>
                </a:lnTo>
                <a:lnTo>
                  <a:pt x="5493" y="2375"/>
                </a:lnTo>
                <a:lnTo>
                  <a:pt x="5493" y="2376"/>
                </a:lnTo>
                <a:lnTo>
                  <a:pt x="5489" y="2375"/>
                </a:lnTo>
                <a:lnTo>
                  <a:pt x="5487" y="2374"/>
                </a:lnTo>
                <a:lnTo>
                  <a:pt x="5488" y="2373"/>
                </a:lnTo>
                <a:lnTo>
                  <a:pt x="5485" y="2372"/>
                </a:lnTo>
                <a:lnTo>
                  <a:pt x="5482" y="2369"/>
                </a:lnTo>
                <a:lnTo>
                  <a:pt x="5479" y="2366"/>
                </a:lnTo>
                <a:lnTo>
                  <a:pt x="5477" y="2365"/>
                </a:lnTo>
                <a:lnTo>
                  <a:pt x="5473" y="2364"/>
                </a:lnTo>
                <a:lnTo>
                  <a:pt x="5470" y="2364"/>
                </a:lnTo>
                <a:lnTo>
                  <a:pt x="5469" y="2364"/>
                </a:lnTo>
                <a:lnTo>
                  <a:pt x="5469" y="2365"/>
                </a:lnTo>
                <a:lnTo>
                  <a:pt x="5469" y="2366"/>
                </a:lnTo>
                <a:lnTo>
                  <a:pt x="5470" y="2368"/>
                </a:lnTo>
                <a:lnTo>
                  <a:pt x="5474" y="2371"/>
                </a:lnTo>
                <a:lnTo>
                  <a:pt x="5485" y="2378"/>
                </a:lnTo>
                <a:lnTo>
                  <a:pt x="5491" y="2382"/>
                </a:lnTo>
                <a:lnTo>
                  <a:pt x="5490" y="2384"/>
                </a:lnTo>
                <a:lnTo>
                  <a:pt x="5490" y="2387"/>
                </a:lnTo>
                <a:lnTo>
                  <a:pt x="5489" y="2388"/>
                </a:lnTo>
                <a:lnTo>
                  <a:pt x="5488" y="2389"/>
                </a:lnTo>
                <a:lnTo>
                  <a:pt x="5487" y="2389"/>
                </a:lnTo>
                <a:lnTo>
                  <a:pt x="5485" y="2387"/>
                </a:lnTo>
                <a:lnTo>
                  <a:pt x="5485" y="2393"/>
                </a:lnTo>
                <a:lnTo>
                  <a:pt x="5482" y="2393"/>
                </a:lnTo>
                <a:lnTo>
                  <a:pt x="5479" y="2392"/>
                </a:lnTo>
                <a:lnTo>
                  <a:pt x="5472" y="2389"/>
                </a:lnTo>
                <a:lnTo>
                  <a:pt x="5464" y="2386"/>
                </a:lnTo>
                <a:lnTo>
                  <a:pt x="5460" y="2385"/>
                </a:lnTo>
                <a:lnTo>
                  <a:pt x="5457" y="2385"/>
                </a:lnTo>
                <a:lnTo>
                  <a:pt x="5456" y="2386"/>
                </a:lnTo>
                <a:lnTo>
                  <a:pt x="5455" y="2389"/>
                </a:lnTo>
                <a:lnTo>
                  <a:pt x="5454" y="2393"/>
                </a:lnTo>
                <a:lnTo>
                  <a:pt x="5453" y="2393"/>
                </a:lnTo>
                <a:lnTo>
                  <a:pt x="5452" y="2393"/>
                </a:lnTo>
                <a:lnTo>
                  <a:pt x="5449" y="2391"/>
                </a:lnTo>
                <a:lnTo>
                  <a:pt x="5446" y="2387"/>
                </a:lnTo>
                <a:lnTo>
                  <a:pt x="5444" y="2395"/>
                </a:lnTo>
                <a:lnTo>
                  <a:pt x="5443" y="2398"/>
                </a:lnTo>
                <a:lnTo>
                  <a:pt x="5442" y="2402"/>
                </a:lnTo>
                <a:lnTo>
                  <a:pt x="5442" y="2405"/>
                </a:lnTo>
                <a:lnTo>
                  <a:pt x="5442" y="2408"/>
                </a:lnTo>
                <a:lnTo>
                  <a:pt x="5443" y="2411"/>
                </a:lnTo>
                <a:lnTo>
                  <a:pt x="5446" y="2413"/>
                </a:lnTo>
                <a:lnTo>
                  <a:pt x="5445" y="2413"/>
                </a:lnTo>
                <a:lnTo>
                  <a:pt x="5443" y="2413"/>
                </a:lnTo>
                <a:lnTo>
                  <a:pt x="5440" y="2413"/>
                </a:lnTo>
                <a:lnTo>
                  <a:pt x="5437" y="2412"/>
                </a:lnTo>
                <a:lnTo>
                  <a:pt x="5436" y="2412"/>
                </a:lnTo>
                <a:lnTo>
                  <a:pt x="5434" y="2413"/>
                </a:lnTo>
                <a:lnTo>
                  <a:pt x="5434" y="2415"/>
                </a:lnTo>
                <a:lnTo>
                  <a:pt x="5434" y="2419"/>
                </a:lnTo>
                <a:lnTo>
                  <a:pt x="5434" y="2427"/>
                </a:lnTo>
                <a:lnTo>
                  <a:pt x="5428" y="2429"/>
                </a:lnTo>
                <a:lnTo>
                  <a:pt x="5426" y="2430"/>
                </a:lnTo>
                <a:lnTo>
                  <a:pt x="5423" y="2432"/>
                </a:lnTo>
                <a:lnTo>
                  <a:pt x="5425" y="2436"/>
                </a:lnTo>
                <a:lnTo>
                  <a:pt x="5427" y="2439"/>
                </a:lnTo>
                <a:lnTo>
                  <a:pt x="5431" y="2444"/>
                </a:lnTo>
                <a:lnTo>
                  <a:pt x="5431" y="2445"/>
                </a:lnTo>
                <a:lnTo>
                  <a:pt x="5431" y="2446"/>
                </a:lnTo>
                <a:lnTo>
                  <a:pt x="5430" y="2446"/>
                </a:lnTo>
                <a:lnTo>
                  <a:pt x="5430" y="2447"/>
                </a:lnTo>
                <a:lnTo>
                  <a:pt x="5426" y="2448"/>
                </a:lnTo>
                <a:lnTo>
                  <a:pt x="5420" y="2449"/>
                </a:lnTo>
                <a:lnTo>
                  <a:pt x="5421" y="2449"/>
                </a:lnTo>
                <a:lnTo>
                  <a:pt x="5419" y="2448"/>
                </a:lnTo>
                <a:lnTo>
                  <a:pt x="5415" y="2446"/>
                </a:lnTo>
                <a:lnTo>
                  <a:pt x="5416" y="2445"/>
                </a:lnTo>
                <a:lnTo>
                  <a:pt x="5415" y="2444"/>
                </a:lnTo>
                <a:lnTo>
                  <a:pt x="5414" y="2444"/>
                </a:lnTo>
                <a:lnTo>
                  <a:pt x="5412" y="2444"/>
                </a:lnTo>
                <a:lnTo>
                  <a:pt x="5406" y="2444"/>
                </a:lnTo>
                <a:lnTo>
                  <a:pt x="5406" y="2446"/>
                </a:lnTo>
                <a:lnTo>
                  <a:pt x="5406" y="2449"/>
                </a:lnTo>
                <a:lnTo>
                  <a:pt x="5406" y="2455"/>
                </a:lnTo>
                <a:lnTo>
                  <a:pt x="5398" y="2458"/>
                </a:lnTo>
                <a:lnTo>
                  <a:pt x="5400" y="2448"/>
                </a:lnTo>
                <a:lnTo>
                  <a:pt x="5401" y="2445"/>
                </a:lnTo>
                <a:lnTo>
                  <a:pt x="5401" y="2442"/>
                </a:lnTo>
                <a:lnTo>
                  <a:pt x="5401" y="2440"/>
                </a:lnTo>
                <a:lnTo>
                  <a:pt x="5400" y="2439"/>
                </a:lnTo>
                <a:lnTo>
                  <a:pt x="5399" y="2436"/>
                </a:lnTo>
                <a:lnTo>
                  <a:pt x="5396" y="2433"/>
                </a:lnTo>
                <a:lnTo>
                  <a:pt x="5392" y="2430"/>
                </a:lnTo>
                <a:lnTo>
                  <a:pt x="5389" y="2421"/>
                </a:lnTo>
                <a:lnTo>
                  <a:pt x="5382" y="2423"/>
                </a:lnTo>
                <a:lnTo>
                  <a:pt x="5377" y="2424"/>
                </a:lnTo>
                <a:lnTo>
                  <a:pt x="5373" y="2424"/>
                </a:lnTo>
                <a:lnTo>
                  <a:pt x="5371" y="2424"/>
                </a:lnTo>
                <a:lnTo>
                  <a:pt x="5370" y="2426"/>
                </a:lnTo>
                <a:lnTo>
                  <a:pt x="5369" y="2428"/>
                </a:lnTo>
                <a:lnTo>
                  <a:pt x="5367" y="2438"/>
                </a:lnTo>
                <a:lnTo>
                  <a:pt x="5365" y="2437"/>
                </a:lnTo>
                <a:lnTo>
                  <a:pt x="5364" y="2435"/>
                </a:lnTo>
                <a:lnTo>
                  <a:pt x="5364" y="2432"/>
                </a:lnTo>
                <a:lnTo>
                  <a:pt x="5358" y="2432"/>
                </a:lnTo>
                <a:lnTo>
                  <a:pt x="5361" y="2438"/>
                </a:lnTo>
                <a:lnTo>
                  <a:pt x="5356" y="2438"/>
                </a:lnTo>
                <a:lnTo>
                  <a:pt x="5358" y="2444"/>
                </a:lnTo>
                <a:lnTo>
                  <a:pt x="5358" y="2448"/>
                </a:lnTo>
                <a:lnTo>
                  <a:pt x="5358" y="2449"/>
                </a:lnTo>
                <a:lnTo>
                  <a:pt x="5356" y="2449"/>
                </a:lnTo>
                <a:lnTo>
                  <a:pt x="5354" y="2449"/>
                </a:lnTo>
                <a:lnTo>
                  <a:pt x="5352" y="2449"/>
                </a:lnTo>
                <a:lnTo>
                  <a:pt x="5350" y="2449"/>
                </a:lnTo>
                <a:lnTo>
                  <a:pt x="5352" y="2453"/>
                </a:lnTo>
                <a:lnTo>
                  <a:pt x="5354" y="2456"/>
                </a:lnTo>
                <a:lnTo>
                  <a:pt x="5353" y="2457"/>
                </a:lnTo>
                <a:lnTo>
                  <a:pt x="5353" y="2458"/>
                </a:lnTo>
                <a:lnTo>
                  <a:pt x="5352" y="2458"/>
                </a:lnTo>
                <a:lnTo>
                  <a:pt x="5351" y="2457"/>
                </a:lnTo>
                <a:lnTo>
                  <a:pt x="5348" y="2455"/>
                </a:lnTo>
                <a:lnTo>
                  <a:pt x="5344" y="2452"/>
                </a:lnTo>
                <a:lnTo>
                  <a:pt x="5344" y="2453"/>
                </a:lnTo>
                <a:lnTo>
                  <a:pt x="5343" y="2454"/>
                </a:lnTo>
                <a:lnTo>
                  <a:pt x="5341" y="2456"/>
                </a:lnTo>
                <a:lnTo>
                  <a:pt x="5340" y="2457"/>
                </a:lnTo>
                <a:lnTo>
                  <a:pt x="5339" y="2458"/>
                </a:lnTo>
                <a:lnTo>
                  <a:pt x="5338" y="2461"/>
                </a:lnTo>
                <a:lnTo>
                  <a:pt x="5338" y="2465"/>
                </a:lnTo>
                <a:lnTo>
                  <a:pt x="5339" y="2469"/>
                </a:lnTo>
                <a:lnTo>
                  <a:pt x="5339" y="2475"/>
                </a:lnTo>
                <a:lnTo>
                  <a:pt x="5336" y="2472"/>
                </a:lnTo>
                <a:lnTo>
                  <a:pt x="5327" y="2468"/>
                </a:lnTo>
                <a:lnTo>
                  <a:pt x="5325" y="2469"/>
                </a:lnTo>
                <a:lnTo>
                  <a:pt x="5323" y="2470"/>
                </a:lnTo>
                <a:lnTo>
                  <a:pt x="5322" y="2472"/>
                </a:lnTo>
                <a:lnTo>
                  <a:pt x="5322" y="2489"/>
                </a:lnTo>
                <a:lnTo>
                  <a:pt x="5325" y="2488"/>
                </a:lnTo>
                <a:lnTo>
                  <a:pt x="5326" y="2489"/>
                </a:lnTo>
                <a:lnTo>
                  <a:pt x="5326" y="2490"/>
                </a:lnTo>
                <a:lnTo>
                  <a:pt x="5325" y="2493"/>
                </a:lnTo>
                <a:lnTo>
                  <a:pt x="5323" y="2498"/>
                </a:lnTo>
                <a:lnTo>
                  <a:pt x="5322" y="2500"/>
                </a:lnTo>
                <a:lnTo>
                  <a:pt x="5318" y="2496"/>
                </a:lnTo>
                <a:lnTo>
                  <a:pt x="5315" y="2493"/>
                </a:lnTo>
                <a:lnTo>
                  <a:pt x="5313" y="2492"/>
                </a:lnTo>
                <a:lnTo>
                  <a:pt x="5311" y="2485"/>
                </a:lnTo>
                <a:lnTo>
                  <a:pt x="5310" y="2482"/>
                </a:lnTo>
                <a:lnTo>
                  <a:pt x="5310" y="2480"/>
                </a:lnTo>
                <a:lnTo>
                  <a:pt x="5310" y="2481"/>
                </a:lnTo>
                <a:lnTo>
                  <a:pt x="5308" y="2483"/>
                </a:lnTo>
                <a:lnTo>
                  <a:pt x="5305" y="2486"/>
                </a:lnTo>
                <a:lnTo>
                  <a:pt x="5299" y="2489"/>
                </a:lnTo>
                <a:lnTo>
                  <a:pt x="5298" y="2498"/>
                </a:lnTo>
                <a:lnTo>
                  <a:pt x="5296" y="2508"/>
                </a:lnTo>
                <a:lnTo>
                  <a:pt x="5296" y="2513"/>
                </a:lnTo>
                <a:lnTo>
                  <a:pt x="5296" y="2516"/>
                </a:lnTo>
                <a:lnTo>
                  <a:pt x="5297" y="2519"/>
                </a:lnTo>
                <a:lnTo>
                  <a:pt x="5298" y="2519"/>
                </a:lnTo>
                <a:lnTo>
                  <a:pt x="5299" y="2520"/>
                </a:lnTo>
                <a:lnTo>
                  <a:pt x="5295" y="2523"/>
                </a:lnTo>
                <a:lnTo>
                  <a:pt x="5290" y="2526"/>
                </a:lnTo>
                <a:lnTo>
                  <a:pt x="5286" y="2530"/>
                </a:lnTo>
                <a:lnTo>
                  <a:pt x="5282" y="2534"/>
                </a:lnTo>
                <a:lnTo>
                  <a:pt x="5282" y="2535"/>
                </a:lnTo>
                <a:lnTo>
                  <a:pt x="5282" y="2536"/>
                </a:lnTo>
                <a:lnTo>
                  <a:pt x="5281" y="2540"/>
                </a:lnTo>
                <a:lnTo>
                  <a:pt x="5281" y="2543"/>
                </a:lnTo>
                <a:lnTo>
                  <a:pt x="5280" y="2544"/>
                </a:lnTo>
                <a:lnTo>
                  <a:pt x="5280" y="2545"/>
                </a:lnTo>
                <a:lnTo>
                  <a:pt x="5276" y="2547"/>
                </a:lnTo>
                <a:lnTo>
                  <a:pt x="5273" y="2549"/>
                </a:lnTo>
                <a:lnTo>
                  <a:pt x="5269" y="2550"/>
                </a:lnTo>
                <a:lnTo>
                  <a:pt x="5265" y="2550"/>
                </a:lnTo>
                <a:lnTo>
                  <a:pt x="5257" y="2551"/>
                </a:lnTo>
                <a:lnTo>
                  <a:pt x="5253" y="2552"/>
                </a:lnTo>
                <a:lnTo>
                  <a:pt x="5249" y="2553"/>
                </a:lnTo>
                <a:lnTo>
                  <a:pt x="5246" y="2559"/>
                </a:lnTo>
                <a:lnTo>
                  <a:pt x="5242" y="2559"/>
                </a:lnTo>
                <a:lnTo>
                  <a:pt x="5241" y="2558"/>
                </a:lnTo>
                <a:lnTo>
                  <a:pt x="5241" y="2557"/>
                </a:lnTo>
                <a:lnTo>
                  <a:pt x="5239" y="2556"/>
                </a:lnTo>
                <a:lnTo>
                  <a:pt x="5237" y="2556"/>
                </a:lnTo>
                <a:lnTo>
                  <a:pt x="5236" y="2557"/>
                </a:lnTo>
                <a:lnTo>
                  <a:pt x="5235" y="2559"/>
                </a:lnTo>
                <a:lnTo>
                  <a:pt x="5233" y="2563"/>
                </a:lnTo>
                <a:lnTo>
                  <a:pt x="5231" y="2568"/>
                </a:lnTo>
                <a:lnTo>
                  <a:pt x="5230" y="2569"/>
                </a:lnTo>
                <a:lnTo>
                  <a:pt x="5229" y="2570"/>
                </a:lnTo>
                <a:lnTo>
                  <a:pt x="5228" y="2571"/>
                </a:lnTo>
                <a:lnTo>
                  <a:pt x="5226" y="2571"/>
                </a:lnTo>
                <a:lnTo>
                  <a:pt x="5223" y="2570"/>
                </a:lnTo>
                <a:lnTo>
                  <a:pt x="5220" y="2570"/>
                </a:lnTo>
                <a:lnTo>
                  <a:pt x="5218" y="2570"/>
                </a:lnTo>
                <a:lnTo>
                  <a:pt x="5215" y="2576"/>
                </a:lnTo>
                <a:lnTo>
                  <a:pt x="5210" y="2576"/>
                </a:lnTo>
                <a:lnTo>
                  <a:pt x="5205" y="2575"/>
                </a:lnTo>
                <a:lnTo>
                  <a:pt x="5201" y="2573"/>
                </a:lnTo>
                <a:lnTo>
                  <a:pt x="5199" y="2573"/>
                </a:lnTo>
                <a:lnTo>
                  <a:pt x="5198" y="2573"/>
                </a:lnTo>
                <a:lnTo>
                  <a:pt x="5197" y="2575"/>
                </a:lnTo>
                <a:lnTo>
                  <a:pt x="5196" y="2577"/>
                </a:lnTo>
                <a:lnTo>
                  <a:pt x="5196" y="2580"/>
                </a:lnTo>
                <a:lnTo>
                  <a:pt x="5195" y="2582"/>
                </a:lnTo>
                <a:lnTo>
                  <a:pt x="5193" y="2582"/>
                </a:lnTo>
                <a:lnTo>
                  <a:pt x="5190" y="2582"/>
                </a:lnTo>
                <a:lnTo>
                  <a:pt x="5187" y="2581"/>
                </a:lnTo>
                <a:lnTo>
                  <a:pt x="5184" y="2582"/>
                </a:lnTo>
                <a:lnTo>
                  <a:pt x="5184" y="2584"/>
                </a:lnTo>
                <a:lnTo>
                  <a:pt x="5180" y="2586"/>
                </a:lnTo>
                <a:lnTo>
                  <a:pt x="5177" y="2589"/>
                </a:lnTo>
                <a:lnTo>
                  <a:pt x="5171" y="2595"/>
                </a:lnTo>
                <a:lnTo>
                  <a:pt x="5165" y="2602"/>
                </a:lnTo>
                <a:lnTo>
                  <a:pt x="5162" y="2605"/>
                </a:lnTo>
                <a:lnTo>
                  <a:pt x="5159" y="2608"/>
                </a:lnTo>
                <a:lnTo>
                  <a:pt x="5150" y="2613"/>
                </a:lnTo>
                <a:lnTo>
                  <a:pt x="5151" y="2614"/>
                </a:lnTo>
                <a:lnTo>
                  <a:pt x="5149" y="2615"/>
                </a:lnTo>
                <a:lnTo>
                  <a:pt x="5145" y="2616"/>
                </a:lnTo>
                <a:lnTo>
                  <a:pt x="5147" y="2608"/>
                </a:lnTo>
                <a:lnTo>
                  <a:pt x="5145" y="2610"/>
                </a:lnTo>
                <a:lnTo>
                  <a:pt x="5143" y="2611"/>
                </a:lnTo>
                <a:lnTo>
                  <a:pt x="5142" y="2611"/>
                </a:lnTo>
                <a:lnTo>
                  <a:pt x="5143" y="2611"/>
                </a:lnTo>
                <a:lnTo>
                  <a:pt x="5143" y="2612"/>
                </a:lnTo>
                <a:lnTo>
                  <a:pt x="5142" y="2615"/>
                </a:lnTo>
                <a:lnTo>
                  <a:pt x="5139" y="2619"/>
                </a:lnTo>
                <a:lnTo>
                  <a:pt x="5139" y="2622"/>
                </a:lnTo>
                <a:lnTo>
                  <a:pt x="5140" y="2625"/>
                </a:lnTo>
                <a:lnTo>
                  <a:pt x="5141" y="2632"/>
                </a:lnTo>
                <a:lnTo>
                  <a:pt x="5143" y="2640"/>
                </a:lnTo>
                <a:lnTo>
                  <a:pt x="5143" y="2643"/>
                </a:lnTo>
                <a:lnTo>
                  <a:pt x="5142" y="2647"/>
                </a:lnTo>
                <a:lnTo>
                  <a:pt x="5141" y="2648"/>
                </a:lnTo>
                <a:lnTo>
                  <a:pt x="5140" y="2649"/>
                </a:lnTo>
                <a:lnTo>
                  <a:pt x="5136" y="2652"/>
                </a:lnTo>
                <a:lnTo>
                  <a:pt x="5133" y="2654"/>
                </a:lnTo>
                <a:lnTo>
                  <a:pt x="5131" y="2655"/>
                </a:lnTo>
                <a:lnTo>
                  <a:pt x="5131" y="2656"/>
                </a:lnTo>
                <a:lnTo>
                  <a:pt x="5131" y="2658"/>
                </a:lnTo>
                <a:lnTo>
                  <a:pt x="5132" y="2662"/>
                </a:lnTo>
                <a:lnTo>
                  <a:pt x="5134" y="2664"/>
                </a:lnTo>
                <a:lnTo>
                  <a:pt x="5135" y="2665"/>
                </a:lnTo>
                <a:lnTo>
                  <a:pt x="5136" y="2664"/>
                </a:lnTo>
                <a:lnTo>
                  <a:pt x="5136" y="2667"/>
                </a:lnTo>
                <a:lnTo>
                  <a:pt x="5139" y="2669"/>
                </a:lnTo>
                <a:lnTo>
                  <a:pt x="5141" y="2671"/>
                </a:lnTo>
                <a:lnTo>
                  <a:pt x="5144" y="2678"/>
                </a:lnTo>
                <a:lnTo>
                  <a:pt x="5146" y="2686"/>
                </a:lnTo>
                <a:lnTo>
                  <a:pt x="5147" y="2692"/>
                </a:lnTo>
                <a:lnTo>
                  <a:pt x="5147" y="2699"/>
                </a:lnTo>
                <a:lnTo>
                  <a:pt x="5147" y="2706"/>
                </a:lnTo>
                <a:lnTo>
                  <a:pt x="5145" y="2705"/>
                </a:lnTo>
                <a:lnTo>
                  <a:pt x="5144" y="2704"/>
                </a:lnTo>
                <a:lnTo>
                  <a:pt x="5139" y="2704"/>
                </a:lnTo>
                <a:lnTo>
                  <a:pt x="5139" y="2699"/>
                </a:lnTo>
                <a:lnTo>
                  <a:pt x="5139" y="2695"/>
                </a:lnTo>
                <a:lnTo>
                  <a:pt x="5138" y="2695"/>
                </a:lnTo>
                <a:lnTo>
                  <a:pt x="5137" y="2695"/>
                </a:lnTo>
                <a:lnTo>
                  <a:pt x="5136" y="2696"/>
                </a:lnTo>
                <a:lnTo>
                  <a:pt x="5136" y="2698"/>
                </a:lnTo>
                <a:lnTo>
                  <a:pt x="5136" y="2704"/>
                </a:lnTo>
                <a:lnTo>
                  <a:pt x="5145" y="2711"/>
                </a:lnTo>
                <a:lnTo>
                  <a:pt x="5147" y="2713"/>
                </a:lnTo>
                <a:lnTo>
                  <a:pt x="5148" y="2715"/>
                </a:lnTo>
                <a:lnTo>
                  <a:pt x="5149" y="2716"/>
                </a:lnTo>
                <a:lnTo>
                  <a:pt x="5149" y="2717"/>
                </a:lnTo>
                <a:lnTo>
                  <a:pt x="5146" y="2717"/>
                </a:lnTo>
                <a:lnTo>
                  <a:pt x="5138" y="2714"/>
                </a:lnTo>
                <a:lnTo>
                  <a:pt x="5133" y="2712"/>
                </a:lnTo>
                <a:lnTo>
                  <a:pt x="5133" y="2718"/>
                </a:lnTo>
                <a:lnTo>
                  <a:pt x="5135" y="2719"/>
                </a:lnTo>
                <a:lnTo>
                  <a:pt x="5137" y="2721"/>
                </a:lnTo>
                <a:lnTo>
                  <a:pt x="5143" y="2725"/>
                </a:lnTo>
                <a:lnTo>
                  <a:pt x="5147" y="2730"/>
                </a:lnTo>
                <a:lnTo>
                  <a:pt x="5149" y="2732"/>
                </a:lnTo>
                <a:lnTo>
                  <a:pt x="5150" y="2734"/>
                </a:lnTo>
                <a:lnTo>
                  <a:pt x="5151" y="2736"/>
                </a:lnTo>
                <a:lnTo>
                  <a:pt x="5151" y="2738"/>
                </a:lnTo>
                <a:lnTo>
                  <a:pt x="5150" y="2743"/>
                </a:lnTo>
                <a:lnTo>
                  <a:pt x="5150" y="2747"/>
                </a:lnTo>
                <a:lnTo>
                  <a:pt x="5150" y="2751"/>
                </a:lnTo>
                <a:lnTo>
                  <a:pt x="5151" y="2752"/>
                </a:lnTo>
                <a:lnTo>
                  <a:pt x="5152" y="2754"/>
                </a:lnTo>
                <a:lnTo>
                  <a:pt x="5156" y="2756"/>
                </a:lnTo>
                <a:lnTo>
                  <a:pt x="5159" y="2758"/>
                </a:lnTo>
                <a:lnTo>
                  <a:pt x="5162" y="2760"/>
                </a:lnTo>
                <a:close/>
                <a:moveTo>
                  <a:pt x="2939" y="755"/>
                </a:moveTo>
                <a:lnTo>
                  <a:pt x="2940" y="753"/>
                </a:lnTo>
                <a:lnTo>
                  <a:pt x="2942" y="751"/>
                </a:lnTo>
                <a:lnTo>
                  <a:pt x="2943" y="748"/>
                </a:lnTo>
                <a:lnTo>
                  <a:pt x="2944" y="746"/>
                </a:lnTo>
                <a:lnTo>
                  <a:pt x="2944" y="743"/>
                </a:lnTo>
                <a:lnTo>
                  <a:pt x="2944" y="741"/>
                </a:lnTo>
                <a:lnTo>
                  <a:pt x="2943" y="740"/>
                </a:lnTo>
                <a:lnTo>
                  <a:pt x="2942" y="739"/>
                </a:lnTo>
                <a:lnTo>
                  <a:pt x="2940" y="738"/>
                </a:lnTo>
                <a:lnTo>
                  <a:pt x="2939" y="738"/>
                </a:lnTo>
                <a:lnTo>
                  <a:pt x="2933" y="746"/>
                </a:lnTo>
                <a:lnTo>
                  <a:pt x="2934" y="745"/>
                </a:lnTo>
                <a:lnTo>
                  <a:pt x="2933" y="745"/>
                </a:lnTo>
                <a:lnTo>
                  <a:pt x="2932" y="744"/>
                </a:lnTo>
                <a:lnTo>
                  <a:pt x="2929" y="744"/>
                </a:lnTo>
                <a:lnTo>
                  <a:pt x="2924" y="743"/>
                </a:lnTo>
                <a:lnTo>
                  <a:pt x="2922" y="743"/>
                </a:lnTo>
                <a:lnTo>
                  <a:pt x="2922" y="748"/>
                </a:lnTo>
                <a:lnTo>
                  <a:pt x="2922" y="752"/>
                </a:lnTo>
                <a:lnTo>
                  <a:pt x="2919" y="753"/>
                </a:lnTo>
                <a:lnTo>
                  <a:pt x="2917" y="754"/>
                </a:lnTo>
                <a:lnTo>
                  <a:pt x="2916" y="754"/>
                </a:lnTo>
                <a:lnTo>
                  <a:pt x="2917" y="754"/>
                </a:lnTo>
                <a:lnTo>
                  <a:pt x="2922" y="755"/>
                </a:lnTo>
                <a:lnTo>
                  <a:pt x="2922" y="760"/>
                </a:lnTo>
                <a:lnTo>
                  <a:pt x="2916" y="760"/>
                </a:lnTo>
                <a:lnTo>
                  <a:pt x="2915" y="761"/>
                </a:lnTo>
                <a:lnTo>
                  <a:pt x="2914" y="763"/>
                </a:lnTo>
                <a:lnTo>
                  <a:pt x="2914" y="765"/>
                </a:lnTo>
                <a:lnTo>
                  <a:pt x="2912" y="767"/>
                </a:lnTo>
                <a:lnTo>
                  <a:pt x="2911" y="770"/>
                </a:lnTo>
                <a:lnTo>
                  <a:pt x="2908" y="771"/>
                </a:lnTo>
                <a:lnTo>
                  <a:pt x="2906" y="772"/>
                </a:lnTo>
                <a:lnTo>
                  <a:pt x="2904" y="772"/>
                </a:lnTo>
                <a:lnTo>
                  <a:pt x="2902" y="772"/>
                </a:lnTo>
                <a:lnTo>
                  <a:pt x="2899" y="772"/>
                </a:lnTo>
                <a:lnTo>
                  <a:pt x="2897" y="769"/>
                </a:lnTo>
                <a:lnTo>
                  <a:pt x="2895" y="767"/>
                </a:lnTo>
                <a:lnTo>
                  <a:pt x="2894" y="766"/>
                </a:lnTo>
                <a:lnTo>
                  <a:pt x="2894" y="768"/>
                </a:lnTo>
                <a:lnTo>
                  <a:pt x="2894" y="771"/>
                </a:lnTo>
                <a:lnTo>
                  <a:pt x="2894" y="777"/>
                </a:lnTo>
                <a:lnTo>
                  <a:pt x="2896" y="776"/>
                </a:lnTo>
                <a:lnTo>
                  <a:pt x="2898" y="777"/>
                </a:lnTo>
                <a:lnTo>
                  <a:pt x="2899" y="778"/>
                </a:lnTo>
                <a:lnTo>
                  <a:pt x="2899" y="779"/>
                </a:lnTo>
                <a:lnTo>
                  <a:pt x="2898" y="783"/>
                </a:lnTo>
                <a:lnTo>
                  <a:pt x="2898" y="784"/>
                </a:lnTo>
                <a:lnTo>
                  <a:pt x="2899" y="785"/>
                </a:lnTo>
                <a:lnTo>
                  <a:pt x="2899" y="786"/>
                </a:lnTo>
                <a:lnTo>
                  <a:pt x="2893" y="785"/>
                </a:lnTo>
                <a:lnTo>
                  <a:pt x="2890" y="785"/>
                </a:lnTo>
                <a:lnTo>
                  <a:pt x="2888" y="786"/>
                </a:lnTo>
                <a:lnTo>
                  <a:pt x="2888" y="788"/>
                </a:lnTo>
                <a:lnTo>
                  <a:pt x="2888" y="789"/>
                </a:lnTo>
                <a:lnTo>
                  <a:pt x="2887" y="790"/>
                </a:lnTo>
                <a:lnTo>
                  <a:pt x="2885" y="791"/>
                </a:lnTo>
                <a:lnTo>
                  <a:pt x="2887" y="795"/>
                </a:lnTo>
                <a:lnTo>
                  <a:pt x="2889" y="798"/>
                </a:lnTo>
                <a:lnTo>
                  <a:pt x="2891" y="800"/>
                </a:lnTo>
                <a:lnTo>
                  <a:pt x="2896" y="800"/>
                </a:lnTo>
                <a:lnTo>
                  <a:pt x="2905" y="800"/>
                </a:lnTo>
                <a:lnTo>
                  <a:pt x="2897" y="816"/>
                </a:lnTo>
                <a:lnTo>
                  <a:pt x="2894" y="824"/>
                </a:lnTo>
                <a:lnTo>
                  <a:pt x="2891" y="833"/>
                </a:lnTo>
                <a:lnTo>
                  <a:pt x="2888" y="834"/>
                </a:lnTo>
                <a:lnTo>
                  <a:pt x="2886" y="833"/>
                </a:lnTo>
                <a:lnTo>
                  <a:pt x="2883" y="833"/>
                </a:lnTo>
                <a:lnTo>
                  <a:pt x="2883" y="834"/>
                </a:lnTo>
                <a:lnTo>
                  <a:pt x="2885" y="839"/>
                </a:lnTo>
                <a:lnTo>
                  <a:pt x="2887" y="843"/>
                </a:lnTo>
                <a:lnTo>
                  <a:pt x="2887" y="844"/>
                </a:lnTo>
                <a:lnTo>
                  <a:pt x="2889" y="844"/>
                </a:lnTo>
                <a:lnTo>
                  <a:pt x="2894" y="845"/>
                </a:lnTo>
                <a:lnTo>
                  <a:pt x="2892" y="848"/>
                </a:lnTo>
                <a:lnTo>
                  <a:pt x="2891" y="849"/>
                </a:lnTo>
                <a:lnTo>
                  <a:pt x="2891" y="850"/>
                </a:lnTo>
                <a:lnTo>
                  <a:pt x="2896" y="850"/>
                </a:lnTo>
                <a:lnTo>
                  <a:pt x="2896" y="847"/>
                </a:lnTo>
                <a:lnTo>
                  <a:pt x="2898" y="848"/>
                </a:lnTo>
                <a:lnTo>
                  <a:pt x="2899" y="847"/>
                </a:lnTo>
                <a:lnTo>
                  <a:pt x="2900" y="846"/>
                </a:lnTo>
                <a:lnTo>
                  <a:pt x="2900" y="845"/>
                </a:lnTo>
                <a:lnTo>
                  <a:pt x="2901" y="844"/>
                </a:lnTo>
                <a:lnTo>
                  <a:pt x="2902" y="844"/>
                </a:lnTo>
                <a:lnTo>
                  <a:pt x="2905" y="845"/>
                </a:lnTo>
                <a:lnTo>
                  <a:pt x="2906" y="846"/>
                </a:lnTo>
                <a:lnTo>
                  <a:pt x="2906" y="849"/>
                </a:lnTo>
                <a:lnTo>
                  <a:pt x="2907" y="850"/>
                </a:lnTo>
                <a:lnTo>
                  <a:pt x="2908" y="851"/>
                </a:lnTo>
                <a:lnTo>
                  <a:pt x="2910" y="851"/>
                </a:lnTo>
                <a:lnTo>
                  <a:pt x="2913" y="850"/>
                </a:lnTo>
                <a:lnTo>
                  <a:pt x="2913" y="847"/>
                </a:lnTo>
                <a:lnTo>
                  <a:pt x="2915" y="846"/>
                </a:lnTo>
                <a:lnTo>
                  <a:pt x="2918" y="843"/>
                </a:lnTo>
                <a:lnTo>
                  <a:pt x="2922" y="839"/>
                </a:lnTo>
                <a:lnTo>
                  <a:pt x="2924" y="839"/>
                </a:lnTo>
                <a:lnTo>
                  <a:pt x="2927" y="839"/>
                </a:lnTo>
                <a:lnTo>
                  <a:pt x="2930" y="840"/>
                </a:lnTo>
                <a:lnTo>
                  <a:pt x="2932" y="839"/>
                </a:lnTo>
                <a:lnTo>
                  <a:pt x="2933" y="839"/>
                </a:lnTo>
                <a:lnTo>
                  <a:pt x="2933" y="835"/>
                </a:lnTo>
                <a:lnTo>
                  <a:pt x="2933" y="831"/>
                </a:lnTo>
                <a:lnTo>
                  <a:pt x="2935" y="830"/>
                </a:lnTo>
                <a:lnTo>
                  <a:pt x="2937" y="830"/>
                </a:lnTo>
                <a:lnTo>
                  <a:pt x="2941" y="831"/>
                </a:lnTo>
                <a:lnTo>
                  <a:pt x="2941" y="825"/>
                </a:lnTo>
                <a:lnTo>
                  <a:pt x="2942" y="825"/>
                </a:lnTo>
                <a:lnTo>
                  <a:pt x="2943" y="826"/>
                </a:lnTo>
                <a:lnTo>
                  <a:pt x="2945" y="827"/>
                </a:lnTo>
                <a:lnTo>
                  <a:pt x="2946" y="828"/>
                </a:lnTo>
                <a:lnTo>
                  <a:pt x="2947" y="829"/>
                </a:lnTo>
                <a:lnTo>
                  <a:pt x="2948" y="829"/>
                </a:lnTo>
                <a:lnTo>
                  <a:pt x="2950" y="828"/>
                </a:lnTo>
                <a:lnTo>
                  <a:pt x="2951" y="827"/>
                </a:lnTo>
                <a:lnTo>
                  <a:pt x="2950" y="826"/>
                </a:lnTo>
                <a:lnTo>
                  <a:pt x="2948" y="825"/>
                </a:lnTo>
                <a:lnTo>
                  <a:pt x="2946" y="824"/>
                </a:lnTo>
                <a:lnTo>
                  <a:pt x="2946" y="823"/>
                </a:lnTo>
                <a:lnTo>
                  <a:pt x="2947" y="822"/>
                </a:lnTo>
                <a:lnTo>
                  <a:pt x="2951" y="819"/>
                </a:lnTo>
                <a:lnTo>
                  <a:pt x="2952" y="818"/>
                </a:lnTo>
                <a:lnTo>
                  <a:pt x="2952" y="816"/>
                </a:lnTo>
                <a:lnTo>
                  <a:pt x="2953" y="814"/>
                </a:lnTo>
                <a:lnTo>
                  <a:pt x="2953" y="813"/>
                </a:lnTo>
                <a:lnTo>
                  <a:pt x="2952" y="809"/>
                </a:lnTo>
                <a:lnTo>
                  <a:pt x="2949" y="803"/>
                </a:lnTo>
                <a:lnTo>
                  <a:pt x="2948" y="800"/>
                </a:lnTo>
                <a:lnTo>
                  <a:pt x="2947" y="797"/>
                </a:lnTo>
                <a:lnTo>
                  <a:pt x="2947" y="794"/>
                </a:lnTo>
                <a:lnTo>
                  <a:pt x="2948" y="790"/>
                </a:lnTo>
                <a:lnTo>
                  <a:pt x="2949" y="785"/>
                </a:lnTo>
                <a:lnTo>
                  <a:pt x="2950" y="780"/>
                </a:lnTo>
                <a:lnTo>
                  <a:pt x="2952" y="778"/>
                </a:lnTo>
                <a:lnTo>
                  <a:pt x="2954" y="776"/>
                </a:lnTo>
                <a:lnTo>
                  <a:pt x="2956" y="773"/>
                </a:lnTo>
                <a:lnTo>
                  <a:pt x="2958" y="772"/>
                </a:lnTo>
                <a:lnTo>
                  <a:pt x="2961" y="771"/>
                </a:lnTo>
                <a:lnTo>
                  <a:pt x="2964" y="772"/>
                </a:lnTo>
                <a:lnTo>
                  <a:pt x="2967" y="772"/>
                </a:lnTo>
                <a:lnTo>
                  <a:pt x="2968" y="772"/>
                </a:lnTo>
                <a:lnTo>
                  <a:pt x="2969" y="772"/>
                </a:lnTo>
                <a:lnTo>
                  <a:pt x="2968" y="769"/>
                </a:lnTo>
                <a:lnTo>
                  <a:pt x="2967" y="769"/>
                </a:lnTo>
                <a:lnTo>
                  <a:pt x="2964" y="769"/>
                </a:lnTo>
                <a:lnTo>
                  <a:pt x="2964" y="763"/>
                </a:lnTo>
                <a:lnTo>
                  <a:pt x="2964" y="757"/>
                </a:lnTo>
                <a:lnTo>
                  <a:pt x="2958" y="757"/>
                </a:lnTo>
                <a:lnTo>
                  <a:pt x="2958" y="756"/>
                </a:lnTo>
                <a:lnTo>
                  <a:pt x="2959" y="754"/>
                </a:lnTo>
                <a:lnTo>
                  <a:pt x="2960" y="752"/>
                </a:lnTo>
                <a:lnTo>
                  <a:pt x="2961" y="750"/>
                </a:lnTo>
                <a:lnTo>
                  <a:pt x="2962" y="748"/>
                </a:lnTo>
                <a:lnTo>
                  <a:pt x="2960" y="747"/>
                </a:lnTo>
                <a:lnTo>
                  <a:pt x="2958" y="746"/>
                </a:lnTo>
                <a:lnTo>
                  <a:pt x="2953" y="746"/>
                </a:lnTo>
                <a:lnTo>
                  <a:pt x="2950" y="747"/>
                </a:lnTo>
                <a:lnTo>
                  <a:pt x="2946" y="750"/>
                </a:lnTo>
                <a:lnTo>
                  <a:pt x="2942" y="753"/>
                </a:lnTo>
                <a:lnTo>
                  <a:pt x="2939" y="755"/>
                </a:lnTo>
                <a:close/>
                <a:moveTo>
                  <a:pt x="6203" y="3069"/>
                </a:moveTo>
                <a:lnTo>
                  <a:pt x="6201" y="3071"/>
                </a:lnTo>
                <a:lnTo>
                  <a:pt x="6199" y="3074"/>
                </a:lnTo>
                <a:lnTo>
                  <a:pt x="6195" y="3078"/>
                </a:lnTo>
                <a:lnTo>
                  <a:pt x="6194" y="3082"/>
                </a:lnTo>
                <a:lnTo>
                  <a:pt x="6195" y="3088"/>
                </a:lnTo>
                <a:lnTo>
                  <a:pt x="6195" y="3093"/>
                </a:lnTo>
                <a:lnTo>
                  <a:pt x="6195" y="3095"/>
                </a:lnTo>
                <a:lnTo>
                  <a:pt x="6195" y="3097"/>
                </a:lnTo>
                <a:lnTo>
                  <a:pt x="6193" y="3099"/>
                </a:lnTo>
                <a:lnTo>
                  <a:pt x="6191" y="3100"/>
                </a:lnTo>
                <a:lnTo>
                  <a:pt x="6188" y="3102"/>
                </a:lnTo>
                <a:lnTo>
                  <a:pt x="6186" y="3103"/>
                </a:lnTo>
                <a:lnTo>
                  <a:pt x="6186" y="3104"/>
                </a:lnTo>
                <a:lnTo>
                  <a:pt x="6186" y="3105"/>
                </a:lnTo>
                <a:lnTo>
                  <a:pt x="6186" y="3107"/>
                </a:lnTo>
                <a:lnTo>
                  <a:pt x="6187" y="3109"/>
                </a:lnTo>
                <a:lnTo>
                  <a:pt x="6186" y="3111"/>
                </a:lnTo>
                <a:lnTo>
                  <a:pt x="6185" y="3112"/>
                </a:lnTo>
                <a:lnTo>
                  <a:pt x="6183" y="3113"/>
                </a:lnTo>
                <a:lnTo>
                  <a:pt x="6182" y="3113"/>
                </a:lnTo>
                <a:lnTo>
                  <a:pt x="6181" y="3114"/>
                </a:lnTo>
                <a:lnTo>
                  <a:pt x="6176" y="3126"/>
                </a:lnTo>
                <a:lnTo>
                  <a:pt x="6171" y="3137"/>
                </a:lnTo>
                <a:lnTo>
                  <a:pt x="6168" y="3142"/>
                </a:lnTo>
                <a:lnTo>
                  <a:pt x="6164" y="3146"/>
                </a:lnTo>
                <a:lnTo>
                  <a:pt x="6160" y="3150"/>
                </a:lnTo>
                <a:lnTo>
                  <a:pt x="6155" y="3154"/>
                </a:lnTo>
                <a:lnTo>
                  <a:pt x="6150" y="3156"/>
                </a:lnTo>
                <a:lnTo>
                  <a:pt x="6143" y="3158"/>
                </a:lnTo>
                <a:lnTo>
                  <a:pt x="6136" y="3160"/>
                </a:lnTo>
                <a:lnTo>
                  <a:pt x="6130" y="3162"/>
                </a:lnTo>
                <a:lnTo>
                  <a:pt x="6129" y="3164"/>
                </a:lnTo>
                <a:lnTo>
                  <a:pt x="6128" y="3166"/>
                </a:lnTo>
                <a:lnTo>
                  <a:pt x="6128" y="3168"/>
                </a:lnTo>
                <a:lnTo>
                  <a:pt x="6128" y="3169"/>
                </a:lnTo>
                <a:lnTo>
                  <a:pt x="6127" y="3171"/>
                </a:lnTo>
                <a:lnTo>
                  <a:pt x="6122" y="3171"/>
                </a:lnTo>
                <a:lnTo>
                  <a:pt x="6122" y="3176"/>
                </a:lnTo>
                <a:lnTo>
                  <a:pt x="6121" y="3177"/>
                </a:lnTo>
                <a:lnTo>
                  <a:pt x="6120" y="3177"/>
                </a:lnTo>
                <a:lnTo>
                  <a:pt x="6117" y="3176"/>
                </a:lnTo>
                <a:lnTo>
                  <a:pt x="6115" y="3176"/>
                </a:lnTo>
                <a:lnTo>
                  <a:pt x="6113" y="3176"/>
                </a:lnTo>
                <a:lnTo>
                  <a:pt x="6112" y="3177"/>
                </a:lnTo>
                <a:lnTo>
                  <a:pt x="6111" y="3178"/>
                </a:lnTo>
                <a:lnTo>
                  <a:pt x="6110" y="3178"/>
                </a:lnTo>
                <a:lnTo>
                  <a:pt x="6108" y="3182"/>
                </a:lnTo>
                <a:lnTo>
                  <a:pt x="6107" y="3186"/>
                </a:lnTo>
                <a:lnTo>
                  <a:pt x="6105" y="3190"/>
                </a:lnTo>
                <a:lnTo>
                  <a:pt x="6099" y="3190"/>
                </a:lnTo>
                <a:lnTo>
                  <a:pt x="6098" y="3199"/>
                </a:lnTo>
                <a:lnTo>
                  <a:pt x="6097" y="3203"/>
                </a:lnTo>
                <a:lnTo>
                  <a:pt x="6096" y="3207"/>
                </a:lnTo>
                <a:lnTo>
                  <a:pt x="6095" y="3207"/>
                </a:lnTo>
                <a:lnTo>
                  <a:pt x="6095" y="3208"/>
                </a:lnTo>
                <a:lnTo>
                  <a:pt x="6094" y="3211"/>
                </a:lnTo>
                <a:lnTo>
                  <a:pt x="6095" y="3215"/>
                </a:lnTo>
                <a:lnTo>
                  <a:pt x="6095" y="3217"/>
                </a:lnTo>
                <a:lnTo>
                  <a:pt x="6096" y="3218"/>
                </a:lnTo>
                <a:lnTo>
                  <a:pt x="6099" y="3220"/>
                </a:lnTo>
                <a:lnTo>
                  <a:pt x="6102" y="3220"/>
                </a:lnTo>
                <a:lnTo>
                  <a:pt x="6107" y="3220"/>
                </a:lnTo>
                <a:lnTo>
                  <a:pt x="6111" y="3218"/>
                </a:lnTo>
                <a:lnTo>
                  <a:pt x="6113" y="3218"/>
                </a:lnTo>
                <a:lnTo>
                  <a:pt x="6116" y="3218"/>
                </a:lnTo>
                <a:lnTo>
                  <a:pt x="6119" y="3227"/>
                </a:lnTo>
                <a:lnTo>
                  <a:pt x="6130" y="3229"/>
                </a:lnTo>
                <a:lnTo>
                  <a:pt x="6135" y="3230"/>
                </a:lnTo>
                <a:lnTo>
                  <a:pt x="6139" y="3230"/>
                </a:lnTo>
                <a:lnTo>
                  <a:pt x="6143" y="3230"/>
                </a:lnTo>
                <a:lnTo>
                  <a:pt x="6147" y="3230"/>
                </a:lnTo>
                <a:lnTo>
                  <a:pt x="6149" y="3229"/>
                </a:lnTo>
                <a:lnTo>
                  <a:pt x="6150" y="3227"/>
                </a:lnTo>
                <a:lnTo>
                  <a:pt x="6155" y="3223"/>
                </a:lnTo>
                <a:lnTo>
                  <a:pt x="6160" y="3217"/>
                </a:lnTo>
                <a:lnTo>
                  <a:pt x="6165" y="3210"/>
                </a:lnTo>
                <a:lnTo>
                  <a:pt x="6173" y="3195"/>
                </a:lnTo>
                <a:lnTo>
                  <a:pt x="6176" y="3189"/>
                </a:lnTo>
                <a:lnTo>
                  <a:pt x="6178" y="3185"/>
                </a:lnTo>
                <a:lnTo>
                  <a:pt x="6178" y="3181"/>
                </a:lnTo>
                <a:lnTo>
                  <a:pt x="6177" y="3177"/>
                </a:lnTo>
                <a:lnTo>
                  <a:pt x="6177" y="3173"/>
                </a:lnTo>
                <a:lnTo>
                  <a:pt x="6177" y="3172"/>
                </a:lnTo>
                <a:lnTo>
                  <a:pt x="6178" y="3171"/>
                </a:lnTo>
                <a:lnTo>
                  <a:pt x="6180" y="3169"/>
                </a:lnTo>
                <a:lnTo>
                  <a:pt x="6183" y="3167"/>
                </a:lnTo>
                <a:lnTo>
                  <a:pt x="6192" y="3164"/>
                </a:lnTo>
                <a:lnTo>
                  <a:pt x="6202" y="3162"/>
                </a:lnTo>
                <a:lnTo>
                  <a:pt x="6209" y="3159"/>
                </a:lnTo>
                <a:lnTo>
                  <a:pt x="6209" y="3155"/>
                </a:lnTo>
                <a:lnTo>
                  <a:pt x="6207" y="3151"/>
                </a:lnTo>
                <a:lnTo>
                  <a:pt x="6206" y="3148"/>
                </a:lnTo>
                <a:lnTo>
                  <a:pt x="6206" y="3146"/>
                </a:lnTo>
                <a:lnTo>
                  <a:pt x="6206" y="3145"/>
                </a:lnTo>
                <a:lnTo>
                  <a:pt x="6221" y="3128"/>
                </a:lnTo>
                <a:lnTo>
                  <a:pt x="6232" y="3116"/>
                </a:lnTo>
                <a:lnTo>
                  <a:pt x="6235" y="3111"/>
                </a:lnTo>
                <a:lnTo>
                  <a:pt x="6237" y="3109"/>
                </a:lnTo>
                <a:lnTo>
                  <a:pt x="6237" y="3104"/>
                </a:lnTo>
                <a:lnTo>
                  <a:pt x="6237" y="3098"/>
                </a:lnTo>
                <a:lnTo>
                  <a:pt x="6237" y="3091"/>
                </a:lnTo>
                <a:lnTo>
                  <a:pt x="6237" y="3083"/>
                </a:lnTo>
                <a:lnTo>
                  <a:pt x="6234" y="3083"/>
                </a:lnTo>
                <a:lnTo>
                  <a:pt x="6234" y="3084"/>
                </a:lnTo>
                <a:lnTo>
                  <a:pt x="6234" y="3085"/>
                </a:lnTo>
                <a:lnTo>
                  <a:pt x="6234" y="3087"/>
                </a:lnTo>
                <a:lnTo>
                  <a:pt x="6234" y="3089"/>
                </a:lnTo>
                <a:lnTo>
                  <a:pt x="6231" y="3087"/>
                </a:lnTo>
                <a:lnTo>
                  <a:pt x="6229" y="3087"/>
                </a:lnTo>
                <a:lnTo>
                  <a:pt x="6228" y="3086"/>
                </a:lnTo>
                <a:lnTo>
                  <a:pt x="6227" y="3083"/>
                </a:lnTo>
                <a:lnTo>
                  <a:pt x="6226" y="3081"/>
                </a:lnTo>
                <a:lnTo>
                  <a:pt x="6223" y="3084"/>
                </a:lnTo>
                <a:lnTo>
                  <a:pt x="6222" y="3087"/>
                </a:lnTo>
                <a:lnTo>
                  <a:pt x="6222" y="3088"/>
                </a:lnTo>
                <a:lnTo>
                  <a:pt x="6223" y="3089"/>
                </a:lnTo>
                <a:lnTo>
                  <a:pt x="6219" y="3089"/>
                </a:lnTo>
                <a:lnTo>
                  <a:pt x="6214" y="3089"/>
                </a:lnTo>
                <a:lnTo>
                  <a:pt x="6213" y="3083"/>
                </a:lnTo>
                <a:lnTo>
                  <a:pt x="6212" y="3077"/>
                </a:lnTo>
                <a:lnTo>
                  <a:pt x="6212" y="3069"/>
                </a:lnTo>
                <a:lnTo>
                  <a:pt x="6207" y="3069"/>
                </a:lnTo>
                <a:lnTo>
                  <a:pt x="6203" y="3069"/>
                </a:lnTo>
                <a:close/>
                <a:moveTo>
                  <a:pt x="5696" y="3066"/>
                </a:moveTo>
                <a:lnTo>
                  <a:pt x="5696" y="3069"/>
                </a:lnTo>
                <a:lnTo>
                  <a:pt x="5695" y="3072"/>
                </a:lnTo>
                <a:lnTo>
                  <a:pt x="5693" y="3075"/>
                </a:lnTo>
                <a:lnTo>
                  <a:pt x="5695" y="3076"/>
                </a:lnTo>
                <a:lnTo>
                  <a:pt x="5696" y="3077"/>
                </a:lnTo>
                <a:lnTo>
                  <a:pt x="5698" y="3080"/>
                </a:lnTo>
                <a:lnTo>
                  <a:pt x="5699" y="3084"/>
                </a:lnTo>
                <a:lnTo>
                  <a:pt x="5701" y="3088"/>
                </a:lnTo>
                <a:lnTo>
                  <a:pt x="5703" y="3097"/>
                </a:lnTo>
                <a:lnTo>
                  <a:pt x="5705" y="3100"/>
                </a:lnTo>
                <a:lnTo>
                  <a:pt x="5706" y="3102"/>
                </a:lnTo>
                <a:lnTo>
                  <a:pt x="5707" y="3103"/>
                </a:lnTo>
                <a:lnTo>
                  <a:pt x="5709" y="3104"/>
                </a:lnTo>
                <a:lnTo>
                  <a:pt x="5711" y="3104"/>
                </a:lnTo>
                <a:lnTo>
                  <a:pt x="5714" y="3105"/>
                </a:lnTo>
                <a:lnTo>
                  <a:pt x="5717" y="3106"/>
                </a:lnTo>
                <a:lnTo>
                  <a:pt x="5713" y="3108"/>
                </a:lnTo>
                <a:lnTo>
                  <a:pt x="5711" y="3110"/>
                </a:lnTo>
                <a:lnTo>
                  <a:pt x="5710" y="3112"/>
                </a:lnTo>
                <a:lnTo>
                  <a:pt x="5710" y="3114"/>
                </a:lnTo>
                <a:lnTo>
                  <a:pt x="5710" y="3118"/>
                </a:lnTo>
                <a:lnTo>
                  <a:pt x="5713" y="3121"/>
                </a:lnTo>
                <a:lnTo>
                  <a:pt x="5720" y="3128"/>
                </a:lnTo>
                <a:lnTo>
                  <a:pt x="5723" y="3131"/>
                </a:lnTo>
                <a:lnTo>
                  <a:pt x="5724" y="3132"/>
                </a:lnTo>
                <a:lnTo>
                  <a:pt x="5725" y="3134"/>
                </a:lnTo>
                <a:lnTo>
                  <a:pt x="5725" y="3140"/>
                </a:lnTo>
                <a:lnTo>
                  <a:pt x="5730" y="3142"/>
                </a:lnTo>
                <a:lnTo>
                  <a:pt x="5733" y="3142"/>
                </a:lnTo>
                <a:lnTo>
                  <a:pt x="5735" y="3142"/>
                </a:lnTo>
                <a:lnTo>
                  <a:pt x="5736" y="3142"/>
                </a:lnTo>
                <a:lnTo>
                  <a:pt x="5738" y="3141"/>
                </a:lnTo>
                <a:lnTo>
                  <a:pt x="5741" y="3139"/>
                </a:lnTo>
                <a:lnTo>
                  <a:pt x="5743" y="3136"/>
                </a:lnTo>
                <a:lnTo>
                  <a:pt x="5744" y="3133"/>
                </a:lnTo>
                <a:lnTo>
                  <a:pt x="5748" y="3126"/>
                </a:lnTo>
                <a:lnTo>
                  <a:pt x="5749" y="3127"/>
                </a:lnTo>
                <a:lnTo>
                  <a:pt x="5751" y="3129"/>
                </a:lnTo>
                <a:lnTo>
                  <a:pt x="5753" y="3131"/>
                </a:lnTo>
                <a:lnTo>
                  <a:pt x="5754" y="3132"/>
                </a:lnTo>
                <a:lnTo>
                  <a:pt x="5755" y="3133"/>
                </a:lnTo>
                <a:lnTo>
                  <a:pt x="5757" y="3132"/>
                </a:lnTo>
                <a:lnTo>
                  <a:pt x="5759" y="3131"/>
                </a:lnTo>
                <a:lnTo>
                  <a:pt x="5759" y="3126"/>
                </a:lnTo>
                <a:lnTo>
                  <a:pt x="5758" y="3125"/>
                </a:lnTo>
                <a:lnTo>
                  <a:pt x="5757" y="3122"/>
                </a:lnTo>
                <a:lnTo>
                  <a:pt x="5756" y="3118"/>
                </a:lnTo>
                <a:lnTo>
                  <a:pt x="5756" y="3114"/>
                </a:lnTo>
                <a:lnTo>
                  <a:pt x="5759" y="3103"/>
                </a:lnTo>
                <a:lnTo>
                  <a:pt x="5764" y="3103"/>
                </a:lnTo>
                <a:lnTo>
                  <a:pt x="5765" y="3099"/>
                </a:lnTo>
                <a:lnTo>
                  <a:pt x="5765" y="3095"/>
                </a:lnTo>
                <a:lnTo>
                  <a:pt x="5765" y="3087"/>
                </a:lnTo>
                <a:lnTo>
                  <a:pt x="5762" y="3072"/>
                </a:lnTo>
                <a:lnTo>
                  <a:pt x="5757" y="3074"/>
                </a:lnTo>
                <a:lnTo>
                  <a:pt x="5752" y="3076"/>
                </a:lnTo>
                <a:lnTo>
                  <a:pt x="5748" y="3077"/>
                </a:lnTo>
                <a:lnTo>
                  <a:pt x="5743" y="3078"/>
                </a:lnTo>
                <a:lnTo>
                  <a:pt x="5740" y="3078"/>
                </a:lnTo>
                <a:lnTo>
                  <a:pt x="5736" y="3078"/>
                </a:lnTo>
                <a:lnTo>
                  <a:pt x="5729" y="3077"/>
                </a:lnTo>
                <a:lnTo>
                  <a:pt x="5722" y="3075"/>
                </a:lnTo>
                <a:lnTo>
                  <a:pt x="5714" y="3073"/>
                </a:lnTo>
                <a:lnTo>
                  <a:pt x="5705" y="3070"/>
                </a:lnTo>
                <a:lnTo>
                  <a:pt x="5696" y="3066"/>
                </a:lnTo>
                <a:close/>
                <a:moveTo>
                  <a:pt x="6209" y="2915"/>
                </a:moveTo>
                <a:lnTo>
                  <a:pt x="6209" y="2916"/>
                </a:lnTo>
                <a:lnTo>
                  <a:pt x="6207" y="2918"/>
                </a:lnTo>
                <a:lnTo>
                  <a:pt x="6206" y="2919"/>
                </a:lnTo>
                <a:lnTo>
                  <a:pt x="6205" y="2920"/>
                </a:lnTo>
                <a:lnTo>
                  <a:pt x="6206" y="2920"/>
                </a:lnTo>
                <a:lnTo>
                  <a:pt x="6210" y="2923"/>
                </a:lnTo>
                <a:lnTo>
                  <a:pt x="6212" y="2926"/>
                </a:lnTo>
                <a:lnTo>
                  <a:pt x="6214" y="2929"/>
                </a:lnTo>
                <a:lnTo>
                  <a:pt x="6216" y="2932"/>
                </a:lnTo>
                <a:lnTo>
                  <a:pt x="6219" y="2940"/>
                </a:lnTo>
                <a:lnTo>
                  <a:pt x="6223" y="2948"/>
                </a:lnTo>
                <a:lnTo>
                  <a:pt x="6226" y="2951"/>
                </a:lnTo>
                <a:lnTo>
                  <a:pt x="6229" y="2955"/>
                </a:lnTo>
                <a:lnTo>
                  <a:pt x="6233" y="2958"/>
                </a:lnTo>
                <a:lnTo>
                  <a:pt x="6234" y="2960"/>
                </a:lnTo>
                <a:lnTo>
                  <a:pt x="6234" y="2962"/>
                </a:lnTo>
                <a:lnTo>
                  <a:pt x="6234" y="2965"/>
                </a:lnTo>
                <a:lnTo>
                  <a:pt x="6240" y="2965"/>
                </a:lnTo>
                <a:lnTo>
                  <a:pt x="6240" y="2968"/>
                </a:lnTo>
                <a:lnTo>
                  <a:pt x="6240" y="2970"/>
                </a:lnTo>
                <a:lnTo>
                  <a:pt x="6240" y="2971"/>
                </a:lnTo>
                <a:lnTo>
                  <a:pt x="6239" y="2972"/>
                </a:lnTo>
                <a:lnTo>
                  <a:pt x="6237" y="2975"/>
                </a:lnTo>
                <a:lnTo>
                  <a:pt x="6237" y="2977"/>
                </a:lnTo>
                <a:lnTo>
                  <a:pt x="6237" y="2979"/>
                </a:lnTo>
                <a:lnTo>
                  <a:pt x="6237" y="2980"/>
                </a:lnTo>
                <a:lnTo>
                  <a:pt x="6238" y="2981"/>
                </a:lnTo>
                <a:lnTo>
                  <a:pt x="6241" y="2983"/>
                </a:lnTo>
                <a:lnTo>
                  <a:pt x="6245" y="2985"/>
                </a:lnTo>
                <a:lnTo>
                  <a:pt x="6246" y="2986"/>
                </a:lnTo>
                <a:lnTo>
                  <a:pt x="6245" y="2988"/>
                </a:lnTo>
                <a:lnTo>
                  <a:pt x="6244" y="2990"/>
                </a:lnTo>
                <a:lnTo>
                  <a:pt x="6243" y="2992"/>
                </a:lnTo>
                <a:lnTo>
                  <a:pt x="6242" y="2993"/>
                </a:lnTo>
                <a:lnTo>
                  <a:pt x="6243" y="2993"/>
                </a:lnTo>
                <a:lnTo>
                  <a:pt x="6244" y="2994"/>
                </a:lnTo>
                <a:lnTo>
                  <a:pt x="6245" y="2996"/>
                </a:lnTo>
                <a:lnTo>
                  <a:pt x="6246" y="3000"/>
                </a:lnTo>
                <a:lnTo>
                  <a:pt x="6246" y="3006"/>
                </a:lnTo>
                <a:lnTo>
                  <a:pt x="6246" y="3012"/>
                </a:lnTo>
                <a:lnTo>
                  <a:pt x="6245" y="3018"/>
                </a:lnTo>
                <a:lnTo>
                  <a:pt x="6243" y="3024"/>
                </a:lnTo>
                <a:lnTo>
                  <a:pt x="6242" y="3029"/>
                </a:lnTo>
                <a:lnTo>
                  <a:pt x="6241" y="3031"/>
                </a:lnTo>
                <a:lnTo>
                  <a:pt x="6240" y="3033"/>
                </a:lnTo>
                <a:lnTo>
                  <a:pt x="6226" y="3041"/>
                </a:lnTo>
                <a:lnTo>
                  <a:pt x="6235" y="3046"/>
                </a:lnTo>
                <a:lnTo>
                  <a:pt x="6240" y="3050"/>
                </a:lnTo>
                <a:lnTo>
                  <a:pt x="6242" y="3051"/>
                </a:lnTo>
                <a:lnTo>
                  <a:pt x="6245" y="3053"/>
                </a:lnTo>
                <a:lnTo>
                  <a:pt x="6249" y="3058"/>
                </a:lnTo>
                <a:lnTo>
                  <a:pt x="6251" y="3060"/>
                </a:lnTo>
                <a:lnTo>
                  <a:pt x="6253" y="3063"/>
                </a:lnTo>
                <a:lnTo>
                  <a:pt x="6254" y="3065"/>
                </a:lnTo>
                <a:lnTo>
                  <a:pt x="6254" y="3068"/>
                </a:lnTo>
                <a:lnTo>
                  <a:pt x="6254" y="3071"/>
                </a:lnTo>
                <a:lnTo>
                  <a:pt x="6254" y="3075"/>
                </a:lnTo>
                <a:lnTo>
                  <a:pt x="6248" y="3081"/>
                </a:lnTo>
                <a:lnTo>
                  <a:pt x="6248" y="3086"/>
                </a:lnTo>
                <a:lnTo>
                  <a:pt x="6248" y="3092"/>
                </a:lnTo>
                <a:lnTo>
                  <a:pt x="6258" y="3094"/>
                </a:lnTo>
                <a:lnTo>
                  <a:pt x="6264" y="3095"/>
                </a:lnTo>
                <a:lnTo>
                  <a:pt x="6266" y="3095"/>
                </a:lnTo>
                <a:lnTo>
                  <a:pt x="6268" y="3094"/>
                </a:lnTo>
                <a:lnTo>
                  <a:pt x="6270" y="3092"/>
                </a:lnTo>
                <a:lnTo>
                  <a:pt x="6272" y="3088"/>
                </a:lnTo>
                <a:lnTo>
                  <a:pt x="6273" y="3083"/>
                </a:lnTo>
                <a:lnTo>
                  <a:pt x="6276" y="3077"/>
                </a:lnTo>
                <a:lnTo>
                  <a:pt x="6279" y="3069"/>
                </a:lnTo>
                <a:lnTo>
                  <a:pt x="6281" y="3067"/>
                </a:lnTo>
                <a:lnTo>
                  <a:pt x="6285" y="3065"/>
                </a:lnTo>
                <a:lnTo>
                  <a:pt x="6287" y="3063"/>
                </a:lnTo>
                <a:lnTo>
                  <a:pt x="6289" y="3061"/>
                </a:lnTo>
                <a:lnTo>
                  <a:pt x="6290" y="3058"/>
                </a:lnTo>
                <a:lnTo>
                  <a:pt x="6290" y="3055"/>
                </a:lnTo>
                <a:lnTo>
                  <a:pt x="6290" y="3052"/>
                </a:lnTo>
                <a:lnTo>
                  <a:pt x="6289" y="3050"/>
                </a:lnTo>
                <a:lnTo>
                  <a:pt x="6288" y="3048"/>
                </a:lnTo>
                <a:lnTo>
                  <a:pt x="6288" y="3047"/>
                </a:lnTo>
                <a:lnTo>
                  <a:pt x="6289" y="3044"/>
                </a:lnTo>
                <a:lnTo>
                  <a:pt x="6292" y="3042"/>
                </a:lnTo>
                <a:lnTo>
                  <a:pt x="6296" y="3041"/>
                </a:lnTo>
                <a:lnTo>
                  <a:pt x="6302" y="3039"/>
                </a:lnTo>
                <a:lnTo>
                  <a:pt x="6307" y="3044"/>
                </a:lnTo>
                <a:lnTo>
                  <a:pt x="6307" y="3040"/>
                </a:lnTo>
                <a:lnTo>
                  <a:pt x="6306" y="3037"/>
                </a:lnTo>
                <a:lnTo>
                  <a:pt x="6305" y="3035"/>
                </a:lnTo>
                <a:lnTo>
                  <a:pt x="6304" y="3034"/>
                </a:lnTo>
                <a:lnTo>
                  <a:pt x="6304" y="3033"/>
                </a:lnTo>
                <a:lnTo>
                  <a:pt x="6305" y="3031"/>
                </a:lnTo>
                <a:lnTo>
                  <a:pt x="6306" y="3029"/>
                </a:lnTo>
                <a:lnTo>
                  <a:pt x="6310" y="3024"/>
                </a:lnTo>
                <a:lnTo>
                  <a:pt x="6314" y="3020"/>
                </a:lnTo>
                <a:lnTo>
                  <a:pt x="6316" y="3016"/>
                </a:lnTo>
                <a:lnTo>
                  <a:pt x="6316" y="3013"/>
                </a:lnTo>
                <a:lnTo>
                  <a:pt x="6316" y="3010"/>
                </a:lnTo>
                <a:lnTo>
                  <a:pt x="6315" y="3007"/>
                </a:lnTo>
                <a:lnTo>
                  <a:pt x="6316" y="3005"/>
                </a:lnTo>
                <a:lnTo>
                  <a:pt x="6313" y="3005"/>
                </a:lnTo>
                <a:lnTo>
                  <a:pt x="6312" y="3005"/>
                </a:lnTo>
                <a:lnTo>
                  <a:pt x="6311" y="3004"/>
                </a:lnTo>
                <a:lnTo>
                  <a:pt x="6310" y="3002"/>
                </a:lnTo>
                <a:lnTo>
                  <a:pt x="6309" y="3002"/>
                </a:lnTo>
                <a:lnTo>
                  <a:pt x="6307" y="3002"/>
                </a:lnTo>
                <a:lnTo>
                  <a:pt x="6305" y="3003"/>
                </a:lnTo>
                <a:lnTo>
                  <a:pt x="6303" y="3006"/>
                </a:lnTo>
                <a:lnTo>
                  <a:pt x="6299" y="3010"/>
                </a:lnTo>
                <a:lnTo>
                  <a:pt x="6295" y="3011"/>
                </a:lnTo>
                <a:lnTo>
                  <a:pt x="6291" y="3011"/>
                </a:lnTo>
                <a:lnTo>
                  <a:pt x="6288" y="3011"/>
                </a:lnTo>
                <a:lnTo>
                  <a:pt x="6284" y="3009"/>
                </a:lnTo>
                <a:lnTo>
                  <a:pt x="6277" y="3005"/>
                </a:lnTo>
                <a:lnTo>
                  <a:pt x="6271" y="3002"/>
                </a:lnTo>
                <a:lnTo>
                  <a:pt x="6271" y="2992"/>
                </a:lnTo>
                <a:lnTo>
                  <a:pt x="6271" y="2982"/>
                </a:lnTo>
                <a:lnTo>
                  <a:pt x="6268" y="2981"/>
                </a:lnTo>
                <a:lnTo>
                  <a:pt x="6266" y="2980"/>
                </a:lnTo>
                <a:lnTo>
                  <a:pt x="6266" y="2979"/>
                </a:lnTo>
                <a:lnTo>
                  <a:pt x="6266" y="2978"/>
                </a:lnTo>
                <a:lnTo>
                  <a:pt x="6267" y="2977"/>
                </a:lnTo>
                <a:lnTo>
                  <a:pt x="6266" y="2975"/>
                </a:lnTo>
                <a:lnTo>
                  <a:pt x="6265" y="2974"/>
                </a:lnTo>
                <a:lnTo>
                  <a:pt x="6261" y="2982"/>
                </a:lnTo>
                <a:lnTo>
                  <a:pt x="6259" y="2984"/>
                </a:lnTo>
                <a:lnTo>
                  <a:pt x="6257" y="2985"/>
                </a:lnTo>
                <a:lnTo>
                  <a:pt x="6254" y="2984"/>
                </a:lnTo>
                <a:lnTo>
                  <a:pt x="6252" y="2983"/>
                </a:lnTo>
                <a:lnTo>
                  <a:pt x="6251" y="2982"/>
                </a:lnTo>
                <a:lnTo>
                  <a:pt x="6250" y="2980"/>
                </a:lnTo>
                <a:lnTo>
                  <a:pt x="6249" y="2978"/>
                </a:lnTo>
                <a:lnTo>
                  <a:pt x="6248" y="2975"/>
                </a:lnTo>
                <a:lnTo>
                  <a:pt x="6248" y="2970"/>
                </a:lnTo>
                <a:lnTo>
                  <a:pt x="6248" y="2956"/>
                </a:lnTo>
                <a:lnTo>
                  <a:pt x="6247" y="2949"/>
                </a:lnTo>
                <a:lnTo>
                  <a:pt x="6246" y="2946"/>
                </a:lnTo>
                <a:lnTo>
                  <a:pt x="6245" y="2943"/>
                </a:lnTo>
                <a:lnTo>
                  <a:pt x="6237" y="2943"/>
                </a:lnTo>
                <a:lnTo>
                  <a:pt x="6237" y="2942"/>
                </a:lnTo>
                <a:lnTo>
                  <a:pt x="6238" y="2940"/>
                </a:lnTo>
                <a:lnTo>
                  <a:pt x="6240" y="2937"/>
                </a:lnTo>
                <a:lnTo>
                  <a:pt x="6233" y="2931"/>
                </a:lnTo>
                <a:lnTo>
                  <a:pt x="6226" y="2926"/>
                </a:lnTo>
                <a:lnTo>
                  <a:pt x="6223" y="2929"/>
                </a:lnTo>
                <a:lnTo>
                  <a:pt x="6222" y="2931"/>
                </a:lnTo>
                <a:lnTo>
                  <a:pt x="6221" y="2931"/>
                </a:lnTo>
                <a:lnTo>
                  <a:pt x="6220" y="2931"/>
                </a:lnTo>
                <a:lnTo>
                  <a:pt x="6218" y="2929"/>
                </a:lnTo>
                <a:lnTo>
                  <a:pt x="6216" y="2926"/>
                </a:lnTo>
                <a:lnTo>
                  <a:pt x="6212" y="2920"/>
                </a:lnTo>
                <a:lnTo>
                  <a:pt x="6214" y="2917"/>
                </a:lnTo>
                <a:lnTo>
                  <a:pt x="6214" y="2916"/>
                </a:lnTo>
                <a:lnTo>
                  <a:pt x="6214" y="2915"/>
                </a:lnTo>
                <a:lnTo>
                  <a:pt x="6209" y="2915"/>
                </a:lnTo>
                <a:close/>
                <a:moveTo>
                  <a:pt x="3957" y="2387"/>
                </a:moveTo>
                <a:lnTo>
                  <a:pt x="3952" y="2404"/>
                </a:lnTo>
                <a:lnTo>
                  <a:pt x="3950" y="2414"/>
                </a:lnTo>
                <a:lnTo>
                  <a:pt x="3948" y="2424"/>
                </a:lnTo>
                <a:lnTo>
                  <a:pt x="3945" y="2424"/>
                </a:lnTo>
                <a:lnTo>
                  <a:pt x="3940" y="2425"/>
                </a:lnTo>
                <a:lnTo>
                  <a:pt x="3936" y="2425"/>
                </a:lnTo>
                <a:lnTo>
                  <a:pt x="3935" y="2426"/>
                </a:lnTo>
                <a:lnTo>
                  <a:pt x="3934" y="2427"/>
                </a:lnTo>
                <a:lnTo>
                  <a:pt x="3934" y="2430"/>
                </a:lnTo>
                <a:lnTo>
                  <a:pt x="3935" y="2429"/>
                </a:lnTo>
                <a:lnTo>
                  <a:pt x="3937" y="2432"/>
                </a:lnTo>
                <a:lnTo>
                  <a:pt x="3938" y="2435"/>
                </a:lnTo>
                <a:lnTo>
                  <a:pt x="3938" y="2437"/>
                </a:lnTo>
                <a:lnTo>
                  <a:pt x="3937" y="2438"/>
                </a:lnTo>
                <a:lnTo>
                  <a:pt x="3931" y="2438"/>
                </a:lnTo>
                <a:lnTo>
                  <a:pt x="3931" y="2440"/>
                </a:lnTo>
                <a:lnTo>
                  <a:pt x="3931" y="2443"/>
                </a:lnTo>
                <a:lnTo>
                  <a:pt x="3930" y="2447"/>
                </a:lnTo>
                <a:lnTo>
                  <a:pt x="3929" y="2452"/>
                </a:lnTo>
                <a:lnTo>
                  <a:pt x="3925" y="2450"/>
                </a:lnTo>
                <a:lnTo>
                  <a:pt x="3925" y="2449"/>
                </a:lnTo>
                <a:lnTo>
                  <a:pt x="3924" y="2448"/>
                </a:lnTo>
                <a:lnTo>
                  <a:pt x="3920" y="2449"/>
                </a:lnTo>
                <a:lnTo>
                  <a:pt x="3921" y="2457"/>
                </a:lnTo>
                <a:lnTo>
                  <a:pt x="3921" y="2461"/>
                </a:lnTo>
                <a:lnTo>
                  <a:pt x="3920" y="2463"/>
                </a:lnTo>
                <a:lnTo>
                  <a:pt x="3919" y="2463"/>
                </a:lnTo>
                <a:lnTo>
                  <a:pt x="3917" y="2462"/>
                </a:lnTo>
                <a:lnTo>
                  <a:pt x="3915" y="2461"/>
                </a:lnTo>
                <a:lnTo>
                  <a:pt x="3913" y="2460"/>
                </a:lnTo>
                <a:lnTo>
                  <a:pt x="3912" y="2461"/>
                </a:lnTo>
                <a:lnTo>
                  <a:pt x="3910" y="2462"/>
                </a:lnTo>
                <a:lnTo>
                  <a:pt x="3909" y="2465"/>
                </a:lnTo>
                <a:lnTo>
                  <a:pt x="3907" y="2468"/>
                </a:lnTo>
                <a:lnTo>
                  <a:pt x="3906" y="2469"/>
                </a:lnTo>
                <a:lnTo>
                  <a:pt x="3904" y="2469"/>
                </a:lnTo>
                <a:lnTo>
                  <a:pt x="3901" y="2469"/>
                </a:lnTo>
                <a:lnTo>
                  <a:pt x="3898" y="2468"/>
                </a:lnTo>
                <a:lnTo>
                  <a:pt x="3895" y="2467"/>
                </a:lnTo>
                <a:lnTo>
                  <a:pt x="3893" y="2466"/>
                </a:lnTo>
                <a:lnTo>
                  <a:pt x="3892" y="2466"/>
                </a:lnTo>
                <a:lnTo>
                  <a:pt x="3892" y="2472"/>
                </a:lnTo>
                <a:lnTo>
                  <a:pt x="3882" y="2477"/>
                </a:lnTo>
                <a:lnTo>
                  <a:pt x="3877" y="2480"/>
                </a:lnTo>
                <a:lnTo>
                  <a:pt x="3872" y="2483"/>
                </a:lnTo>
                <a:lnTo>
                  <a:pt x="3867" y="2486"/>
                </a:lnTo>
                <a:lnTo>
                  <a:pt x="3863" y="2491"/>
                </a:lnTo>
                <a:lnTo>
                  <a:pt x="3860" y="2495"/>
                </a:lnTo>
                <a:lnTo>
                  <a:pt x="3859" y="2497"/>
                </a:lnTo>
                <a:lnTo>
                  <a:pt x="3858" y="2500"/>
                </a:lnTo>
                <a:lnTo>
                  <a:pt x="3858" y="2504"/>
                </a:lnTo>
                <a:lnTo>
                  <a:pt x="3858" y="2508"/>
                </a:lnTo>
                <a:lnTo>
                  <a:pt x="3858" y="2512"/>
                </a:lnTo>
                <a:lnTo>
                  <a:pt x="3859" y="2515"/>
                </a:lnTo>
                <a:lnTo>
                  <a:pt x="3861" y="2523"/>
                </a:lnTo>
                <a:lnTo>
                  <a:pt x="3864" y="2531"/>
                </a:lnTo>
                <a:lnTo>
                  <a:pt x="3867" y="2539"/>
                </a:lnTo>
                <a:lnTo>
                  <a:pt x="3869" y="2546"/>
                </a:lnTo>
                <a:lnTo>
                  <a:pt x="3870" y="2550"/>
                </a:lnTo>
                <a:lnTo>
                  <a:pt x="3870" y="2554"/>
                </a:lnTo>
                <a:lnTo>
                  <a:pt x="3870" y="2562"/>
                </a:lnTo>
                <a:lnTo>
                  <a:pt x="3867" y="2564"/>
                </a:lnTo>
                <a:lnTo>
                  <a:pt x="3862" y="2568"/>
                </a:lnTo>
                <a:lnTo>
                  <a:pt x="3855" y="2573"/>
                </a:lnTo>
                <a:lnTo>
                  <a:pt x="3855" y="2575"/>
                </a:lnTo>
                <a:lnTo>
                  <a:pt x="3855" y="2576"/>
                </a:lnTo>
                <a:lnTo>
                  <a:pt x="3855" y="2580"/>
                </a:lnTo>
                <a:lnTo>
                  <a:pt x="3856" y="2584"/>
                </a:lnTo>
                <a:lnTo>
                  <a:pt x="3855" y="2587"/>
                </a:lnTo>
                <a:lnTo>
                  <a:pt x="3854" y="2588"/>
                </a:lnTo>
                <a:lnTo>
                  <a:pt x="3851" y="2590"/>
                </a:lnTo>
                <a:lnTo>
                  <a:pt x="3849" y="2591"/>
                </a:lnTo>
                <a:lnTo>
                  <a:pt x="3847" y="2593"/>
                </a:lnTo>
                <a:lnTo>
                  <a:pt x="3845" y="2598"/>
                </a:lnTo>
                <a:lnTo>
                  <a:pt x="3844" y="2603"/>
                </a:lnTo>
                <a:lnTo>
                  <a:pt x="3843" y="2607"/>
                </a:lnTo>
                <a:lnTo>
                  <a:pt x="3842" y="2611"/>
                </a:lnTo>
                <a:lnTo>
                  <a:pt x="3842" y="2615"/>
                </a:lnTo>
                <a:lnTo>
                  <a:pt x="3843" y="2619"/>
                </a:lnTo>
                <a:lnTo>
                  <a:pt x="3843" y="2623"/>
                </a:lnTo>
                <a:lnTo>
                  <a:pt x="3844" y="2626"/>
                </a:lnTo>
                <a:lnTo>
                  <a:pt x="3847" y="2633"/>
                </a:lnTo>
                <a:lnTo>
                  <a:pt x="3850" y="2640"/>
                </a:lnTo>
                <a:lnTo>
                  <a:pt x="3855" y="2653"/>
                </a:lnTo>
                <a:lnTo>
                  <a:pt x="3860" y="2667"/>
                </a:lnTo>
                <a:lnTo>
                  <a:pt x="3863" y="2672"/>
                </a:lnTo>
                <a:lnTo>
                  <a:pt x="3865" y="2677"/>
                </a:lnTo>
                <a:lnTo>
                  <a:pt x="3868" y="2681"/>
                </a:lnTo>
                <a:lnTo>
                  <a:pt x="3872" y="2685"/>
                </a:lnTo>
                <a:lnTo>
                  <a:pt x="3875" y="2687"/>
                </a:lnTo>
                <a:lnTo>
                  <a:pt x="3877" y="2689"/>
                </a:lnTo>
                <a:lnTo>
                  <a:pt x="3884" y="2692"/>
                </a:lnTo>
                <a:lnTo>
                  <a:pt x="3888" y="2693"/>
                </a:lnTo>
                <a:lnTo>
                  <a:pt x="3890" y="2693"/>
                </a:lnTo>
                <a:lnTo>
                  <a:pt x="3889" y="2692"/>
                </a:lnTo>
                <a:lnTo>
                  <a:pt x="3897" y="2690"/>
                </a:lnTo>
                <a:lnTo>
                  <a:pt x="3905" y="2687"/>
                </a:lnTo>
                <a:lnTo>
                  <a:pt x="3912" y="2683"/>
                </a:lnTo>
                <a:lnTo>
                  <a:pt x="3915" y="2681"/>
                </a:lnTo>
                <a:lnTo>
                  <a:pt x="3916" y="2680"/>
                </a:lnTo>
                <a:lnTo>
                  <a:pt x="3917" y="2678"/>
                </a:lnTo>
                <a:lnTo>
                  <a:pt x="3919" y="2674"/>
                </a:lnTo>
                <a:lnTo>
                  <a:pt x="3921" y="2670"/>
                </a:lnTo>
                <a:lnTo>
                  <a:pt x="3923" y="2661"/>
                </a:lnTo>
                <a:lnTo>
                  <a:pt x="3924" y="2651"/>
                </a:lnTo>
                <a:lnTo>
                  <a:pt x="3925" y="2646"/>
                </a:lnTo>
                <a:lnTo>
                  <a:pt x="3926" y="2642"/>
                </a:lnTo>
                <a:lnTo>
                  <a:pt x="3928" y="2634"/>
                </a:lnTo>
                <a:lnTo>
                  <a:pt x="3931" y="2627"/>
                </a:lnTo>
                <a:lnTo>
                  <a:pt x="3938" y="2610"/>
                </a:lnTo>
                <a:lnTo>
                  <a:pt x="3941" y="2602"/>
                </a:lnTo>
                <a:lnTo>
                  <a:pt x="3944" y="2592"/>
                </a:lnTo>
                <a:lnTo>
                  <a:pt x="3947" y="2584"/>
                </a:lnTo>
                <a:lnTo>
                  <a:pt x="3948" y="2576"/>
                </a:lnTo>
                <a:lnTo>
                  <a:pt x="3948" y="2573"/>
                </a:lnTo>
                <a:lnTo>
                  <a:pt x="3948" y="2571"/>
                </a:lnTo>
                <a:lnTo>
                  <a:pt x="3947" y="2566"/>
                </a:lnTo>
                <a:lnTo>
                  <a:pt x="3946" y="2562"/>
                </a:lnTo>
                <a:lnTo>
                  <a:pt x="3945" y="2560"/>
                </a:lnTo>
                <a:lnTo>
                  <a:pt x="3945" y="2559"/>
                </a:lnTo>
                <a:lnTo>
                  <a:pt x="3952" y="2548"/>
                </a:lnTo>
                <a:lnTo>
                  <a:pt x="3960" y="2537"/>
                </a:lnTo>
                <a:lnTo>
                  <a:pt x="3963" y="2527"/>
                </a:lnTo>
                <a:lnTo>
                  <a:pt x="3965" y="2520"/>
                </a:lnTo>
                <a:lnTo>
                  <a:pt x="3965" y="2516"/>
                </a:lnTo>
                <a:lnTo>
                  <a:pt x="3964" y="2513"/>
                </a:lnTo>
                <a:lnTo>
                  <a:pt x="3962" y="2508"/>
                </a:lnTo>
                <a:lnTo>
                  <a:pt x="3968" y="2503"/>
                </a:lnTo>
                <a:lnTo>
                  <a:pt x="3968" y="2500"/>
                </a:lnTo>
                <a:lnTo>
                  <a:pt x="3968" y="2498"/>
                </a:lnTo>
                <a:lnTo>
                  <a:pt x="3968" y="2494"/>
                </a:lnTo>
                <a:lnTo>
                  <a:pt x="3969" y="2492"/>
                </a:lnTo>
                <a:lnTo>
                  <a:pt x="3970" y="2491"/>
                </a:lnTo>
                <a:lnTo>
                  <a:pt x="3971" y="2490"/>
                </a:lnTo>
                <a:lnTo>
                  <a:pt x="3974" y="2489"/>
                </a:lnTo>
                <a:lnTo>
                  <a:pt x="3974" y="2483"/>
                </a:lnTo>
                <a:lnTo>
                  <a:pt x="3972" y="2478"/>
                </a:lnTo>
                <a:lnTo>
                  <a:pt x="3970" y="2472"/>
                </a:lnTo>
                <a:lnTo>
                  <a:pt x="3967" y="2466"/>
                </a:lnTo>
                <a:lnTo>
                  <a:pt x="3965" y="2461"/>
                </a:lnTo>
                <a:lnTo>
                  <a:pt x="3967" y="2461"/>
                </a:lnTo>
                <a:lnTo>
                  <a:pt x="3969" y="2461"/>
                </a:lnTo>
                <a:lnTo>
                  <a:pt x="3974" y="2461"/>
                </a:lnTo>
                <a:lnTo>
                  <a:pt x="3973" y="2464"/>
                </a:lnTo>
                <a:lnTo>
                  <a:pt x="3974" y="2469"/>
                </a:lnTo>
                <a:lnTo>
                  <a:pt x="3979" y="2469"/>
                </a:lnTo>
                <a:lnTo>
                  <a:pt x="3979" y="2466"/>
                </a:lnTo>
                <a:lnTo>
                  <a:pt x="3979" y="2463"/>
                </a:lnTo>
                <a:lnTo>
                  <a:pt x="3979" y="2462"/>
                </a:lnTo>
                <a:lnTo>
                  <a:pt x="3979" y="2461"/>
                </a:lnTo>
                <a:lnTo>
                  <a:pt x="3980" y="2461"/>
                </a:lnTo>
                <a:lnTo>
                  <a:pt x="3982" y="2461"/>
                </a:lnTo>
                <a:lnTo>
                  <a:pt x="3981" y="2446"/>
                </a:lnTo>
                <a:lnTo>
                  <a:pt x="3979" y="2430"/>
                </a:lnTo>
                <a:lnTo>
                  <a:pt x="3979" y="2421"/>
                </a:lnTo>
                <a:lnTo>
                  <a:pt x="3977" y="2414"/>
                </a:lnTo>
                <a:lnTo>
                  <a:pt x="3976" y="2407"/>
                </a:lnTo>
                <a:lnTo>
                  <a:pt x="3974" y="2401"/>
                </a:lnTo>
                <a:lnTo>
                  <a:pt x="3973" y="2400"/>
                </a:lnTo>
                <a:lnTo>
                  <a:pt x="3972" y="2399"/>
                </a:lnTo>
                <a:lnTo>
                  <a:pt x="3971" y="2399"/>
                </a:lnTo>
                <a:lnTo>
                  <a:pt x="3970" y="2399"/>
                </a:lnTo>
                <a:lnTo>
                  <a:pt x="3967" y="2401"/>
                </a:lnTo>
                <a:lnTo>
                  <a:pt x="3965" y="2401"/>
                </a:lnTo>
                <a:lnTo>
                  <a:pt x="3961" y="2394"/>
                </a:lnTo>
                <a:lnTo>
                  <a:pt x="3957" y="2387"/>
                </a:lnTo>
                <a:close/>
                <a:moveTo>
                  <a:pt x="5001" y="2227"/>
                </a:moveTo>
                <a:lnTo>
                  <a:pt x="4999" y="2234"/>
                </a:lnTo>
                <a:lnTo>
                  <a:pt x="4996" y="2240"/>
                </a:lnTo>
                <a:lnTo>
                  <a:pt x="4990" y="2252"/>
                </a:lnTo>
                <a:lnTo>
                  <a:pt x="4995" y="2253"/>
                </a:lnTo>
                <a:lnTo>
                  <a:pt x="4999" y="2254"/>
                </a:lnTo>
                <a:lnTo>
                  <a:pt x="5010" y="2255"/>
                </a:lnTo>
                <a:lnTo>
                  <a:pt x="5007" y="2259"/>
                </a:lnTo>
                <a:lnTo>
                  <a:pt x="5006" y="2262"/>
                </a:lnTo>
                <a:lnTo>
                  <a:pt x="5006" y="2263"/>
                </a:lnTo>
                <a:lnTo>
                  <a:pt x="5007" y="2264"/>
                </a:lnTo>
                <a:lnTo>
                  <a:pt x="5011" y="2264"/>
                </a:lnTo>
                <a:lnTo>
                  <a:pt x="5014" y="2264"/>
                </a:lnTo>
                <a:lnTo>
                  <a:pt x="5017" y="2264"/>
                </a:lnTo>
                <a:lnTo>
                  <a:pt x="5020" y="2263"/>
                </a:lnTo>
                <a:lnTo>
                  <a:pt x="5022" y="2262"/>
                </a:lnTo>
                <a:lnTo>
                  <a:pt x="5025" y="2262"/>
                </a:lnTo>
                <a:lnTo>
                  <a:pt x="5028" y="2262"/>
                </a:lnTo>
                <a:lnTo>
                  <a:pt x="5032" y="2264"/>
                </a:lnTo>
                <a:lnTo>
                  <a:pt x="5032" y="2269"/>
                </a:lnTo>
                <a:lnTo>
                  <a:pt x="5037" y="2271"/>
                </a:lnTo>
                <a:lnTo>
                  <a:pt x="5041" y="2272"/>
                </a:lnTo>
                <a:lnTo>
                  <a:pt x="5044" y="2272"/>
                </a:lnTo>
                <a:lnTo>
                  <a:pt x="5048" y="2272"/>
                </a:lnTo>
                <a:lnTo>
                  <a:pt x="5055" y="2271"/>
                </a:lnTo>
                <a:lnTo>
                  <a:pt x="5059" y="2270"/>
                </a:lnTo>
                <a:lnTo>
                  <a:pt x="5063" y="2269"/>
                </a:lnTo>
                <a:lnTo>
                  <a:pt x="5067" y="2269"/>
                </a:lnTo>
                <a:lnTo>
                  <a:pt x="5072" y="2269"/>
                </a:lnTo>
                <a:lnTo>
                  <a:pt x="5074" y="2270"/>
                </a:lnTo>
                <a:lnTo>
                  <a:pt x="5077" y="2271"/>
                </a:lnTo>
                <a:lnTo>
                  <a:pt x="5084" y="2275"/>
                </a:lnTo>
                <a:lnTo>
                  <a:pt x="5091" y="2278"/>
                </a:lnTo>
                <a:lnTo>
                  <a:pt x="5097" y="2280"/>
                </a:lnTo>
                <a:lnTo>
                  <a:pt x="5102" y="2281"/>
                </a:lnTo>
                <a:lnTo>
                  <a:pt x="5107" y="2281"/>
                </a:lnTo>
                <a:lnTo>
                  <a:pt x="5118" y="2281"/>
                </a:lnTo>
                <a:lnTo>
                  <a:pt x="5128" y="2280"/>
                </a:lnTo>
                <a:lnTo>
                  <a:pt x="5133" y="2280"/>
                </a:lnTo>
                <a:lnTo>
                  <a:pt x="5136" y="2280"/>
                </a:lnTo>
                <a:lnTo>
                  <a:pt x="5138" y="2281"/>
                </a:lnTo>
                <a:lnTo>
                  <a:pt x="5139" y="2282"/>
                </a:lnTo>
                <a:lnTo>
                  <a:pt x="5142" y="2286"/>
                </a:lnTo>
                <a:lnTo>
                  <a:pt x="5145" y="2289"/>
                </a:lnTo>
                <a:lnTo>
                  <a:pt x="5146" y="2291"/>
                </a:lnTo>
                <a:lnTo>
                  <a:pt x="5147" y="2292"/>
                </a:lnTo>
                <a:lnTo>
                  <a:pt x="5150" y="2293"/>
                </a:lnTo>
                <a:lnTo>
                  <a:pt x="5152" y="2293"/>
                </a:lnTo>
                <a:lnTo>
                  <a:pt x="5156" y="2293"/>
                </a:lnTo>
                <a:lnTo>
                  <a:pt x="5160" y="2294"/>
                </a:lnTo>
                <a:lnTo>
                  <a:pt x="5164" y="2295"/>
                </a:lnTo>
                <a:lnTo>
                  <a:pt x="5163" y="2292"/>
                </a:lnTo>
                <a:lnTo>
                  <a:pt x="5160" y="2288"/>
                </a:lnTo>
                <a:lnTo>
                  <a:pt x="5156" y="2283"/>
                </a:lnTo>
                <a:lnTo>
                  <a:pt x="5156" y="2280"/>
                </a:lnTo>
                <a:lnTo>
                  <a:pt x="5156" y="2277"/>
                </a:lnTo>
                <a:lnTo>
                  <a:pt x="5158" y="2273"/>
                </a:lnTo>
                <a:lnTo>
                  <a:pt x="5159" y="2269"/>
                </a:lnTo>
                <a:lnTo>
                  <a:pt x="5158" y="2269"/>
                </a:lnTo>
                <a:lnTo>
                  <a:pt x="5156" y="2268"/>
                </a:lnTo>
                <a:lnTo>
                  <a:pt x="5154" y="2266"/>
                </a:lnTo>
                <a:lnTo>
                  <a:pt x="5150" y="2264"/>
                </a:lnTo>
                <a:lnTo>
                  <a:pt x="5128" y="2264"/>
                </a:lnTo>
                <a:lnTo>
                  <a:pt x="5130" y="2258"/>
                </a:lnTo>
                <a:lnTo>
                  <a:pt x="5131" y="2255"/>
                </a:lnTo>
                <a:lnTo>
                  <a:pt x="5131" y="2252"/>
                </a:lnTo>
                <a:lnTo>
                  <a:pt x="5129" y="2249"/>
                </a:lnTo>
                <a:lnTo>
                  <a:pt x="5128" y="2247"/>
                </a:lnTo>
                <a:lnTo>
                  <a:pt x="5128" y="2244"/>
                </a:lnTo>
                <a:lnTo>
                  <a:pt x="5118" y="2243"/>
                </a:lnTo>
                <a:lnTo>
                  <a:pt x="5110" y="2242"/>
                </a:lnTo>
                <a:lnTo>
                  <a:pt x="5103" y="2242"/>
                </a:lnTo>
                <a:lnTo>
                  <a:pt x="5100" y="2242"/>
                </a:lnTo>
                <a:lnTo>
                  <a:pt x="5097" y="2241"/>
                </a:lnTo>
                <a:lnTo>
                  <a:pt x="5096" y="2240"/>
                </a:lnTo>
                <a:lnTo>
                  <a:pt x="5095" y="2238"/>
                </a:lnTo>
                <a:lnTo>
                  <a:pt x="5094" y="2237"/>
                </a:lnTo>
                <a:lnTo>
                  <a:pt x="5093" y="2236"/>
                </a:lnTo>
                <a:lnTo>
                  <a:pt x="5092" y="2236"/>
                </a:lnTo>
                <a:lnTo>
                  <a:pt x="5091" y="2235"/>
                </a:lnTo>
                <a:lnTo>
                  <a:pt x="5086" y="2244"/>
                </a:lnTo>
                <a:lnTo>
                  <a:pt x="5069" y="2244"/>
                </a:lnTo>
                <a:lnTo>
                  <a:pt x="5064" y="2243"/>
                </a:lnTo>
                <a:lnTo>
                  <a:pt x="5060" y="2241"/>
                </a:lnTo>
                <a:lnTo>
                  <a:pt x="5057" y="2238"/>
                </a:lnTo>
                <a:lnTo>
                  <a:pt x="5054" y="2236"/>
                </a:lnTo>
                <a:lnTo>
                  <a:pt x="5047" y="2231"/>
                </a:lnTo>
                <a:lnTo>
                  <a:pt x="5044" y="2228"/>
                </a:lnTo>
                <a:lnTo>
                  <a:pt x="5041" y="2227"/>
                </a:lnTo>
                <a:lnTo>
                  <a:pt x="5038" y="2227"/>
                </a:lnTo>
                <a:lnTo>
                  <a:pt x="5035" y="2227"/>
                </a:lnTo>
                <a:lnTo>
                  <a:pt x="5028" y="2229"/>
                </a:lnTo>
                <a:lnTo>
                  <a:pt x="5018" y="2233"/>
                </a:lnTo>
                <a:lnTo>
                  <a:pt x="5013" y="2232"/>
                </a:lnTo>
                <a:lnTo>
                  <a:pt x="5009" y="2230"/>
                </a:lnTo>
                <a:lnTo>
                  <a:pt x="5005" y="2228"/>
                </a:lnTo>
                <a:lnTo>
                  <a:pt x="5003" y="2228"/>
                </a:lnTo>
                <a:lnTo>
                  <a:pt x="5001" y="2227"/>
                </a:lnTo>
                <a:close/>
                <a:moveTo>
                  <a:pt x="5342" y="2067"/>
                </a:moveTo>
                <a:lnTo>
                  <a:pt x="5339" y="2069"/>
                </a:lnTo>
                <a:lnTo>
                  <a:pt x="5335" y="2075"/>
                </a:lnTo>
                <a:lnTo>
                  <a:pt x="5333" y="2078"/>
                </a:lnTo>
                <a:lnTo>
                  <a:pt x="5330" y="2080"/>
                </a:lnTo>
                <a:lnTo>
                  <a:pt x="5328" y="2082"/>
                </a:lnTo>
                <a:lnTo>
                  <a:pt x="5325" y="2084"/>
                </a:lnTo>
                <a:lnTo>
                  <a:pt x="5319" y="2084"/>
                </a:lnTo>
                <a:lnTo>
                  <a:pt x="5313" y="2085"/>
                </a:lnTo>
                <a:lnTo>
                  <a:pt x="5301" y="2084"/>
                </a:lnTo>
                <a:lnTo>
                  <a:pt x="5280" y="2081"/>
                </a:lnTo>
                <a:lnTo>
                  <a:pt x="5280" y="2075"/>
                </a:lnTo>
                <a:lnTo>
                  <a:pt x="5278" y="2075"/>
                </a:lnTo>
                <a:lnTo>
                  <a:pt x="5275" y="2076"/>
                </a:lnTo>
                <a:lnTo>
                  <a:pt x="5270" y="2079"/>
                </a:lnTo>
                <a:lnTo>
                  <a:pt x="5266" y="2082"/>
                </a:lnTo>
                <a:lnTo>
                  <a:pt x="5263" y="2084"/>
                </a:lnTo>
                <a:lnTo>
                  <a:pt x="5261" y="2084"/>
                </a:lnTo>
                <a:lnTo>
                  <a:pt x="5260" y="2083"/>
                </a:lnTo>
                <a:lnTo>
                  <a:pt x="5260" y="2082"/>
                </a:lnTo>
                <a:lnTo>
                  <a:pt x="5259" y="2080"/>
                </a:lnTo>
                <a:lnTo>
                  <a:pt x="5258" y="2080"/>
                </a:lnTo>
                <a:lnTo>
                  <a:pt x="5257" y="2081"/>
                </a:lnTo>
                <a:lnTo>
                  <a:pt x="5257" y="2086"/>
                </a:lnTo>
                <a:lnTo>
                  <a:pt x="5253" y="2089"/>
                </a:lnTo>
                <a:lnTo>
                  <a:pt x="5249" y="2092"/>
                </a:lnTo>
                <a:lnTo>
                  <a:pt x="5248" y="2096"/>
                </a:lnTo>
                <a:lnTo>
                  <a:pt x="5248" y="2100"/>
                </a:lnTo>
                <a:lnTo>
                  <a:pt x="5248" y="2103"/>
                </a:lnTo>
                <a:lnTo>
                  <a:pt x="5249" y="2106"/>
                </a:lnTo>
                <a:lnTo>
                  <a:pt x="5251" y="2110"/>
                </a:lnTo>
                <a:lnTo>
                  <a:pt x="5252" y="2113"/>
                </a:lnTo>
                <a:lnTo>
                  <a:pt x="5252" y="2115"/>
                </a:lnTo>
                <a:lnTo>
                  <a:pt x="5250" y="2117"/>
                </a:lnTo>
                <a:lnTo>
                  <a:pt x="5247" y="2119"/>
                </a:lnTo>
                <a:lnTo>
                  <a:pt x="5245" y="2121"/>
                </a:lnTo>
                <a:lnTo>
                  <a:pt x="5243" y="2123"/>
                </a:lnTo>
                <a:lnTo>
                  <a:pt x="5243" y="2125"/>
                </a:lnTo>
                <a:lnTo>
                  <a:pt x="5242" y="2128"/>
                </a:lnTo>
                <a:lnTo>
                  <a:pt x="5243" y="2133"/>
                </a:lnTo>
                <a:lnTo>
                  <a:pt x="5243" y="2138"/>
                </a:lnTo>
                <a:lnTo>
                  <a:pt x="5243" y="2143"/>
                </a:lnTo>
                <a:lnTo>
                  <a:pt x="5242" y="2145"/>
                </a:lnTo>
                <a:lnTo>
                  <a:pt x="5241" y="2148"/>
                </a:lnTo>
                <a:lnTo>
                  <a:pt x="5239" y="2154"/>
                </a:lnTo>
                <a:lnTo>
                  <a:pt x="5236" y="2160"/>
                </a:lnTo>
                <a:lnTo>
                  <a:pt x="5235" y="2163"/>
                </a:lnTo>
                <a:lnTo>
                  <a:pt x="5235" y="2165"/>
                </a:lnTo>
                <a:lnTo>
                  <a:pt x="5234" y="2175"/>
                </a:lnTo>
                <a:lnTo>
                  <a:pt x="5234" y="2177"/>
                </a:lnTo>
                <a:lnTo>
                  <a:pt x="5235" y="2177"/>
                </a:lnTo>
                <a:lnTo>
                  <a:pt x="5239" y="2177"/>
                </a:lnTo>
                <a:lnTo>
                  <a:pt x="5240" y="2177"/>
                </a:lnTo>
                <a:lnTo>
                  <a:pt x="5242" y="2177"/>
                </a:lnTo>
                <a:lnTo>
                  <a:pt x="5246" y="2179"/>
                </a:lnTo>
                <a:lnTo>
                  <a:pt x="5243" y="2201"/>
                </a:lnTo>
                <a:lnTo>
                  <a:pt x="5240" y="2224"/>
                </a:lnTo>
                <a:lnTo>
                  <a:pt x="5247" y="2223"/>
                </a:lnTo>
                <a:lnTo>
                  <a:pt x="5252" y="2223"/>
                </a:lnTo>
                <a:lnTo>
                  <a:pt x="5257" y="2222"/>
                </a:lnTo>
                <a:lnTo>
                  <a:pt x="5260" y="2221"/>
                </a:lnTo>
                <a:lnTo>
                  <a:pt x="5262" y="2221"/>
                </a:lnTo>
                <a:lnTo>
                  <a:pt x="5263" y="2220"/>
                </a:lnTo>
                <a:lnTo>
                  <a:pt x="5264" y="2218"/>
                </a:lnTo>
                <a:lnTo>
                  <a:pt x="5265" y="2216"/>
                </a:lnTo>
                <a:lnTo>
                  <a:pt x="5266" y="2211"/>
                </a:lnTo>
                <a:lnTo>
                  <a:pt x="5266" y="2205"/>
                </a:lnTo>
                <a:lnTo>
                  <a:pt x="5260" y="2196"/>
                </a:lnTo>
                <a:lnTo>
                  <a:pt x="5261" y="2193"/>
                </a:lnTo>
                <a:lnTo>
                  <a:pt x="5261" y="2192"/>
                </a:lnTo>
                <a:lnTo>
                  <a:pt x="5262" y="2192"/>
                </a:lnTo>
                <a:lnTo>
                  <a:pt x="5263" y="2193"/>
                </a:lnTo>
                <a:lnTo>
                  <a:pt x="5265" y="2184"/>
                </a:lnTo>
                <a:lnTo>
                  <a:pt x="5266" y="2178"/>
                </a:lnTo>
                <a:lnTo>
                  <a:pt x="5268" y="2174"/>
                </a:lnTo>
                <a:lnTo>
                  <a:pt x="5270" y="2172"/>
                </a:lnTo>
                <a:lnTo>
                  <a:pt x="5271" y="2171"/>
                </a:lnTo>
                <a:lnTo>
                  <a:pt x="5272" y="2171"/>
                </a:lnTo>
                <a:lnTo>
                  <a:pt x="5274" y="2172"/>
                </a:lnTo>
                <a:lnTo>
                  <a:pt x="5276" y="2175"/>
                </a:lnTo>
                <a:lnTo>
                  <a:pt x="5277" y="2178"/>
                </a:lnTo>
                <a:lnTo>
                  <a:pt x="5280" y="2187"/>
                </a:lnTo>
                <a:lnTo>
                  <a:pt x="5283" y="2197"/>
                </a:lnTo>
                <a:lnTo>
                  <a:pt x="5284" y="2206"/>
                </a:lnTo>
                <a:lnTo>
                  <a:pt x="5285" y="2213"/>
                </a:lnTo>
                <a:lnTo>
                  <a:pt x="5288" y="2212"/>
                </a:lnTo>
                <a:lnTo>
                  <a:pt x="5291" y="2213"/>
                </a:lnTo>
                <a:lnTo>
                  <a:pt x="5294" y="2213"/>
                </a:lnTo>
                <a:lnTo>
                  <a:pt x="5295" y="2213"/>
                </a:lnTo>
                <a:lnTo>
                  <a:pt x="5297" y="2213"/>
                </a:lnTo>
                <a:lnTo>
                  <a:pt x="5297" y="2211"/>
                </a:lnTo>
                <a:lnTo>
                  <a:pt x="5297" y="2208"/>
                </a:lnTo>
                <a:lnTo>
                  <a:pt x="5297" y="2202"/>
                </a:lnTo>
                <a:lnTo>
                  <a:pt x="5305" y="2201"/>
                </a:lnTo>
                <a:lnTo>
                  <a:pt x="5308" y="2200"/>
                </a:lnTo>
                <a:lnTo>
                  <a:pt x="5311" y="2199"/>
                </a:lnTo>
                <a:lnTo>
                  <a:pt x="5312" y="2200"/>
                </a:lnTo>
                <a:lnTo>
                  <a:pt x="5313" y="2200"/>
                </a:lnTo>
                <a:lnTo>
                  <a:pt x="5313" y="2199"/>
                </a:lnTo>
                <a:lnTo>
                  <a:pt x="5313" y="2196"/>
                </a:lnTo>
                <a:lnTo>
                  <a:pt x="5310" y="2193"/>
                </a:lnTo>
                <a:lnTo>
                  <a:pt x="5306" y="2191"/>
                </a:lnTo>
                <a:lnTo>
                  <a:pt x="5302" y="2188"/>
                </a:lnTo>
                <a:lnTo>
                  <a:pt x="5300" y="2186"/>
                </a:lnTo>
                <a:lnTo>
                  <a:pt x="5299" y="2185"/>
                </a:lnTo>
                <a:lnTo>
                  <a:pt x="5299" y="2183"/>
                </a:lnTo>
                <a:lnTo>
                  <a:pt x="5299" y="2182"/>
                </a:lnTo>
                <a:lnTo>
                  <a:pt x="5301" y="2179"/>
                </a:lnTo>
                <a:lnTo>
                  <a:pt x="5303" y="2176"/>
                </a:lnTo>
                <a:lnTo>
                  <a:pt x="5303" y="2175"/>
                </a:lnTo>
                <a:lnTo>
                  <a:pt x="5302" y="2174"/>
                </a:lnTo>
                <a:lnTo>
                  <a:pt x="5300" y="2172"/>
                </a:lnTo>
                <a:lnTo>
                  <a:pt x="5296" y="2171"/>
                </a:lnTo>
                <a:lnTo>
                  <a:pt x="5293" y="2170"/>
                </a:lnTo>
                <a:lnTo>
                  <a:pt x="5292" y="2169"/>
                </a:lnTo>
                <a:lnTo>
                  <a:pt x="5291" y="2168"/>
                </a:lnTo>
                <a:lnTo>
                  <a:pt x="5290" y="2166"/>
                </a:lnTo>
                <a:lnTo>
                  <a:pt x="5290" y="2164"/>
                </a:lnTo>
                <a:lnTo>
                  <a:pt x="5289" y="2160"/>
                </a:lnTo>
                <a:lnTo>
                  <a:pt x="5289" y="2157"/>
                </a:lnTo>
                <a:lnTo>
                  <a:pt x="5288" y="2154"/>
                </a:lnTo>
                <a:lnTo>
                  <a:pt x="5277" y="2151"/>
                </a:lnTo>
                <a:lnTo>
                  <a:pt x="5277" y="2145"/>
                </a:lnTo>
                <a:lnTo>
                  <a:pt x="5280" y="2145"/>
                </a:lnTo>
                <a:lnTo>
                  <a:pt x="5284" y="2145"/>
                </a:lnTo>
                <a:lnTo>
                  <a:pt x="5287" y="2146"/>
                </a:lnTo>
                <a:lnTo>
                  <a:pt x="5291" y="2145"/>
                </a:lnTo>
                <a:lnTo>
                  <a:pt x="5293" y="2145"/>
                </a:lnTo>
                <a:lnTo>
                  <a:pt x="5295" y="2143"/>
                </a:lnTo>
                <a:lnTo>
                  <a:pt x="5298" y="2139"/>
                </a:lnTo>
                <a:lnTo>
                  <a:pt x="5301" y="2136"/>
                </a:lnTo>
                <a:lnTo>
                  <a:pt x="5303" y="2135"/>
                </a:lnTo>
                <a:lnTo>
                  <a:pt x="5305" y="2134"/>
                </a:lnTo>
                <a:lnTo>
                  <a:pt x="5305" y="2143"/>
                </a:lnTo>
                <a:lnTo>
                  <a:pt x="5311" y="2140"/>
                </a:lnTo>
                <a:lnTo>
                  <a:pt x="5314" y="2140"/>
                </a:lnTo>
                <a:lnTo>
                  <a:pt x="5316" y="2139"/>
                </a:lnTo>
                <a:lnTo>
                  <a:pt x="5319" y="2140"/>
                </a:lnTo>
                <a:lnTo>
                  <a:pt x="5310" y="2135"/>
                </a:lnTo>
                <a:lnTo>
                  <a:pt x="5308" y="2133"/>
                </a:lnTo>
                <a:lnTo>
                  <a:pt x="5307" y="2133"/>
                </a:lnTo>
                <a:lnTo>
                  <a:pt x="5307" y="2132"/>
                </a:lnTo>
                <a:lnTo>
                  <a:pt x="5308" y="2130"/>
                </a:lnTo>
                <a:lnTo>
                  <a:pt x="5310" y="2128"/>
                </a:lnTo>
                <a:lnTo>
                  <a:pt x="5316" y="2120"/>
                </a:lnTo>
                <a:lnTo>
                  <a:pt x="5306" y="2120"/>
                </a:lnTo>
                <a:lnTo>
                  <a:pt x="5299" y="2119"/>
                </a:lnTo>
                <a:lnTo>
                  <a:pt x="5295" y="2119"/>
                </a:lnTo>
                <a:lnTo>
                  <a:pt x="5291" y="2119"/>
                </a:lnTo>
                <a:lnTo>
                  <a:pt x="5287" y="2119"/>
                </a:lnTo>
                <a:lnTo>
                  <a:pt x="5282" y="2120"/>
                </a:lnTo>
                <a:lnTo>
                  <a:pt x="5281" y="2121"/>
                </a:lnTo>
                <a:lnTo>
                  <a:pt x="5281" y="2122"/>
                </a:lnTo>
                <a:lnTo>
                  <a:pt x="5279" y="2124"/>
                </a:lnTo>
                <a:lnTo>
                  <a:pt x="5278" y="2125"/>
                </a:lnTo>
                <a:lnTo>
                  <a:pt x="5276" y="2126"/>
                </a:lnTo>
                <a:lnTo>
                  <a:pt x="5274" y="2126"/>
                </a:lnTo>
                <a:lnTo>
                  <a:pt x="5271" y="2126"/>
                </a:lnTo>
                <a:lnTo>
                  <a:pt x="5271" y="2120"/>
                </a:lnTo>
                <a:lnTo>
                  <a:pt x="5263" y="2120"/>
                </a:lnTo>
                <a:lnTo>
                  <a:pt x="5264" y="2106"/>
                </a:lnTo>
                <a:lnTo>
                  <a:pt x="5266" y="2095"/>
                </a:lnTo>
                <a:lnTo>
                  <a:pt x="5274" y="2095"/>
                </a:lnTo>
                <a:lnTo>
                  <a:pt x="5284" y="2096"/>
                </a:lnTo>
                <a:lnTo>
                  <a:pt x="5303" y="2098"/>
                </a:lnTo>
                <a:lnTo>
                  <a:pt x="5313" y="2099"/>
                </a:lnTo>
                <a:lnTo>
                  <a:pt x="5321" y="2098"/>
                </a:lnTo>
                <a:lnTo>
                  <a:pt x="5325" y="2098"/>
                </a:lnTo>
                <a:lnTo>
                  <a:pt x="5329" y="2097"/>
                </a:lnTo>
                <a:lnTo>
                  <a:pt x="5333" y="2096"/>
                </a:lnTo>
                <a:lnTo>
                  <a:pt x="5336" y="2095"/>
                </a:lnTo>
                <a:lnTo>
                  <a:pt x="5336" y="2092"/>
                </a:lnTo>
                <a:lnTo>
                  <a:pt x="5340" y="2087"/>
                </a:lnTo>
                <a:lnTo>
                  <a:pt x="5346" y="2077"/>
                </a:lnTo>
                <a:lnTo>
                  <a:pt x="5348" y="2072"/>
                </a:lnTo>
                <a:lnTo>
                  <a:pt x="5349" y="2070"/>
                </a:lnTo>
                <a:lnTo>
                  <a:pt x="5349" y="2068"/>
                </a:lnTo>
                <a:lnTo>
                  <a:pt x="5348" y="2067"/>
                </a:lnTo>
                <a:lnTo>
                  <a:pt x="5347" y="2066"/>
                </a:lnTo>
                <a:lnTo>
                  <a:pt x="5344" y="2066"/>
                </a:lnTo>
                <a:lnTo>
                  <a:pt x="5342" y="2067"/>
                </a:lnTo>
                <a:close/>
                <a:moveTo>
                  <a:pt x="4804" y="1965"/>
                </a:moveTo>
                <a:lnTo>
                  <a:pt x="4804" y="1968"/>
                </a:lnTo>
                <a:lnTo>
                  <a:pt x="4803" y="1971"/>
                </a:lnTo>
                <a:lnTo>
                  <a:pt x="4802" y="1973"/>
                </a:lnTo>
                <a:lnTo>
                  <a:pt x="4801" y="1975"/>
                </a:lnTo>
                <a:lnTo>
                  <a:pt x="4802" y="1979"/>
                </a:lnTo>
                <a:lnTo>
                  <a:pt x="4802" y="1982"/>
                </a:lnTo>
                <a:lnTo>
                  <a:pt x="4803" y="1985"/>
                </a:lnTo>
                <a:lnTo>
                  <a:pt x="4807" y="1990"/>
                </a:lnTo>
                <a:lnTo>
                  <a:pt x="4811" y="1995"/>
                </a:lnTo>
                <a:lnTo>
                  <a:pt x="4816" y="2000"/>
                </a:lnTo>
                <a:lnTo>
                  <a:pt x="4827" y="2008"/>
                </a:lnTo>
                <a:lnTo>
                  <a:pt x="4831" y="2012"/>
                </a:lnTo>
                <a:lnTo>
                  <a:pt x="4835" y="2016"/>
                </a:lnTo>
                <a:lnTo>
                  <a:pt x="4838" y="2020"/>
                </a:lnTo>
                <a:lnTo>
                  <a:pt x="4840" y="2023"/>
                </a:lnTo>
                <a:lnTo>
                  <a:pt x="4844" y="2031"/>
                </a:lnTo>
                <a:lnTo>
                  <a:pt x="4847" y="2039"/>
                </a:lnTo>
                <a:lnTo>
                  <a:pt x="4849" y="2043"/>
                </a:lnTo>
                <a:lnTo>
                  <a:pt x="4852" y="2047"/>
                </a:lnTo>
                <a:lnTo>
                  <a:pt x="4854" y="2048"/>
                </a:lnTo>
                <a:lnTo>
                  <a:pt x="4856" y="2050"/>
                </a:lnTo>
                <a:lnTo>
                  <a:pt x="4862" y="2053"/>
                </a:lnTo>
                <a:lnTo>
                  <a:pt x="4868" y="2056"/>
                </a:lnTo>
                <a:lnTo>
                  <a:pt x="4871" y="2057"/>
                </a:lnTo>
                <a:lnTo>
                  <a:pt x="4872" y="2058"/>
                </a:lnTo>
                <a:lnTo>
                  <a:pt x="4873" y="2062"/>
                </a:lnTo>
                <a:lnTo>
                  <a:pt x="4874" y="2066"/>
                </a:lnTo>
                <a:lnTo>
                  <a:pt x="4874" y="2075"/>
                </a:lnTo>
                <a:lnTo>
                  <a:pt x="4875" y="2084"/>
                </a:lnTo>
                <a:lnTo>
                  <a:pt x="4876" y="2088"/>
                </a:lnTo>
                <a:lnTo>
                  <a:pt x="4877" y="2092"/>
                </a:lnTo>
                <a:lnTo>
                  <a:pt x="4879" y="2095"/>
                </a:lnTo>
                <a:lnTo>
                  <a:pt x="4882" y="2098"/>
                </a:lnTo>
                <a:lnTo>
                  <a:pt x="4888" y="2103"/>
                </a:lnTo>
                <a:lnTo>
                  <a:pt x="4895" y="2109"/>
                </a:lnTo>
                <a:lnTo>
                  <a:pt x="4898" y="2112"/>
                </a:lnTo>
                <a:lnTo>
                  <a:pt x="4900" y="2115"/>
                </a:lnTo>
                <a:lnTo>
                  <a:pt x="4903" y="2120"/>
                </a:lnTo>
                <a:lnTo>
                  <a:pt x="4906" y="2126"/>
                </a:lnTo>
                <a:lnTo>
                  <a:pt x="4910" y="2138"/>
                </a:lnTo>
                <a:lnTo>
                  <a:pt x="4914" y="2150"/>
                </a:lnTo>
                <a:lnTo>
                  <a:pt x="4917" y="2156"/>
                </a:lnTo>
                <a:lnTo>
                  <a:pt x="4920" y="2162"/>
                </a:lnTo>
                <a:lnTo>
                  <a:pt x="4922" y="2165"/>
                </a:lnTo>
                <a:lnTo>
                  <a:pt x="4925" y="2168"/>
                </a:lnTo>
                <a:lnTo>
                  <a:pt x="4929" y="2171"/>
                </a:lnTo>
                <a:lnTo>
                  <a:pt x="4931" y="2174"/>
                </a:lnTo>
                <a:lnTo>
                  <a:pt x="4933" y="2178"/>
                </a:lnTo>
                <a:lnTo>
                  <a:pt x="4934" y="2183"/>
                </a:lnTo>
                <a:lnTo>
                  <a:pt x="4936" y="2192"/>
                </a:lnTo>
                <a:lnTo>
                  <a:pt x="4938" y="2197"/>
                </a:lnTo>
                <a:lnTo>
                  <a:pt x="4939" y="2201"/>
                </a:lnTo>
                <a:lnTo>
                  <a:pt x="4942" y="2204"/>
                </a:lnTo>
                <a:lnTo>
                  <a:pt x="4945" y="2207"/>
                </a:lnTo>
                <a:lnTo>
                  <a:pt x="4947" y="2208"/>
                </a:lnTo>
                <a:lnTo>
                  <a:pt x="4949" y="2209"/>
                </a:lnTo>
                <a:lnTo>
                  <a:pt x="4953" y="2210"/>
                </a:lnTo>
                <a:lnTo>
                  <a:pt x="4958" y="2211"/>
                </a:lnTo>
                <a:lnTo>
                  <a:pt x="4960" y="2212"/>
                </a:lnTo>
                <a:lnTo>
                  <a:pt x="4962" y="2213"/>
                </a:lnTo>
                <a:lnTo>
                  <a:pt x="4962" y="2219"/>
                </a:lnTo>
                <a:lnTo>
                  <a:pt x="4970" y="2224"/>
                </a:lnTo>
                <a:lnTo>
                  <a:pt x="4975" y="2226"/>
                </a:lnTo>
                <a:lnTo>
                  <a:pt x="4977" y="2227"/>
                </a:lnTo>
                <a:lnTo>
                  <a:pt x="4979" y="2227"/>
                </a:lnTo>
                <a:lnTo>
                  <a:pt x="4978" y="2226"/>
                </a:lnTo>
                <a:lnTo>
                  <a:pt x="4977" y="2224"/>
                </a:lnTo>
                <a:lnTo>
                  <a:pt x="4977" y="2222"/>
                </a:lnTo>
                <a:lnTo>
                  <a:pt x="4978" y="2221"/>
                </a:lnTo>
                <a:lnTo>
                  <a:pt x="4979" y="2220"/>
                </a:lnTo>
                <a:lnTo>
                  <a:pt x="4982" y="2219"/>
                </a:lnTo>
                <a:lnTo>
                  <a:pt x="4988" y="2220"/>
                </a:lnTo>
                <a:lnTo>
                  <a:pt x="4994" y="2221"/>
                </a:lnTo>
                <a:lnTo>
                  <a:pt x="4998" y="2221"/>
                </a:lnTo>
                <a:lnTo>
                  <a:pt x="4998" y="2213"/>
                </a:lnTo>
                <a:lnTo>
                  <a:pt x="4998" y="2206"/>
                </a:lnTo>
                <a:lnTo>
                  <a:pt x="4998" y="2203"/>
                </a:lnTo>
                <a:lnTo>
                  <a:pt x="4997" y="2200"/>
                </a:lnTo>
                <a:lnTo>
                  <a:pt x="4995" y="2198"/>
                </a:lnTo>
                <a:lnTo>
                  <a:pt x="4993" y="2196"/>
                </a:lnTo>
                <a:lnTo>
                  <a:pt x="4993" y="2193"/>
                </a:lnTo>
                <a:lnTo>
                  <a:pt x="5001" y="2190"/>
                </a:lnTo>
                <a:lnTo>
                  <a:pt x="5003" y="2181"/>
                </a:lnTo>
                <a:lnTo>
                  <a:pt x="5004" y="2174"/>
                </a:lnTo>
                <a:lnTo>
                  <a:pt x="5000" y="2170"/>
                </a:lnTo>
                <a:lnTo>
                  <a:pt x="4997" y="2167"/>
                </a:lnTo>
                <a:lnTo>
                  <a:pt x="4996" y="2165"/>
                </a:lnTo>
                <a:lnTo>
                  <a:pt x="4995" y="2162"/>
                </a:lnTo>
                <a:lnTo>
                  <a:pt x="4996" y="2159"/>
                </a:lnTo>
                <a:lnTo>
                  <a:pt x="4996" y="2156"/>
                </a:lnTo>
                <a:lnTo>
                  <a:pt x="4996" y="2154"/>
                </a:lnTo>
                <a:lnTo>
                  <a:pt x="4987" y="2155"/>
                </a:lnTo>
                <a:lnTo>
                  <a:pt x="4982" y="2155"/>
                </a:lnTo>
                <a:lnTo>
                  <a:pt x="4980" y="2154"/>
                </a:lnTo>
                <a:lnTo>
                  <a:pt x="4979" y="2154"/>
                </a:lnTo>
                <a:lnTo>
                  <a:pt x="4978" y="2153"/>
                </a:lnTo>
                <a:lnTo>
                  <a:pt x="4977" y="2152"/>
                </a:lnTo>
                <a:lnTo>
                  <a:pt x="4976" y="2148"/>
                </a:lnTo>
                <a:lnTo>
                  <a:pt x="4975" y="2144"/>
                </a:lnTo>
                <a:lnTo>
                  <a:pt x="4975" y="2140"/>
                </a:lnTo>
                <a:lnTo>
                  <a:pt x="4975" y="2132"/>
                </a:lnTo>
                <a:lnTo>
                  <a:pt x="4976" y="2126"/>
                </a:lnTo>
                <a:lnTo>
                  <a:pt x="4965" y="2124"/>
                </a:lnTo>
                <a:lnTo>
                  <a:pt x="4956" y="2123"/>
                </a:lnTo>
                <a:lnTo>
                  <a:pt x="4959" y="2109"/>
                </a:lnTo>
                <a:lnTo>
                  <a:pt x="4958" y="2110"/>
                </a:lnTo>
                <a:lnTo>
                  <a:pt x="4958" y="2111"/>
                </a:lnTo>
                <a:lnTo>
                  <a:pt x="4958" y="2112"/>
                </a:lnTo>
                <a:lnTo>
                  <a:pt x="4959" y="2113"/>
                </a:lnTo>
                <a:lnTo>
                  <a:pt x="4962" y="2115"/>
                </a:lnTo>
                <a:lnTo>
                  <a:pt x="4962" y="2109"/>
                </a:lnTo>
                <a:lnTo>
                  <a:pt x="4962" y="2105"/>
                </a:lnTo>
                <a:lnTo>
                  <a:pt x="4961" y="2100"/>
                </a:lnTo>
                <a:lnTo>
                  <a:pt x="4959" y="2095"/>
                </a:lnTo>
                <a:lnTo>
                  <a:pt x="4957" y="2093"/>
                </a:lnTo>
                <a:lnTo>
                  <a:pt x="4955" y="2092"/>
                </a:lnTo>
                <a:lnTo>
                  <a:pt x="4952" y="2091"/>
                </a:lnTo>
                <a:lnTo>
                  <a:pt x="4951" y="2089"/>
                </a:lnTo>
                <a:lnTo>
                  <a:pt x="4951" y="2084"/>
                </a:lnTo>
                <a:lnTo>
                  <a:pt x="4945" y="2084"/>
                </a:lnTo>
                <a:lnTo>
                  <a:pt x="4945" y="2082"/>
                </a:lnTo>
                <a:lnTo>
                  <a:pt x="4945" y="2081"/>
                </a:lnTo>
                <a:lnTo>
                  <a:pt x="4947" y="2079"/>
                </a:lnTo>
                <a:lnTo>
                  <a:pt x="4948" y="2076"/>
                </a:lnTo>
                <a:lnTo>
                  <a:pt x="4948" y="2075"/>
                </a:lnTo>
                <a:lnTo>
                  <a:pt x="4948" y="2072"/>
                </a:lnTo>
                <a:lnTo>
                  <a:pt x="4941" y="2078"/>
                </a:lnTo>
                <a:lnTo>
                  <a:pt x="4937" y="2081"/>
                </a:lnTo>
                <a:lnTo>
                  <a:pt x="4934" y="2084"/>
                </a:lnTo>
                <a:lnTo>
                  <a:pt x="4933" y="2080"/>
                </a:lnTo>
                <a:lnTo>
                  <a:pt x="4933" y="2075"/>
                </a:lnTo>
                <a:lnTo>
                  <a:pt x="4932" y="2071"/>
                </a:lnTo>
                <a:lnTo>
                  <a:pt x="4931" y="2067"/>
                </a:lnTo>
                <a:lnTo>
                  <a:pt x="4930" y="2066"/>
                </a:lnTo>
                <a:lnTo>
                  <a:pt x="4929" y="2065"/>
                </a:lnTo>
                <a:lnTo>
                  <a:pt x="4925" y="2064"/>
                </a:lnTo>
                <a:lnTo>
                  <a:pt x="4922" y="2063"/>
                </a:lnTo>
                <a:lnTo>
                  <a:pt x="4920" y="2061"/>
                </a:lnTo>
                <a:lnTo>
                  <a:pt x="4918" y="2058"/>
                </a:lnTo>
                <a:lnTo>
                  <a:pt x="4917" y="2054"/>
                </a:lnTo>
                <a:lnTo>
                  <a:pt x="4916" y="2050"/>
                </a:lnTo>
                <a:lnTo>
                  <a:pt x="4915" y="2048"/>
                </a:lnTo>
                <a:lnTo>
                  <a:pt x="4914" y="2047"/>
                </a:lnTo>
                <a:lnTo>
                  <a:pt x="4913" y="2046"/>
                </a:lnTo>
                <a:lnTo>
                  <a:pt x="4912" y="2046"/>
                </a:lnTo>
                <a:lnTo>
                  <a:pt x="4911" y="2047"/>
                </a:lnTo>
                <a:lnTo>
                  <a:pt x="4911" y="2048"/>
                </a:lnTo>
                <a:lnTo>
                  <a:pt x="4911" y="2053"/>
                </a:lnTo>
                <a:lnTo>
                  <a:pt x="4905" y="2049"/>
                </a:lnTo>
                <a:lnTo>
                  <a:pt x="4902" y="2046"/>
                </a:lnTo>
                <a:lnTo>
                  <a:pt x="4900" y="2044"/>
                </a:lnTo>
                <a:lnTo>
                  <a:pt x="4899" y="2043"/>
                </a:lnTo>
                <a:lnTo>
                  <a:pt x="4899" y="2041"/>
                </a:lnTo>
                <a:lnTo>
                  <a:pt x="4900" y="2037"/>
                </a:lnTo>
                <a:lnTo>
                  <a:pt x="4900" y="2034"/>
                </a:lnTo>
                <a:lnTo>
                  <a:pt x="4900" y="2032"/>
                </a:lnTo>
                <a:lnTo>
                  <a:pt x="4900" y="2030"/>
                </a:lnTo>
                <a:lnTo>
                  <a:pt x="4899" y="2030"/>
                </a:lnTo>
                <a:lnTo>
                  <a:pt x="4896" y="2030"/>
                </a:lnTo>
                <a:lnTo>
                  <a:pt x="4892" y="2030"/>
                </a:lnTo>
                <a:lnTo>
                  <a:pt x="4891" y="2026"/>
                </a:lnTo>
                <a:lnTo>
                  <a:pt x="4892" y="2022"/>
                </a:lnTo>
                <a:lnTo>
                  <a:pt x="4884" y="2019"/>
                </a:lnTo>
                <a:lnTo>
                  <a:pt x="4880" y="2018"/>
                </a:lnTo>
                <a:lnTo>
                  <a:pt x="4877" y="2016"/>
                </a:lnTo>
                <a:lnTo>
                  <a:pt x="4877" y="2015"/>
                </a:lnTo>
                <a:lnTo>
                  <a:pt x="4876" y="2014"/>
                </a:lnTo>
                <a:lnTo>
                  <a:pt x="4876" y="2010"/>
                </a:lnTo>
                <a:lnTo>
                  <a:pt x="4876" y="2007"/>
                </a:lnTo>
                <a:lnTo>
                  <a:pt x="4875" y="2005"/>
                </a:lnTo>
                <a:lnTo>
                  <a:pt x="4866" y="1999"/>
                </a:lnTo>
                <a:lnTo>
                  <a:pt x="4858" y="1994"/>
                </a:lnTo>
                <a:lnTo>
                  <a:pt x="4856" y="1990"/>
                </a:lnTo>
                <a:lnTo>
                  <a:pt x="4855" y="1985"/>
                </a:lnTo>
                <a:lnTo>
                  <a:pt x="4854" y="1980"/>
                </a:lnTo>
                <a:lnTo>
                  <a:pt x="4853" y="1978"/>
                </a:lnTo>
                <a:lnTo>
                  <a:pt x="4852" y="1977"/>
                </a:lnTo>
                <a:lnTo>
                  <a:pt x="4849" y="1975"/>
                </a:lnTo>
                <a:lnTo>
                  <a:pt x="4845" y="1975"/>
                </a:lnTo>
                <a:lnTo>
                  <a:pt x="4838" y="1974"/>
                </a:lnTo>
                <a:lnTo>
                  <a:pt x="4829" y="1975"/>
                </a:lnTo>
                <a:lnTo>
                  <a:pt x="4825" y="1975"/>
                </a:lnTo>
                <a:lnTo>
                  <a:pt x="4821" y="1974"/>
                </a:lnTo>
                <a:lnTo>
                  <a:pt x="4820" y="1972"/>
                </a:lnTo>
                <a:lnTo>
                  <a:pt x="4818" y="1970"/>
                </a:lnTo>
                <a:lnTo>
                  <a:pt x="4817" y="1967"/>
                </a:lnTo>
                <a:lnTo>
                  <a:pt x="4816" y="1965"/>
                </a:lnTo>
                <a:lnTo>
                  <a:pt x="4813" y="1965"/>
                </a:lnTo>
                <a:lnTo>
                  <a:pt x="4810" y="1965"/>
                </a:lnTo>
                <a:lnTo>
                  <a:pt x="4807" y="1966"/>
                </a:lnTo>
                <a:lnTo>
                  <a:pt x="4806" y="1966"/>
                </a:lnTo>
                <a:lnTo>
                  <a:pt x="4804" y="1965"/>
                </a:lnTo>
                <a:close/>
                <a:moveTo>
                  <a:pt x="5356" y="1892"/>
                </a:moveTo>
                <a:lnTo>
                  <a:pt x="5355" y="1895"/>
                </a:lnTo>
                <a:lnTo>
                  <a:pt x="5355" y="1899"/>
                </a:lnTo>
                <a:lnTo>
                  <a:pt x="5356" y="1906"/>
                </a:lnTo>
                <a:lnTo>
                  <a:pt x="5353" y="1907"/>
                </a:lnTo>
                <a:lnTo>
                  <a:pt x="5350" y="1906"/>
                </a:lnTo>
                <a:lnTo>
                  <a:pt x="5347" y="1906"/>
                </a:lnTo>
                <a:lnTo>
                  <a:pt x="5346" y="1906"/>
                </a:lnTo>
                <a:lnTo>
                  <a:pt x="5344" y="1906"/>
                </a:lnTo>
                <a:lnTo>
                  <a:pt x="5344" y="1915"/>
                </a:lnTo>
                <a:lnTo>
                  <a:pt x="5339" y="1915"/>
                </a:lnTo>
                <a:lnTo>
                  <a:pt x="5335" y="1915"/>
                </a:lnTo>
                <a:lnTo>
                  <a:pt x="5331" y="1916"/>
                </a:lnTo>
                <a:lnTo>
                  <a:pt x="5325" y="1918"/>
                </a:lnTo>
                <a:lnTo>
                  <a:pt x="5323" y="1918"/>
                </a:lnTo>
                <a:lnTo>
                  <a:pt x="5323" y="1919"/>
                </a:lnTo>
                <a:lnTo>
                  <a:pt x="5325" y="1920"/>
                </a:lnTo>
                <a:lnTo>
                  <a:pt x="5325" y="1921"/>
                </a:lnTo>
                <a:lnTo>
                  <a:pt x="5322" y="1920"/>
                </a:lnTo>
                <a:lnTo>
                  <a:pt x="5322" y="1919"/>
                </a:lnTo>
                <a:lnTo>
                  <a:pt x="5322" y="1917"/>
                </a:lnTo>
                <a:lnTo>
                  <a:pt x="5321" y="1915"/>
                </a:lnTo>
                <a:lnTo>
                  <a:pt x="5320" y="1913"/>
                </a:lnTo>
                <a:lnTo>
                  <a:pt x="5318" y="1912"/>
                </a:lnTo>
                <a:lnTo>
                  <a:pt x="5315" y="1911"/>
                </a:lnTo>
                <a:lnTo>
                  <a:pt x="5313" y="1912"/>
                </a:lnTo>
                <a:lnTo>
                  <a:pt x="5311" y="1912"/>
                </a:lnTo>
                <a:lnTo>
                  <a:pt x="5310" y="1912"/>
                </a:lnTo>
                <a:lnTo>
                  <a:pt x="5309" y="1913"/>
                </a:lnTo>
                <a:lnTo>
                  <a:pt x="5308" y="1915"/>
                </a:lnTo>
                <a:lnTo>
                  <a:pt x="5305" y="1918"/>
                </a:lnTo>
                <a:lnTo>
                  <a:pt x="5303" y="1919"/>
                </a:lnTo>
                <a:lnTo>
                  <a:pt x="5299" y="1920"/>
                </a:lnTo>
                <a:lnTo>
                  <a:pt x="5294" y="1923"/>
                </a:lnTo>
                <a:lnTo>
                  <a:pt x="5293" y="1926"/>
                </a:lnTo>
                <a:lnTo>
                  <a:pt x="5293" y="1930"/>
                </a:lnTo>
                <a:lnTo>
                  <a:pt x="5294" y="1937"/>
                </a:lnTo>
                <a:lnTo>
                  <a:pt x="5291" y="1938"/>
                </a:lnTo>
                <a:lnTo>
                  <a:pt x="5289" y="1939"/>
                </a:lnTo>
                <a:lnTo>
                  <a:pt x="5289" y="1940"/>
                </a:lnTo>
                <a:lnTo>
                  <a:pt x="5289" y="1942"/>
                </a:lnTo>
                <a:lnTo>
                  <a:pt x="5290" y="1944"/>
                </a:lnTo>
                <a:lnTo>
                  <a:pt x="5291" y="1945"/>
                </a:lnTo>
                <a:lnTo>
                  <a:pt x="5292" y="1946"/>
                </a:lnTo>
                <a:lnTo>
                  <a:pt x="5294" y="1946"/>
                </a:lnTo>
                <a:lnTo>
                  <a:pt x="5302" y="1934"/>
                </a:lnTo>
                <a:lnTo>
                  <a:pt x="5301" y="1934"/>
                </a:lnTo>
                <a:lnTo>
                  <a:pt x="5301" y="1933"/>
                </a:lnTo>
                <a:lnTo>
                  <a:pt x="5302" y="1933"/>
                </a:lnTo>
                <a:lnTo>
                  <a:pt x="5304" y="1933"/>
                </a:lnTo>
                <a:lnTo>
                  <a:pt x="5306" y="1933"/>
                </a:lnTo>
                <a:lnTo>
                  <a:pt x="5307" y="1934"/>
                </a:lnTo>
                <a:lnTo>
                  <a:pt x="5307" y="1935"/>
                </a:lnTo>
                <a:lnTo>
                  <a:pt x="5306" y="1936"/>
                </a:lnTo>
                <a:lnTo>
                  <a:pt x="5305" y="1937"/>
                </a:lnTo>
                <a:lnTo>
                  <a:pt x="5313" y="1937"/>
                </a:lnTo>
                <a:lnTo>
                  <a:pt x="5319" y="1937"/>
                </a:lnTo>
                <a:lnTo>
                  <a:pt x="5324" y="1937"/>
                </a:lnTo>
                <a:lnTo>
                  <a:pt x="5330" y="1937"/>
                </a:lnTo>
                <a:lnTo>
                  <a:pt x="5330" y="1943"/>
                </a:lnTo>
                <a:lnTo>
                  <a:pt x="5325" y="1946"/>
                </a:lnTo>
                <a:lnTo>
                  <a:pt x="5326" y="1950"/>
                </a:lnTo>
                <a:lnTo>
                  <a:pt x="5327" y="1953"/>
                </a:lnTo>
                <a:lnTo>
                  <a:pt x="5327" y="1958"/>
                </a:lnTo>
                <a:lnTo>
                  <a:pt x="5328" y="1959"/>
                </a:lnTo>
                <a:lnTo>
                  <a:pt x="5329" y="1961"/>
                </a:lnTo>
                <a:lnTo>
                  <a:pt x="5330" y="1963"/>
                </a:lnTo>
                <a:lnTo>
                  <a:pt x="5333" y="1965"/>
                </a:lnTo>
                <a:lnTo>
                  <a:pt x="5337" y="1968"/>
                </a:lnTo>
                <a:lnTo>
                  <a:pt x="5340" y="1969"/>
                </a:lnTo>
                <a:lnTo>
                  <a:pt x="5350" y="1971"/>
                </a:lnTo>
                <a:lnTo>
                  <a:pt x="5350" y="1979"/>
                </a:lnTo>
                <a:lnTo>
                  <a:pt x="5354" y="1976"/>
                </a:lnTo>
                <a:lnTo>
                  <a:pt x="5355" y="1975"/>
                </a:lnTo>
                <a:lnTo>
                  <a:pt x="5356" y="1975"/>
                </a:lnTo>
                <a:lnTo>
                  <a:pt x="5358" y="1974"/>
                </a:lnTo>
                <a:lnTo>
                  <a:pt x="5357" y="1964"/>
                </a:lnTo>
                <a:lnTo>
                  <a:pt x="5356" y="1954"/>
                </a:lnTo>
                <a:lnTo>
                  <a:pt x="5359" y="1956"/>
                </a:lnTo>
                <a:lnTo>
                  <a:pt x="5361" y="1957"/>
                </a:lnTo>
                <a:lnTo>
                  <a:pt x="5363" y="1958"/>
                </a:lnTo>
                <a:lnTo>
                  <a:pt x="5364" y="1958"/>
                </a:lnTo>
                <a:lnTo>
                  <a:pt x="5364" y="1957"/>
                </a:lnTo>
                <a:lnTo>
                  <a:pt x="5363" y="1956"/>
                </a:lnTo>
                <a:lnTo>
                  <a:pt x="5362" y="1954"/>
                </a:lnTo>
                <a:lnTo>
                  <a:pt x="5359" y="1948"/>
                </a:lnTo>
                <a:lnTo>
                  <a:pt x="5359" y="1945"/>
                </a:lnTo>
                <a:lnTo>
                  <a:pt x="5358" y="1943"/>
                </a:lnTo>
                <a:lnTo>
                  <a:pt x="5364" y="1943"/>
                </a:lnTo>
                <a:lnTo>
                  <a:pt x="5367" y="1937"/>
                </a:lnTo>
                <a:lnTo>
                  <a:pt x="5370" y="1932"/>
                </a:lnTo>
                <a:lnTo>
                  <a:pt x="5371" y="1930"/>
                </a:lnTo>
                <a:lnTo>
                  <a:pt x="5373" y="1928"/>
                </a:lnTo>
                <a:lnTo>
                  <a:pt x="5375" y="1926"/>
                </a:lnTo>
                <a:lnTo>
                  <a:pt x="5376" y="1923"/>
                </a:lnTo>
                <a:lnTo>
                  <a:pt x="5377" y="1921"/>
                </a:lnTo>
                <a:lnTo>
                  <a:pt x="5377" y="1919"/>
                </a:lnTo>
                <a:lnTo>
                  <a:pt x="5375" y="1918"/>
                </a:lnTo>
                <a:lnTo>
                  <a:pt x="5374" y="1917"/>
                </a:lnTo>
                <a:lnTo>
                  <a:pt x="5373" y="1916"/>
                </a:lnTo>
                <a:lnTo>
                  <a:pt x="5371" y="1913"/>
                </a:lnTo>
                <a:lnTo>
                  <a:pt x="5369" y="1910"/>
                </a:lnTo>
                <a:lnTo>
                  <a:pt x="5368" y="1906"/>
                </a:lnTo>
                <a:lnTo>
                  <a:pt x="5367" y="1898"/>
                </a:lnTo>
                <a:lnTo>
                  <a:pt x="5367" y="1892"/>
                </a:lnTo>
                <a:lnTo>
                  <a:pt x="5361" y="1893"/>
                </a:lnTo>
                <a:lnTo>
                  <a:pt x="5358" y="1893"/>
                </a:lnTo>
                <a:lnTo>
                  <a:pt x="5356" y="1892"/>
                </a:lnTo>
                <a:close/>
                <a:moveTo>
                  <a:pt x="5246" y="1847"/>
                </a:moveTo>
                <a:lnTo>
                  <a:pt x="5245" y="1851"/>
                </a:lnTo>
                <a:lnTo>
                  <a:pt x="5246" y="1854"/>
                </a:lnTo>
                <a:lnTo>
                  <a:pt x="5246" y="1856"/>
                </a:lnTo>
                <a:lnTo>
                  <a:pt x="5246" y="1858"/>
                </a:lnTo>
                <a:lnTo>
                  <a:pt x="5240" y="1858"/>
                </a:lnTo>
                <a:lnTo>
                  <a:pt x="5237" y="1868"/>
                </a:lnTo>
                <a:lnTo>
                  <a:pt x="5233" y="1878"/>
                </a:lnTo>
                <a:lnTo>
                  <a:pt x="5231" y="1883"/>
                </a:lnTo>
                <a:lnTo>
                  <a:pt x="5228" y="1888"/>
                </a:lnTo>
                <a:lnTo>
                  <a:pt x="5226" y="1892"/>
                </a:lnTo>
                <a:lnTo>
                  <a:pt x="5223" y="1895"/>
                </a:lnTo>
                <a:lnTo>
                  <a:pt x="5222" y="1896"/>
                </a:lnTo>
                <a:lnTo>
                  <a:pt x="5219" y="1897"/>
                </a:lnTo>
                <a:lnTo>
                  <a:pt x="5215" y="1899"/>
                </a:lnTo>
                <a:lnTo>
                  <a:pt x="5210" y="1901"/>
                </a:lnTo>
                <a:lnTo>
                  <a:pt x="5208" y="1902"/>
                </a:lnTo>
                <a:lnTo>
                  <a:pt x="5207" y="1903"/>
                </a:lnTo>
                <a:lnTo>
                  <a:pt x="5204" y="1908"/>
                </a:lnTo>
                <a:lnTo>
                  <a:pt x="5203" y="1911"/>
                </a:lnTo>
                <a:lnTo>
                  <a:pt x="5204" y="1912"/>
                </a:lnTo>
                <a:lnTo>
                  <a:pt x="5205" y="1912"/>
                </a:lnTo>
                <a:lnTo>
                  <a:pt x="5207" y="1912"/>
                </a:lnTo>
                <a:lnTo>
                  <a:pt x="5218" y="1907"/>
                </a:lnTo>
                <a:lnTo>
                  <a:pt x="5224" y="1904"/>
                </a:lnTo>
                <a:lnTo>
                  <a:pt x="5227" y="1902"/>
                </a:lnTo>
                <a:lnTo>
                  <a:pt x="5229" y="1901"/>
                </a:lnTo>
                <a:lnTo>
                  <a:pt x="5230" y="1899"/>
                </a:lnTo>
                <a:lnTo>
                  <a:pt x="5231" y="1897"/>
                </a:lnTo>
                <a:lnTo>
                  <a:pt x="5232" y="1893"/>
                </a:lnTo>
                <a:lnTo>
                  <a:pt x="5233" y="1888"/>
                </a:lnTo>
                <a:lnTo>
                  <a:pt x="5234" y="1886"/>
                </a:lnTo>
                <a:lnTo>
                  <a:pt x="5235" y="1884"/>
                </a:lnTo>
                <a:lnTo>
                  <a:pt x="5236" y="1882"/>
                </a:lnTo>
                <a:lnTo>
                  <a:pt x="5238" y="1880"/>
                </a:lnTo>
                <a:lnTo>
                  <a:pt x="5244" y="1876"/>
                </a:lnTo>
                <a:lnTo>
                  <a:pt x="5249" y="1872"/>
                </a:lnTo>
                <a:lnTo>
                  <a:pt x="5251" y="1869"/>
                </a:lnTo>
                <a:lnTo>
                  <a:pt x="5252" y="1867"/>
                </a:lnTo>
                <a:lnTo>
                  <a:pt x="5251" y="1863"/>
                </a:lnTo>
                <a:lnTo>
                  <a:pt x="5249" y="1857"/>
                </a:lnTo>
                <a:lnTo>
                  <a:pt x="5247" y="1851"/>
                </a:lnTo>
                <a:lnTo>
                  <a:pt x="5246" y="1847"/>
                </a:lnTo>
                <a:close/>
                <a:moveTo>
                  <a:pt x="5271" y="1678"/>
                </a:moveTo>
                <a:lnTo>
                  <a:pt x="5269" y="1690"/>
                </a:lnTo>
                <a:lnTo>
                  <a:pt x="5269" y="1695"/>
                </a:lnTo>
                <a:lnTo>
                  <a:pt x="5269" y="1700"/>
                </a:lnTo>
                <a:lnTo>
                  <a:pt x="5269" y="1710"/>
                </a:lnTo>
                <a:lnTo>
                  <a:pt x="5268" y="1721"/>
                </a:lnTo>
                <a:lnTo>
                  <a:pt x="5263" y="1723"/>
                </a:lnTo>
                <a:lnTo>
                  <a:pt x="5262" y="1725"/>
                </a:lnTo>
                <a:lnTo>
                  <a:pt x="5262" y="1728"/>
                </a:lnTo>
                <a:lnTo>
                  <a:pt x="5263" y="1732"/>
                </a:lnTo>
                <a:lnTo>
                  <a:pt x="5264" y="1731"/>
                </a:lnTo>
                <a:lnTo>
                  <a:pt x="5265" y="1731"/>
                </a:lnTo>
                <a:lnTo>
                  <a:pt x="5265" y="1732"/>
                </a:lnTo>
                <a:lnTo>
                  <a:pt x="5266" y="1733"/>
                </a:lnTo>
                <a:lnTo>
                  <a:pt x="5266" y="1738"/>
                </a:lnTo>
                <a:lnTo>
                  <a:pt x="5261" y="1738"/>
                </a:lnTo>
                <a:lnTo>
                  <a:pt x="5259" y="1738"/>
                </a:lnTo>
                <a:lnTo>
                  <a:pt x="5260" y="1738"/>
                </a:lnTo>
                <a:lnTo>
                  <a:pt x="5255" y="1736"/>
                </a:lnTo>
                <a:lnTo>
                  <a:pt x="5253" y="1735"/>
                </a:lnTo>
                <a:lnTo>
                  <a:pt x="5254" y="1735"/>
                </a:lnTo>
                <a:lnTo>
                  <a:pt x="5253" y="1736"/>
                </a:lnTo>
                <a:lnTo>
                  <a:pt x="5252" y="1740"/>
                </a:lnTo>
                <a:lnTo>
                  <a:pt x="5252" y="1742"/>
                </a:lnTo>
                <a:lnTo>
                  <a:pt x="5253" y="1744"/>
                </a:lnTo>
                <a:lnTo>
                  <a:pt x="5254" y="1745"/>
                </a:lnTo>
                <a:lnTo>
                  <a:pt x="5256" y="1746"/>
                </a:lnTo>
                <a:lnTo>
                  <a:pt x="5257" y="1746"/>
                </a:lnTo>
                <a:lnTo>
                  <a:pt x="5261" y="1760"/>
                </a:lnTo>
                <a:lnTo>
                  <a:pt x="5263" y="1765"/>
                </a:lnTo>
                <a:lnTo>
                  <a:pt x="5266" y="1771"/>
                </a:lnTo>
                <a:lnTo>
                  <a:pt x="5267" y="1770"/>
                </a:lnTo>
                <a:lnTo>
                  <a:pt x="5267" y="1769"/>
                </a:lnTo>
                <a:lnTo>
                  <a:pt x="5269" y="1767"/>
                </a:lnTo>
                <a:lnTo>
                  <a:pt x="5270" y="1766"/>
                </a:lnTo>
                <a:lnTo>
                  <a:pt x="5272" y="1766"/>
                </a:lnTo>
                <a:lnTo>
                  <a:pt x="5274" y="1766"/>
                </a:lnTo>
                <a:lnTo>
                  <a:pt x="5272" y="1776"/>
                </a:lnTo>
                <a:lnTo>
                  <a:pt x="5271" y="1779"/>
                </a:lnTo>
                <a:lnTo>
                  <a:pt x="5271" y="1782"/>
                </a:lnTo>
                <a:lnTo>
                  <a:pt x="5272" y="1785"/>
                </a:lnTo>
                <a:lnTo>
                  <a:pt x="5273" y="1788"/>
                </a:lnTo>
                <a:lnTo>
                  <a:pt x="5277" y="1797"/>
                </a:lnTo>
                <a:lnTo>
                  <a:pt x="5288" y="1793"/>
                </a:lnTo>
                <a:lnTo>
                  <a:pt x="5291" y="1792"/>
                </a:lnTo>
                <a:lnTo>
                  <a:pt x="5294" y="1792"/>
                </a:lnTo>
                <a:lnTo>
                  <a:pt x="5296" y="1793"/>
                </a:lnTo>
                <a:lnTo>
                  <a:pt x="5299" y="1795"/>
                </a:lnTo>
                <a:lnTo>
                  <a:pt x="5308" y="1802"/>
                </a:lnTo>
                <a:lnTo>
                  <a:pt x="5307" y="1797"/>
                </a:lnTo>
                <a:lnTo>
                  <a:pt x="5305" y="1792"/>
                </a:lnTo>
                <a:lnTo>
                  <a:pt x="5305" y="1790"/>
                </a:lnTo>
                <a:lnTo>
                  <a:pt x="5306" y="1790"/>
                </a:lnTo>
                <a:lnTo>
                  <a:pt x="5308" y="1791"/>
                </a:lnTo>
                <a:lnTo>
                  <a:pt x="5310" y="1793"/>
                </a:lnTo>
                <a:lnTo>
                  <a:pt x="5313" y="1796"/>
                </a:lnTo>
                <a:lnTo>
                  <a:pt x="5317" y="1802"/>
                </a:lnTo>
                <a:lnTo>
                  <a:pt x="5321" y="1808"/>
                </a:lnTo>
                <a:lnTo>
                  <a:pt x="5325" y="1813"/>
                </a:lnTo>
                <a:lnTo>
                  <a:pt x="5326" y="1813"/>
                </a:lnTo>
                <a:lnTo>
                  <a:pt x="5327" y="1814"/>
                </a:lnTo>
                <a:lnTo>
                  <a:pt x="5330" y="1816"/>
                </a:lnTo>
                <a:lnTo>
                  <a:pt x="5331" y="1813"/>
                </a:lnTo>
                <a:lnTo>
                  <a:pt x="5330" y="1811"/>
                </a:lnTo>
                <a:lnTo>
                  <a:pt x="5331" y="1810"/>
                </a:lnTo>
                <a:lnTo>
                  <a:pt x="5333" y="1808"/>
                </a:lnTo>
                <a:lnTo>
                  <a:pt x="5327" y="1795"/>
                </a:lnTo>
                <a:lnTo>
                  <a:pt x="5326" y="1789"/>
                </a:lnTo>
                <a:lnTo>
                  <a:pt x="5325" y="1783"/>
                </a:lnTo>
                <a:lnTo>
                  <a:pt x="5313" y="1785"/>
                </a:lnTo>
                <a:lnTo>
                  <a:pt x="5313" y="1777"/>
                </a:lnTo>
                <a:lnTo>
                  <a:pt x="5306" y="1779"/>
                </a:lnTo>
                <a:lnTo>
                  <a:pt x="5300" y="1780"/>
                </a:lnTo>
                <a:lnTo>
                  <a:pt x="5295" y="1781"/>
                </a:lnTo>
                <a:lnTo>
                  <a:pt x="5288" y="1783"/>
                </a:lnTo>
                <a:lnTo>
                  <a:pt x="5287" y="1775"/>
                </a:lnTo>
                <a:lnTo>
                  <a:pt x="5286" y="1771"/>
                </a:lnTo>
                <a:lnTo>
                  <a:pt x="5286" y="1769"/>
                </a:lnTo>
                <a:lnTo>
                  <a:pt x="5285" y="1768"/>
                </a:lnTo>
                <a:lnTo>
                  <a:pt x="5285" y="1769"/>
                </a:lnTo>
                <a:lnTo>
                  <a:pt x="5284" y="1766"/>
                </a:lnTo>
                <a:lnTo>
                  <a:pt x="5282" y="1760"/>
                </a:lnTo>
                <a:lnTo>
                  <a:pt x="5285" y="1758"/>
                </a:lnTo>
                <a:lnTo>
                  <a:pt x="5286" y="1757"/>
                </a:lnTo>
                <a:lnTo>
                  <a:pt x="5286" y="1755"/>
                </a:lnTo>
                <a:lnTo>
                  <a:pt x="5285" y="1753"/>
                </a:lnTo>
                <a:lnTo>
                  <a:pt x="5283" y="1749"/>
                </a:lnTo>
                <a:lnTo>
                  <a:pt x="5283" y="1747"/>
                </a:lnTo>
                <a:lnTo>
                  <a:pt x="5282" y="1746"/>
                </a:lnTo>
                <a:lnTo>
                  <a:pt x="5285" y="1746"/>
                </a:lnTo>
                <a:lnTo>
                  <a:pt x="5289" y="1738"/>
                </a:lnTo>
                <a:lnTo>
                  <a:pt x="5294" y="1731"/>
                </a:lnTo>
                <a:lnTo>
                  <a:pt x="5299" y="1724"/>
                </a:lnTo>
                <a:lnTo>
                  <a:pt x="5302" y="1721"/>
                </a:lnTo>
                <a:lnTo>
                  <a:pt x="5305" y="1718"/>
                </a:lnTo>
                <a:lnTo>
                  <a:pt x="5305" y="1717"/>
                </a:lnTo>
                <a:lnTo>
                  <a:pt x="5305" y="1715"/>
                </a:lnTo>
                <a:lnTo>
                  <a:pt x="5302" y="1710"/>
                </a:lnTo>
                <a:lnTo>
                  <a:pt x="5297" y="1704"/>
                </a:lnTo>
                <a:lnTo>
                  <a:pt x="5296" y="1696"/>
                </a:lnTo>
                <a:lnTo>
                  <a:pt x="5297" y="1690"/>
                </a:lnTo>
                <a:lnTo>
                  <a:pt x="5298" y="1684"/>
                </a:lnTo>
                <a:lnTo>
                  <a:pt x="5299" y="1678"/>
                </a:lnTo>
                <a:lnTo>
                  <a:pt x="5297" y="1679"/>
                </a:lnTo>
                <a:lnTo>
                  <a:pt x="5296" y="1681"/>
                </a:lnTo>
                <a:lnTo>
                  <a:pt x="5294" y="1684"/>
                </a:lnTo>
                <a:lnTo>
                  <a:pt x="5290" y="1685"/>
                </a:lnTo>
                <a:lnTo>
                  <a:pt x="5287" y="1685"/>
                </a:lnTo>
                <a:lnTo>
                  <a:pt x="5284" y="1684"/>
                </a:lnTo>
                <a:lnTo>
                  <a:pt x="5282" y="1683"/>
                </a:lnTo>
                <a:lnTo>
                  <a:pt x="5277" y="1681"/>
                </a:lnTo>
                <a:lnTo>
                  <a:pt x="5271" y="1678"/>
                </a:lnTo>
                <a:close/>
                <a:moveTo>
                  <a:pt x="1635" y="1673"/>
                </a:moveTo>
                <a:lnTo>
                  <a:pt x="1630" y="1681"/>
                </a:lnTo>
                <a:lnTo>
                  <a:pt x="1635" y="1684"/>
                </a:lnTo>
                <a:lnTo>
                  <a:pt x="1640" y="1685"/>
                </a:lnTo>
                <a:lnTo>
                  <a:pt x="1644" y="1687"/>
                </a:lnTo>
                <a:lnTo>
                  <a:pt x="1649" y="1690"/>
                </a:lnTo>
                <a:lnTo>
                  <a:pt x="1649" y="1692"/>
                </a:lnTo>
                <a:lnTo>
                  <a:pt x="1652" y="1693"/>
                </a:lnTo>
                <a:lnTo>
                  <a:pt x="1655" y="1693"/>
                </a:lnTo>
                <a:lnTo>
                  <a:pt x="1660" y="1692"/>
                </a:lnTo>
                <a:lnTo>
                  <a:pt x="1665" y="1690"/>
                </a:lnTo>
                <a:lnTo>
                  <a:pt x="1669" y="1687"/>
                </a:lnTo>
                <a:lnTo>
                  <a:pt x="1671" y="1685"/>
                </a:lnTo>
                <a:lnTo>
                  <a:pt x="1671" y="1684"/>
                </a:lnTo>
                <a:lnTo>
                  <a:pt x="1671" y="1683"/>
                </a:lnTo>
                <a:lnTo>
                  <a:pt x="1670" y="1682"/>
                </a:lnTo>
                <a:lnTo>
                  <a:pt x="1669" y="1681"/>
                </a:lnTo>
                <a:lnTo>
                  <a:pt x="1663" y="1681"/>
                </a:lnTo>
                <a:lnTo>
                  <a:pt x="1663" y="1676"/>
                </a:lnTo>
                <a:lnTo>
                  <a:pt x="1660" y="1674"/>
                </a:lnTo>
                <a:lnTo>
                  <a:pt x="1657" y="1674"/>
                </a:lnTo>
                <a:lnTo>
                  <a:pt x="1650" y="1673"/>
                </a:lnTo>
                <a:lnTo>
                  <a:pt x="1643" y="1673"/>
                </a:lnTo>
                <a:lnTo>
                  <a:pt x="1639" y="1673"/>
                </a:lnTo>
                <a:lnTo>
                  <a:pt x="1635" y="1673"/>
                </a:lnTo>
                <a:close/>
                <a:moveTo>
                  <a:pt x="5083" y="1647"/>
                </a:moveTo>
                <a:lnTo>
                  <a:pt x="5080" y="1648"/>
                </a:lnTo>
                <a:lnTo>
                  <a:pt x="5075" y="1650"/>
                </a:lnTo>
                <a:lnTo>
                  <a:pt x="5071" y="1653"/>
                </a:lnTo>
                <a:lnTo>
                  <a:pt x="5066" y="1656"/>
                </a:lnTo>
                <a:lnTo>
                  <a:pt x="5056" y="1662"/>
                </a:lnTo>
                <a:lnTo>
                  <a:pt x="5049" y="1667"/>
                </a:lnTo>
                <a:lnTo>
                  <a:pt x="5052" y="1677"/>
                </a:lnTo>
                <a:lnTo>
                  <a:pt x="5054" y="1682"/>
                </a:lnTo>
                <a:lnTo>
                  <a:pt x="5056" y="1686"/>
                </a:lnTo>
                <a:lnTo>
                  <a:pt x="5058" y="1690"/>
                </a:lnTo>
                <a:lnTo>
                  <a:pt x="5060" y="1691"/>
                </a:lnTo>
                <a:lnTo>
                  <a:pt x="5062" y="1692"/>
                </a:lnTo>
                <a:lnTo>
                  <a:pt x="5065" y="1693"/>
                </a:lnTo>
                <a:lnTo>
                  <a:pt x="5067" y="1693"/>
                </a:lnTo>
                <a:lnTo>
                  <a:pt x="5071" y="1693"/>
                </a:lnTo>
                <a:lnTo>
                  <a:pt x="5074" y="1692"/>
                </a:lnTo>
                <a:lnTo>
                  <a:pt x="5077" y="1692"/>
                </a:lnTo>
                <a:lnTo>
                  <a:pt x="5079" y="1691"/>
                </a:lnTo>
                <a:lnTo>
                  <a:pt x="5083" y="1688"/>
                </a:lnTo>
                <a:lnTo>
                  <a:pt x="5086" y="1685"/>
                </a:lnTo>
                <a:lnTo>
                  <a:pt x="5088" y="1680"/>
                </a:lnTo>
                <a:lnTo>
                  <a:pt x="5090" y="1675"/>
                </a:lnTo>
                <a:lnTo>
                  <a:pt x="5091" y="1670"/>
                </a:lnTo>
                <a:lnTo>
                  <a:pt x="5094" y="1659"/>
                </a:lnTo>
                <a:lnTo>
                  <a:pt x="5095" y="1659"/>
                </a:lnTo>
                <a:lnTo>
                  <a:pt x="5096" y="1659"/>
                </a:lnTo>
                <a:lnTo>
                  <a:pt x="5097" y="1659"/>
                </a:lnTo>
                <a:lnTo>
                  <a:pt x="5098" y="1658"/>
                </a:lnTo>
                <a:lnTo>
                  <a:pt x="5100" y="1656"/>
                </a:lnTo>
                <a:lnTo>
                  <a:pt x="5100" y="1654"/>
                </a:lnTo>
                <a:lnTo>
                  <a:pt x="5099" y="1653"/>
                </a:lnTo>
                <a:lnTo>
                  <a:pt x="5098" y="1651"/>
                </a:lnTo>
                <a:lnTo>
                  <a:pt x="5095" y="1649"/>
                </a:lnTo>
                <a:lnTo>
                  <a:pt x="5093" y="1648"/>
                </a:lnTo>
                <a:lnTo>
                  <a:pt x="5090" y="1648"/>
                </a:lnTo>
                <a:lnTo>
                  <a:pt x="5083" y="1647"/>
                </a:lnTo>
                <a:close/>
                <a:moveTo>
                  <a:pt x="1551" y="1566"/>
                </a:moveTo>
                <a:lnTo>
                  <a:pt x="1545" y="1568"/>
                </a:lnTo>
                <a:lnTo>
                  <a:pt x="1542" y="1569"/>
                </a:lnTo>
                <a:lnTo>
                  <a:pt x="1540" y="1571"/>
                </a:lnTo>
                <a:lnTo>
                  <a:pt x="1538" y="1573"/>
                </a:lnTo>
                <a:lnTo>
                  <a:pt x="1536" y="1575"/>
                </a:lnTo>
                <a:lnTo>
                  <a:pt x="1532" y="1579"/>
                </a:lnTo>
                <a:lnTo>
                  <a:pt x="1529" y="1583"/>
                </a:lnTo>
                <a:lnTo>
                  <a:pt x="1526" y="1588"/>
                </a:lnTo>
                <a:lnTo>
                  <a:pt x="1523" y="1597"/>
                </a:lnTo>
                <a:lnTo>
                  <a:pt x="1525" y="1596"/>
                </a:lnTo>
                <a:lnTo>
                  <a:pt x="1526" y="1596"/>
                </a:lnTo>
                <a:lnTo>
                  <a:pt x="1530" y="1596"/>
                </a:lnTo>
                <a:lnTo>
                  <a:pt x="1533" y="1595"/>
                </a:lnTo>
                <a:lnTo>
                  <a:pt x="1535" y="1595"/>
                </a:lnTo>
                <a:lnTo>
                  <a:pt x="1537" y="1594"/>
                </a:lnTo>
                <a:lnTo>
                  <a:pt x="1537" y="1588"/>
                </a:lnTo>
                <a:lnTo>
                  <a:pt x="1542" y="1585"/>
                </a:lnTo>
                <a:lnTo>
                  <a:pt x="1544" y="1583"/>
                </a:lnTo>
                <a:lnTo>
                  <a:pt x="1546" y="1582"/>
                </a:lnTo>
                <a:lnTo>
                  <a:pt x="1554" y="1574"/>
                </a:lnTo>
                <a:lnTo>
                  <a:pt x="1558" y="1575"/>
                </a:lnTo>
                <a:lnTo>
                  <a:pt x="1562" y="1575"/>
                </a:lnTo>
                <a:lnTo>
                  <a:pt x="1566" y="1576"/>
                </a:lnTo>
                <a:lnTo>
                  <a:pt x="1571" y="1577"/>
                </a:lnTo>
                <a:lnTo>
                  <a:pt x="1572" y="1579"/>
                </a:lnTo>
                <a:lnTo>
                  <a:pt x="1573" y="1581"/>
                </a:lnTo>
                <a:lnTo>
                  <a:pt x="1575" y="1584"/>
                </a:lnTo>
                <a:lnTo>
                  <a:pt x="1576" y="1586"/>
                </a:lnTo>
                <a:lnTo>
                  <a:pt x="1579" y="1586"/>
                </a:lnTo>
                <a:lnTo>
                  <a:pt x="1582" y="1586"/>
                </a:lnTo>
                <a:lnTo>
                  <a:pt x="1585" y="1585"/>
                </a:lnTo>
                <a:lnTo>
                  <a:pt x="1587" y="1586"/>
                </a:lnTo>
                <a:lnTo>
                  <a:pt x="1590" y="1591"/>
                </a:lnTo>
                <a:lnTo>
                  <a:pt x="1592" y="1591"/>
                </a:lnTo>
                <a:lnTo>
                  <a:pt x="1595" y="1591"/>
                </a:lnTo>
                <a:lnTo>
                  <a:pt x="1597" y="1591"/>
                </a:lnTo>
                <a:lnTo>
                  <a:pt x="1599" y="1591"/>
                </a:lnTo>
                <a:lnTo>
                  <a:pt x="1601" y="1594"/>
                </a:lnTo>
                <a:lnTo>
                  <a:pt x="1603" y="1598"/>
                </a:lnTo>
                <a:lnTo>
                  <a:pt x="1605" y="1601"/>
                </a:lnTo>
                <a:lnTo>
                  <a:pt x="1607" y="1603"/>
                </a:lnTo>
                <a:lnTo>
                  <a:pt x="1608" y="1604"/>
                </a:lnTo>
                <a:lnTo>
                  <a:pt x="1610" y="1605"/>
                </a:lnTo>
                <a:lnTo>
                  <a:pt x="1615" y="1605"/>
                </a:lnTo>
                <a:lnTo>
                  <a:pt x="1620" y="1605"/>
                </a:lnTo>
                <a:lnTo>
                  <a:pt x="1625" y="1604"/>
                </a:lnTo>
                <a:lnTo>
                  <a:pt x="1628" y="1605"/>
                </a:lnTo>
                <a:lnTo>
                  <a:pt x="1630" y="1605"/>
                </a:lnTo>
                <a:lnTo>
                  <a:pt x="1630" y="1607"/>
                </a:lnTo>
                <a:lnTo>
                  <a:pt x="1630" y="1609"/>
                </a:lnTo>
                <a:lnTo>
                  <a:pt x="1630" y="1612"/>
                </a:lnTo>
                <a:lnTo>
                  <a:pt x="1630" y="1614"/>
                </a:lnTo>
                <a:lnTo>
                  <a:pt x="1631" y="1617"/>
                </a:lnTo>
                <a:lnTo>
                  <a:pt x="1634" y="1620"/>
                </a:lnTo>
                <a:lnTo>
                  <a:pt x="1637" y="1622"/>
                </a:lnTo>
                <a:lnTo>
                  <a:pt x="1640" y="1624"/>
                </a:lnTo>
                <a:lnTo>
                  <a:pt x="1648" y="1628"/>
                </a:lnTo>
                <a:lnTo>
                  <a:pt x="1655" y="1631"/>
                </a:lnTo>
                <a:lnTo>
                  <a:pt x="1653" y="1635"/>
                </a:lnTo>
                <a:lnTo>
                  <a:pt x="1651" y="1639"/>
                </a:lnTo>
                <a:lnTo>
                  <a:pt x="1647" y="1647"/>
                </a:lnTo>
                <a:lnTo>
                  <a:pt x="1661" y="1646"/>
                </a:lnTo>
                <a:lnTo>
                  <a:pt x="1676" y="1643"/>
                </a:lnTo>
                <a:lnTo>
                  <a:pt x="1691" y="1641"/>
                </a:lnTo>
                <a:lnTo>
                  <a:pt x="1706" y="1639"/>
                </a:lnTo>
                <a:lnTo>
                  <a:pt x="1703" y="1628"/>
                </a:lnTo>
                <a:lnTo>
                  <a:pt x="1693" y="1629"/>
                </a:lnTo>
                <a:lnTo>
                  <a:pt x="1687" y="1629"/>
                </a:lnTo>
                <a:lnTo>
                  <a:pt x="1685" y="1628"/>
                </a:lnTo>
                <a:lnTo>
                  <a:pt x="1683" y="1628"/>
                </a:lnTo>
                <a:lnTo>
                  <a:pt x="1680" y="1614"/>
                </a:lnTo>
                <a:lnTo>
                  <a:pt x="1676" y="1613"/>
                </a:lnTo>
                <a:lnTo>
                  <a:pt x="1672" y="1613"/>
                </a:lnTo>
                <a:lnTo>
                  <a:pt x="1663" y="1614"/>
                </a:lnTo>
                <a:lnTo>
                  <a:pt x="1663" y="1611"/>
                </a:lnTo>
                <a:lnTo>
                  <a:pt x="1662" y="1609"/>
                </a:lnTo>
                <a:lnTo>
                  <a:pt x="1662" y="1607"/>
                </a:lnTo>
                <a:lnTo>
                  <a:pt x="1661" y="1605"/>
                </a:lnTo>
                <a:lnTo>
                  <a:pt x="1657" y="1603"/>
                </a:lnTo>
                <a:lnTo>
                  <a:pt x="1653" y="1600"/>
                </a:lnTo>
                <a:lnTo>
                  <a:pt x="1645" y="1595"/>
                </a:lnTo>
                <a:lnTo>
                  <a:pt x="1636" y="1591"/>
                </a:lnTo>
                <a:lnTo>
                  <a:pt x="1631" y="1590"/>
                </a:lnTo>
                <a:lnTo>
                  <a:pt x="1627" y="1588"/>
                </a:lnTo>
                <a:lnTo>
                  <a:pt x="1625" y="1588"/>
                </a:lnTo>
                <a:lnTo>
                  <a:pt x="1623" y="1589"/>
                </a:lnTo>
                <a:lnTo>
                  <a:pt x="1620" y="1589"/>
                </a:lnTo>
                <a:lnTo>
                  <a:pt x="1619" y="1589"/>
                </a:lnTo>
                <a:lnTo>
                  <a:pt x="1618" y="1588"/>
                </a:lnTo>
                <a:lnTo>
                  <a:pt x="1617" y="1587"/>
                </a:lnTo>
                <a:lnTo>
                  <a:pt x="1616" y="1586"/>
                </a:lnTo>
                <a:lnTo>
                  <a:pt x="1614" y="1581"/>
                </a:lnTo>
                <a:lnTo>
                  <a:pt x="1612" y="1577"/>
                </a:lnTo>
                <a:lnTo>
                  <a:pt x="1610" y="1574"/>
                </a:lnTo>
                <a:lnTo>
                  <a:pt x="1606" y="1573"/>
                </a:lnTo>
                <a:lnTo>
                  <a:pt x="1598" y="1572"/>
                </a:lnTo>
                <a:lnTo>
                  <a:pt x="1579" y="1569"/>
                </a:lnTo>
                <a:lnTo>
                  <a:pt x="1560" y="1567"/>
                </a:lnTo>
                <a:lnTo>
                  <a:pt x="1551" y="1566"/>
                </a:lnTo>
                <a:close/>
                <a:moveTo>
                  <a:pt x="5280" y="1524"/>
                </a:moveTo>
                <a:lnTo>
                  <a:pt x="5277" y="1529"/>
                </a:lnTo>
                <a:lnTo>
                  <a:pt x="5274" y="1533"/>
                </a:lnTo>
                <a:lnTo>
                  <a:pt x="5269" y="1543"/>
                </a:lnTo>
                <a:lnTo>
                  <a:pt x="5264" y="1552"/>
                </a:lnTo>
                <a:lnTo>
                  <a:pt x="5262" y="1558"/>
                </a:lnTo>
                <a:lnTo>
                  <a:pt x="5260" y="1563"/>
                </a:lnTo>
                <a:lnTo>
                  <a:pt x="5259" y="1570"/>
                </a:lnTo>
                <a:lnTo>
                  <a:pt x="5258" y="1575"/>
                </a:lnTo>
                <a:lnTo>
                  <a:pt x="5258" y="1579"/>
                </a:lnTo>
                <a:lnTo>
                  <a:pt x="5259" y="1582"/>
                </a:lnTo>
                <a:lnTo>
                  <a:pt x="5260" y="1585"/>
                </a:lnTo>
                <a:lnTo>
                  <a:pt x="5261" y="1589"/>
                </a:lnTo>
                <a:lnTo>
                  <a:pt x="5266" y="1597"/>
                </a:lnTo>
                <a:lnTo>
                  <a:pt x="5271" y="1597"/>
                </a:lnTo>
                <a:lnTo>
                  <a:pt x="5275" y="1588"/>
                </a:lnTo>
                <a:lnTo>
                  <a:pt x="5278" y="1580"/>
                </a:lnTo>
                <a:lnTo>
                  <a:pt x="5281" y="1570"/>
                </a:lnTo>
                <a:lnTo>
                  <a:pt x="5283" y="1561"/>
                </a:lnTo>
                <a:lnTo>
                  <a:pt x="5285" y="1551"/>
                </a:lnTo>
                <a:lnTo>
                  <a:pt x="5287" y="1542"/>
                </a:lnTo>
                <a:lnTo>
                  <a:pt x="5288" y="1524"/>
                </a:lnTo>
                <a:lnTo>
                  <a:pt x="5284" y="1524"/>
                </a:lnTo>
                <a:lnTo>
                  <a:pt x="5280" y="1524"/>
                </a:lnTo>
                <a:close/>
                <a:moveTo>
                  <a:pt x="5448" y="1313"/>
                </a:moveTo>
                <a:lnTo>
                  <a:pt x="5443" y="1324"/>
                </a:lnTo>
                <a:lnTo>
                  <a:pt x="5441" y="1324"/>
                </a:lnTo>
                <a:lnTo>
                  <a:pt x="5440" y="1325"/>
                </a:lnTo>
                <a:lnTo>
                  <a:pt x="5439" y="1324"/>
                </a:lnTo>
                <a:lnTo>
                  <a:pt x="5438" y="1324"/>
                </a:lnTo>
                <a:lnTo>
                  <a:pt x="5436" y="1322"/>
                </a:lnTo>
                <a:lnTo>
                  <a:pt x="5434" y="1321"/>
                </a:lnTo>
                <a:lnTo>
                  <a:pt x="5435" y="1323"/>
                </a:lnTo>
                <a:lnTo>
                  <a:pt x="5434" y="1324"/>
                </a:lnTo>
                <a:lnTo>
                  <a:pt x="5434" y="1326"/>
                </a:lnTo>
                <a:lnTo>
                  <a:pt x="5433" y="1327"/>
                </a:lnTo>
                <a:lnTo>
                  <a:pt x="5431" y="1328"/>
                </a:lnTo>
                <a:lnTo>
                  <a:pt x="5432" y="1330"/>
                </a:lnTo>
                <a:lnTo>
                  <a:pt x="5434" y="1333"/>
                </a:lnTo>
                <a:lnTo>
                  <a:pt x="5436" y="1336"/>
                </a:lnTo>
                <a:lnTo>
                  <a:pt x="5440" y="1344"/>
                </a:lnTo>
                <a:lnTo>
                  <a:pt x="5437" y="1342"/>
                </a:lnTo>
                <a:lnTo>
                  <a:pt x="5436" y="1341"/>
                </a:lnTo>
                <a:lnTo>
                  <a:pt x="5435" y="1342"/>
                </a:lnTo>
                <a:lnTo>
                  <a:pt x="5435" y="1344"/>
                </a:lnTo>
                <a:lnTo>
                  <a:pt x="5436" y="1346"/>
                </a:lnTo>
                <a:lnTo>
                  <a:pt x="5437" y="1349"/>
                </a:lnTo>
                <a:lnTo>
                  <a:pt x="5438" y="1351"/>
                </a:lnTo>
                <a:lnTo>
                  <a:pt x="5440" y="1352"/>
                </a:lnTo>
                <a:lnTo>
                  <a:pt x="5441" y="1352"/>
                </a:lnTo>
                <a:lnTo>
                  <a:pt x="5442" y="1352"/>
                </a:lnTo>
                <a:lnTo>
                  <a:pt x="5443" y="1352"/>
                </a:lnTo>
                <a:lnTo>
                  <a:pt x="5445" y="1351"/>
                </a:lnTo>
                <a:lnTo>
                  <a:pt x="5448" y="1352"/>
                </a:lnTo>
                <a:lnTo>
                  <a:pt x="5448" y="1341"/>
                </a:lnTo>
                <a:lnTo>
                  <a:pt x="5447" y="1341"/>
                </a:lnTo>
                <a:lnTo>
                  <a:pt x="5446" y="1341"/>
                </a:lnTo>
                <a:lnTo>
                  <a:pt x="5445" y="1340"/>
                </a:lnTo>
                <a:lnTo>
                  <a:pt x="5446" y="1339"/>
                </a:lnTo>
                <a:lnTo>
                  <a:pt x="5447" y="1339"/>
                </a:lnTo>
                <a:lnTo>
                  <a:pt x="5448" y="1338"/>
                </a:lnTo>
                <a:lnTo>
                  <a:pt x="5451" y="1338"/>
                </a:lnTo>
                <a:lnTo>
                  <a:pt x="5451" y="1341"/>
                </a:lnTo>
                <a:lnTo>
                  <a:pt x="5451" y="1343"/>
                </a:lnTo>
                <a:lnTo>
                  <a:pt x="5451" y="1344"/>
                </a:lnTo>
                <a:lnTo>
                  <a:pt x="5452" y="1345"/>
                </a:lnTo>
                <a:lnTo>
                  <a:pt x="5454" y="1346"/>
                </a:lnTo>
                <a:lnTo>
                  <a:pt x="5447" y="1355"/>
                </a:lnTo>
                <a:lnTo>
                  <a:pt x="5445" y="1359"/>
                </a:lnTo>
                <a:lnTo>
                  <a:pt x="5444" y="1362"/>
                </a:lnTo>
                <a:lnTo>
                  <a:pt x="5443" y="1369"/>
                </a:lnTo>
                <a:lnTo>
                  <a:pt x="5443" y="1380"/>
                </a:lnTo>
                <a:lnTo>
                  <a:pt x="5445" y="1379"/>
                </a:lnTo>
                <a:lnTo>
                  <a:pt x="5446" y="1378"/>
                </a:lnTo>
                <a:lnTo>
                  <a:pt x="5448" y="1377"/>
                </a:lnTo>
                <a:lnTo>
                  <a:pt x="5450" y="1377"/>
                </a:lnTo>
                <a:lnTo>
                  <a:pt x="5451" y="1377"/>
                </a:lnTo>
                <a:lnTo>
                  <a:pt x="5450" y="1378"/>
                </a:lnTo>
                <a:lnTo>
                  <a:pt x="5449" y="1379"/>
                </a:lnTo>
                <a:lnTo>
                  <a:pt x="5448" y="1380"/>
                </a:lnTo>
                <a:lnTo>
                  <a:pt x="5448" y="1381"/>
                </a:lnTo>
                <a:lnTo>
                  <a:pt x="5449" y="1382"/>
                </a:lnTo>
                <a:lnTo>
                  <a:pt x="5451" y="1384"/>
                </a:lnTo>
                <a:lnTo>
                  <a:pt x="5454" y="1386"/>
                </a:lnTo>
                <a:lnTo>
                  <a:pt x="5456" y="1382"/>
                </a:lnTo>
                <a:lnTo>
                  <a:pt x="5460" y="1378"/>
                </a:lnTo>
                <a:lnTo>
                  <a:pt x="5463" y="1373"/>
                </a:lnTo>
                <a:lnTo>
                  <a:pt x="5464" y="1371"/>
                </a:lnTo>
                <a:lnTo>
                  <a:pt x="5465" y="1369"/>
                </a:lnTo>
                <a:lnTo>
                  <a:pt x="5466" y="1366"/>
                </a:lnTo>
                <a:lnTo>
                  <a:pt x="5466" y="1363"/>
                </a:lnTo>
                <a:lnTo>
                  <a:pt x="5467" y="1357"/>
                </a:lnTo>
                <a:lnTo>
                  <a:pt x="5467" y="1352"/>
                </a:lnTo>
                <a:lnTo>
                  <a:pt x="5467" y="1349"/>
                </a:lnTo>
                <a:lnTo>
                  <a:pt x="5468" y="1346"/>
                </a:lnTo>
                <a:lnTo>
                  <a:pt x="5474" y="1344"/>
                </a:lnTo>
                <a:lnTo>
                  <a:pt x="5474" y="1340"/>
                </a:lnTo>
                <a:lnTo>
                  <a:pt x="5472" y="1338"/>
                </a:lnTo>
                <a:lnTo>
                  <a:pt x="5471" y="1336"/>
                </a:lnTo>
                <a:lnTo>
                  <a:pt x="5471" y="1334"/>
                </a:lnTo>
                <a:lnTo>
                  <a:pt x="5471" y="1332"/>
                </a:lnTo>
                <a:lnTo>
                  <a:pt x="5465" y="1332"/>
                </a:lnTo>
                <a:lnTo>
                  <a:pt x="5466" y="1330"/>
                </a:lnTo>
                <a:lnTo>
                  <a:pt x="5468" y="1328"/>
                </a:lnTo>
                <a:lnTo>
                  <a:pt x="5468" y="1326"/>
                </a:lnTo>
                <a:lnTo>
                  <a:pt x="5469" y="1325"/>
                </a:lnTo>
                <a:lnTo>
                  <a:pt x="5469" y="1323"/>
                </a:lnTo>
                <a:lnTo>
                  <a:pt x="5468" y="1321"/>
                </a:lnTo>
                <a:lnTo>
                  <a:pt x="5464" y="1321"/>
                </a:lnTo>
                <a:lnTo>
                  <a:pt x="5460" y="1321"/>
                </a:lnTo>
                <a:lnTo>
                  <a:pt x="5458" y="1320"/>
                </a:lnTo>
                <a:lnTo>
                  <a:pt x="5457" y="1318"/>
                </a:lnTo>
                <a:lnTo>
                  <a:pt x="5456" y="1315"/>
                </a:lnTo>
                <a:lnTo>
                  <a:pt x="5455" y="1314"/>
                </a:lnTo>
                <a:lnTo>
                  <a:pt x="5454" y="1313"/>
                </a:lnTo>
                <a:lnTo>
                  <a:pt x="5451" y="1313"/>
                </a:lnTo>
                <a:lnTo>
                  <a:pt x="5448" y="1313"/>
                </a:lnTo>
                <a:close/>
                <a:moveTo>
                  <a:pt x="5628" y="1130"/>
                </a:moveTo>
                <a:lnTo>
                  <a:pt x="5628" y="1131"/>
                </a:lnTo>
                <a:lnTo>
                  <a:pt x="5628" y="1132"/>
                </a:lnTo>
                <a:lnTo>
                  <a:pt x="5628" y="1134"/>
                </a:lnTo>
                <a:lnTo>
                  <a:pt x="5629" y="1136"/>
                </a:lnTo>
                <a:lnTo>
                  <a:pt x="5628" y="1138"/>
                </a:lnTo>
                <a:lnTo>
                  <a:pt x="5627" y="1140"/>
                </a:lnTo>
                <a:lnTo>
                  <a:pt x="5625" y="1141"/>
                </a:lnTo>
                <a:lnTo>
                  <a:pt x="5620" y="1144"/>
                </a:lnTo>
                <a:lnTo>
                  <a:pt x="5622" y="1152"/>
                </a:lnTo>
                <a:lnTo>
                  <a:pt x="5623" y="1161"/>
                </a:lnTo>
                <a:lnTo>
                  <a:pt x="5618" y="1163"/>
                </a:lnTo>
                <a:lnTo>
                  <a:pt x="5616" y="1164"/>
                </a:lnTo>
                <a:lnTo>
                  <a:pt x="5614" y="1166"/>
                </a:lnTo>
                <a:lnTo>
                  <a:pt x="5617" y="1167"/>
                </a:lnTo>
                <a:lnTo>
                  <a:pt x="5620" y="1168"/>
                </a:lnTo>
                <a:lnTo>
                  <a:pt x="5622" y="1171"/>
                </a:lnTo>
                <a:lnTo>
                  <a:pt x="5623" y="1172"/>
                </a:lnTo>
                <a:lnTo>
                  <a:pt x="5623" y="1173"/>
                </a:lnTo>
                <a:lnTo>
                  <a:pt x="5623" y="1175"/>
                </a:lnTo>
                <a:lnTo>
                  <a:pt x="5622" y="1177"/>
                </a:lnTo>
                <a:lnTo>
                  <a:pt x="5620" y="1179"/>
                </a:lnTo>
                <a:lnTo>
                  <a:pt x="5618" y="1180"/>
                </a:lnTo>
                <a:lnTo>
                  <a:pt x="5617" y="1180"/>
                </a:lnTo>
                <a:lnTo>
                  <a:pt x="5618" y="1186"/>
                </a:lnTo>
                <a:lnTo>
                  <a:pt x="5617" y="1192"/>
                </a:lnTo>
                <a:lnTo>
                  <a:pt x="5597" y="1220"/>
                </a:lnTo>
                <a:lnTo>
                  <a:pt x="5592" y="1220"/>
                </a:lnTo>
                <a:lnTo>
                  <a:pt x="5591" y="1222"/>
                </a:lnTo>
                <a:lnTo>
                  <a:pt x="5590" y="1224"/>
                </a:lnTo>
                <a:lnTo>
                  <a:pt x="5590" y="1228"/>
                </a:lnTo>
                <a:lnTo>
                  <a:pt x="5590" y="1230"/>
                </a:lnTo>
                <a:lnTo>
                  <a:pt x="5589" y="1231"/>
                </a:lnTo>
                <a:lnTo>
                  <a:pt x="5588" y="1233"/>
                </a:lnTo>
                <a:lnTo>
                  <a:pt x="5586" y="1234"/>
                </a:lnTo>
                <a:lnTo>
                  <a:pt x="5586" y="1237"/>
                </a:lnTo>
                <a:lnTo>
                  <a:pt x="5584" y="1238"/>
                </a:lnTo>
                <a:lnTo>
                  <a:pt x="5583" y="1238"/>
                </a:lnTo>
                <a:lnTo>
                  <a:pt x="5579" y="1238"/>
                </a:lnTo>
                <a:lnTo>
                  <a:pt x="5576" y="1238"/>
                </a:lnTo>
                <a:lnTo>
                  <a:pt x="5572" y="1240"/>
                </a:lnTo>
                <a:lnTo>
                  <a:pt x="5572" y="1245"/>
                </a:lnTo>
                <a:lnTo>
                  <a:pt x="5567" y="1245"/>
                </a:lnTo>
                <a:lnTo>
                  <a:pt x="5561" y="1245"/>
                </a:lnTo>
                <a:lnTo>
                  <a:pt x="5561" y="1243"/>
                </a:lnTo>
                <a:lnTo>
                  <a:pt x="5561" y="1240"/>
                </a:lnTo>
                <a:lnTo>
                  <a:pt x="5561" y="1237"/>
                </a:lnTo>
                <a:lnTo>
                  <a:pt x="5561" y="1234"/>
                </a:lnTo>
                <a:lnTo>
                  <a:pt x="5562" y="1232"/>
                </a:lnTo>
                <a:lnTo>
                  <a:pt x="5565" y="1230"/>
                </a:lnTo>
                <a:lnTo>
                  <a:pt x="5568" y="1228"/>
                </a:lnTo>
                <a:lnTo>
                  <a:pt x="5569" y="1225"/>
                </a:lnTo>
                <a:lnTo>
                  <a:pt x="5566" y="1227"/>
                </a:lnTo>
                <a:lnTo>
                  <a:pt x="5562" y="1229"/>
                </a:lnTo>
                <a:lnTo>
                  <a:pt x="5558" y="1231"/>
                </a:lnTo>
                <a:lnTo>
                  <a:pt x="5556" y="1232"/>
                </a:lnTo>
                <a:lnTo>
                  <a:pt x="5555" y="1234"/>
                </a:lnTo>
                <a:lnTo>
                  <a:pt x="5555" y="1235"/>
                </a:lnTo>
                <a:lnTo>
                  <a:pt x="5555" y="1237"/>
                </a:lnTo>
                <a:lnTo>
                  <a:pt x="5555" y="1241"/>
                </a:lnTo>
                <a:lnTo>
                  <a:pt x="5555" y="1244"/>
                </a:lnTo>
                <a:lnTo>
                  <a:pt x="5555" y="1248"/>
                </a:lnTo>
                <a:lnTo>
                  <a:pt x="5555" y="1250"/>
                </a:lnTo>
                <a:lnTo>
                  <a:pt x="5553" y="1252"/>
                </a:lnTo>
                <a:lnTo>
                  <a:pt x="5550" y="1255"/>
                </a:lnTo>
                <a:lnTo>
                  <a:pt x="5546" y="1259"/>
                </a:lnTo>
                <a:lnTo>
                  <a:pt x="5544" y="1262"/>
                </a:lnTo>
                <a:lnTo>
                  <a:pt x="5544" y="1264"/>
                </a:lnTo>
                <a:lnTo>
                  <a:pt x="5544" y="1266"/>
                </a:lnTo>
                <a:lnTo>
                  <a:pt x="5545" y="1268"/>
                </a:lnTo>
                <a:lnTo>
                  <a:pt x="5547" y="1270"/>
                </a:lnTo>
                <a:lnTo>
                  <a:pt x="5547" y="1271"/>
                </a:lnTo>
                <a:lnTo>
                  <a:pt x="5547" y="1273"/>
                </a:lnTo>
                <a:lnTo>
                  <a:pt x="5547" y="1274"/>
                </a:lnTo>
                <a:lnTo>
                  <a:pt x="5546" y="1275"/>
                </a:lnTo>
                <a:lnTo>
                  <a:pt x="5544" y="1276"/>
                </a:lnTo>
                <a:lnTo>
                  <a:pt x="5543" y="1278"/>
                </a:lnTo>
                <a:lnTo>
                  <a:pt x="5541" y="1282"/>
                </a:lnTo>
                <a:lnTo>
                  <a:pt x="5531" y="1277"/>
                </a:lnTo>
                <a:lnTo>
                  <a:pt x="5527" y="1276"/>
                </a:lnTo>
                <a:lnTo>
                  <a:pt x="5524" y="1275"/>
                </a:lnTo>
                <a:lnTo>
                  <a:pt x="5520" y="1276"/>
                </a:lnTo>
                <a:lnTo>
                  <a:pt x="5518" y="1276"/>
                </a:lnTo>
                <a:lnTo>
                  <a:pt x="5516" y="1277"/>
                </a:lnTo>
                <a:lnTo>
                  <a:pt x="5505" y="1282"/>
                </a:lnTo>
                <a:lnTo>
                  <a:pt x="5505" y="1279"/>
                </a:lnTo>
                <a:lnTo>
                  <a:pt x="5505" y="1277"/>
                </a:lnTo>
                <a:lnTo>
                  <a:pt x="5504" y="1276"/>
                </a:lnTo>
                <a:lnTo>
                  <a:pt x="5502" y="1276"/>
                </a:lnTo>
                <a:lnTo>
                  <a:pt x="5497" y="1278"/>
                </a:lnTo>
                <a:lnTo>
                  <a:pt x="5495" y="1279"/>
                </a:lnTo>
                <a:lnTo>
                  <a:pt x="5493" y="1281"/>
                </a:lnTo>
                <a:lnTo>
                  <a:pt x="5489" y="1285"/>
                </a:lnTo>
                <a:lnTo>
                  <a:pt x="5485" y="1289"/>
                </a:lnTo>
                <a:lnTo>
                  <a:pt x="5477" y="1298"/>
                </a:lnTo>
                <a:lnTo>
                  <a:pt x="5473" y="1301"/>
                </a:lnTo>
                <a:lnTo>
                  <a:pt x="5468" y="1304"/>
                </a:lnTo>
                <a:lnTo>
                  <a:pt x="5466" y="1305"/>
                </a:lnTo>
                <a:lnTo>
                  <a:pt x="5464" y="1305"/>
                </a:lnTo>
                <a:lnTo>
                  <a:pt x="5463" y="1305"/>
                </a:lnTo>
                <a:lnTo>
                  <a:pt x="5462" y="1304"/>
                </a:lnTo>
                <a:lnTo>
                  <a:pt x="5459" y="1302"/>
                </a:lnTo>
                <a:lnTo>
                  <a:pt x="5457" y="1301"/>
                </a:lnTo>
                <a:lnTo>
                  <a:pt x="5457" y="1307"/>
                </a:lnTo>
                <a:lnTo>
                  <a:pt x="5457" y="1313"/>
                </a:lnTo>
                <a:lnTo>
                  <a:pt x="5467" y="1312"/>
                </a:lnTo>
                <a:lnTo>
                  <a:pt x="5474" y="1312"/>
                </a:lnTo>
                <a:lnTo>
                  <a:pt x="5482" y="1313"/>
                </a:lnTo>
                <a:lnTo>
                  <a:pt x="5483" y="1308"/>
                </a:lnTo>
                <a:lnTo>
                  <a:pt x="5484" y="1305"/>
                </a:lnTo>
                <a:lnTo>
                  <a:pt x="5485" y="1304"/>
                </a:lnTo>
                <a:lnTo>
                  <a:pt x="5498" y="1303"/>
                </a:lnTo>
                <a:lnTo>
                  <a:pt x="5508" y="1303"/>
                </a:lnTo>
                <a:lnTo>
                  <a:pt x="5516" y="1301"/>
                </a:lnTo>
                <a:lnTo>
                  <a:pt x="5533" y="1301"/>
                </a:lnTo>
                <a:lnTo>
                  <a:pt x="5532" y="1304"/>
                </a:lnTo>
                <a:lnTo>
                  <a:pt x="5531" y="1305"/>
                </a:lnTo>
                <a:lnTo>
                  <a:pt x="5527" y="1307"/>
                </a:lnTo>
                <a:lnTo>
                  <a:pt x="5528" y="1309"/>
                </a:lnTo>
                <a:lnTo>
                  <a:pt x="5528" y="1313"/>
                </a:lnTo>
                <a:lnTo>
                  <a:pt x="5527" y="1318"/>
                </a:lnTo>
                <a:lnTo>
                  <a:pt x="5530" y="1320"/>
                </a:lnTo>
                <a:lnTo>
                  <a:pt x="5531" y="1321"/>
                </a:lnTo>
                <a:lnTo>
                  <a:pt x="5531" y="1323"/>
                </a:lnTo>
                <a:lnTo>
                  <a:pt x="5533" y="1327"/>
                </a:lnTo>
                <a:lnTo>
                  <a:pt x="5534" y="1326"/>
                </a:lnTo>
                <a:lnTo>
                  <a:pt x="5535" y="1326"/>
                </a:lnTo>
                <a:lnTo>
                  <a:pt x="5538" y="1327"/>
                </a:lnTo>
                <a:lnTo>
                  <a:pt x="5541" y="1327"/>
                </a:lnTo>
                <a:lnTo>
                  <a:pt x="5544" y="1327"/>
                </a:lnTo>
                <a:lnTo>
                  <a:pt x="5545" y="1326"/>
                </a:lnTo>
                <a:lnTo>
                  <a:pt x="5546" y="1325"/>
                </a:lnTo>
                <a:lnTo>
                  <a:pt x="5547" y="1321"/>
                </a:lnTo>
                <a:lnTo>
                  <a:pt x="5548" y="1318"/>
                </a:lnTo>
                <a:lnTo>
                  <a:pt x="5549" y="1317"/>
                </a:lnTo>
                <a:lnTo>
                  <a:pt x="5550" y="1315"/>
                </a:lnTo>
                <a:lnTo>
                  <a:pt x="5552" y="1314"/>
                </a:lnTo>
                <a:lnTo>
                  <a:pt x="5555" y="1313"/>
                </a:lnTo>
                <a:lnTo>
                  <a:pt x="5558" y="1312"/>
                </a:lnTo>
                <a:lnTo>
                  <a:pt x="5561" y="1310"/>
                </a:lnTo>
                <a:lnTo>
                  <a:pt x="5559" y="1304"/>
                </a:lnTo>
                <a:lnTo>
                  <a:pt x="5558" y="1302"/>
                </a:lnTo>
                <a:lnTo>
                  <a:pt x="5558" y="1299"/>
                </a:lnTo>
                <a:lnTo>
                  <a:pt x="5564" y="1299"/>
                </a:lnTo>
                <a:lnTo>
                  <a:pt x="5567" y="1299"/>
                </a:lnTo>
                <a:lnTo>
                  <a:pt x="5570" y="1300"/>
                </a:lnTo>
                <a:lnTo>
                  <a:pt x="5572" y="1301"/>
                </a:lnTo>
                <a:lnTo>
                  <a:pt x="5570" y="1301"/>
                </a:lnTo>
                <a:lnTo>
                  <a:pt x="5569" y="1302"/>
                </a:lnTo>
                <a:lnTo>
                  <a:pt x="5569" y="1303"/>
                </a:lnTo>
                <a:lnTo>
                  <a:pt x="5569" y="1305"/>
                </a:lnTo>
                <a:lnTo>
                  <a:pt x="5569" y="1307"/>
                </a:lnTo>
                <a:lnTo>
                  <a:pt x="5571" y="1307"/>
                </a:lnTo>
                <a:lnTo>
                  <a:pt x="5572" y="1306"/>
                </a:lnTo>
                <a:lnTo>
                  <a:pt x="5573" y="1304"/>
                </a:lnTo>
                <a:lnTo>
                  <a:pt x="5574" y="1302"/>
                </a:lnTo>
                <a:lnTo>
                  <a:pt x="5575" y="1301"/>
                </a:lnTo>
                <a:lnTo>
                  <a:pt x="5578" y="1301"/>
                </a:lnTo>
                <a:lnTo>
                  <a:pt x="5582" y="1302"/>
                </a:lnTo>
                <a:lnTo>
                  <a:pt x="5585" y="1303"/>
                </a:lnTo>
                <a:lnTo>
                  <a:pt x="5589" y="1304"/>
                </a:lnTo>
                <a:lnTo>
                  <a:pt x="5593" y="1298"/>
                </a:lnTo>
                <a:lnTo>
                  <a:pt x="5595" y="1295"/>
                </a:lnTo>
                <a:lnTo>
                  <a:pt x="5597" y="1293"/>
                </a:lnTo>
                <a:lnTo>
                  <a:pt x="5600" y="1298"/>
                </a:lnTo>
                <a:lnTo>
                  <a:pt x="5601" y="1302"/>
                </a:lnTo>
                <a:lnTo>
                  <a:pt x="5601" y="1304"/>
                </a:lnTo>
                <a:lnTo>
                  <a:pt x="5600" y="1304"/>
                </a:lnTo>
                <a:lnTo>
                  <a:pt x="5606" y="1304"/>
                </a:lnTo>
                <a:lnTo>
                  <a:pt x="5607" y="1297"/>
                </a:lnTo>
                <a:lnTo>
                  <a:pt x="5607" y="1294"/>
                </a:lnTo>
                <a:lnTo>
                  <a:pt x="5609" y="1290"/>
                </a:lnTo>
                <a:lnTo>
                  <a:pt x="5617" y="1290"/>
                </a:lnTo>
                <a:lnTo>
                  <a:pt x="5618" y="1288"/>
                </a:lnTo>
                <a:lnTo>
                  <a:pt x="5618" y="1285"/>
                </a:lnTo>
                <a:lnTo>
                  <a:pt x="5618" y="1281"/>
                </a:lnTo>
                <a:lnTo>
                  <a:pt x="5618" y="1277"/>
                </a:lnTo>
                <a:lnTo>
                  <a:pt x="5618" y="1276"/>
                </a:lnTo>
                <a:lnTo>
                  <a:pt x="5619" y="1275"/>
                </a:lnTo>
                <a:lnTo>
                  <a:pt x="5620" y="1273"/>
                </a:lnTo>
                <a:lnTo>
                  <a:pt x="5621" y="1272"/>
                </a:lnTo>
                <a:lnTo>
                  <a:pt x="5622" y="1272"/>
                </a:lnTo>
                <a:lnTo>
                  <a:pt x="5623" y="1273"/>
                </a:lnTo>
                <a:lnTo>
                  <a:pt x="5624" y="1273"/>
                </a:lnTo>
                <a:lnTo>
                  <a:pt x="5625" y="1275"/>
                </a:lnTo>
                <a:lnTo>
                  <a:pt x="5626" y="1276"/>
                </a:lnTo>
                <a:lnTo>
                  <a:pt x="5624" y="1279"/>
                </a:lnTo>
                <a:lnTo>
                  <a:pt x="5620" y="1286"/>
                </a:lnTo>
                <a:lnTo>
                  <a:pt x="5619" y="1290"/>
                </a:lnTo>
                <a:lnTo>
                  <a:pt x="5619" y="1291"/>
                </a:lnTo>
                <a:lnTo>
                  <a:pt x="5619" y="1293"/>
                </a:lnTo>
                <a:lnTo>
                  <a:pt x="5619" y="1294"/>
                </a:lnTo>
                <a:lnTo>
                  <a:pt x="5620" y="1295"/>
                </a:lnTo>
                <a:lnTo>
                  <a:pt x="5621" y="1296"/>
                </a:lnTo>
                <a:lnTo>
                  <a:pt x="5623" y="1296"/>
                </a:lnTo>
                <a:lnTo>
                  <a:pt x="5631" y="1287"/>
                </a:lnTo>
                <a:lnTo>
                  <a:pt x="5635" y="1281"/>
                </a:lnTo>
                <a:lnTo>
                  <a:pt x="5635" y="1278"/>
                </a:lnTo>
                <a:lnTo>
                  <a:pt x="5636" y="1275"/>
                </a:lnTo>
                <a:lnTo>
                  <a:pt x="5635" y="1273"/>
                </a:lnTo>
                <a:lnTo>
                  <a:pt x="5634" y="1271"/>
                </a:lnTo>
                <a:lnTo>
                  <a:pt x="5632" y="1269"/>
                </a:lnTo>
                <a:lnTo>
                  <a:pt x="5628" y="1268"/>
                </a:lnTo>
                <a:lnTo>
                  <a:pt x="5631" y="1266"/>
                </a:lnTo>
                <a:lnTo>
                  <a:pt x="5632" y="1264"/>
                </a:lnTo>
                <a:lnTo>
                  <a:pt x="5632" y="1263"/>
                </a:lnTo>
                <a:lnTo>
                  <a:pt x="5632" y="1261"/>
                </a:lnTo>
                <a:lnTo>
                  <a:pt x="5631" y="1255"/>
                </a:lnTo>
                <a:lnTo>
                  <a:pt x="5631" y="1252"/>
                </a:lnTo>
                <a:lnTo>
                  <a:pt x="5631" y="1250"/>
                </a:lnTo>
                <a:lnTo>
                  <a:pt x="5631" y="1248"/>
                </a:lnTo>
                <a:lnTo>
                  <a:pt x="5637" y="1240"/>
                </a:lnTo>
                <a:lnTo>
                  <a:pt x="5637" y="1235"/>
                </a:lnTo>
                <a:lnTo>
                  <a:pt x="5637" y="1231"/>
                </a:lnTo>
                <a:lnTo>
                  <a:pt x="5637" y="1223"/>
                </a:lnTo>
                <a:lnTo>
                  <a:pt x="5636" y="1214"/>
                </a:lnTo>
                <a:lnTo>
                  <a:pt x="5636" y="1210"/>
                </a:lnTo>
                <a:lnTo>
                  <a:pt x="5637" y="1206"/>
                </a:lnTo>
                <a:lnTo>
                  <a:pt x="5638" y="1204"/>
                </a:lnTo>
                <a:lnTo>
                  <a:pt x="5639" y="1203"/>
                </a:lnTo>
                <a:lnTo>
                  <a:pt x="5642" y="1202"/>
                </a:lnTo>
                <a:lnTo>
                  <a:pt x="5645" y="1202"/>
                </a:lnTo>
                <a:lnTo>
                  <a:pt x="5647" y="1201"/>
                </a:lnTo>
                <a:lnTo>
                  <a:pt x="5648" y="1200"/>
                </a:lnTo>
                <a:lnTo>
                  <a:pt x="5649" y="1199"/>
                </a:lnTo>
                <a:lnTo>
                  <a:pt x="5649" y="1198"/>
                </a:lnTo>
                <a:lnTo>
                  <a:pt x="5647" y="1195"/>
                </a:lnTo>
                <a:lnTo>
                  <a:pt x="5645" y="1193"/>
                </a:lnTo>
                <a:lnTo>
                  <a:pt x="5645" y="1192"/>
                </a:lnTo>
                <a:lnTo>
                  <a:pt x="5651" y="1192"/>
                </a:lnTo>
                <a:lnTo>
                  <a:pt x="5653" y="1185"/>
                </a:lnTo>
                <a:lnTo>
                  <a:pt x="5654" y="1179"/>
                </a:lnTo>
                <a:lnTo>
                  <a:pt x="5655" y="1173"/>
                </a:lnTo>
                <a:lnTo>
                  <a:pt x="5655" y="1168"/>
                </a:lnTo>
                <a:lnTo>
                  <a:pt x="5654" y="1163"/>
                </a:lnTo>
                <a:lnTo>
                  <a:pt x="5653" y="1158"/>
                </a:lnTo>
                <a:lnTo>
                  <a:pt x="5648" y="1147"/>
                </a:lnTo>
                <a:lnTo>
                  <a:pt x="5647" y="1144"/>
                </a:lnTo>
                <a:lnTo>
                  <a:pt x="5647" y="1141"/>
                </a:lnTo>
                <a:lnTo>
                  <a:pt x="5646" y="1137"/>
                </a:lnTo>
                <a:lnTo>
                  <a:pt x="5645" y="1135"/>
                </a:lnTo>
                <a:lnTo>
                  <a:pt x="5628" y="1130"/>
                </a:lnTo>
                <a:close/>
                <a:moveTo>
                  <a:pt x="5651" y="1012"/>
                </a:moveTo>
                <a:lnTo>
                  <a:pt x="5650" y="1012"/>
                </a:lnTo>
                <a:lnTo>
                  <a:pt x="5649" y="1013"/>
                </a:lnTo>
                <a:lnTo>
                  <a:pt x="5648" y="1014"/>
                </a:lnTo>
                <a:lnTo>
                  <a:pt x="5647" y="1015"/>
                </a:lnTo>
                <a:lnTo>
                  <a:pt x="5646" y="1018"/>
                </a:lnTo>
                <a:lnTo>
                  <a:pt x="5645" y="1021"/>
                </a:lnTo>
                <a:lnTo>
                  <a:pt x="5646" y="1024"/>
                </a:lnTo>
                <a:lnTo>
                  <a:pt x="5646" y="1027"/>
                </a:lnTo>
                <a:lnTo>
                  <a:pt x="5647" y="1028"/>
                </a:lnTo>
                <a:lnTo>
                  <a:pt x="5648" y="1028"/>
                </a:lnTo>
                <a:lnTo>
                  <a:pt x="5651" y="1029"/>
                </a:lnTo>
                <a:lnTo>
                  <a:pt x="5651" y="1032"/>
                </a:lnTo>
                <a:lnTo>
                  <a:pt x="5652" y="1037"/>
                </a:lnTo>
                <a:lnTo>
                  <a:pt x="5652" y="1042"/>
                </a:lnTo>
                <a:lnTo>
                  <a:pt x="5652" y="1045"/>
                </a:lnTo>
                <a:lnTo>
                  <a:pt x="5651" y="1048"/>
                </a:lnTo>
                <a:lnTo>
                  <a:pt x="5647" y="1055"/>
                </a:lnTo>
                <a:lnTo>
                  <a:pt x="5644" y="1060"/>
                </a:lnTo>
                <a:lnTo>
                  <a:pt x="5642" y="1062"/>
                </a:lnTo>
                <a:lnTo>
                  <a:pt x="5643" y="1066"/>
                </a:lnTo>
                <a:lnTo>
                  <a:pt x="5644" y="1068"/>
                </a:lnTo>
                <a:lnTo>
                  <a:pt x="5645" y="1070"/>
                </a:lnTo>
                <a:lnTo>
                  <a:pt x="5645" y="1071"/>
                </a:lnTo>
                <a:lnTo>
                  <a:pt x="5645" y="1074"/>
                </a:lnTo>
                <a:lnTo>
                  <a:pt x="5643" y="1074"/>
                </a:lnTo>
                <a:lnTo>
                  <a:pt x="5642" y="1076"/>
                </a:lnTo>
                <a:lnTo>
                  <a:pt x="5641" y="1077"/>
                </a:lnTo>
                <a:lnTo>
                  <a:pt x="5640" y="1079"/>
                </a:lnTo>
                <a:lnTo>
                  <a:pt x="5636" y="1077"/>
                </a:lnTo>
                <a:lnTo>
                  <a:pt x="5634" y="1075"/>
                </a:lnTo>
                <a:lnTo>
                  <a:pt x="5633" y="1074"/>
                </a:lnTo>
                <a:lnTo>
                  <a:pt x="5634" y="1074"/>
                </a:lnTo>
                <a:lnTo>
                  <a:pt x="5627" y="1073"/>
                </a:lnTo>
                <a:lnTo>
                  <a:pt x="5623" y="1074"/>
                </a:lnTo>
                <a:lnTo>
                  <a:pt x="5624" y="1076"/>
                </a:lnTo>
                <a:lnTo>
                  <a:pt x="5624" y="1078"/>
                </a:lnTo>
                <a:lnTo>
                  <a:pt x="5626" y="1082"/>
                </a:lnTo>
                <a:lnTo>
                  <a:pt x="5623" y="1084"/>
                </a:lnTo>
                <a:lnTo>
                  <a:pt x="5620" y="1085"/>
                </a:lnTo>
                <a:lnTo>
                  <a:pt x="5614" y="1088"/>
                </a:lnTo>
                <a:lnTo>
                  <a:pt x="5619" y="1095"/>
                </a:lnTo>
                <a:lnTo>
                  <a:pt x="5622" y="1099"/>
                </a:lnTo>
                <a:lnTo>
                  <a:pt x="5623" y="1102"/>
                </a:lnTo>
                <a:lnTo>
                  <a:pt x="5623" y="1104"/>
                </a:lnTo>
                <a:lnTo>
                  <a:pt x="5623" y="1105"/>
                </a:lnTo>
                <a:lnTo>
                  <a:pt x="5623" y="1107"/>
                </a:lnTo>
                <a:lnTo>
                  <a:pt x="5622" y="1109"/>
                </a:lnTo>
                <a:lnTo>
                  <a:pt x="5621" y="1111"/>
                </a:lnTo>
                <a:lnTo>
                  <a:pt x="5620" y="1113"/>
                </a:lnTo>
                <a:lnTo>
                  <a:pt x="5620" y="1114"/>
                </a:lnTo>
                <a:lnTo>
                  <a:pt x="5621" y="1115"/>
                </a:lnTo>
                <a:lnTo>
                  <a:pt x="5625" y="1114"/>
                </a:lnTo>
                <a:lnTo>
                  <a:pt x="5631" y="1113"/>
                </a:lnTo>
                <a:lnTo>
                  <a:pt x="5640" y="1110"/>
                </a:lnTo>
                <a:lnTo>
                  <a:pt x="5641" y="1110"/>
                </a:lnTo>
                <a:lnTo>
                  <a:pt x="5642" y="1109"/>
                </a:lnTo>
                <a:lnTo>
                  <a:pt x="5642" y="1108"/>
                </a:lnTo>
                <a:lnTo>
                  <a:pt x="5641" y="1106"/>
                </a:lnTo>
                <a:lnTo>
                  <a:pt x="5639" y="1105"/>
                </a:lnTo>
                <a:lnTo>
                  <a:pt x="5633" y="1103"/>
                </a:lnTo>
                <a:lnTo>
                  <a:pt x="5628" y="1102"/>
                </a:lnTo>
                <a:lnTo>
                  <a:pt x="5628" y="1101"/>
                </a:lnTo>
                <a:lnTo>
                  <a:pt x="5628" y="1100"/>
                </a:lnTo>
                <a:lnTo>
                  <a:pt x="5628" y="1097"/>
                </a:lnTo>
                <a:lnTo>
                  <a:pt x="5629" y="1095"/>
                </a:lnTo>
                <a:lnTo>
                  <a:pt x="5628" y="1093"/>
                </a:lnTo>
                <a:lnTo>
                  <a:pt x="5634" y="1092"/>
                </a:lnTo>
                <a:lnTo>
                  <a:pt x="5640" y="1090"/>
                </a:lnTo>
                <a:lnTo>
                  <a:pt x="5643" y="1090"/>
                </a:lnTo>
                <a:lnTo>
                  <a:pt x="5647" y="1089"/>
                </a:lnTo>
                <a:lnTo>
                  <a:pt x="5650" y="1089"/>
                </a:lnTo>
                <a:lnTo>
                  <a:pt x="5654" y="1090"/>
                </a:lnTo>
                <a:lnTo>
                  <a:pt x="5659" y="1102"/>
                </a:lnTo>
                <a:lnTo>
                  <a:pt x="5669" y="1101"/>
                </a:lnTo>
                <a:lnTo>
                  <a:pt x="5674" y="1101"/>
                </a:lnTo>
                <a:lnTo>
                  <a:pt x="5679" y="1102"/>
                </a:lnTo>
                <a:lnTo>
                  <a:pt x="5681" y="1096"/>
                </a:lnTo>
                <a:lnTo>
                  <a:pt x="5682" y="1092"/>
                </a:lnTo>
                <a:lnTo>
                  <a:pt x="5684" y="1088"/>
                </a:lnTo>
                <a:lnTo>
                  <a:pt x="5685" y="1087"/>
                </a:lnTo>
                <a:lnTo>
                  <a:pt x="5687" y="1085"/>
                </a:lnTo>
                <a:lnTo>
                  <a:pt x="5691" y="1083"/>
                </a:lnTo>
                <a:lnTo>
                  <a:pt x="5695" y="1081"/>
                </a:lnTo>
                <a:lnTo>
                  <a:pt x="5702" y="1080"/>
                </a:lnTo>
                <a:lnTo>
                  <a:pt x="5711" y="1078"/>
                </a:lnTo>
                <a:lnTo>
                  <a:pt x="5717" y="1078"/>
                </a:lnTo>
                <a:lnTo>
                  <a:pt x="5722" y="1076"/>
                </a:lnTo>
                <a:lnTo>
                  <a:pt x="5720" y="1073"/>
                </a:lnTo>
                <a:lnTo>
                  <a:pt x="5719" y="1071"/>
                </a:lnTo>
                <a:lnTo>
                  <a:pt x="5713" y="1068"/>
                </a:lnTo>
                <a:lnTo>
                  <a:pt x="5714" y="1065"/>
                </a:lnTo>
                <a:lnTo>
                  <a:pt x="5716" y="1062"/>
                </a:lnTo>
                <a:lnTo>
                  <a:pt x="5717" y="1060"/>
                </a:lnTo>
                <a:lnTo>
                  <a:pt x="5717" y="1057"/>
                </a:lnTo>
                <a:lnTo>
                  <a:pt x="5714" y="1057"/>
                </a:lnTo>
                <a:lnTo>
                  <a:pt x="5713" y="1057"/>
                </a:lnTo>
                <a:lnTo>
                  <a:pt x="5710" y="1059"/>
                </a:lnTo>
                <a:lnTo>
                  <a:pt x="5706" y="1060"/>
                </a:lnTo>
                <a:lnTo>
                  <a:pt x="5704" y="1060"/>
                </a:lnTo>
                <a:lnTo>
                  <a:pt x="5702" y="1059"/>
                </a:lnTo>
                <a:lnTo>
                  <a:pt x="5700" y="1058"/>
                </a:lnTo>
                <a:lnTo>
                  <a:pt x="5700" y="1056"/>
                </a:lnTo>
                <a:lnTo>
                  <a:pt x="5699" y="1054"/>
                </a:lnTo>
                <a:lnTo>
                  <a:pt x="5699" y="1051"/>
                </a:lnTo>
                <a:lnTo>
                  <a:pt x="5692" y="1051"/>
                </a:lnTo>
                <a:lnTo>
                  <a:pt x="5686" y="1051"/>
                </a:lnTo>
                <a:lnTo>
                  <a:pt x="5681" y="1050"/>
                </a:lnTo>
                <a:lnTo>
                  <a:pt x="5679" y="1049"/>
                </a:lnTo>
                <a:lnTo>
                  <a:pt x="5676" y="1048"/>
                </a:lnTo>
                <a:lnTo>
                  <a:pt x="5675" y="1047"/>
                </a:lnTo>
                <a:lnTo>
                  <a:pt x="5673" y="1045"/>
                </a:lnTo>
                <a:lnTo>
                  <a:pt x="5671" y="1039"/>
                </a:lnTo>
                <a:lnTo>
                  <a:pt x="5670" y="1033"/>
                </a:lnTo>
                <a:lnTo>
                  <a:pt x="5668" y="1029"/>
                </a:lnTo>
                <a:lnTo>
                  <a:pt x="5664" y="1024"/>
                </a:lnTo>
                <a:lnTo>
                  <a:pt x="5660" y="1020"/>
                </a:lnTo>
                <a:lnTo>
                  <a:pt x="5655" y="1016"/>
                </a:lnTo>
                <a:lnTo>
                  <a:pt x="5651" y="1012"/>
                </a:lnTo>
                <a:close/>
                <a:moveTo>
                  <a:pt x="5673" y="777"/>
                </a:moveTo>
                <a:lnTo>
                  <a:pt x="5671" y="781"/>
                </a:lnTo>
                <a:lnTo>
                  <a:pt x="5670" y="783"/>
                </a:lnTo>
                <a:lnTo>
                  <a:pt x="5668" y="783"/>
                </a:lnTo>
                <a:lnTo>
                  <a:pt x="5665" y="786"/>
                </a:lnTo>
                <a:lnTo>
                  <a:pt x="5667" y="790"/>
                </a:lnTo>
                <a:lnTo>
                  <a:pt x="5669" y="796"/>
                </a:lnTo>
                <a:lnTo>
                  <a:pt x="5670" y="798"/>
                </a:lnTo>
                <a:lnTo>
                  <a:pt x="5671" y="801"/>
                </a:lnTo>
                <a:lnTo>
                  <a:pt x="5671" y="805"/>
                </a:lnTo>
                <a:lnTo>
                  <a:pt x="5671" y="808"/>
                </a:lnTo>
                <a:lnTo>
                  <a:pt x="5669" y="809"/>
                </a:lnTo>
                <a:lnTo>
                  <a:pt x="5664" y="813"/>
                </a:lnTo>
                <a:lnTo>
                  <a:pt x="5662" y="815"/>
                </a:lnTo>
                <a:lnTo>
                  <a:pt x="5660" y="817"/>
                </a:lnTo>
                <a:lnTo>
                  <a:pt x="5658" y="820"/>
                </a:lnTo>
                <a:lnTo>
                  <a:pt x="5657" y="822"/>
                </a:lnTo>
                <a:lnTo>
                  <a:pt x="5655" y="828"/>
                </a:lnTo>
                <a:lnTo>
                  <a:pt x="5655" y="834"/>
                </a:lnTo>
                <a:lnTo>
                  <a:pt x="5655" y="839"/>
                </a:lnTo>
                <a:lnTo>
                  <a:pt x="5655" y="844"/>
                </a:lnTo>
                <a:lnTo>
                  <a:pt x="5656" y="849"/>
                </a:lnTo>
                <a:lnTo>
                  <a:pt x="5658" y="853"/>
                </a:lnTo>
                <a:lnTo>
                  <a:pt x="5659" y="857"/>
                </a:lnTo>
                <a:lnTo>
                  <a:pt x="5659" y="862"/>
                </a:lnTo>
                <a:lnTo>
                  <a:pt x="5660" y="870"/>
                </a:lnTo>
                <a:lnTo>
                  <a:pt x="5660" y="878"/>
                </a:lnTo>
                <a:lnTo>
                  <a:pt x="5659" y="894"/>
                </a:lnTo>
                <a:lnTo>
                  <a:pt x="5658" y="909"/>
                </a:lnTo>
                <a:lnTo>
                  <a:pt x="5657" y="922"/>
                </a:lnTo>
                <a:lnTo>
                  <a:pt x="5658" y="921"/>
                </a:lnTo>
                <a:lnTo>
                  <a:pt x="5659" y="922"/>
                </a:lnTo>
                <a:lnTo>
                  <a:pt x="5659" y="924"/>
                </a:lnTo>
                <a:lnTo>
                  <a:pt x="5660" y="925"/>
                </a:lnTo>
                <a:lnTo>
                  <a:pt x="5659" y="930"/>
                </a:lnTo>
                <a:lnTo>
                  <a:pt x="5659" y="933"/>
                </a:lnTo>
                <a:lnTo>
                  <a:pt x="5658" y="934"/>
                </a:lnTo>
                <a:lnTo>
                  <a:pt x="5657" y="936"/>
                </a:lnTo>
                <a:lnTo>
                  <a:pt x="5657" y="939"/>
                </a:lnTo>
                <a:lnTo>
                  <a:pt x="5662" y="950"/>
                </a:lnTo>
                <a:lnTo>
                  <a:pt x="5662" y="955"/>
                </a:lnTo>
                <a:lnTo>
                  <a:pt x="5661" y="962"/>
                </a:lnTo>
                <a:lnTo>
                  <a:pt x="5659" y="975"/>
                </a:lnTo>
                <a:lnTo>
                  <a:pt x="5656" y="990"/>
                </a:lnTo>
                <a:lnTo>
                  <a:pt x="5654" y="1003"/>
                </a:lnTo>
                <a:lnTo>
                  <a:pt x="5657" y="997"/>
                </a:lnTo>
                <a:lnTo>
                  <a:pt x="5660" y="992"/>
                </a:lnTo>
                <a:lnTo>
                  <a:pt x="5662" y="989"/>
                </a:lnTo>
                <a:lnTo>
                  <a:pt x="5663" y="989"/>
                </a:lnTo>
                <a:lnTo>
                  <a:pt x="5663" y="988"/>
                </a:lnTo>
                <a:lnTo>
                  <a:pt x="5664" y="988"/>
                </a:lnTo>
                <a:lnTo>
                  <a:pt x="5666" y="989"/>
                </a:lnTo>
                <a:lnTo>
                  <a:pt x="5668" y="991"/>
                </a:lnTo>
                <a:lnTo>
                  <a:pt x="5676" y="998"/>
                </a:lnTo>
                <a:lnTo>
                  <a:pt x="5677" y="999"/>
                </a:lnTo>
                <a:lnTo>
                  <a:pt x="5679" y="1002"/>
                </a:lnTo>
                <a:lnTo>
                  <a:pt x="5682" y="1006"/>
                </a:lnTo>
                <a:lnTo>
                  <a:pt x="5681" y="1002"/>
                </a:lnTo>
                <a:lnTo>
                  <a:pt x="5682" y="999"/>
                </a:lnTo>
                <a:lnTo>
                  <a:pt x="5682" y="996"/>
                </a:lnTo>
                <a:lnTo>
                  <a:pt x="5682" y="992"/>
                </a:lnTo>
                <a:lnTo>
                  <a:pt x="5679" y="987"/>
                </a:lnTo>
                <a:lnTo>
                  <a:pt x="5675" y="980"/>
                </a:lnTo>
                <a:lnTo>
                  <a:pt x="5670" y="973"/>
                </a:lnTo>
                <a:lnTo>
                  <a:pt x="5669" y="970"/>
                </a:lnTo>
                <a:lnTo>
                  <a:pt x="5668" y="967"/>
                </a:lnTo>
                <a:lnTo>
                  <a:pt x="5667" y="960"/>
                </a:lnTo>
                <a:lnTo>
                  <a:pt x="5668" y="954"/>
                </a:lnTo>
                <a:lnTo>
                  <a:pt x="5669" y="947"/>
                </a:lnTo>
                <a:lnTo>
                  <a:pt x="5670" y="941"/>
                </a:lnTo>
                <a:lnTo>
                  <a:pt x="5673" y="929"/>
                </a:lnTo>
                <a:lnTo>
                  <a:pt x="5675" y="923"/>
                </a:lnTo>
                <a:lnTo>
                  <a:pt x="5676" y="916"/>
                </a:lnTo>
                <a:lnTo>
                  <a:pt x="5679" y="915"/>
                </a:lnTo>
                <a:lnTo>
                  <a:pt x="5679" y="913"/>
                </a:lnTo>
                <a:lnTo>
                  <a:pt x="5679" y="910"/>
                </a:lnTo>
                <a:lnTo>
                  <a:pt x="5682" y="911"/>
                </a:lnTo>
                <a:lnTo>
                  <a:pt x="5686" y="910"/>
                </a:lnTo>
                <a:lnTo>
                  <a:pt x="5690" y="910"/>
                </a:lnTo>
                <a:lnTo>
                  <a:pt x="5692" y="910"/>
                </a:lnTo>
                <a:lnTo>
                  <a:pt x="5693" y="910"/>
                </a:lnTo>
                <a:lnTo>
                  <a:pt x="5695" y="912"/>
                </a:lnTo>
                <a:lnTo>
                  <a:pt x="5699" y="915"/>
                </a:lnTo>
                <a:lnTo>
                  <a:pt x="5704" y="922"/>
                </a:lnTo>
                <a:lnTo>
                  <a:pt x="5701" y="915"/>
                </a:lnTo>
                <a:lnTo>
                  <a:pt x="5697" y="906"/>
                </a:lnTo>
                <a:lnTo>
                  <a:pt x="5695" y="902"/>
                </a:lnTo>
                <a:lnTo>
                  <a:pt x="5693" y="898"/>
                </a:lnTo>
                <a:lnTo>
                  <a:pt x="5690" y="895"/>
                </a:lnTo>
                <a:lnTo>
                  <a:pt x="5687" y="893"/>
                </a:lnTo>
                <a:lnTo>
                  <a:pt x="5685" y="893"/>
                </a:lnTo>
                <a:lnTo>
                  <a:pt x="5684" y="889"/>
                </a:lnTo>
                <a:lnTo>
                  <a:pt x="5684" y="882"/>
                </a:lnTo>
                <a:lnTo>
                  <a:pt x="5685" y="864"/>
                </a:lnTo>
                <a:lnTo>
                  <a:pt x="5685" y="848"/>
                </a:lnTo>
                <a:lnTo>
                  <a:pt x="5684" y="843"/>
                </a:lnTo>
                <a:lnTo>
                  <a:pt x="5683" y="840"/>
                </a:lnTo>
                <a:lnTo>
                  <a:pt x="5682" y="839"/>
                </a:lnTo>
                <a:lnTo>
                  <a:pt x="5683" y="836"/>
                </a:lnTo>
                <a:lnTo>
                  <a:pt x="5685" y="833"/>
                </a:lnTo>
                <a:lnTo>
                  <a:pt x="5687" y="829"/>
                </a:lnTo>
                <a:lnTo>
                  <a:pt x="5687" y="827"/>
                </a:lnTo>
                <a:lnTo>
                  <a:pt x="5687" y="825"/>
                </a:lnTo>
                <a:lnTo>
                  <a:pt x="5687" y="823"/>
                </a:lnTo>
                <a:lnTo>
                  <a:pt x="5686" y="821"/>
                </a:lnTo>
                <a:lnTo>
                  <a:pt x="5682" y="815"/>
                </a:lnTo>
                <a:lnTo>
                  <a:pt x="5678" y="810"/>
                </a:lnTo>
                <a:lnTo>
                  <a:pt x="5677" y="807"/>
                </a:lnTo>
                <a:lnTo>
                  <a:pt x="5676" y="805"/>
                </a:lnTo>
                <a:lnTo>
                  <a:pt x="5676" y="803"/>
                </a:lnTo>
                <a:lnTo>
                  <a:pt x="5677" y="801"/>
                </a:lnTo>
                <a:lnTo>
                  <a:pt x="5679" y="797"/>
                </a:lnTo>
                <a:lnTo>
                  <a:pt x="5681" y="793"/>
                </a:lnTo>
                <a:lnTo>
                  <a:pt x="5682" y="788"/>
                </a:lnTo>
                <a:lnTo>
                  <a:pt x="5681" y="787"/>
                </a:lnTo>
                <a:lnTo>
                  <a:pt x="5681" y="786"/>
                </a:lnTo>
                <a:lnTo>
                  <a:pt x="5678" y="783"/>
                </a:lnTo>
                <a:lnTo>
                  <a:pt x="5675" y="780"/>
                </a:lnTo>
                <a:lnTo>
                  <a:pt x="5673" y="777"/>
                </a:lnTo>
                <a:close/>
                <a:moveTo>
                  <a:pt x="2998" y="634"/>
                </a:moveTo>
                <a:lnTo>
                  <a:pt x="2994" y="638"/>
                </a:lnTo>
                <a:lnTo>
                  <a:pt x="2991" y="641"/>
                </a:lnTo>
                <a:lnTo>
                  <a:pt x="2989" y="642"/>
                </a:lnTo>
                <a:lnTo>
                  <a:pt x="2981" y="636"/>
                </a:lnTo>
                <a:lnTo>
                  <a:pt x="2980" y="639"/>
                </a:lnTo>
                <a:lnTo>
                  <a:pt x="2981" y="642"/>
                </a:lnTo>
                <a:lnTo>
                  <a:pt x="2981" y="645"/>
                </a:lnTo>
                <a:lnTo>
                  <a:pt x="2981" y="648"/>
                </a:lnTo>
                <a:lnTo>
                  <a:pt x="2975" y="651"/>
                </a:lnTo>
                <a:lnTo>
                  <a:pt x="2974" y="653"/>
                </a:lnTo>
                <a:lnTo>
                  <a:pt x="2973" y="655"/>
                </a:lnTo>
                <a:lnTo>
                  <a:pt x="2974" y="657"/>
                </a:lnTo>
                <a:lnTo>
                  <a:pt x="2974" y="658"/>
                </a:lnTo>
                <a:lnTo>
                  <a:pt x="2976" y="661"/>
                </a:lnTo>
                <a:lnTo>
                  <a:pt x="2976" y="662"/>
                </a:lnTo>
                <a:lnTo>
                  <a:pt x="2975" y="665"/>
                </a:lnTo>
                <a:lnTo>
                  <a:pt x="2967" y="665"/>
                </a:lnTo>
                <a:lnTo>
                  <a:pt x="2967" y="669"/>
                </a:lnTo>
                <a:lnTo>
                  <a:pt x="2967" y="673"/>
                </a:lnTo>
                <a:lnTo>
                  <a:pt x="2964" y="673"/>
                </a:lnTo>
                <a:lnTo>
                  <a:pt x="2965" y="674"/>
                </a:lnTo>
                <a:lnTo>
                  <a:pt x="2966" y="676"/>
                </a:lnTo>
                <a:lnTo>
                  <a:pt x="2967" y="681"/>
                </a:lnTo>
                <a:lnTo>
                  <a:pt x="2971" y="681"/>
                </a:lnTo>
                <a:lnTo>
                  <a:pt x="2968" y="681"/>
                </a:lnTo>
                <a:lnTo>
                  <a:pt x="2967" y="682"/>
                </a:lnTo>
                <a:lnTo>
                  <a:pt x="2969" y="684"/>
                </a:lnTo>
                <a:lnTo>
                  <a:pt x="2966" y="685"/>
                </a:lnTo>
                <a:lnTo>
                  <a:pt x="2964" y="685"/>
                </a:lnTo>
                <a:lnTo>
                  <a:pt x="2964" y="686"/>
                </a:lnTo>
                <a:lnTo>
                  <a:pt x="2964" y="687"/>
                </a:lnTo>
                <a:lnTo>
                  <a:pt x="2964" y="688"/>
                </a:lnTo>
                <a:lnTo>
                  <a:pt x="2965" y="690"/>
                </a:lnTo>
                <a:lnTo>
                  <a:pt x="2967" y="691"/>
                </a:lnTo>
                <a:lnTo>
                  <a:pt x="2969" y="693"/>
                </a:lnTo>
                <a:lnTo>
                  <a:pt x="2964" y="696"/>
                </a:lnTo>
                <a:lnTo>
                  <a:pt x="2964" y="700"/>
                </a:lnTo>
                <a:lnTo>
                  <a:pt x="2964" y="707"/>
                </a:lnTo>
                <a:lnTo>
                  <a:pt x="2969" y="707"/>
                </a:lnTo>
                <a:lnTo>
                  <a:pt x="2974" y="706"/>
                </a:lnTo>
                <a:lnTo>
                  <a:pt x="2975" y="706"/>
                </a:lnTo>
                <a:lnTo>
                  <a:pt x="2974" y="707"/>
                </a:lnTo>
                <a:lnTo>
                  <a:pt x="2972" y="710"/>
                </a:lnTo>
                <a:lnTo>
                  <a:pt x="2969" y="711"/>
                </a:lnTo>
                <a:lnTo>
                  <a:pt x="2967" y="712"/>
                </a:lnTo>
                <a:lnTo>
                  <a:pt x="2967" y="715"/>
                </a:lnTo>
                <a:lnTo>
                  <a:pt x="2967" y="718"/>
                </a:lnTo>
                <a:lnTo>
                  <a:pt x="2968" y="721"/>
                </a:lnTo>
                <a:lnTo>
                  <a:pt x="2967" y="724"/>
                </a:lnTo>
                <a:lnTo>
                  <a:pt x="2967" y="726"/>
                </a:lnTo>
                <a:lnTo>
                  <a:pt x="2969" y="725"/>
                </a:lnTo>
                <a:lnTo>
                  <a:pt x="2970" y="723"/>
                </a:lnTo>
                <a:lnTo>
                  <a:pt x="2972" y="718"/>
                </a:lnTo>
                <a:lnTo>
                  <a:pt x="2975" y="719"/>
                </a:lnTo>
                <a:lnTo>
                  <a:pt x="2977" y="718"/>
                </a:lnTo>
                <a:lnTo>
                  <a:pt x="2979" y="718"/>
                </a:lnTo>
                <a:lnTo>
                  <a:pt x="2981" y="718"/>
                </a:lnTo>
                <a:lnTo>
                  <a:pt x="2981" y="724"/>
                </a:lnTo>
                <a:lnTo>
                  <a:pt x="2980" y="727"/>
                </a:lnTo>
                <a:lnTo>
                  <a:pt x="2979" y="735"/>
                </a:lnTo>
                <a:lnTo>
                  <a:pt x="2977" y="746"/>
                </a:lnTo>
                <a:lnTo>
                  <a:pt x="2975" y="755"/>
                </a:lnTo>
                <a:lnTo>
                  <a:pt x="2991" y="753"/>
                </a:lnTo>
                <a:lnTo>
                  <a:pt x="3012" y="752"/>
                </a:lnTo>
                <a:lnTo>
                  <a:pt x="3008" y="759"/>
                </a:lnTo>
                <a:lnTo>
                  <a:pt x="3003" y="766"/>
                </a:lnTo>
                <a:lnTo>
                  <a:pt x="3007" y="767"/>
                </a:lnTo>
                <a:lnTo>
                  <a:pt x="3011" y="767"/>
                </a:lnTo>
                <a:lnTo>
                  <a:pt x="3020" y="769"/>
                </a:lnTo>
                <a:lnTo>
                  <a:pt x="3017" y="783"/>
                </a:lnTo>
                <a:lnTo>
                  <a:pt x="3015" y="788"/>
                </a:lnTo>
                <a:lnTo>
                  <a:pt x="3014" y="789"/>
                </a:lnTo>
                <a:lnTo>
                  <a:pt x="3012" y="791"/>
                </a:lnTo>
                <a:lnTo>
                  <a:pt x="3011" y="792"/>
                </a:lnTo>
                <a:lnTo>
                  <a:pt x="3009" y="792"/>
                </a:lnTo>
                <a:lnTo>
                  <a:pt x="3003" y="792"/>
                </a:lnTo>
                <a:lnTo>
                  <a:pt x="2996" y="791"/>
                </a:lnTo>
                <a:lnTo>
                  <a:pt x="2986" y="788"/>
                </a:lnTo>
                <a:lnTo>
                  <a:pt x="2987" y="792"/>
                </a:lnTo>
                <a:lnTo>
                  <a:pt x="2986" y="797"/>
                </a:lnTo>
                <a:lnTo>
                  <a:pt x="2988" y="796"/>
                </a:lnTo>
                <a:lnTo>
                  <a:pt x="2989" y="796"/>
                </a:lnTo>
                <a:lnTo>
                  <a:pt x="2990" y="796"/>
                </a:lnTo>
                <a:lnTo>
                  <a:pt x="2991" y="797"/>
                </a:lnTo>
                <a:lnTo>
                  <a:pt x="2992" y="800"/>
                </a:lnTo>
                <a:lnTo>
                  <a:pt x="2989" y="803"/>
                </a:lnTo>
                <a:lnTo>
                  <a:pt x="2986" y="806"/>
                </a:lnTo>
                <a:lnTo>
                  <a:pt x="2981" y="814"/>
                </a:lnTo>
                <a:lnTo>
                  <a:pt x="2986" y="812"/>
                </a:lnTo>
                <a:lnTo>
                  <a:pt x="2988" y="811"/>
                </a:lnTo>
                <a:lnTo>
                  <a:pt x="2992" y="811"/>
                </a:lnTo>
                <a:lnTo>
                  <a:pt x="2992" y="817"/>
                </a:lnTo>
                <a:lnTo>
                  <a:pt x="2992" y="822"/>
                </a:lnTo>
                <a:lnTo>
                  <a:pt x="2987" y="825"/>
                </a:lnTo>
                <a:lnTo>
                  <a:pt x="2982" y="828"/>
                </a:lnTo>
                <a:lnTo>
                  <a:pt x="2978" y="830"/>
                </a:lnTo>
                <a:lnTo>
                  <a:pt x="2972" y="833"/>
                </a:lnTo>
                <a:lnTo>
                  <a:pt x="2974" y="842"/>
                </a:lnTo>
                <a:lnTo>
                  <a:pt x="2975" y="844"/>
                </a:lnTo>
                <a:lnTo>
                  <a:pt x="2977" y="845"/>
                </a:lnTo>
                <a:lnTo>
                  <a:pt x="2978" y="845"/>
                </a:lnTo>
                <a:lnTo>
                  <a:pt x="2981" y="844"/>
                </a:lnTo>
                <a:lnTo>
                  <a:pt x="2989" y="839"/>
                </a:lnTo>
                <a:lnTo>
                  <a:pt x="2989" y="847"/>
                </a:lnTo>
                <a:lnTo>
                  <a:pt x="2995" y="846"/>
                </a:lnTo>
                <a:lnTo>
                  <a:pt x="2999" y="845"/>
                </a:lnTo>
                <a:lnTo>
                  <a:pt x="3006" y="845"/>
                </a:lnTo>
                <a:lnTo>
                  <a:pt x="3009" y="844"/>
                </a:lnTo>
                <a:lnTo>
                  <a:pt x="3012" y="843"/>
                </a:lnTo>
                <a:lnTo>
                  <a:pt x="3023" y="843"/>
                </a:lnTo>
                <a:lnTo>
                  <a:pt x="3021" y="843"/>
                </a:lnTo>
                <a:lnTo>
                  <a:pt x="3020" y="844"/>
                </a:lnTo>
                <a:lnTo>
                  <a:pt x="3019" y="847"/>
                </a:lnTo>
                <a:lnTo>
                  <a:pt x="3017" y="853"/>
                </a:lnTo>
                <a:lnTo>
                  <a:pt x="2986" y="853"/>
                </a:lnTo>
                <a:lnTo>
                  <a:pt x="2981" y="863"/>
                </a:lnTo>
                <a:lnTo>
                  <a:pt x="2978" y="869"/>
                </a:lnTo>
                <a:lnTo>
                  <a:pt x="2974" y="873"/>
                </a:lnTo>
                <a:lnTo>
                  <a:pt x="2971" y="877"/>
                </a:lnTo>
                <a:lnTo>
                  <a:pt x="2967" y="881"/>
                </a:lnTo>
                <a:lnTo>
                  <a:pt x="2963" y="885"/>
                </a:lnTo>
                <a:lnTo>
                  <a:pt x="2958" y="888"/>
                </a:lnTo>
                <a:lnTo>
                  <a:pt x="2961" y="888"/>
                </a:lnTo>
                <a:lnTo>
                  <a:pt x="2963" y="888"/>
                </a:lnTo>
                <a:lnTo>
                  <a:pt x="2967" y="890"/>
                </a:lnTo>
                <a:lnTo>
                  <a:pt x="2970" y="891"/>
                </a:lnTo>
                <a:lnTo>
                  <a:pt x="2973" y="891"/>
                </a:lnTo>
                <a:lnTo>
                  <a:pt x="2975" y="891"/>
                </a:lnTo>
                <a:lnTo>
                  <a:pt x="2975" y="882"/>
                </a:lnTo>
                <a:lnTo>
                  <a:pt x="2981" y="879"/>
                </a:lnTo>
                <a:lnTo>
                  <a:pt x="2986" y="877"/>
                </a:lnTo>
                <a:lnTo>
                  <a:pt x="2989" y="876"/>
                </a:lnTo>
                <a:lnTo>
                  <a:pt x="2992" y="877"/>
                </a:lnTo>
                <a:lnTo>
                  <a:pt x="2994" y="877"/>
                </a:lnTo>
                <a:lnTo>
                  <a:pt x="2996" y="878"/>
                </a:lnTo>
                <a:lnTo>
                  <a:pt x="2999" y="879"/>
                </a:lnTo>
                <a:lnTo>
                  <a:pt x="3001" y="880"/>
                </a:lnTo>
                <a:lnTo>
                  <a:pt x="3003" y="879"/>
                </a:lnTo>
                <a:lnTo>
                  <a:pt x="3006" y="875"/>
                </a:lnTo>
                <a:lnTo>
                  <a:pt x="3009" y="871"/>
                </a:lnTo>
                <a:lnTo>
                  <a:pt x="3012" y="871"/>
                </a:lnTo>
                <a:lnTo>
                  <a:pt x="3015" y="871"/>
                </a:lnTo>
                <a:lnTo>
                  <a:pt x="3021" y="872"/>
                </a:lnTo>
                <a:lnTo>
                  <a:pt x="3027" y="874"/>
                </a:lnTo>
                <a:lnTo>
                  <a:pt x="3029" y="874"/>
                </a:lnTo>
                <a:lnTo>
                  <a:pt x="3031" y="874"/>
                </a:lnTo>
                <a:lnTo>
                  <a:pt x="3033" y="872"/>
                </a:lnTo>
                <a:lnTo>
                  <a:pt x="3034" y="870"/>
                </a:lnTo>
                <a:lnTo>
                  <a:pt x="3036" y="867"/>
                </a:lnTo>
                <a:lnTo>
                  <a:pt x="3037" y="864"/>
                </a:lnTo>
                <a:lnTo>
                  <a:pt x="3041" y="864"/>
                </a:lnTo>
                <a:lnTo>
                  <a:pt x="3046" y="864"/>
                </a:lnTo>
                <a:lnTo>
                  <a:pt x="3057" y="865"/>
                </a:lnTo>
                <a:lnTo>
                  <a:pt x="3067" y="868"/>
                </a:lnTo>
                <a:lnTo>
                  <a:pt x="3072" y="868"/>
                </a:lnTo>
                <a:lnTo>
                  <a:pt x="3076" y="868"/>
                </a:lnTo>
                <a:lnTo>
                  <a:pt x="3080" y="867"/>
                </a:lnTo>
                <a:lnTo>
                  <a:pt x="3084" y="864"/>
                </a:lnTo>
                <a:lnTo>
                  <a:pt x="3089" y="861"/>
                </a:lnTo>
                <a:lnTo>
                  <a:pt x="3093" y="859"/>
                </a:lnTo>
                <a:lnTo>
                  <a:pt x="3093" y="853"/>
                </a:lnTo>
                <a:lnTo>
                  <a:pt x="3090" y="853"/>
                </a:lnTo>
                <a:lnTo>
                  <a:pt x="3086" y="853"/>
                </a:lnTo>
                <a:lnTo>
                  <a:pt x="3079" y="853"/>
                </a:lnTo>
                <a:lnTo>
                  <a:pt x="3081" y="850"/>
                </a:lnTo>
                <a:lnTo>
                  <a:pt x="3082" y="846"/>
                </a:lnTo>
                <a:lnTo>
                  <a:pt x="3083" y="842"/>
                </a:lnTo>
                <a:lnTo>
                  <a:pt x="3084" y="840"/>
                </a:lnTo>
                <a:lnTo>
                  <a:pt x="3085" y="839"/>
                </a:lnTo>
                <a:lnTo>
                  <a:pt x="3087" y="838"/>
                </a:lnTo>
                <a:lnTo>
                  <a:pt x="3089" y="838"/>
                </a:lnTo>
                <a:lnTo>
                  <a:pt x="3093" y="838"/>
                </a:lnTo>
                <a:lnTo>
                  <a:pt x="3096" y="838"/>
                </a:lnTo>
                <a:lnTo>
                  <a:pt x="3098" y="837"/>
                </a:lnTo>
                <a:lnTo>
                  <a:pt x="3099" y="836"/>
                </a:lnTo>
                <a:lnTo>
                  <a:pt x="3100" y="834"/>
                </a:lnTo>
                <a:lnTo>
                  <a:pt x="3101" y="832"/>
                </a:lnTo>
                <a:lnTo>
                  <a:pt x="3102" y="827"/>
                </a:lnTo>
                <a:lnTo>
                  <a:pt x="3103" y="821"/>
                </a:lnTo>
                <a:lnTo>
                  <a:pt x="3104" y="817"/>
                </a:lnTo>
                <a:lnTo>
                  <a:pt x="3103" y="816"/>
                </a:lnTo>
                <a:lnTo>
                  <a:pt x="3102" y="814"/>
                </a:lnTo>
                <a:lnTo>
                  <a:pt x="3101" y="812"/>
                </a:lnTo>
                <a:lnTo>
                  <a:pt x="3101" y="810"/>
                </a:lnTo>
                <a:lnTo>
                  <a:pt x="3099" y="808"/>
                </a:lnTo>
                <a:lnTo>
                  <a:pt x="3095" y="807"/>
                </a:lnTo>
                <a:lnTo>
                  <a:pt x="3092" y="806"/>
                </a:lnTo>
                <a:lnTo>
                  <a:pt x="3088" y="806"/>
                </a:lnTo>
                <a:lnTo>
                  <a:pt x="3087" y="806"/>
                </a:lnTo>
                <a:lnTo>
                  <a:pt x="3085" y="805"/>
                </a:lnTo>
                <a:lnTo>
                  <a:pt x="3082" y="814"/>
                </a:lnTo>
                <a:lnTo>
                  <a:pt x="3081" y="814"/>
                </a:lnTo>
                <a:lnTo>
                  <a:pt x="3080" y="814"/>
                </a:lnTo>
                <a:lnTo>
                  <a:pt x="3078" y="812"/>
                </a:lnTo>
                <a:lnTo>
                  <a:pt x="3078" y="811"/>
                </a:lnTo>
                <a:lnTo>
                  <a:pt x="3077" y="810"/>
                </a:lnTo>
                <a:lnTo>
                  <a:pt x="3076" y="810"/>
                </a:lnTo>
                <a:lnTo>
                  <a:pt x="3074" y="811"/>
                </a:lnTo>
                <a:lnTo>
                  <a:pt x="3075" y="804"/>
                </a:lnTo>
                <a:lnTo>
                  <a:pt x="3076" y="794"/>
                </a:lnTo>
                <a:lnTo>
                  <a:pt x="3073" y="793"/>
                </a:lnTo>
                <a:lnTo>
                  <a:pt x="3072" y="793"/>
                </a:lnTo>
                <a:lnTo>
                  <a:pt x="3072" y="792"/>
                </a:lnTo>
                <a:lnTo>
                  <a:pt x="3071" y="788"/>
                </a:lnTo>
                <a:lnTo>
                  <a:pt x="3073" y="788"/>
                </a:lnTo>
                <a:lnTo>
                  <a:pt x="3076" y="788"/>
                </a:lnTo>
                <a:lnTo>
                  <a:pt x="3077" y="787"/>
                </a:lnTo>
                <a:lnTo>
                  <a:pt x="3077" y="786"/>
                </a:lnTo>
                <a:lnTo>
                  <a:pt x="3077" y="785"/>
                </a:lnTo>
                <a:lnTo>
                  <a:pt x="3076" y="783"/>
                </a:lnTo>
                <a:lnTo>
                  <a:pt x="3071" y="783"/>
                </a:lnTo>
                <a:lnTo>
                  <a:pt x="3068" y="779"/>
                </a:lnTo>
                <a:lnTo>
                  <a:pt x="3062" y="772"/>
                </a:lnTo>
                <a:lnTo>
                  <a:pt x="3057" y="764"/>
                </a:lnTo>
                <a:lnTo>
                  <a:pt x="3054" y="760"/>
                </a:lnTo>
                <a:lnTo>
                  <a:pt x="3051" y="759"/>
                </a:lnTo>
                <a:lnTo>
                  <a:pt x="3049" y="759"/>
                </a:lnTo>
                <a:lnTo>
                  <a:pt x="3047" y="759"/>
                </a:lnTo>
                <a:lnTo>
                  <a:pt x="3045" y="757"/>
                </a:lnTo>
                <a:lnTo>
                  <a:pt x="3044" y="754"/>
                </a:lnTo>
                <a:lnTo>
                  <a:pt x="3042" y="751"/>
                </a:lnTo>
                <a:lnTo>
                  <a:pt x="3040" y="743"/>
                </a:lnTo>
                <a:lnTo>
                  <a:pt x="3039" y="739"/>
                </a:lnTo>
                <a:lnTo>
                  <a:pt x="3038" y="735"/>
                </a:lnTo>
                <a:lnTo>
                  <a:pt x="3036" y="732"/>
                </a:lnTo>
                <a:lnTo>
                  <a:pt x="3034" y="729"/>
                </a:lnTo>
                <a:lnTo>
                  <a:pt x="3032" y="728"/>
                </a:lnTo>
                <a:lnTo>
                  <a:pt x="3030" y="728"/>
                </a:lnTo>
                <a:lnTo>
                  <a:pt x="3027" y="728"/>
                </a:lnTo>
                <a:lnTo>
                  <a:pt x="3026" y="726"/>
                </a:lnTo>
                <a:lnTo>
                  <a:pt x="3026" y="721"/>
                </a:lnTo>
                <a:lnTo>
                  <a:pt x="3024" y="720"/>
                </a:lnTo>
                <a:lnTo>
                  <a:pt x="3022" y="720"/>
                </a:lnTo>
                <a:lnTo>
                  <a:pt x="3020" y="721"/>
                </a:lnTo>
                <a:lnTo>
                  <a:pt x="3019" y="721"/>
                </a:lnTo>
                <a:lnTo>
                  <a:pt x="3018" y="721"/>
                </a:lnTo>
                <a:lnTo>
                  <a:pt x="3016" y="721"/>
                </a:lnTo>
                <a:lnTo>
                  <a:pt x="3014" y="721"/>
                </a:lnTo>
                <a:lnTo>
                  <a:pt x="3017" y="717"/>
                </a:lnTo>
                <a:lnTo>
                  <a:pt x="3020" y="714"/>
                </a:lnTo>
                <a:lnTo>
                  <a:pt x="3021" y="711"/>
                </a:lnTo>
                <a:lnTo>
                  <a:pt x="3023" y="708"/>
                </a:lnTo>
                <a:lnTo>
                  <a:pt x="3023" y="705"/>
                </a:lnTo>
                <a:lnTo>
                  <a:pt x="3022" y="704"/>
                </a:lnTo>
                <a:lnTo>
                  <a:pt x="3021" y="703"/>
                </a:lnTo>
                <a:lnTo>
                  <a:pt x="3017" y="701"/>
                </a:lnTo>
                <a:lnTo>
                  <a:pt x="3024" y="696"/>
                </a:lnTo>
                <a:lnTo>
                  <a:pt x="3029" y="692"/>
                </a:lnTo>
                <a:lnTo>
                  <a:pt x="3031" y="690"/>
                </a:lnTo>
                <a:lnTo>
                  <a:pt x="3033" y="684"/>
                </a:lnTo>
                <a:lnTo>
                  <a:pt x="3035" y="679"/>
                </a:lnTo>
                <a:lnTo>
                  <a:pt x="3035" y="675"/>
                </a:lnTo>
                <a:lnTo>
                  <a:pt x="3034" y="673"/>
                </a:lnTo>
                <a:lnTo>
                  <a:pt x="3034" y="672"/>
                </a:lnTo>
                <a:lnTo>
                  <a:pt x="3032" y="670"/>
                </a:lnTo>
                <a:lnTo>
                  <a:pt x="3030" y="668"/>
                </a:lnTo>
                <a:lnTo>
                  <a:pt x="3028" y="668"/>
                </a:lnTo>
                <a:lnTo>
                  <a:pt x="3025" y="667"/>
                </a:lnTo>
                <a:lnTo>
                  <a:pt x="3021" y="668"/>
                </a:lnTo>
                <a:lnTo>
                  <a:pt x="3018" y="668"/>
                </a:lnTo>
                <a:lnTo>
                  <a:pt x="3010" y="670"/>
                </a:lnTo>
                <a:lnTo>
                  <a:pt x="3003" y="672"/>
                </a:lnTo>
                <a:lnTo>
                  <a:pt x="3000" y="673"/>
                </a:lnTo>
                <a:lnTo>
                  <a:pt x="2998" y="673"/>
                </a:lnTo>
                <a:lnTo>
                  <a:pt x="2996" y="673"/>
                </a:lnTo>
                <a:lnTo>
                  <a:pt x="2995" y="673"/>
                </a:lnTo>
                <a:lnTo>
                  <a:pt x="2995" y="671"/>
                </a:lnTo>
                <a:lnTo>
                  <a:pt x="2995" y="670"/>
                </a:lnTo>
                <a:lnTo>
                  <a:pt x="2992" y="670"/>
                </a:lnTo>
                <a:lnTo>
                  <a:pt x="2993" y="668"/>
                </a:lnTo>
                <a:lnTo>
                  <a:pt x="2993" y="665"/>
                </a:lnTo>
                <a:lnTo>
                  <a:pt x="2994" y="661"/>
                </a:lnTo>
                <a:lnTo>
                  <a:pt x="2995" y="659"/>
                </a:lnTo>
                <a:lnTo>
                  <a:pt x="2997" y="657"/>
                </a:lnTo>
                <a:lnTo>
                  <a:pt x="2999" y="656"/>
                </a:lnTo>
                <a:lnTo>
                  <a:pt x="3000" y="657"/>
                </a:lnTo>
                <a:lnTo>
                  <a:pt x="3001" y="657"/>
                </a:lnTo>
                <a:lnTo>
                  <a:pt x="3002" y="656"/>
                </a:lnTo>
                <a:lnTo>
                  <a:pt x="3006" y="648"/>
                </a:lnTo>
                <a:lnTo>
                  <a:pt x="3012" y="648"/>
                </a:lnTo>
                <a:lnTo>
                  <a:pt x="3011" y="640"/>
                </a:lnTo>
                <a:lnTo>
                  <a:pt x="3010" y="636"/>
                </a:lnTo>
                <a:lnTo>
                  <a:pt x="3009" y="636"/>
                </a:lnTo>
                <a:lnTo>
                  <a:pt x="3007" y="636"/>
                </a:lnTo>
                <a:lnTo>
                  <a:pt x="3004" y="635"/>
                </a:lnTo>
                <a:lnTo>
                  <a:pt x="3000" y="634"/>
                </a:lnTo>
                <a:lnTo>
                  <a:pt x="2998" y="634"/>
                </a:lnTo>
                <a:close/>
                <a:moveTo>
                  <a:pt x="2773" y="392"/>
                </a:moveTo>
                <a:lnTo>
                  <a:pt x="2773" y="403"/>
                </a:lnTo>
                <a:lnTo>
                  <a:pt x="2767" y="402"/>
                </a:lnTo>
                <a:lnTo>
                  <a:pt x="2763" y="401"/>
                </a:lnTo>
                <a:lnTo>
                  <a:pt x="2760" y="400"/>
                </a:lnTo>
                <a:lnTo>
                  <a:pt x="2756" y="400"/>
                </a:lnTo>
                <a:lnTo>
                  <a:pt x="2756" y="406"/>
                </a:lnTo>
                <a:lnTo>
                  <a:pt x="2749" y="408"/>
                </a:lnTo>
                <a:lnTo>
                  <a:pt x="2744" y="409"/>
                </a:lnTo>
                <a:lnTo>
                  <a:pt x="2744" y="408"/>
                </a:lnTo>
                <a:lnTo>
                  <a:pt x="2743" y="408"/>
                </a:lnTo>
                <a:lnTo>
                  <a:pt x="2742" y="406"/>
                </a:lnTo>
                <a:lnTo>
                  <a:pt x="2739" y="404"/>
                </a:lnTo>
                <a:lnTo>
                  <a:pt x="2736" y="403"/>
                </a:lnTo>
                <a:lnTo>
                  <a:pt x="2738" y="409"/>
                </a:lnTo>
                <a:lnTo>
                  <a:pt x="2739" y="413"/>
                </a:lnTo>
                <a:lnTo>
                  <a:pt x="2739" y="414"/>
                </a:lnTo>
                <a:lnTo>
                  <a:pt x="2735" y="413"/>
                </a:lnTo>
                <a:lnTo>
                  <a:pt x="2732" y="412"/>
                </a:lnTo>
                <a:lnTo>
                  <a:pt x="2731" y="412"/>
                </a:lnTo>
                <a:lnTo>
                  <a:pt x="2730" y="411"/>
                </a:lnTo>
                <a:lnTo>
                  <a:pt x="2729" y="404"/>
                </a:lnTo>
                <a:lnTo>
                  <a:pt x="2728" y="397"/>
                </a:lnTo>
                <a:lnTo>
                  <a:pt x="2726" y="400"/>
                </a:lnTo>
                <a:lnTo>
                  <a:pt x="2725" y="402"/>
                </a:lnTo>
                <a:lnTo>
                  <a:pt x="2724" y="402"/>
                </a:lnTo>
                <a:lnTo>
                  <a:pt x="2725" y="403"/>
                </a:lnTo>
                <a:lnTo>
                  <a:pt x="2723" y="403"/>
                </a:lnTo>
                <a:lnTo>
                  <a:pt x="2721" y="403"/>
                </a:lnTo>
                <a:lnTo>
                  <a:pt x="2718" y="403"/>
                </a:lnTo>
                <a:lnTo>
                  <a:pt x="2716" y="403"/>
                </a:lnTo>
                <a:lnTo>
                  <a:pt x="2716" y="406"/>
                </a:lnTo>
                <a:lnTo>
                  <a:pt x="2714" y="407"/>
                </a:lnTo>
                <a:lnTo>
                  <a:pt x="2714" y="408"/>
                </a:lnTo>
                <a:lnTo>
                  <a:pt x="2714" y="409"/>
                </a:lnTo>
                <a:lnTo>
                  <a:pt x="2714" y="414"/>
                </a:lnTo>
                <a:lnTo>
                  <a:pt x="2708" y="414"/>
                </a:lnTo>
                <a:lnTo>
                  <a:pt x="2707" y="411"/>
                </a:lnTo>
                <a:lnTo>
                  <a:pt x="2706" y="409"/>
                </a:lnTo>
                <a:lnTo>
                  <a:pt x="2706" y="406"/>
                </a:lnTo>
                <a:lnTo>
                  <a:pt x="2705" y="403"/>
                </a:lnTo>
                <a:lnTo>
                  <a:pt x="2699" y="403"/>
                </a:lnTo>
                <a:lnTo>
                  <a:pt x="2700" y="413"/>
                </a:lnTo>
                <a:lnTo>
                  <a:pt x="2700" y="419"/>
                </a:lnTo>
                <a:lnTo>
                  <a:pt x="2700" y="421"/>
                </a:lnTo>
                <a:lnTo>
                  <a:pt x="2699" y="423"/>
                </a:lnTo>
                <a:lnTo>
                  <a:pt x="2688" y="423"/>
                </a:lnTo>
                <a:lnTo>
                  <a:pt x="2689" y="423"/>
                </a:lnTo>
                <a:lnTo>
                  <a:pt x="2689" y="425"/>
                </a:lnTo>
                <a:lnTo>
                  <a:pt x="2689" y="426"/>
                </a:lnTo>
                <a:lnTo>
                  <a:pt x="2687" y="427"/>
                </a:lnTo>
                <a:lnTo>
                  <a:pt x="2684" y="430"/>
                </a:lnTo>
                <a:lnTo>
                  <a:pt x="2683" y="431"/>
                </a:lnTo>
                <a:lnTo>
                  <a:pt x="2681" y="424"/>
                </a:lnTo>
                <a:lnTo>
                  <a:pt x="2680" y="422"/>
                </a:lnTo>
                <a:lnTo>
                  <a:pt x="2680" y="420"/>
                </a:lnTo>
                <a:lnTo>
                  <a:pt x="2681" y="420"/>
                </a:lnTo>
                <a:lnTo>
                  <a:pt x="2681" y="419"/>
                </a:lnTo>
                <a:lnTo>
                  <a:pt x="2683" y="420"/>
                </a:lnTo>
                <a:lnTo>
                  <a:pt x="2682" y="417"/>
                </a:lnTo>
                <a:lnTo>
                  <a:pt x="2682" y="413"/>
                </a:lnTo>
                <a:lnTo>
                  <a:pt x="2683" y="409"/>
                </a:lnTo>
                <a:lnTo>
                  <a:pt x="2677" y="409"/>
                </a:lnTo>
                <a:lnTo>
                  <a:pt x="2674" y="404"/>
                </a:lnTo>
                <a:lnTo>
                  <a:pt x="2671" y="400"/>
                </a:lnTo>
                <a:lnTo>
                  <a:pt x="2668" y="400"/>
                </a:lnTo>
                <a:lnTo>
                  <a:pt x="2660" y="400"/>
                </a:lnTo>
                <a:lnTo>
                  <a:pt x="2662" y="403"/>
                </a:lnTo>
                <a:lnTo>
                  <a:pt x="2667" y="407"/>
                </a:lnTo>
                <a:lnTo>
                  <a:pt x="2668" y="410"/>
                </a:lnTo>
                <a:lnTo>
                  <a:pt x="2669" y="412"/>
                </a:lnTo>
                <a:lnTo>
                  <a:pt x="2669" y="413"/>
                </a:lnTo>
                <a:lnTo>
                  <a:pt x="2668" y="414"/>
                </a:lnTo>
                <a:lnTo>
                  <a:pt x="2667" y="414"/>
                </a:lnTo>
                <a:lnTo>
                  <a:pt x="2666" y="414"/>
                </a:lnTo>
                <a:lnTo>
                  <a:pt x="2657" y="409"/>
                </a:lnTo>
                <a:lnTo>
                  <a:pt x="2655" y="409"/>
                </a:lnTo>
                <a:lnTo>
                  <a:pt x="2651" y="410"/>
                </a:lnTo>
                <a:lnTo>
                  <a:pt x="2649" y="411"/>
                </a:lnTo>
                <a:lnTo>
                  <a:pt x="2648" y="411"/>
                </a:lnTo>
                <a:lnTo>
                  <a:pt x="2649" y="411"/>
                </a:lnTo>
                <a:lnTo>
                  <a:pt x="2647" y="411"/>
                </a:lnTo>
                <a:lnTo>
                  <a:pt x="2646" y="411"/>
                </a:lnTo>
                <a:lnTo>
                  <a:pt x="2646" y="412"/>
                </a:lnTo>
                <a:lnTo>
                  <a:pt x="2647" y="413"/>
                </a:lnTo>
                <a:lnTo>
                  <a:pt x="2649" y="417"/>
                </a:lnTo>
                <a:lnTo>
                  <a:pt x="2648" y="418"/>
                </a:lnTo>
                <a:lnTo>
                  <a:pt x="2647" y="419"/>
                </a:lnTo>
                <a:lnTo>
                  <a:pt x="2644" y="420"/>
                </a:lnTo>
                <a:lnTo>
                  <a:pt x="2640" y="421"/>
                </a:lnTo>
                <a:lnTo>
                  <a:pt x="2639" y="422"/>
                </a:lnTo>
                <a:lnTo>
                  <a:pt x="2638" y="423"/>
                </a:lnTo>
                <a:lnTo>
                  <a:pt x="2637" y="424"/>
                </a:lnTo>
                <a:lnTo>
                  <a:pt x="2634" y="426"/>
                </a:lnTo>
                <a:lnTo>
                  <a:pt x="2629" y="428"/>
                </a:lnTo>
                <a:lnTo>
                  <a:pt x="2636" y="431"/>
                </a:lnTo>
                <a:lnTo>
                  <a:pt x="2640" y="431"/>
                </a:lnTo>
                <a:lnTo>
                  <a:pt x="2643" y="431"/>
                </a:lnTo>
                <a:lnTo>
                  <a:pt x="2646" y="429"/>
                </a:lnTo>
                <a:lnTo>
                  <a:pt x="2651" y="425"/>
                </a:lnTo>
                <a:lnTo>
                  <a:pt x="2656" y="422"/>
                </a:lnTo>
                <a:lnTo>
                  <a:pt x="2658" y="420"/>
                </a:lnTo>
                <a:lnTo>
                  <a:pt x="2660" y="420"/>
                </a:lnTo>
                <a:lnTo>
                  <a:pt x="2665" y="420"/>
                </a:lnTo>
                <a:lnTo>
                  <a:pt x="2666" y="420"/>
                </a:lnTo>
                <a:lnTo>
                  <a:pt x="2666" y="421"/>
                </a:lnTo>
                <a:lnTo>
                  <a:pt x="2665" y="423"/>
                </a:lnTo>
                <a:lnTo>
                  <a:pt x="2663" y="425"/>
                </a:lnTo>
                <a:lnTo>
                  <a:pt x="2661" y="428"/>
                </a:lnTo>
                <a:lnTo>
                  <a:pt x="2661" y="431"/>
                </a:lnTo>
                <a:lnTo>
                  <a:pt x="2661" y="433"/>
                </a:lnTo>
                <a:lnTo>
                  <a:pt x="2663" y="434"/>
                </a:lnTo>
                <a:lnTo>
                  <a:pt x="2665" y="436"/>
                </a:lnTo>
                <a:lnTo>
                  <a:pt x="2669" y="437"/>
                </a:lnTo>
                <a:lnTo>
                  <a:pt x="2664" y="437"/>
                </a:lnTo>
                <a:lnTo>
                  <a:pt x="2660" y="437"/>
                </a:lnTo>
                <a:lnTo>
                  <a:pt x="2652" y="437"/>
                </a:lnTo>
                <a:lnTo>
                  <a:pt x="2649" y="442"/>
                </a:lnTo>
                <a:lnTo>
                  <a:pt x="2645" y="443"/>
                </a:lnTo>
                <a:lnTo>
                  <a:pt x="2641" y="444"/>
                </a:lnTo>
                <a:lnTo>
                  <a:pt x="2635" y="445"/>
                </a:lnTo>
                <a:lnTo>
                  <a:pt x="2638" y="451"/>
                </a:lnTo>
                <a:lnTo>
                  <a:pt x="2642" y="450"/>
                </a:lnTo>
                <a:lnTo>
                  <a:pt x="2649" y="448"/>
                </a:lnTo>
                <a:lnTo>
                  <a:pt x="2652" y="448"/>
                </a:lnTo>
                <a:lnTo>
                  <a:pt x="2656" y="447"/>
                </a:lnTo>
                <a:lnTo>
                  <a:pt x="2659" y="447"/>
                </a:lnTo>
                <a:lnTo>
                  <a:pt x="2663" y="448"/>
                </a:lnTo>
                <a:lnTo>
                  <a:pt x="2665" y="449"/>
                </a:lnTo>
                <a:lnTo>
                  <a:pt x="2666" y="450"/>
                </a:lnTo>
                <a:lnTo>
                  <a:pt x="2670" y="454"/>
                </a:lnTo>
                <a:lnTo>
                  <a:pt x="2674" y="459"/>
                </a:lnTo>
                <a:lnTo>
                  <a:pt x="2677" y="462"/>
                </a:lnTo>
                <a:lnTo>
                  <a:pt x="2667" y="465"/>
                </a:lnTo>
                <a:lnTo>
                  <a:pt x="2657" y="468"/>
                </a:lnTo>
                <a:lnTo>
                  <a:pt x="2660" y="472"/>
                </a:lnTo>
                <a:lnTo>
                  <a:pt x="2663" y="476"/>
                </a:lnTo>
                <a:lnTo>
                  <a:pt x="2668" y="474"/>
                </a:lnTo>
                <a:lnTo>
                  <a:pt x="2671" y="473"/>
                </a:lnTo>
                <a:lnTo>
                  <a:pt x="2674" y="473"/>
                </a:lnTo>
                <a:lnTo>
                  <a:pt x="2677" y="471"/>
                </a:lnTo>
                <a:lnTo>
                  <a:pt x="2681" y="470"/>
                </a:lnTo>
                <a:lnTo>
                  <a:pt x="2685" y="470"/>
                </a:lnTo>
                <a:lnTo>
                  <a:pt x="2689" y="471"/>
                </a:lnTo>
                <a:lnTo>
                  <a:pt x="2694" y="473"/>
                </a:lnTo>
                <a:lnTo>
                  <a:pt x="2705" y="476"/>
                </a:lnTo>
                <a:lnTo>
                  <a:pt x="2705" y="478"/>
                </a:lnTo>
                <a:lnTo>
                  <a:pt x="2705" y="480"/>
                </a:lnTo>
                <a:lnTo>
                  <a:pt x="2705" y="481"/>
                </a:lnTo>
                <a:lnTo>
                  <a:pt x="2705" y="482"/>
                </a:lnTo>
                <a:lnTo>
                  <a:pt x="2704" y="482"/>
                </a:lnTo>
                <a:lnTo>
                  <a:pt x="2702" y="482"/>
                </a:lnTo>
                <a:lnTo>
                  <a:pt x="2700" y="485"/>
                </a:lnTo>
                <a:lnTo>
                  <a:pt x="2700" y="486"/>
                </a:lnTo>
                <a:lnTo>
                  <a:pt x="2699" y="487"/>
                </a:lnTo>
                <a:lnTo>
                  <a:pt x="2739" y="487"/>
                </a:lnTo>
                <a:lnTo>
                  <a:pt x="2743" y="482"/>
                </a:lnTo>
                <a:lnTo>
                  <a:pt x="2744" y="479"/>
                </a:lnTo>
                <a:lnTo>
                  <a:pt x="2744" y="478"/>
                </a:lnTo>
                <a:lnTo>
                  <a:pt x="2742" y="479"/>
                </a:lnTo>
                <a:lnTo>
                  <a:pt x="2739" y="470"/>
                </a:lnTo>
                <a:lnTo>
                  <a:pt x="2743" y="472"/>
                </a:lnTo>
                <a:lnTo>
                  <a:pt x="2747" y="474"/>
                </a:lnTo>
                <a:lnTo>
                  <a:pt x="2751" y="476"/>
                </a:lnTo>
                <a:lnTo>
                  <a:pt x="2753" y="476"/>
                </a:lnTo>
                <a:lnTo>
                  <a:pt x="2756" y="476"/>
                </a:lnTo>
                <a:lnTo>
                  <a:pt x="2757" y="475"/>
                </a:lnTo>
                <a:lnTo>
                  <a:pt x="2759" y="473"/>
                </a:lnTo>
                <a:lnTo>
                  <a:pt x="2762" y="471"/>
                </a:lnTo>
                <a:lnTo>
                  <a:pt x="2764" y="470"/>
                </a:lnTo>
                <a:lnTo>
                  <a:pt x="2765" y="472"/>
                </a:lnTo>
                <a:lnTo>
                  <a:pt x="2767" y="473"/>
                </a:lnTo>
                <a:lnTo>
                  <a:pt x="2768" y="474"/>
                </a:lnTo>
                <a:lnTo>
                  <a:pt x="2770" y="473"/>
                </a:lnTo>
                <a:lnTo>
                  <a:pt x="2771" y="472"/>
                </a:lnTo>
                <a:lnTo>
                  <a:pt x="2773" y="471"/>
                </a:lnTo>
                <a:lnTo>
                  <a:pt x="2776" y="468"/>
                </a:lnTo>
                <a:lnTo>
                  <a:pt x="2780" y="464"/>
                </a:lnTo>
                <a:lnTo>
                  <a:pt x="2782" y="463"/>
                </a:lnTo>
                <a:lnTo>
                  <a:pt x="2784" y="462"/>
                </a:lnTo>
                <a:lnTo>
                  <a:pt x="2786" y="462"/>
                </a:lnTo>
                <a:lnTo>
                  <a:pt x="2788" y="462"/>
                </a:lnTo>
                <a:lnTo>
                  <a:pt x="2790" y="462"/>
                </a:lnTo>
                <a:lnTo>
                  <a:pt x="2791" y="462"/>
                </a:lnTo>
                <a:lnTo>
                  <a:pt x="2792" y="462"/>
                </a:lnTo>
                <a:lnTo>
                  <a:pt x="2795" y="460"/>
                </a:lnTo>
                <a:lnTo>
                  <a:pt x="2798" y="458"/>
                </a:lnTo>
                <a:lnTo>
                  <a:pt x="2803" y="452"/>
                </a:lnTo>
                <a:lnTo>
                  <a:pt x="2808" y="446"/>
                </a:lnTo>
                <a:lnTo>
                  <a:pt x="2812" y="440"/>
                </a:lnTo>
                <a:lnTo>
                  <a:pt x="2810" y="440"/>
                </a:lnTo>
                <a:lnTo>
                  <a:pt x="2810" y="441"/>
                </a:lnTo>
                <a:lnTo>
                  <a:pt x="2810" y="442"/>
                </a:lnTo>
                <a:lnTo>
                  <a:pt x="2811" y="442"/>
                </a:lnTo>
                <a:lnTo>
                  <a:pt x="2815" y="442"/>
                </a:lnTo>
                <a:lnTo>
                  <a:pt x="2815" y="445"/>
                </a:lnTo>
                <a:lnTo>
                  <a:pt x="2816" y="445"/>
                </a:lnTo>
                <a:lnTo>
                  <a:pt x="2817" y="445"/>
                </a:lnTo>
                <a:lnTo>
                  <a:pt x="2819" y="443"/>
                </a:lnTo>
                <a:lnTo>
                  <a:pt x="2820" y="442"/>
                </a:lnTo>
                <a:lnTo>
                  <a:pt x="2818" y="423"/>
                </a:lnTo>
                <a:lnTo>
                  <a:pt x="2814" y="421"/>
                </a:lnTo>
                <a:lnTo>
                  <a:pt x="2810" y="419"/>
                </a:lnTo>
                <a:lnTo>
                  <a:pt x="2806" y="417"/>
                </a:lnTo>
                <a:lnTo>
                  <a:pt x="2805" y="417"/>
                </a:lnTo>
                <a:lnTo>
                  <a:pt x="2804" y="418"/>
                </a:lnTo>
                <a:lnTo>
                  <a:pt x="2802" y="420"/>
                </a:lnTo>
                <a:lnTo>
                  <a:pt x="2800" y="422"/>
                </a:lnTo>
                <a:lnTo>
                  <a:pt x="2799" y="423"/>
                </a:lnTo>
                <a:lnTo>
                  <a:pt x="2798" y="423"/>
                </a:lnTo>
                <a:lnTo>
                  <a:pt x="2797" y="422"/>
                </a:lnTo>
                <a:lnTo>
                  <a:pt x="2797" y="420"/>
                </a:lnTo>
                <a:lnTo>
                  <a:pt x="2797" y="419"/>
                </a:lnTo>
                <a:lnTo>
                  <a:pt x="2798" y="418"/>
                </a:lnTo>
                <a:lnTo>
                  <a:pt x="2801" y="414"/>
                </a:lnTo>
                <a:lnTo>
                  <a:pt x="2802" y="413"/>
                </a:lnTo>
                <a:lnTo>
                  <a:pt x="2802" y="412"/>
                </a:lnTo>
                <a:lnTo>
                  <a:pt x="2799" y="409"/>
                </a:lnTo>
                <a:lnTo>
                  <a:pt x="2795" y="406"/>
                </a:lnTo>
                <a:lnTo>
                  <a:pt x="2799" y="401"/>
                </a:lnTo>
                <a:lnTo>
                  <a:pt x="2802" y="399"/>
                </a:lnTo>
                <a:lnTo>
                  <a:pt x="2804" y="397"/>
                </a:lnTo>
                <a:lnTo>
                  <a:pt x="2805" y="396"/>
                </a:lnTo>
                <a:lnTo>
                  <a:pt x="2802" y="396"/>
                </a:lnTo>
                <a:lnTo>
                  <a:pt x="2792" y="400"/>
                </a:lnTo>
                <a:lnTo>
                  <a:pt x="2794" y="401"/>
                </a:lnTo>
                <a:lnTo>
                  <a:pt x="2794" y="402"/>
                </a:lnTo>
                <a:lnTo>
                  <a:pt x="2793" y="403"/>
                </a:lnTo>
                <a:lnTo>
                  <a:pt x="2789" y="403"/>
                </a:lnTo>
                <a:lnTo>
                  <a:pt x="2787" y="401"/>
                </a:lnTo>
                <a:lnTo>
                  <a:pt x="2786" y="399"/>
                </a:lnTo>
                <a:lnTo>
                  <a:pt x="2784" y="395"/>
                </a:lnTo>
                <a:lnTo>
                  <a:pt x="2782" y="393"/>
                </a:lnTo>
                <a:lnTo>
                  <a:pt x="2780" y="392"/>
                </a:lnTo>
                <a:lnTo>
                  <a:pt x="2777" y="391"/>
                </a:lnTo>
                <a:lnTo>
                  <a:pt x="2773" y="392"/>
                </a:lnTo>
                <a:close/>
                <a:moveTo>
                  <a:pt x="2093" y="2881"/>
                </a:moveTo>
                <a:lnTo>
                  <a:pt x="2099" y="2871"/>
                </a:lnTo>
                <a:lnTo>
                  <a:pt x="2101" y="2867"/>
                </a:lnTo>
                <a:lnTo>
                  <a:pt x="2102" y="2864"/>
                </a:lnTo>
                <a:lnTo>
                  <a:pt x="2103" y="2861"/>
                </a:lnTo>
                <a:lnTo>
                  <a:pt x="2102" y="2859"/>
                </a:lnTo>
                <a:lnTo>
                  <a:pt x="2102" y="2858"/>
                </a:lnTo>
                <a:lnTo>
                  <a:pt x="2101" y="2856"/>
                </a:lnTo>
                <a:lnTo>
                  <a:pt x="2100" y="2855"/>
                </a:lnTo>
                <a:lnTo>
                  <a:pt x="2099" y="2854"/>
                </a:lnTo>
                <a:lnTo>
                  <a:pt x="2099" y="2852"/>
                </a:lnTo>
                <a:lnTo>
                  <a:pt x="2099" y="2850"/>
                </a:lnTo>
                <a:lnTo>
                  <a:pt x="2103" y="2845"/>
                </a:lnTo>
                <a:lnTo>
                  <a:pt x="2112" y="2835"/>
                </a:lnTo>
                <a:lnTo>
                  <a:pt x="2121" y="2824"/>
                </a:lnTo>
                <a:lnTo>
                  <a:pt x="2125" y="2819"/>
                </a:lnTo>
                <a:lnTo>
                  <a:pt x="2125" y="2815"/>
                </a:lnTo>
                <a:lnTo>
                  <a:pt x="2125" y="2812"/>
                </a:lnTo>
                <a:lnTo>
                  <a:pt x="2124" y="2808"/>
                </a:lnTo>
                <a:lnTo>
                  <a:pt x="2124" y="2807"/>
                </a:lnTo>
                <a:lnTo>
                  <a:pt x="2125" y="2805"/>
                </a:lnTo>
                <a:lnTo>
                  <a:pt x="2127" y="2806"/>
                </a:lnTo>
                <a:lnTo>
                  <a:pt x="2130" y="2808"/>
                </a:lnTo>
                <a:lnTo>
                  <a:pt x="2132" y="2810"/>
                </a:lnTo>
                <a:lnTo>
                  <a:pt x="2133" y="2810"/>
                </a:lnTo>
                <a:lnTo>
                  <a:pt x="2135" y="2811"/>
                </a:lnTo>
                <a:lnTo>
                  <a:pt x="2137" y="2810"/>
                </a:lnTo>
                <a:lnTo>
                  <a:pt x="2138" y="2810"/>
                </a:lnTo>
                <a:lnTo>
                  <a:pt x="2138" y="2809"/>
                </a:lnTo>
                <a:lnTo>
                  <a:pt x="2139" y="2808"/>
                </a:lnTo>
                <a:lnTo>
                  <a:pt x="2140" y="2807"/>
                </a:lnTo>
                <a:lnTo>
                  <a:pt x="2142" y="2808"/>
                </a:lnTo>
                <a:lnTo>
                  <a:pt x="2139" y="2816"/>
                </a:lnTo>
                <a:lnTo>
                  <a:pt x="2136" y="2823"/>
                </a:lnTo>
                <a:lnTo>
                  <a:pt x="2130" y="2836"/>
                </a:lnTo>
                <a:lnTo>
                  <a:pt x="2133" y="2833"/>
                </a:lnTo>
                <a:lnTo>
                  <a:pt x="2136" y="2830"/>
                </a:lnTo>
                <a:lnTo>
                  <a:pt x="2139" y="2827"/>
                </a:lnTo>
                <a:lnTo>
                  <a:pt x="2142" y="2824"/>
                </a:lnTo>
                <a:lnTo>
                  <a:pt x="2144" y="2819"/>
                </a:lnTo>
                <a:lnTo>
                  <a:pt x="2145" y="2814"/>
                </a:lnTo>
                <a:lnTo>
                  <a:pt x="2147" y="2804"/>
                </a:lnTo>
                <a:lnTo>
                  <a:pt x="2148" y="2799"/>
                </a:lnTo>
                <a:lnTo>
                  <a:pt x="2149" y="2795"/>
                </a:lnTo>
                <a:lnTo>
                  <a:pt x="2151" y="2790"/>
                </a:lnTo>
                <a:lnTo>
                  <a:pt x="2153" y="2785"/>
                </a:lnTo>
                <a:lnTo>
                  <a:pt x="2155" y="2782"/>
                </a:lnTo>
                <a:lnTo>
                  <a:pt x="2158" y="2779"/>
                </a:lnTo>
                <a:lnTo>
                  <a:pt x="2165" y="2773"/>
                </a:lnTo>
                <a:lnTo>
                  <a:pt x="2171" y="2767"/>
                </a:lnTo>
                <a:lnTo>
                  <a:pt x="2174" y="2763"/>
                </a:lnTo>
                <a:lnTo>
                  <a:pt x="2175" y="2760"/>
                </a:lnTo>
                <a:lnTo>
                  <a:pt x="2176" y="2756"/>
                </a:lnTo>
                <a:lnTo>
                  <a:pt x="2176" y="2753"/>
                </a:lnTo>
                <a:lnTo>
                  <a:pt x="2175" y="2743"/>
                </a:lnTo>
                <a:lnTo>
                  <a:pt x="2172" y="2723"/>
                </a:lnTo>
                <a:lnTo>
                  <a:pt x="2170" y="2713"/>
                </a:lnTo>
                <a:lnTo>
                  <a:pt x="2170" y="2704"/>
                </a:lnTo>
                <a:lnTo>
                  <a:pt x="2170" y="2700"/>
                </a:lnTo>
                <a:lnTo>
                  <a:pt x="2171" y="2697"/>
                </a:lnTo>
                <a:lnTo>
                  <a:pt x="2173" y="2694"/>
                </a:lnTo>
                <a:lnTo>
                  <a:pt x="2175" y="2692"/>
                </a:lnTo>
                <a:lnTo>
                  <a:pt x="2176" y="2692"/>
                </a:lnTo>
                <a:lnTo>
                  <a:pt x="2176" y="2691"/>
                </a:lnTo>
                <a:lnTo>
                  <a:pt x="2174" y="2690"/>
                </a:lnTo>
                <a:lnTo>
                  <a:pt x="2172" y="2689"/>
                </a:lnTo>
                <a:lnTo>
                  <a:pt x="2172" y="2688"/>
                </a:lnTo>
                <a:lnTo>
                  <a:pt x="2172" y="2687"/>
                </a:lnTo>
                <a:lnTo>
                  <a:pt x="2174" y="2685"/>
                </a:lnTo>
                <a:lnTo>
                  <a:pt x="2175" y="2685"/>
                </a:lnTo>
                <a:lnTo>
                  <a:pt x="2177" y="2685"/>
                </a:lnTo>
                <a:lnTo>
                  <a:pt x="2181" y="2685"/>
                </a:lnTo>
                <a:lnTo>
                  <a:pt x="2182" y="2684"/>
                </a:lnTo>
                <a:lnTo>
                  <a:pt x="2184" y="2684"/>
                </a:lnTo>
                <a:lnTo>
                  <a:pt x="2184" y="2678"/>
                </a:lnTo>
                <a:lnTo>
                  <a:pt x="2192" y="2674"/>
                </a:lnTo>
                <a:lnTo>
                  <a:pt x="2202" y="2670"/>
                </a:lnTo>
                <a:lnTo>
                  <a:pt x="2207" y="2667"/>
                </a:lnTo>
                <a:lnTo>
                  <a:pt x="2211" y="2664"/>
                </a:lnTo>
                <a:lnTo>
                  <a:pt x="2215" y="2661"/>
                </a:lnTo>
                <a:lnTo>
                  <a:pt x="2217" y="2658"/>
                </a:lnTo>
                <a:lnTo>
                  <a:pt x="2218" y="2657"/>
                </a:lnTo>
                <a:lnTo>
                  <a:pt x="2218" y="2656"/>
                </a:lnTo>
                <a:lnTo>
                  <a:pt x="2218" y="2654"/>
                </a:lnTo>
                <a:lnTo>
                  <a:pt x="2219" y="2652"/>
                </a:lnTo>
                <a:lnTo>
                  <a:pt x="2219" y="2651"/>
                </a:lnTo>
                <a:lnTo>
                  <a:pt x="2220" y="2650"/>
                </a:lnTo>
                <a:lnTo>
                  <a:pt x="2223" y="2649"/>
                </a:lnTo>
                <a:lnTo>
                  <a:pt x="2226" y="2648"/>
                </a:lnTo>
                <a:lnTo>
                  <a:pt x="2235" y="2647"/>
                </a:lnTo>
                <a:lnTo>
                  <a:pt x="2243" y="2646"/>
                </a:lnTo>
                <a:lnTo>
                  <a:pt x="2246" y="2646"/>
                </a:lnTo>
                <a:lnTo>
                  <a:pt x="2248" y="2644"/>
                </a:lnTo>
                <a:lnTo>
                  <a:pt x="2246" y="2633"/>
                </a:lnTo>
                <a:lnTo>
                  <a:pt x="2248" y="2633"/>
                </a:lnTo>
                <a:lnTo>
                  <a:pt x="2250" y="2633"/>
                </a:lnTo>
                <a:lnTo>
                  <a:pt x="2251" y="2630"/>
                </a:lnTo>
                <a:lnTo>
                  <a:pt x="2265" y="2629"/>
                </a:lnTo>
                <a:lnTo>
                  <a:pt x="2279" y="2628"/>
                </a:lnTo>
                <a:lnTo>
                  <a:pt x="2279" y="2623"/>
                </a:lnTo>
                <a:lnTo>
                  <a:pt x="2279" y="2619"/>
                </a:lnTo>
                <a:lnTo>
                  <a:pt x="2282" y="2620"/>
                </a:lnTo>
                <a:lnTo>
                  <a:pt x="2283" y="2621"/>
                </a:lnTo>
                <a:lnTo>
                  <a:pt x="2285" y="2623"/>
                </a:lnTo>
                <a:lnTo>
                  <a:pt x="2288" y="2624"/>
                </a:lnTo>
                <a:lnTo>
                  <a:pt x="2291" y="2624"/>
                </a:lnTo>
                <a:lnTo>
                  <a:pt x="2295" y="2624"/>
                </a:lnTo>
                <a:lnTo>
                  <a:pt x="2297" y="2623"/>
                </a:lnTo>
                <a:lnTo>
                  <a:pt x="2299" y="2622"/>
                </a:lnTo>
                <a:lnTo>
                  <a:pt x="2299" y="2620"/>
                </a:lnTo>
                <a:lnTo>
                  <a:pt x="2299" y="2618"/>
                </a:lnTo>
                <a:lnTo>
                  <a:pt x="2299" y="2615"/>
                </a:lnTo>
                <a:lnTo>
                  <a:pt x="2299" y="2613"/>
                </a:lnTo>
                <a:lnTo>
                  <a:pt x="2310" y="2608"/>
                </a:lnTo>
                <a:lnTo>
                  <a:pt x="2308" y="2597"/>
                </a:lnTo>
                <a:lnTo>
                  <a:pt x="2307" y="2594"/>
                </a:lnTo>
                <a:lnTo>
                  <a:pt x="2307" y="2591"/>
                </a:lnTo>
                <a:lnTo>
                  <a:pt x="2307" y="2588"/>
                </a:lnTo>
                <a:lnTo>
                  <a:pt x="2308" y="2584"/>
                </a:lnTo>
                <a:lnTo>
                  <a:pt x="2308" y="2582"/>
                </a:lnTo>
                <a:lnTo>
                  <a:pt x="2309" y="2579"/>
                </a:lnTo>
                <a:lnTo>
                  <a:pt x="2313" y="2573"/>
                </a:lnTo>
                <a:lnTo>
                  <a:pt x="2318" y="2567"/>
                </a:lnTo>
                <a:lnTo>
                  <a:pt x="2323" y="2560"/>
                </a:lnTo>
                <a:lnTo>
                  <a:pt x="2333" y="2548"/>
                </a:lnTo>
                <a:lnTo>
                  <a:pt x="2336" y="2543"/>
                </a:lnTo>
                <a:lnTo>
                  <a:pt x="2338" y="2539"/>
                </a:lnTo>
                <a:lnTo>
                  <a:pt x="2339" y="2537"/>
                </a:lnTo>
                <a:lnTo>
                  <a:pt x="2339" y="2534"/>
                </a:lnTo>
                <a:lnTo>
                  <a:pt x="2338" y="2528"/>
                </a:lnTo>
                <a:lnTo>
                  <a:pt x="2338" y="2522"/>
                </a:lnTo>
                <a:lnTo>
                  <a:pt x="2338" y="2519"/>
                </a:lnTo>
                <a:lnTo>
                  <a:pt x="2338" y="2517"/>
                </a:lnTo>
                <a:lnTo>
                  <a:pt x="2339" y="2516"/>
                </a:lnTo>
                <a:lnTo>
                  <a:pt x="2340" y="2515"/>
                </a:lnTo>
                <a:lnTo>
                  <a:pt x="2344" y="2513"/>
                </a:lnTo>
                <a:lnTo>
                  <a:pt x="2348" y="2510"/>
                </a:lnTo>
                <a:lnTo>
                  <a:pt x="2349" y="2509"/>
                </a:lnTo>
                <a:lnTo>
                  <a:pt x="2350" y="2508"/>
                </a:lnTo>
                <a:lnTo>
                  <a:pt x="2349" y="2505"/>
                </a:lnTo>
                <a:lnTo>
                  <a:pt x="2347" y="2500"/>
                </a:lnTo>
                <a:lnTo>
                  <a:pt x="2345" y="2493"/>
                </a:lnTo>
                <a:lnTo>
                  <a:pt x="2344" y="2489"/>
                </a:lnTo>
                <a:lnTo>
                  <a:pt x="2344" y="2486"/>
                </a:lnTo>
                <a:lnTo>
                  <a:pt x="2350" y="2483"/>
                </a:lnTo>
                <a:lnTo>
                  <a:pt x="2349" y="2473"/>
                </a:lnTo>
                <a:lnTo>
                  <a:pt x="2349" y="2468"/>
                </a:lnTo>
                <a:lnTo>
                  <a:pt x="2350" y="2463"/>
                </a:lnTo>
                <a:lnTo>
                  <a:pt x="2353" y="2463"/>
                </a:lnTo>
                <a:lnTo>
                  <a:pt x="2352" y="2452"/>
                </a:lnTo>
                <a:lnTo>
                  <a:pt x="2351" y="2440"/>
                </a:lnTo>
                <a:lnTo>
                  <a:pt x="2350" y="2430"/>
                </a:lnTo>
                <a:lnTo>
                  <a:pt x="2350" y="2421"/>
                </a:lnTo>
                <a:lnTo>
                  <a:pt x="2347" y="2420"/>
                </a:lnTo>
                <a:lnTo>
                  <a:pt x="2345" y="2420"/>
                </a:lnTo>
                <a:lnTo>
                  <a:pt x="2344" y="2420"/>
                </a:lnTo>
                <a:lnTo>
                  <a:pt x="2344" y="2419"/>
                </a:lnTo>
                <a:lnTo>
                  <a:pt x="2344" y="2416"/>
                </a:lnTo>
                <a:lnTo>
                  <a:pt x="2350" y="2416"/>
                </a:lnTo>
                <a:lnTo>
                  <a:pt x="2350" y="2412"/>
                </a:lnTo>
                <a:lnTo>
                  <a:pt x="2350" y="2409"/>
                </a:lnTo>
                <a:lnTo>
                  <a:pt x="2350" y="2405"/>
                </a:lnTo>
                <a:lnTo>
                  <a:pt x="2351" y="2403"/>
                </a:lnTo>
                <a:lnTo>
                  <a:pt x="2352" y="2400"/>
                </a:lnTo>
                <a:lnTo>
                  <a:pt x="2354" y="2397"/>
                </a:lnTo>
                <a:lnTo>
                  <a:pt x="2358" y="2393"/>
                </a:lnTo>
                <a:lnTo>
                  <a:pt x="2358" y="2392"/>
                </a:lnTo>
                <a:lnTo>
                  <a:pt x="2357" y="2390"/>
                </a:lnTo>
                <a:lnTo>
                  <a:pt x="2355" y="2388"/>
                </a:lnTo>
                <a:lnTo>
                  <a:pt x="2355" y="2386"/>
                </a:lnTo>
                <a:lnTo>
                  <a:pt x="2355" y="2385"/>
                </a:lnTo>
                <a:lnTo>
                  <a:pt x="2363" y="2388"/>
                </a:lnTo>
                <a:lnTo>
                  <a:pt x="2369" y="2393"/>
                </a:lnTo>
                <a:lnTo>
                  <a:pt x="2372" y="2387"/>
                </a:lnTo>
                <a:lnTo>
                  <a:pt x="2374" y="2381"/>
                </a:lnTo>
                <a:lnTo>
                  <a:pt x="2378" y="2368"/>
                </a:lnTo>
                <a:lnTo>
                  <a:pt x="2380" y="2362"/>
                </a:lnTo>
                <a:lnTo>
                  <a:pt x="2383" y="2356"/>
                </a:lnTo>
                <a:lnTo>
                  <a:pt x="2386" y="2350"/>
                </a:lnTo>
                <a:lnTo>
                  <a:pt x="2389" y="2345"/>
                </a:lnTo>
                <a:lnTo>
                  <a:pt x="2390" y="2344"/>
                </a:lnTo>
                <a:lnTo>
                  <a:pt x="2392" y="2342"/>
                </a:lnTo>
                <a:lnTo>
                  <a:pt x="2395" y="2339"/>
                </a:lnTo>
                <a:lnTo>
                  <a:pt x="2403" y="2334"/>
                </a:lnTo>
                <a:lnTo>
                  <a:pt x="2411" y="2329"/>
                </a:lnTo>
                <a:lnTo>
                  <a:pt x="2414" y="2326"/>
                </a:lnTo>
                <a:lnTo>
                  <a:pt x="2417" y="2323"/>
                </a:lnTo>
                <a:lnTo>
                  <a:pt x="2421" y="2316"/>
                </a:lnTo>
                <a:lnTo>
                  <a:pt x="2425" y="2308"/>
                </a:lnTo>
                <a:lnTo>
                  <a:pt x="2426" y="2303"/>
                </a:lnTo>
                <a:lnTo>
                  <a:pt x="2428" y="2298"/>
                </a:lnTo>
                <a:lnTo>
                  <a:pt x="2429" y="2293"/>
                </a:lnTo>
                <a:lnTo>
                  <a:pt x="2430" y="2287"/>
                </a:lnTo>
                <a:lnTo>
                  <a:pt x="2432" y="2276"/>
                </a:lnTo>
                <a:lnTo>
                  <a:pt x="2432" y="2271"/>
                </a:lnTo>
                <a:lnTo>
                  <a:pt x="2432" y="2265"/>
                </a:lnTo>
                <a:lnTo>
                  <a:pt x="2432" y="2259"/>
                </a:lnTo>
                <a:lnTo>
                  <a:pt x="2431" y="2254"/>
                </a:lnTo>
                <a:lnTo>
                  <a:pt x="2430" y="2249"/>
                </a:lnTo>
                <a:lnTo>
                  <a:pt x="2428" y="2244"/>
                </a:lnTo>
                <a:lnTo>
                  <a:pt x="2427" y="2242"/>
                </a:lnTo>
                <a:lnTo>
                  <a:pt x="2424" y="2241"/>
                </a:lnTo>
                <a:lnTo>
                  <a:pt x="2422" y="2240"/>
                </a:lnTo>
                <a:lnTo>
                  <a:pt x="2420" y="2238"/>
                </a:lnTo>
                <a:lnTo>
                  <a:pt x="2417" y="2233"/>
                </a:lnTo>
                <a:lnTo>
                  <a:pt x="2415" y="2227"/>
                </a:lnTo>
                <a:lnTo>
                  <a:pt x="2412" y="2216"/>
                </a:lnTo>
                <a:lnTo>
                  <a:pt x="2403" y="2218"/>
                </a:lnTo>
                <a:lnTo>
                  <a:pt x="2399" y="2218"/>
                </a:lnTo>
                <a:lnTo>
                  <a:pt x="2398" y="2219"/>
                </a:lnTo>
                <a:lnTo>
                  <a:pt x="2398" y="2210"/>
                </a:lnTo>
                <a:lnTo>
                  <a:pt x="2395" y="2210"/>
                </a:lnTo>
                <a:lnTo>
                  <a:pt x="2393" y="2210"/>
                </a:lnTo>
                <a:lnTo>
                  <a:pt x="2390" y="2212"/>
                </a:lnTo>
                <a:lnTo>
                  <a:pt x="2387" y="2214"/>
                </a:lnTo>
                <a:lnTo>
                  <a:pt x="2385" y="2214"/>
                </a:lnTo>
                <a:lnTo>
                  <a:pt x="2383" y="2213"/>
                </a:lnTo>
                <a:lnTo>
                  <a:pt x="2376" y="2201"/>
                </a:lnTo>
                <a:lnTo>
                  <a:pt x="2371" y="2193"/>
                </a:lnTo>
                <a:lnTo>
                  <a:pt x="2367" y="2188"/>
                </a:lnTo>
                <a:lnTo>
                  <a:pt x="2360" y="2183"/>
                </a:lnTo>
                <a:lnTo>
                  <a:pt x="2350" y="2177"/>
                </a:lnTo>
                <a:lnTo>
                  <a:pt x="2340" y="2171"/>
                </a:lnTo>
                <a:lnTo>
                  <a:pt x="2333" y="2168"/>
                </a:lnTo>
                <a:lnTo>
                  <a:pt x="2330" y="2168"/>
                </a:lnTo>
                <a:lnTo>
                  <a:pt x="2327" y="2168"/>
                </a:lnTo>
                <a:lnTo>
                  <a:pt x="2320" y="2169"/>
                </a:lnTo>
                <a:lnTo>
                  <a:pt x="2313" y="2170"/>
                </a:lnTo>
                <a:lnTo>
                  <a:pt x="2309" y="2169"/>
                </a:lnTo>
                <a:lnTo>
                  <a:pt x="2305" y="2168"/>
                </a:lnTo>
                <a:lnTo>
                  <a:pt x="2302" y="2162"/>
                </a:lnTo>
                <a:lnTo>
                  <a:pt x="2298" y="2162"/>
                </a:lnTo>
                <a:lnTo>
                  <a:pt x="2295" y="2164"/>
                </a:lnTo>
                <a:lnTo>
                  <a:pt x="2293" y="2165"/>
                </a:lnTo>
                <a:lnTo>
                  <a:pt x="2292" y="2165"/>
                </a:lnTo>
                <a:lnTo>
                  <a:pt x="2291" y="2165"/>
                </a:lnTo>
                <a:lnTo>
                  <a:pt x="2289" y="2164"/>
                </a:lnTo>
                <a:lnTo>
                  <a:pt x="2287" y="2162"/>
                </a:lnTo>
                <a:lnTo>
                  <a:pt x="2285" y="2160"/>
                </a:lnTo>
                <a:lnTo>
                  <a:pt x="2283" y="2158"/>
                </a:lnTo>
                <a:lnTo>
                  <a:pt x="2280" y="2157"/>
                </a:lnTo>
                <a:lnTo>
                  <a:pt x="2277" y="2156"/>
                </a:lnTo>
                <a:lnTo>
                  <a:pt x="2273" y="2156"/>
                </a:lnTo>
                <a:lnTo>
                  <a:pt x="2268" y="2157"/>
                </a:lnTo>
                <a:lnTo>
                  <a:pt x="2267" y="2158"/>
                </a:lnTo>
                <a:lnTo>
                  <a:pt x="2267" y="2162"/>
                </a:lnTo>
                <a:lnTo>
                  <a:pt x="2265" y="2168"/>
                </a:lnTo>
                <a:lnTo>
                  <a:pt x="2261" y="2168"/>
                </a:lnTo>
                <a:lnTo>
                  <a:pt x="2257" y="2168"/>
                </a:lnTo>
                <a:lnTo>
                  <a:pt x="2256" y="2165"/>
                </a:lnTo>
                <a:lnTo>
                  <a:pt x="2256" y="2163"/>
                </a:lnTo>
                <a:lnTo>
                  <a:pt x="2256" y="2161"/>
                </a:lnTo>
                <a:lnTo>
                  <a:pt x="2256" y="2160"/>
                </a:lnTo>
                <a:lnTo>
                  <a:pt x="2255" y="2160"/>
                </a:lnTo>
                <a:lnTo>
                  <a:pt x="2251" y="2157"/>
                </a:lnTo>
                <a:lnTo>
                  <a:pt x="2252" y="2154"/>
                </a:lnTo>
                <a:lnTo>
                  <a:pt x="2254" y="2152"/>
                </a:lnTo>
                <a:lnTo>
                  <a:pt x="2255" y="2149"/>
                </a:lnTo>
                <a:lnTo>
                  <a:pt x="2255" y="2147"/>
                </a:lnTo>
                <a:lnTo>
                  <a:pt x="2254" y="2145"/>
                </a:lnTo>
                <a:lnTo>
                  <a:pt x="2248" y="2145"/>
                </a:lnTo>
                <a:lnTo>
                  <a:pt x="2246" y="2134"/>
                </a:lnTo>
                <a:lnTo>
                  <a:pt x="2241" y="2136"/>
                </a:lnTo>
                <a:lnTo>
                  <a:pt x="2237" y="2137"/>
                </a:lnTo>
                <a:lnTo>
                  <a:pt x="2237" y="2131"/>
                </a:lnTo>
                <a:lnTo>
                  <a:pt x="2229" y="2127"/>
                </a:lnTo>
                <a:lnTo>
                  <a:pt x="2223" y="2124"/>
                </a:lnTo>
                <a:lnTo>
                  <a:pt x="2216" y="2121"/>
                </a:lnTo>
                <a:lnTo>
                  <a:pt x="2209" y="2118"/>
                </a:lnTo>
                <a:lnTo>
                  <a:pt x="2202" y="2117"/>
                </a:lnTo>
                <a:lnTo>
                  <a:pt x="2199" y="2116"/>
                </a:lnTo>
                <a:lnTo>
                  <a:pt x="2195" y="2116"/>
                </a:lnTo>
                <a:lnTo>
                  <a:pt x="2192" y="2116"/>
                </a:lnTo>
                <a:lnTo>
                  <a:pt x="2189" y="2117"/>
                </a:lnTo>
                <a:lnTo>
                  <a:pt x="2187" y="2126"/>
                </a:lnTo>
                <a:lnTo>
                  <a:pt x="2181" y="2126"/>
                </a:lnTo>
                <a:lnTo>
                  <a:pt x="2180" y="2125"/>
                </a:lnTo>
                <a:lnTo>
                  <a:pt x="2179" y="2124"/>
                </a:lnTo>
                <a:lnTo>
                  <a:pt x="2179" y="2122"/>
                </a:lnTo>
                <a:lnTo>
                  <a:pt x="2178" y="2121"/>
                </a:lnTo>
                <a:lnTo>
                  <a:pt x="2179" y="2118"/>
                </a:lnTo>
                <a:lnTo>
                  <a:pt x="2179" y="2115"/>
                </a:lnTo>
                <a:lnTo>
                  <a:pt x="2181" y="2109"/>
                </a:lnTo>
                <a:lnTo>
                  <a:pt x="2181" y="2107"/>
                </a:lnTo>
                <a:lnTo>
                  <a:pt x="2181" y="2106"/>
                </a:lnTo>
                <a:lnTo>
                  <a:pt x="2179" y="2105"/>
                </a:lnTo>
                <a:lnTo>
                  <a:pt x="2177" y="2105"/>
                </a:lnTo>
                <a:lnTo>
                  <a:pt x="2173" y="2106"/>
                </a:lnTo>
                <a:lnTo>
                  <a:pt x="2168" y="2106"/>
                </a:lnTo>
                <a:lnTo>
                  <a:pt x="2166" y="2106"/>
                </a:lnTo>
                <a:lnTo>
                  <a:pt x="2164" y="2106"/>
                </a:lnTo>
                <a:lnTo>
                  <a:pt x="2167" y="2098"/>
                </a:lnTo>
                <a:lnTo>
                  <a:pt x="2164" y="2098"/>
                </a:lnTo>
                <a:lnTo>
                  <a:pt x="2162" y="2098"/>
                </a:lnTo>
                <a:lnTo>
                  <a:pt x="2161" y="2099"/>
                </a:lnTo>
                <a:lnTo>
                  <a:pt x="2159" y="2099"/>
                </a:lnTo>
                <a:lnTo>
                  <a:pt x="2157" y="2101"/>
                </a:lnTo>
                <a:lnTo>
                  <a:pt x="2155" y="2101"/>
                </a:lnTo>
                <a:lnTo>
                  <a:pt x="2153" y="2100"/>
                </a:lnTo>
                <a:lnTo>
                  <a:pt x="2152" y="2100"/>
                </a:lnTo>
                <a:lnTo>
                  <a:pt x="2152" y="2099"/>
                </a:lnTo>
                <a:lnTo>
                  <a:pt x="2151" y="2098"/>
                </a:lnTo>
                <a:lnTo>
                  <a:pt x="2150" y="2097"/>
                </a:lnTo>
                <a:lnTo>
                  <a:pt x="2149" y="2096"/>
                </a:lnTo>
                <a:lnTo>
                  <a:pt x="2148" y="2095"/>
                </a:lnTo>
                <a:lnTo>
                  <a:pt x="2147" y="2095"/>
                </a:lnTo>
                <a:lnTo>
                  <a:pt x="2153" y="2084"/>
                </a:lnTo>
                <a:lnTo>
                  <a:pt x="2154" y="2081"/>
                </a:lnTo>
                <a:lnTo>
                  <a:pt x="2154" y="2079"/>
                </a:lnTo>
                <a:lnTo>
                  <a:pt x="2153" y="2078"/>
                </a:lnTo>
                <a:lnTo>
                  <a:pt x="2150" y="2077"/>
                </a:lnTo>
                <a:lnTo>
                  <a:pt x="2145" y="2075"/>
                </a:lnTo>
                <a:lnTo>
                  <a:pt x="2139" y="2072"/>
                </a:lnTo>
                <a:lnTo>
                  <a:pt x="2145" y="2068"/>
                </a:lnTo>
                <a:lnTo>
                  <a:pt x="2149" y="2066"/>
                </a:lnTo>
                <a:lnTo>
                  <a:pt x="2153" y="2064"/>
                </a:lnTo>
                <a:lnTo>
                  <a:pt x="2152" y="2062"/>
                </a:lnTo>
                <a:lnTo>
                  <a:pt x="2153" y="2060"/>
                </a:lnTo>
                <a:lnTo>
                  <a:pt x="2153" y="2057"/>
                </a:lnTo>
                <a:lnTo>
                  <a:pt x="2153" y="2056"/>
                </a:lnTo>
                <a:lnTo>
                  <a:pt x="2153" y="2055"/>
                </a:lnTo>
                <a:lnTo>
                  <a:pt x="2151" y="2055"/>
                </a:lnTo>
                <a:lnTo>
                  <a:pt x="2147" y="2055"/>
                </a:lnTo>
                <a:lnTo>
                  <a:pt x="2142" y="2055"/>
                </a:lnTo>
                <a:lnTo>
                  <a:pt x="2139" y="2045"/>
                </a:lnTo>
                <a:lnTo>
                  <a:pt x="2138" y="2036"/>
                </a:lnTo>
                <a:lnTo>
                  <a:pt x="2136" y="2026"/>
                </a:lnTo>
                <a:lnTo>
                  <a:pt x="2133" y="2016"/>
                </a:lnTo>
                <a:lnTo>
                  <a:pt x="2131" y="2012"/>
                </a:lnTo>
                <a:lnTo>
                  <a:pt x="2127" y="2005"/>
                </a:lnTo>
                <a:lnTo>
                  <a:pt x="2122" y="2005"/>
                </a:lnTo>
                <a:lnTo>
                  <a:pt x="2122" y="2003"/>
                </a:lnTo>
                <a:lnTo>
                  <a:pt x="2122" y="2000"/>
                </a:lnTo>
                <a:lnTo>
                  <a:pt x="2122" y="1998"/>
                </a:lnTo>
                <a:lnTo>
                  <a:pt x="2122" y="1997"/>
                </a:lnTo>
                <a:lnTo>
                  <a:pt x="2122" y="1996"/>
                </a:lnTo>
                <a:lnTo>
                  <a:pt x="2121" y="1995"/>
                </a:lnTo>
                <a:lnTo>
                  <a:pt x="2119" y="1995"/>
                </a:lnTo>
                <a:lnTo>
                  <a:pt x="2116" y="1993"/>
                </a:lnTo>
                <a:lnTo>
                  <a:pt x="2113" y="1992"/>
                </a:lnTo>
                <a:lnTo>
                  <a:pt x="2111" y="1991"/>
                </a:lnTo>
                <a:lnTo>
                  <a:pt x="2109" y="1989"/>
                </a:lnTo>
                <a:lnTo>
                  <a:pt x="2108" y="1987"/>
                </a:lnTo>
                <a:lnTo>
                  <a:pt x="2107" y="1982"/>
                </a:lnTo>
                <a:lnTo>
                  <a:pt x="2105" y="1977"/>
                </a:lnTo>
                <a:lnTo>
                  <a:pt x="2104" y="1975"/>
                </a:lnTo>
                <a:lnTo>
                  <a:pt x="2102" y="1974"/>
                </a:lnTo>
                <a:lnTo>
                  <a:pt x="2096" y="1971"/>
                </a:lnTo>
                <a:lnTo>
                  <a:pt x="2091" y="1968"/>
                </a:lnTo>
                <a:lnTo>
                  <a:pt x="2088" y="1968"/>
                </a:lnTo>
                <a:lnTo>
                  <a:pt x="2086" y="1967"/>
                </a:lnTo>
                <a:lnTo>
                  <a:pt x="2082" y="1968"/>
                </a:lnTo>
                <a:lnTo>
                  <a:pt x="2078" y="1969"/>
                </a:lnTo>
                <a:lnTo>
                  <a:pt x="2076" y="1969"/>
                </a:lnTo>
                <a:lnTo>
                  <a:pt x="2074" y="1968"/>
                </a:lnTo>
                <a:lnTo>
                  <a:pt x="2074" y="1960"/>
                </a:lnTo>
                <a:lnTo>
                  <a:pt x="2062" y="1959"/>
                </a:lnTo>
                <a:lnTo>
                  <a:pt x="2052" y="1958"/>
                </a:lnTo>
                <a:lnTo>
                  <a:pt x="2041" y="1958"/>
                </a:lnTo>
                <a:lnTo>
                  <a:pt x="2026" y="1957"/>
                </a:lnTo>
                <a:lnTo>
                  <a:pt x="2026" y="1960"/>
                </a:lnTo>
                <a:lnTo>
                  <a:pt x="2026" y="1962"/>
                </a:lnTo>
                <a:lnTo>
                  <a:pt x="2026" y="1963"/>
                </a:lnTo>
                <a:lnTo>
                  <a:pt x="2026" y="1964"/>
                </a:lnTo>
                <a:lnTo>
                  <a:pt x="2025" y="1965"/>
                </a:lnTo>
                <a:lnTo>
                  <a:pt x="2023" y="1965"/>
                </a:lnTo>
                <a:lnTo>
                  <a:pt x="2023" y="1963"/>
                </a:lnTo>
                <a:lnTo>
                  <a:pt x="2022" y="1961"/>
                </a:lnTo>
                <a:lnTo>
                  <a:pt x="2023" y="1956"/>
                </a:lnTo>
                <a:lnTo>
                  <a:pt x="2022" y="1952"/>
                </a:lnTo>
                <a:lnTo>
                  <a:pt x="2022" y="1950"/>
                </a:lnTo>
                <a:lnTo>
                  <a:pt x="2021" y="1949"/>
                </a:lnTo>
                <a:lnTo>
                  <a:pt x="2019" y="1948"/>
                </a:lnTo>
                <a:lnTo>
                  <a:pt x="2017" y="1948"/>
                </a:lnTo>
                <a:lnTo>
                  <a:pt x="2014" y="1949"/>
                </a:lnTo>
                <a:lnTo>
                  <a:pt x="2012" y="1949"/>
                </a:lnTo>
                <a:lnTo>
                  <a:pt x="2009" y="1944"/>
                </a:lnTo>
                <a:lnTo>
                  <a:pt x="2007" y="1940"/>
                </a:lnTo>
                <a:lnTo>
                  <a:pt x="2003" y="1941"/>
                </a:lnTo>
                <a:lnTo>
                  <a:pt x="2001" y="1942"/>
                </a:lnTo>
                <a:lnTo>
                  <a:pt x="1999" y="1943"/>
                </a:lnTo>
                <a:lnTo>
                  <a:pt x="1995" y="1943"/>
                </a:lnTo>
                <a:lnTo>
                  <a:pt x="1996" y="1949"/>
                </a:lnTo>
                <a:lnTo>
                  <a:pt x="1995" y="1954"/>
                </a:lnTo>
                <a:lnTo>
                  <a:pt x="1994" y="1954"/>
                </a:lnTo>
                <a:lnTo>
                  <a:pt x="1992" y="1953"/>
                </a:lnTo>
                <a:lnTo>
                  <a:pt x="1990" y="1953"/>
                </a:lnTo>
                <a:lnTo>
                  <a:pt x="1988" y="1953"/>
                </a:lnTo>
                <a:lnTo>
                  <a:pt x="1987" y="1954"/>
                </a:lnTo>
                <a:lnTo>
                  <a:pt x="1990" y="1946"/>
                </a:lnTo>
                <a:lnTo>
                  <a:pt x="1992" y="1940"/>
                </a:lnTo>
                <a:lnTo>
                  <a:pt x="1993" y="1933"/>
                </a:lnTo>
                <a:lnTo>
                  <a:pt x="1995" y="1923"/>
                </a:lnTo>
                <a:lnTo>
                  <a:pt x="1994" y="1923"/>
                </a:lnTo>
                <a:lnTo>
                  <a:pt x="1993" y="1923"/>
                </a:lnTo>
                <a:lnTo>
                  <a:pt x="1991" y="1923"/>
                </a:lnTo>
                <a:lnTo>
                  <a:pt x="1989" y="1924"/>
                </a:lnTo>
                <a:lnTo>
                  <a:pt x="1987" y="1923"/>
                </a:lnTo>
                <a:lnTo>
                  <a:pt x="1987" y="1918"/>
                </a:lnTo>
                <a:lnTo>
                  <a:pt x="1983" y="1916"/>
                </a:lnTo>
                <a:lnTo>
                  <a:pt x="1980" y="1916"/>
                </a:lnTo>
                <a:lnTo>
                  <a:pt x="1979" y="1915"/>
                </a:lnTo>
                <a:lnTo>
                  <a:pt x="1978" y="1915"/>
                </a:lnTo>
                <a:lnTo>
                  <a:pt x="1977" y="1913"/>
                </a:lnTo>
                <a:lnTo>
                  <a:pt x="1976" y="1910"/>
                </a:lnTo>
                <a:lnTo>
                  <a:pt x="1974" y="1908"/>
                </a:lnTo>
                <a:lnTo>
                  <a:pt x="1973" y="1906"/>
                </a:lnTo>
                <a:lnTo>
                  <a:pt x="1972" y="1906"/>
                </a:lnTo>
                <a:lnTo>
                  <a:pt x="1970" y="1906"/>
                </a:lnTo>
                <a:lnTo>
                  <a:pt x="1965" y="1904"/>
                </a:lnTo>
                <a:lnTo>
                  <a:pt x="1960" y="1904"/>
                </a:lnTo>
                <a:lnTo>
                  <a:pt x="1956" y="1904"/>
                </a:lnTo>
                <a:lnTo>
                  <a:pt x="1951" y="1904"/>
                </a:lnTo>
                <a:lnTo>
                  <a:pt x="1942" y="1905"/>
                </a:lnTo>
                <a:lnTo>
                  <a:pt x="1933" y="1906"/>
                </a:lnTo>
                <a:lnTo>
                  <a:pt x="1925" y="1909"/>
                </a:lnTo>
                <a:lnTo>
                  <a:pt x="1926" y="1908"/>
                </a:lnTo>
                <a:lnTo>
                  <a:pt x="1927" y="1906"/>
                </a:lnTo>
                <a:lnTo>
                  <a:pt x="1928" y="1901"/>
                </a:lnTo>
                <a:lnTo>
                  <a:pt x="1938" y="1901"/>
                </a:lnTo>
                <a:lnTo>
                  <a:pt x="1943" y="1901"/>
                </a:lnTo>
                <a:lnTo>
                  <a:pt x="1947" y="1901"/>
                </a:lnTo>
                <a:lnTo>
                  <a:pt x="1948" y="1896"/>
                </a:lnTo>
                <a:lnTo>
                  <a:pt x="1948" y="1892"/>
                </a:lnTo>
                <a:lnTo>
                  <a:pt x="1949" y="1888"/>
                </a:lnTo>
                <a:lnTo>
                  <a:pt x="1950" y="1884"/>
                </a:lnTo>
                <a:lnTo>
                  <a:pt x="1953" y="1884"/>
                </a:lnTo>
                <a:lnTo>
                  <a:pt x="1954" y="1883"/>
                </a:lnTo>
                <a:lnTo>
                  <a:pt x="1953" y="1883"/>
                </a:lnTo>
                <a:lnTo>
                  <a:pt x="1952" y="1881"/>
                </a:lnTo>
                <a:lnTo>
                  <a:pt x="1947" y="1878"/>
                </a:lnTo>
                <a:lnTo>
                  <a:pt x="1945" y="1878"/>
                </a:lnTo>
                <a:lnTo>
                  <a:pt x="1944" y="1878"/>
                </a:lnTo>
                <a:lnTo>
                  <a:pt x="1942" y="1880"/>
                </a:lnTo>
                <a:lnTo>
                  <a:pt x="1940" y="1881"/>
                </a:lnTo>
                <a:lnTo>
                  <a:pt x="1939" y="1881"/>
                </a:lnTo>
                <a:lnTo>
                  <a:pt x="1936" y="1881"/>
                </a:lnTo>
                <a:lnTo>
                  <a:pt x="1936" y="1875"/>
                </a:lnTo>
                <a:lnTo>
                  <a:pt x="1934" y="1875"/>
                </a:lnTo>
                <a:lnTo>
                  <a:pt x="1932" y="1875"/>
                </a:lnTo>
                <a:lnTo>
                  <a:pt x="1931" y="1876"/>
                </a:lnTo>
                <a:lnTo>
                  <a:pt x="1931" y="1877"/>
                </a:lnTo>
                <a:lnTo>
                  <a:pt x="1929" y="1878"/>
                </a:lnTo>
                <a:lnTo>
                  <a:pt x="1927" y="1879"/>
                </a:lnTo>
                <a:lnTo>
                  <a:pt x="1925" y="1878"/>
                </a:lnTo>
                <a:lnTo>
                  <a:pt x="1925" y="1873"/>
                </a:lnTo>
                <a:lnTo>
                  <a:pt x="1923" y="1873"/>
                </a:lnTo>
                <a:lnTo>
                  <a:pt x="1922" y="1873"/>
                </a:lnTo>
                <a:lnTo>
                  <a:pt x="1921" y="1872"/>
                </a:lnTo>
                <a:lnTo>
                  <a:pt x="1921" y="1870"/>
                </a:lnTo>
                <a:lnTo>
                  <a:pt x="1919" y="1864"/>
                </a:lnTo>
                <a:lnTo>
                  <a:pt x="1926" y="1861"/>
                </a:lnTo>
                <a:lnTo>
                  <a:pt x="1931" y="1858"/>
                </a:lnTo>
                <a:lnTo>
                  <a:pt x="1900" y="1858"/>
                </a:lnTo>
                <a:lnTo>
                  <a:pt x="1903" y="1861"/>
                </a:lnTo>
                <a:lnTo>
                  <a:pt x="1905" y="1863"/>
                </a:lnTo>
                <a:lnTo>
                  <a:pt x="1905" y="1864"/>
                </a:lnTo>
                <a:lnTo>
                  <a:pt x="1902" y="1864"/>
                </a:lnTo>
                <a:lnTo>
                  <a:pt x="1898" y="1862"/>
                </a:lnTo>
                <a:lnTo>
                  <a:pt x="1896" y="1861"/>
                </a:lnTo>
                <a:lnTo>
                  <a:pt x="1894" y="1861"/>
                </a:lnTo>
                <a:lnTo>
                  <a:pt x="1891" y="1866"/>
                </a:lnTo>
                <a:lnTo>
                  <a:pt x="1888" y="1870"/>
                </a:lnTo>
                <a:lnTo>
                  <a:pt x="1884" y="1870"/>
                </a:lnTo>
                <a:lnTo>
                  <a:pt x="1880" y="1870"/>
                </a:lnTo>
                <a:lnTo>
                  <a:pt x="1872" y="1869"/>
                </a:lnTo>
                <a:lnTo>
                  <a:pt x="1857" y="1867"/>
                </a:lnTo>
                <a:lnTo>
                  <a:pt x="1857" y="1861"/>
                </a:lnTo>
                <a:lnTo>
                  <a:pt x="1852" y="1861"/>
                </a:lnTo>
                <a:lnTo>
                  <a:pt x="1847" y="1861"/>
                </a:lnTo>
                <a:lnTo>
                  <a:pt x="1842" y="1862"/>
                </a:lnTo>
                <a:lnTo>
                  <a:pt x="1837" y="1864"/>
                </a:lnTo>
                <a:lnTo>
                  <a:pt x="1827" y="1867"/>
                </a:lnTo>
                <a:lnTo>
                  <a:pt x="1818" y="1870"/>
                </a:lnTo>
                <a:lnTo>
                  <a:pt x="1816" y="1862"/>
                </a:lnTo>
                <a:lnTo>
                  <a:pt x="1815" y="1858"/>
                </a:lnTo>
                <a:lnTo>
                  <a:pt x="1813" y="1854"/>
                </a:lnTo>
                <a:lnTo>
                  <a:pt x="1811" y="1851"/>
                </a:lnTo>
                <a:lnTo>
                  <a:pt x="1808" y="1848"/>
                </a:lnTo>
                <a:lnTo>
                  <a:pt x="1804" y="1846"/>
                </a:lnTo>
                <a:lnTo>
                  <a:pt x="1798" y="1844"/>
                </a:lnTo>
                <a:lnTo>
                  <a:pt x="1796" y="1844"/>
                </a:lnTo>
                <a:lnTo>
                  <a:pt x="1793" y="1845"/>
                </a:lnTo>
                <a:lnTo>
                  <a:pt x="1789" y="1845"/>
                </a:lnTo>
                <a:lnTo>
                  <a:pt x="1787" y="1844"/>
                </a:lnTo>
                <a:lnTo>
                  <a:pt x="1787" y="1840"/>
                </a:lnTo>
                <a:lnTo>
                  <a:pt x="1787" y="1836"/>
                </a:lnTo>
                <a:lnTo>
                  <a:pt x="1783" y="1835"/>
                </a:lnTo>
                <a:lnTo>
                  <a:pt x="1780" y="1834"/>
                </a:lnTo>
                <a:lnTo>
                  <a:pt x="1779" y="1833"/>
                </a:lnTo>
                <a:lnTo>
                  <a:pt x="1779" y="1835"/>
                </a:lnTo>
                <a:lnTo>
                  <a:pt x="1779" y="1837"/>
                </a:lnTo>
                <a:lnTo>
                  <a:pt x="1779" y="1842"/>
                </a:lnTo>
                <a:lnTo>
                  <a:pt x="1781" y="1842"/>
                </a:lnTo>
                <a:lnTo>
                  <a:pt x="1782" y="1843"/>
                </a:lnTo>
                <a:lnTo>
                  <a:pt x="1783" y="1844"/>
                </a:lnTo>
                <a:lnTo>
                  <a:pt x="1784" y="1845"/>
                </a:lnTo>
                <a:lnTo>
                  <a:pt x="1785" y="1848"/>
                </a:lnTo>
                <a:lnTo>
                  <a:pt x="1786" y="1849"/>
                </a:lnTo>
                <a:lnTo>
                  <a:pt x="1787" y="1850"/>
                </a:lnTo>
                <a:lnTo>
                  <a:pt x="1779" y="1852"/>
                </a:lnTo>
                <a:lnTo>
                  <a:pt x="1773" y="1853"/>
                </a:lnTo>
                <a:lnTo>
                  <a:pt x="1766" y="1854"/>
                </a:lnTo>
                <a:lnTo>
                  <a:pt x="1759" y="1856"/>
                </a:lnTo>
                <a:lnTo>
                  <a:pt x="1759" y="1860"/>
                </a:lnTo>
                <a:lnTo>
                  <a:pt x="1759" y="1864"/>
                </a:lnTo>
                <a:lnTo>
                  <a:pt x="1758" y="1868"/>
                </a:lnTo>
                <a:lnTo>
                  <a:pt x="1759" y="1873"/>
                </a:lnTo>
                <a:lnTo>
                  <a:pt x="1762" y="1876"/>
                </a:lnTo>
                <a:lnTo>
                  <a:pt x="1768" y="1885"/>
                </a:lnTo>
                <a:lnTo>
                  <a:pt x="1770" y="1889"/>
                </a:lnTo>
                <a:lnTo>
                  <a:pt x="1771" y="1891"/>
                </a:lnTo>
                <a:lnTo>
                  <a:pt x="1771" y="1893"/>
                </a:lnTo>
                <a:lnTo>
                  <a:pt x="1770" y="1895"/>
                </a:lnTo>
                <a:lnTo>
                  <a:pt x="1769" y="1896"/>
                </a:lnTo>
                <a:lnTo>
                  <a:pt x="1767" y="1897"/>
                </a:lnTo>
                <a:lnTo>
                  <a:pt x="1765" y="1898"/>
                </a:lnTo>
                <a:lnTo>
                  <a:pt x="1761" y="1898"/>
                </a:lnTo>
                <a:lnTo>
                  <a:pt x="1759" y="1898"/>
                </a:lnTo>
                <a:lnTo>
                  <a:pt x="1756" y="1898"/>
                </a:lnTo>
                <a:lnTo>
                  <a:pt x="1755" y="1897"/>
                </a:lnTo>
                <a:lnTo>
                  <a:pt x="1752" y="1895"/>
                </a:lnTo>
                <a:lnTo>
                  <a:pt x="1751" y="1893"/>
                </a:lnTo>
                <a:lnTo>
                  <a:pt x="1750" y="1891"/>
                </a:lnTo>
                <a:lnTo>
                  <a:pt x="1750" y="1889"/>
                </a:lnTo>
                <a:lnTo>
                  <a:pt x="1749" y="1887"/>
                </a:lnTo>
                <a:lnTo>
                  <a:pt x="1749" y="1883"/>
                </a:lnTo>
                <a:lnTo>
                  <a:pt x="1749" y="1878"/>
                </a:lnTo>
                <a:lnTo>
                  <a:pt x="1748" y="1873"/>
                </a:lnTo>
                <a:lnTo>
                  <a:pt x="1753" y="1872"/>
                </a:lnTo>
                <a:lnTo>
                  <a:pt x="1755" y="1871"/>
                </a:lnTo>
                <a:lnTo>
                  <a:pt x="1756" y="1871"/>
                </a:lnTo>
                <a:lnTo>
                  <a:pt x="1756" y="1870"/>
                </a:lnTo>
                <a:lnTo>
                  <a:pt x="1756" y="1867"/>
                </a:lnTo>
                <a:lnTo>
                  <a:pt x="1756" y="1865"/>
                </a:lnTo>
                <a:lnTo>
                  <a:pt x="1756" y="1863"/>
                </a:lnTo>
                <a:lnTo>
                  <a:pt x="1756" y="1861"/>
                </a:lnTo>
                <a:lnTo>
                  <a:pt x="1751" y="1861"/>
                </a:lnTo>
                <a:lnTo>
                  <a:pt x="1753" y="1856"/>
                </a:lnTo>
                <a:lnTo>
                  <a:pt x="1749" y="1854"/>
                </a:lnTo>
                <a:lnTo>
                  <a:pt x="1745" y="1853"/>
                </a:lnTo>
                <a:lnTo>
                  <a:pt x="1745" y="1850"/>
                </a:lnTo>
                <a:lnTo>
                  <a:pt x="1753" y="1844"/>
                </a:lnTo>
                <a:lnTo>
                  <a:pt x="1757" y="1842"/>
                </a:lnTo>
                <a:lnTo>
                  <a:pt x="1762" y="1839"/>
                </a:lnTo>
                <a:lnTo>
                  <a:pt x="1759" y="1834"/>
                </a:lnTo>
                <a:lnTo>
                  <a:pt x="1756" y="1828"/>
                </a:lnTo>
                <a:lnTo>
                  <a:pt x="1750" y="1829"/>
                </a:lnTo>
                <a:lnTo>
                  <a:pt x="1748" y="1829"/>
                </a:lnTo>
                <a:lnTo>
                  <a:pt x="1745" y="1830"/>
                </a:lnTo>
                <a:lnTo>
                  <a:pt x="1745" y="1836"/>
                </a:lnTo>
                <a:lnTo>
                  <a:pt x="1741" y="1839"/>
                </a:lnTo>
                <a:lnTo>
                  <a:pt x="1734" y="1845"/>
                </a:lnTo>
                <a:lnTo>
                  <a:pt x="1722" y="1853"/>
                </a:lnTo>
                <a:lnTo>
                  <a:pt x="1721" y="1853"/>
                </a:lnTo>
                <a:lnTo>
                  <a:pt x="1720" y="1852"/>
                </a:lnTo>
                <a:lnTo>
                  <a:pt x="1717" y="1851"/>
                </a:lnTo>
                <a:lnTo>
                  <a:pt x="1713" y="1850"/>
                </a:lnTo>
                <a:lnTo>
                  <a:pt x="1711" y="1849"/>
                </a:lnTo>
                <a:lnTo>
                  <a:pt x="1708" y="1850"/>
                </a:lnTo>
                <a:lnTo>
                  <a:pt x="1707" y="1851"/>
                </a:lnTo>
                <a:lnTo>
                  <a:pt x="1707" y="1852"/>
                </a:lnTo>
                <a:lnTo>
                  <a:pt x="1706" y="1854"/>
                </a:lnTo>
                <a:lnTo>
                  <a:pt x="1706" y="1858"/>
                </a:lnTo>
                <a:lnTo>
                  <a:pt x="1706" y="1861"/>
                </a:lnTo>
                <a:lnTo>
                  <a:pt x="1704" y="1861"/>
                </a:lnTo>
                <a:lnTo>
                  <a:pt x="1703" y="1860"/>
                </a:lnTo>
                <a:lnTo>
                  <a:pt x="1703" y="1858"/>
                </a:lnTo>
                <a:lnTo>
                  <a:pt x="1698" y="1858"/>
                </a:lnTo>
                <a:lnTo>
                  <a:pt x="1692" y="1858"/>
                </a:lnTo>
                <a:lnTo>
                  <a:pt x="1690" y="1869"/>
                </a:lnTo>
                <a:lnTo>
                  <a:pt x="1689" y="1881"/>
                </a:lnTo>
                <a:lnTo>
                  <a:pt x="1683" y="1881"/>
                </a:lnTo>
                <a:lnTo>
                  <a:pt x="1683" y="1884"/>
                </a:lnTo>
                <a:lnTo>
                  <a:pt x="1683" y="1887"/>
                </a:lnTo>
                <a:lnTo>
                  <a:pt x="1684" y="1890"/>
                </a:lnTo>
                <a:lnTo>
                  <a:pt x="1683" y="1892"/>
                </a:lnTo>
                <a:lnTo>
                  <a:pt x="1679" y="1892"/>
                </a:lnTo>
                <a:lnTo>
                  <a:pt x="1675" y="1892"/>
                </a:lnTo>
                <a:lnTo>
                  <a:pt x="1670" y="1900"/>
                </a:lnTo>
                <a:lnTo>
                  <a:pt x="1666" y="1906"/>
                </a:lnTo>
                <a:lnTo>
                  <a:pt x="1666" y="1909"/>
                </a:lnTo>
                <a:lnTo>
                  <a:pt x="1666" y="1912"/>
                </a:lnTo>
                <a:lnTo>
                  <a:pt x="1667" y="1915"/>
                </a:lnTo>
                <a:lnTo>
                  <a:pt x="1666" y="1918"/>
                </a:lnTo>
                <a:lnTo>
                  <a:pt x="1655" y="1910"/>
                </a:lnTo>
                <a:lnTo>
                  <a:pt x="1648" y="1903"/>
                </a:lnTo>
                <a:lnTo>
                  <a:pt x="1641" y="1897"/>
                </a:lnTo>
                <a:lnTo>
                  <a:pt x="1638" y="1893"/>
                </a:lnTo>
                <a:lnTo>
                  <a:pt x="1635" y="1889"/>
                </a:lnTo>
                <a:lnTo>
                  <a:pt x="1630" y="1881"/>
                </a:lnTo>
                <a:lnTo>
                  <a:pt x="1625" y="1881"/>
                </a:lnTo>
                <a:lnTo>
                  <a:pt x="1620" y="1880"/>
                </a:lnTo>
                <a:lnTo>
                  <a:pt x="1615" y="1878"/>
                </a:lnTo>
                <a:lnTo>
                  <a:pt x="1614" y="1878"/>
                </a:lnTo>
                <a:lnTo>
                  <a:pt x="1613" y="1878"/>
                </a:lnTo>
                <a:lnTo>
                  <a:pt x="1612" y="1882"/>
                </a:lnTo>
                <a:lnTo>
                  <a:pt x="1611" y="1885"/>
                </a:lnTo>
                <a:lnTo>
                  <a:pt x="1610" y="1887"/>
                </a:lnTo>
                <a:lnTo>
                  <a:pt x="1605" y="1888"/>
                </a:lnTo>
                <a:lnTo>
                  <a:pt x="1601" y="1889"/>
                </a:lnTo>
                <a:lnTo>
                  <a:pt x="1594" y="1891"/>
                </a:lnTo>
                <a:lnTo>
                  <a:pt x="1587" y="1892"/>
                </a:lnTo>
                <a:lnTo>
                  <a:pt x="1583" y="1893"/>
                </a:lnTo>
                <a:lnTo>
                  <a:pt x="1579" y="1895"/>
                </a:lnTo>
                <a:lnTo>
                  <a:pt x="1578" y="1893"/>
                </a:lnTo>
                <a:lnTo>
                  <a:pt x="1577" y="1891"/>
                </a:lnTo>
                <a:lnTo>
                  <a:pt x="1576" y="1890"/>
                </a:lnTo>
                <a:lnTo>
                  <a:pt x="1573" y="1889"/>
                </a:lnTo>
                <a:lnTo>
                  <a:pt x="1571" y="1892"/>
                </a:lnTo>
                <a:lnTo>
                  <a:pt x="1569" y="1892"/>
                </a:lnTo>
                <a:lnTo>
                  <a:pt x="1568" y="1893"/>
                </a:lnTo>
                <a:lnTo>
                  <a:pt x="1566" y="1893"/>
                </a:lnTo>
                <a:lnTo>
                  <a:pt x="1565" y="1892"/>
                </a:lnTo>
                <a:lnTo>
                  <a:pt x="1564" y="1891"/>
                </a:lnTo>
                <a:lnTo>
                  <a:pt x="1562" y="1887"/>
                </a:lnTo>
                <a:lnTo>
                  <a:pt x="1558" y="1878"/>
                </a:lnTo>
                <a:lnTo>
                  <a:pt x="1554" y="1867"/>
                </a:lnTo>
                <a:lnTo>
                  <a:pt x="1550" y="1862"/>
                </a:lnTo>
                <a:lnTo>
                  <a:pt x="1545" y="1857"/>
                </a:lnTo>
                <a:lnTo>
                  <a:pt x="1541" y="1852"/>
                </a:lnTo>
                <a:lnTo>
                  <a:pt x="1537" y="1846"/>
                </a:lnTo>
                <a:lnTo>
                  <a:pt x="1534" y="1842"/>
                </a:lnTo>
                <a:lnTo>
                  <a:pt x="1548" y="1754"/>
                </a:lnTo>
                <a:lnTo>
                  <a:pt x="1541" y="1753"/>
                </a:lnTo>
                <a:lnTo>
                  <a:pt x="1534" y="1752"/>
                </a:lnTo>
                <a:lnTo>
                  <a:pt x="1532" y="1749"/>
                </a:lnTo>
                <a:lnTo>
                  <a:pt x="1531" y="1745"/>
                </a:lnTo>
                <a:lnTo>
                  <a:pt x="1528" y="1738"/>
                </a:lnTo>
                <a:lnTo>
                  <a:pt x="1523" y="1736"/>
                </a:lnTo>
                <a:lnTo>
                  <a:pt x="1515" y="1734"/>
                </a:lnTo>
                <a:lnTo>
                  <a:pt x="1508" y="1733"/>
                </a:lnTo>
                <a:lnTo>
                  <a:pt x="1503" y="1732"/>
                </a:lnTo>
                <a:lnTo>
                  <a:pt x="1500" y="1732"/>
                </a:lnTo>
                <a:lnTo>
                  <a:pt x="1497" y="1733"/>
                </a:lnTo>
                <a:lnTo>
                  <a:pt x="1491" y="1736"/>
                </a:lnTo>
                <a:lnTo>
                  <a:pt x="1485" y="1739"/>
                </a:lnTo>
                <a:lnTo>
                  <a:pt x="1482" y="1740"/>
                </a:lnTo>
                <a:lnTo>
                  <a:pt x="1481" y="1740"/>
                </a:lnTo>
                <a:lnTo>
                  <a:pt x="1473" y="1741"/>
                </a:lnTo>
                <a:lnTo>
                  <a:pt x="1466" y="1741"/>
                </a:lnTo>
                <a:lnTo>
                  <a:pt x="1451" y="1740"/>
                </a:lnTo>
                <a:lnTo>
                  <a:pt x="1444" y="1740"/>
                </a:lnTo>
                <a:lnTo>
                  <a:pt x="1448" y="1732"/>
                </a:lnTo>
                <a:lnTo>
                  <a:pt x="1452" y="1720"/>
                </a:lnTo>
                <a:lnTo>
                  <a:pt x="1456" y="1707"/>
                </a:lnTo>
                <a:lnTo>
                  <a:pt x="1457" y="1701"/>
                </a:lnTo>
                <a:lnTo>
                  <a:pt x="1458" y="1695"/>
                </a:lnTo>
                <a:lnTo>
                  <a:pt x="1459" y="1689"/>
                </a:lnTo>
                <a:lnTo>
                  <a:pt x="1458" y="1684"/>
                </a:lnTo>
                <a:lnTo>
                  <a:pt x="1457" y="1683"/>
                </a:lnTo>
                <a:lnTo>
                  <a:pt x="1455" y="1681"/>
                </a:lnTo>
                <a:lnTo>
                  <a:pt x="1454" y="1679"/>
                </a:lnTo>
                <a:lnTo>
                  <a:pt x="1452" y="1676"/>
                </a:lnTo>
                <a:lnTo>
                  <a:pt x="1453" y="1676"/>
                </a:lnTo>
                <a:lnTo>
                  <a:pt x="1454" y="1675"/>
                </a:lnTo>
                <a:lnTo>
                  <a:pt x="1456" y="1673"/>
                </a:lnTo>
                <a:lnTo>
                  <a:pt x="1458" y="1670"/>
                </a:lnTo>
                <a:lnTo>
                  <a:pt x="1458" y="1674"/>
                </a:lnTo>
                <a:lnTo>
                  <a:pt x="1458" y="1678"/>
                </a:lnTo>
                <a:lnTo>
                  <a:pt x="1464" y="1680"/>
                </a:lnTo>
                <a:lnTo>
                  <a:pt x="1467" y="1680"/>
                </a:lnTo>
                <a:lnTo>
                  <a:pt x="1468" y="1680"/>
                </a:lnTo>
                <a:lnTo>
                  <a:pt x="1467" y="1678"/>
                </a:lnTo>
                <a:lnTo>
                  <a:pt x="1466" y="1672"/>
                </a:lnTo>
                <a:lnTo>
                  <a:pt x="1466" y="1667"/>
                </a:lnTo>
                <a:lnTo>
                  <a:pt x="1467" y="1662"/>
                </a:lnTo>
                <a:lnTo>
                  <a:pt x="1469" y="1650"/>
                </a:lnTo>
                <a:lnTo>
                  <a:pt x="1473" y="1631"/>
                </a:lnTo>
                <a:lnTo>
                  <a:pt x="1475" y="1621"/>
                </a:lnTo>
                <a:lnTo>
                  <a:pt x="1476" y="1617"/>
                </a:lnTo>
                <a:lnTo>
                  <a:pt x="1476" y="1613"/>
                </a:lnTo>
                <a:lnTo>
                  <a:pt x="1476" y="1606"/>
                </a:lnTo>
                <a:lnTo>
                  <a:pt x="1476" y="1604"/>
                </a:lnTo>
                <a:lnTo>
                  <a:pt x="1475" y="1602"/>
                </a:lnTo>
                <a:lnTo>
                  <a:pt x="1472" y="1601"/>
                </a:lnTo>
                <a:lnTo>
                  <a:pt x="1469" y="1600"/>
                </a:lnTo>
                <a:lnTo>
                  <a:pt x="1462" y="1600"/>
                </a:lnTo>
                <a:lnTo>
                  <a:pt x="1455" y="1602"/>
                </a:lnTo>
                <a:lnTo>
                  <a:pt x="1447" y="1604"/>
                </a:lnTo>
                <a:lnTo>
                  <a:pt x="1439" y="1608"/>
                </a:lnTo>
                <a:lnTo>
                  <a:pt x="1431" y="1611"/>
                </a:lnTo>
                <a:lnTo>
                  <a:pt x="1419" y="1617"/>
                </a:lnTo>
                <a:lnTo>
                  <a:pt x="1418" y="1620"/>
                </a:lnTo>
                <a:lnTo>
                  <a:pt x="1418" y="1624"/>
                </a:lnTo>
                <a:lnTo>
                  <a:pt x="1418" y="1631"/>
                </a:lnTo>
                <a:lnTo>
                  <a:pt x="1418" y="1634"/>
                </a:lnTo>
                <a:lnTo>
                  <a:pt x="1418" y="1638"/>
                </a:lnTo>
                <a:lnTo>
                  <a:pt x="1417" y="1641"/>
                </a:lnTo>
                <a:lnTo>
                  <a:pt x="1416" y="1645"/>
                </a:lnTo>
                <a:lnTo>
                  <a:pt x="1410" y="1647"/>
                </a:lnTo>
                <a:lnTo>
                  <a:pt x="1410" y="1651"/>
                </a:lnTo>
                <a:lnTo>
                  <a:pt x="1411" y="1655"/>
                </a:lnTo>
                <a:lnTo>
                  <a:pt x="1411" y="1658"/>
                </a:lnTo>
                <a:lnTo>
                  <a:pt x="1411" y="1660"/>
                </a:lnTo>
                <a:lnTo>
                  <a:pt x="1410" y="1662"/>
                </a:lnTo>
                <a:lnTo>
                  <a:pt x="1406" y="1663"/>
                </a:lnTo>
                <a:lnTo>
                  <a:pt x="1403" y="1664"/>
                </a:lnTo>
                <a:lnTo>
                  <a:pt x="1402" y="1664"/>
                </a:lnTo>
                <a:lnTo>
                  <a:pt x="1400" y="1669"/>
                </a:lnTo>
                <a:lnTo>
                  <a:pt x="1399" y="1673"/>
                </a:lnTo>
                <a:lnTo>
                  <a:pt x="1396" y="1673"/>
                </a:lnTo>
                <a:lnTo>
                  <a:pt x="1394" y="1674"/>
                </a:lnTo>
                <a:lnTo>
                  <a:pt x="1393" y="1675"/>
                </a:lnTo>
                <a:lnTo>
                  <a:pt x="1392" y="1676"/>
                </a:lnTo>
                <a:lnTo>
                  <a:pt x="1391" y="1676"/>
                </a:lnTo>
                <a:lnTo>
                  <a:pt x="1391" y="1670"/>
                </a:lnTo>
                <a:lnTo>
                  <a:pt x="1386" y="1670"/>
                </a:lnTo>
                <a:lnTo>
                  <a:pt x="1382" y="1670"/>
                </a:lnTo>
                <a:lnTo>
                  <a:pt x="1379" y="1670"/>
                </a:lnTo>
                <a:lnTo>
                  <a:pt x="1377" y="1670"/>
                </a:lnTo>
                <a:lnTo>
                  <a:pt x="1375" y="1671"/>
                </a:lnTo>
                <a:lnTo>
                  <a:pt x="1374" y="1674"/>
                </a:lnTo>
                <a:lnTo>
                  <a:pt x="1372" y="1677"/>
                </a:lnTo>
                <a:lnTo>
                  <a:pt x="1371" y="1678"/>
                </a:lnTo>
                <a:lnTo>
                  <a:pt x="1367" y="1679"/>
                </a:lnTo>
                <a:lnTo>
                  <a:pt x="1363" y="1680"/>
                </a:lnTo>
                <a:lnTo>
                  <a:pt x="1360" y="1680"/>
                </a:lnTo>
                <a:lnTo>
                  <a:pt x="1358" y="1680"/>
                </a:lnTo>
                <a:lnTo>
                  <a:pt x="1357" y="1681"/>
                </a:lnTo>
                <a:lnTo>
                  <a:pt x="1356" y="1682"/>
                </a:lnTo>
                <a:lnTo>
                  <a:pt x="1356" y="1683"/>
                </a:lnTo>
                <a:lnTo>
                  <a:pt x="1356" y="1686"/>
                </a:lnTo>
                <a:lnTo>
                  <a:pt x="1355" y="1688"/>
                </a:lnTo>
                <a:lnTo>
                  <a:pt x="1355" y="1689"/>
                </a:lnTo>
                <a:lnTo>
                  <a:pt x="1354" y="1690"/>
                </a:lnTo>
                <a:lnTo>
                  <a:pt x="1353" y="1690"/>
                </a:lnTo>
                <a:lnTo>
                  <a:pt x="1350" y="1690"/>
                </a:lnTo>
                <a:lnTo>
                  <a:pt x="1349" y="1690"/>
                </a:lnTo>
                <a:lnTo>
                  <a:pt x="1349" y="1689"/>
                </a:lnTo>
                <a:lnTo>
                  <a:pt x="1351" y="1687"/>
                </a:lnTo>
                <a:lnTo>
                  <a:pt x="1348" y="1687"/>
                </a:lnTo>
                <a:lnTo>
                  <a:pt x="1344" y="1687"/>
                </a:lnTo>
                <a:lnTo>
                  <a:pt x="1341" y="1688"/>
                </a:lnTo>
                <a:lnTo>
                  <a:pt x="1337" y="1690"/>
                </a:lnTo>
                <a:lnTo>
                  <a:pt x="1336" y="1683"/>
                </a:lnTo>
                <a:lnTo>
                  <a:pt x="1335" y="1680"/>
                </a:lnTo>
                <a:lnTo>
                  <a:pt x="1334" y="1678"/>
                </a:lnTo>
                <a:lnTo>
                  <a:pt x="1332" y="1678"/>
                </a:lnTo>
                <a:lnTo>
                  <a:pt x="1330" y="1677"/>
                </a:lnTo>
                <a:lnTo>
                  <a:pt x="1324" y="1677"/>
                </a:lnTo>
                <a:lnTo>
                  <a:pt x="1319" y="1677"/>
                </a:lnTo>
                <a:lnTo>
                  <a:pt x="1317" y="1677"/>
                </a:lnTo>
                <a:lnTo>
                  <a:pt x="1315" y="1676"/>
                </a:lnTo>
                <a:lnTo>
                  <a:pt x="1314" y="1675"/>
                </a:lnTo>
                <a:lnTo>
                  <a:pt x="1313" y="1673"/>
                </a:lnTo>
                <a:lnTo>
                  <a:pt x="1312" y="1669"/>
                </a:lnTo>
                <a:lnTo>
                  <a:pt x="1310" y="1665"/>
                </a:lnTo>
                <a:lnTo>
                  <a:pt x="1309" y="1662"/>
                </a:lnTo>
                <a:lnTo>
                  <a:pt x="1302" y="1650"/>
                </a:lnTo>
                <a:lnTo>
                  <a:pt x="1295" y="1639"/>
                </a:lnTo>
                <a:lnTo>
                  <a:pt x="1289" y="1628"/>
                </a:lnTo>
                <a:lnTo>
                  <a:pt x="1286" y="1621"/>
                </a:lnTo>
                <a:lnTo>
                  <a:pt x="1284" y="1614"/>
                </a:lnTo>
                <a:lnTo>
                  <a:pt x="1281" y="1615"/>
                </a:lnTo>
                <a:lnTo>
                  <a:pt x="1279" y="1616"/>
                </a:lnTo>
                <a:lnTo>
                  <a:pt x="1278" y="1617"/>
                </a:lnTo>
                <a:lnTo>
                  <a:pt x="1279" y="1615"/>
                </a:lnTo>
                <a:lnTo>
                  <a:pt x="1280" y="1613"/>
                </a:lnTo>
                <a:lnTo>
                  <a:pt x="1280" y="1607"/>
                </a:lnTo>
                <a:lnTo>
                  <a:pt x="1280" y="1600"/>
                </a:lnTo>
                <a:lnTo>
                  <a:pt x="1279" y="1598"/>
                </a:lnTo>
                <a:lnTo>
                  <a:pt x="1278" y="1597"/>
                </a:lnTo>
                <a:lnTo>
                  <a:pt x="1284" y="1591"/>
                </a:lnTo>
                <a:lnTo>
                  <a:pt x="1284" y="1588"/>
                </a:lnTo>
                <a:lnTo>
                  <a:pt x="1284" y="1584"/>
                </a:lnTo>
                <a:lnTo>
                  <a:pt x="1282" y="1577"/>
                </a:lnTo>
                <a:lnTo>
                  <a:pt x="1279" y="1571"/>
                </a:lnTo>
                <a:lnTo>
                  <a:pt x="1279" y="1568"/>
                </a:lnTo>
                <a:lnTo>
                  <a:pt x="1278" y="1566"/>
                </a:lnTo>
                <a:lnTo>
                  <a:pt x="1278" y="1561"/>
                </a:lnTo>
                <a:lnTo>
                  <a:pt x="1279" y="1558"/>
                </a:lnTo>
                <a:lnTo>
                  <a:pt x="1280" y="1554"/>
                </a:lnTo>
                <a:lnTo>
                  <a:pt x="1281" y="1552"/>
                </a:lnTo>
                <a:lnTo>
                  <a:pt x="1278" y="1542"/>
                </a:lnTo>
                <a:lnTo>
                  <a:pt x="1276" y="1536"/>
                </a:lnTo>
                <a:lnTo>
                  <a:pt x="1275" y="1534"/>
                </a:lnTo>
                <a:lnTo>
                  <a:pt x="1275" y="1532"/>
                </a:lnTo>
                <a:lnTo>
                  <a:pt x="1276" y="1530"/>
                </a:lnTo>
                <a:lnTo>
                  <a:pt x="1278" y="1528"/>
                </a:lnTo>
                <a:lnTo>
                  <a:pt x="1284" y="1524"/>
                </a:lnTo>
                <a:lnTo>
                  <a:pt x="1289" y="1519"/>
                </a:lnTo>
                <a:lnTo>
                  <a:pt x="1291" y="1517"/>
                </a:lnTo>
                <a:lnTo>
                  <a:pt x="1292" y="1515"/>
                </a:lnTo>
                <a:lnTo>
                  <a:pt x="1292" y="1511"/>
                </a:lnTo>
                <a:lnTo>
                  <a:pt x="1292" y="1507"/>
                </a:lnTo>
                <a:lnTo>
                  <a:pt x="1291" y="1503"/>
                </a:lnTo>
                <a:lnTo>
                  <a:pt x="1289" y="1499"/>
                </a:lnTo>
                <a:lnTo>
                  <a:pt x="1284" y="1491"/>
                </a:lnTo>
                <a:lnTo>
                  <a:pt x="1281" y="1484"/>
                </a:lnTo>
                <a:lnTo>
                  <a:pt x="1282" y="1483"/>
                </a:lnTo>
                <a:lnTo>
                  <a:pt x="1283" y="1481"/>
                </a:lnTo>
                <a:lnTo>
                  <a:pt x="1283" y="1479"/>
                </a:lnTo>
                <a:lnTo>
                  <a:pt x="1283" y="1476"/>
                </a:lnTo>
                <a:lnTo>
                  <a:pt x="1281" y="1467"/>
                </a:lnTo>
                <a:lnTo>
                  <a:pt x="1287" y="1467"/>
                </a:lnTo>
                <a:lnTo>
                  <a:pt x="1287" y="1465"/>
                </a:lnTo>
                <a:lnTo>
                  <a:pt x="1286" y="1462"/>
                </a:lnTo>
                <a:lnTo>
                  <a:pt x="1286" y="1459"/>
                </a:lnTo>
                <a:lnTo>
                  <a:pt x="1286" y="1457"/>
                </a:lnTo>
                <a:lnTo>
                  <a:pt x="1287" y="1456"/>
                </a:lnTo>
                <a:lnTo>
                  <a:pt x="1288" y="1455"/>
                </a:lnTo>
                <a:lnTo>
                  <a:pt x="1290" y="1453"/>
                </a:lnTo>
                <a:lnTo>
                  <a:pt x="1296" y="1452"/>
                </a:lnTo>
                <a:lnTo>
                  <a:pt x="1302" y="1450"/>
                </a:lnTo>
                <a:lnTo>
                  <a:pt x="1304" y="1449"/>
                </a:lnTo>
                <a:lnTo>
                  <a:pt x="1306" y="1448"/>
                </a:lnTo>
                <a:lnTo>
                  <a:pt x="1307" y="1446"/>
                </a:lnTo>
                <a:lnTo>
                  <a:pt x="1307" y="1445"/>
                </a:lnTo>
                <a:lnTo>
                  <a:pt x="1307" y="1442"/>
                </a:lnTo>
                <a:lnTo>
                  <a:pt x="1307" y="1439"/>
                </a:lnTo>
                <a:lnTo>
                  <a:pt x="1308" y="1438"/>
                </a:lnTo>
                <a:lnTo>
                  <a:pt x="1309" y="1436"/>
                </a:lnTo>
                <a:lnTo>
                  <a:pt x="1311" y="1436"/>
                </a:lnTo>
                <a:lnTo>
                  <a:pt x="1313" y="1435"/>
                </a:lnTo>
                <a:lnTo>
                  <a:pt x="1316" y="1435"/>
                </a:lnTo>
                <a:lnTo>
                  <a:pt x="1320" y="1435"/>
                </a:lnTo>
                <a:lnTo>
                  <a:pt x="1322" y="1434"/>
                </a:lnTo>
                <a:lnTo>
                  <a:pt x="1323" y="1434"/>
                </a:lnTo>
                <a:lnTo>
                  <a:pt x="1328" y="1423"/>
                </a:lnTo>
                <a:lnTo>
                  <a:pt x="1332" y="1414"/>
                </a:lnTo>
                <a:lnTo>
                  <a:pt x="1333" y="1414"/>
                </a:lnTo>
                <a:lnTo>
                  <a:pt x="1336" y="1416"/>
                </a:lnTo>
                <a:lnTo>
                  <a:pt x="1339" y="1417"/>
                </a:lnTo>
                <a:lnTo>
                  <a:pt x="1343" y="1417"/>
                </a:lnTo>
                <a:lnTo>
                  <a:pt x="1345" y="1416"/>
                </a:lnTo>
                <a:lnTo>
                  <a:pt x="1348" y="1414"/>
                </a:lnTo>
                <a:lnTo>
                  <a:pt x="1353" y="1409"/>
                </a:lnTo>
                <a:lnTo>
                  <a:pt x="1359" y="1405"/>
                </a:lnTo>
                <a:lnTo>
                  <a:pt x="1361" y="1403"/>
                </a:lnTo>
                <a:lnTo>
                  <a:pt x="1362" y="1403"/>
                </a:lnTo>
                <a:lnTo>
                  <a:pt x="1366" y="1403"/>
                </a:lnTo>
                <a:lnTo>
                  <a:pt x="1371" y="1404"/>
                </a:lnTo>
                <a:lnTo>
                  <a:pt x="1383" y="1407"/>
                </a:lnTo>
                <a:lnTo>
                  <a:pt x="1393" y="1411"/>
                </a:lnTo>
                <a:lnTo>
                  <a:pt x="1397" y="1413"/>
                </a:lnTo>
                <a:lnTo>
                  <a:pt x="1399" y="1414"/>
                </a:lnTo>
                <a:lnTo>
                  <a:pt x="1400" y="1416"/>
                </a:lnTo>
                <a:lnTo>
                  <a:pt x="1400" y="1418"/>
                </a:lnTo>
                <a:lnTo>
                  <a:pt x="1401" y="1421"/>
                </a:lnTo>
                <a:lnTo>
                  <a:pt x="1401" y="1422"/>
                </a:lnTo>
                <a:lnTo>
                  <a:pt x="1402" y="1422"/>
                </a:lnTo>
                <a:lnTo>
                  <a:pt x="1404" y="1423"/>
                </a:lnTo>
                <a:lnTo>
                  <a:pt x="1406" y="1423"/>
                </a:lnTo>
                <a:lnTo>
                  <a:pt x="1409" y="1421"/>
                </a:lnTo>
                <a:lnTo>
                  <a:pt x="1410" y="1421"/>
                </a:lnTo>
                <a:lnTo>
                  <a:pt x="1412" y="1420"/>
                </a:lnTo>
                <a:lnTo>
                  <a:pt x="1414" y="1419"/>
                </a:lnTo>
                <a:lnTo>
                  <a:pt x="1416" y="1420"/>
                </a:lnTo>
                <a:lnTo>
                  <a:pt x="1414" y="1415"/>
                </a:lnTo>
                <a:lnTo>
                  <a:pt x="1413" y="1411"/>
                </a:lnTo>
                <a:lnTo>
                  <a:pt x="1415" y="1410"/>
                </a:lnTo>
                <a:lnTo>
                  <a:pt x="1417" y="1408"/>
                </a:lnTo>
                <a:lnTo>
                  <a:pt x="1420" y="1407"/>
                </a:lnTo>
                <a:lnTo>
                  <a:pt x="1422" y="1406"/>
                </a:lnTo>
                <a:lnTo>
                  <a:pt x="1430" y="1417"/>
                </a:lnTo>
                <a:lnTo>
                  <a:pt x="1433" y="1417"/>
                </a:lnTo>
                <a:lnTo>
                  <a:pt x="1436" y="1417"/>
                </a:lnTo>
                <a:lnTo>
                  <a:pt x="1439" y="1416"/>
                </a:lnTo>
                <a:lnTo>
                  <a:pt x="1440" y="1416"/>
                </a:lnTo>
                <a:lnTo>
                  <a:pt x="1441" y="1417"/>
                </a:lnTo>
                <a:lnTo>
                  <a:pt x="1441" y="1422"/>
                </a:lnTo>
                <a:lnTo>
                  <a:pt x="1443" y="1422"/>
                </a:lnTo>
                <a:lnTo>
                  <a:pt x="1444" y="1422"/>
                </a:lnTo>
                <a:lnTo>
                  <a:pt x="1446" y="1422"/>
                </a:lnTo>
                <a:lnTo>
                  <a:pt x="1447" y="1421"/>
                </a:lnTo>
                <a:lnTo>
                  <a:pt x="1448" y="1420"/>
                </a:lnTo>
                <a:lnTo>
                  <a:pt x="1448" y="1419"/>
                </a:lnTo>
                <a:lnTo>
                  <a:pt x="1448" y="1418"/>
                </a:lnTo>
                <a:lnTo>
                  <a:pt x="1447" y="1417"/>
                </a:lnTo>
                <a:lnTo>
                  <a:pt x="1438" y="1414"/>
                </a:lnTo>
                <a:lnTo>
                  <a:pt x="1438" y="1412"/>
                </a:lnTo>
                <a:lnTo>
                  <a:pt x="1438" y="1411"/>
                </a:lnTo>
                <a:lnTo>
                  <a:pt x="1439" y="1410"/>
                </a:lnTo>
                <a:lnTo>
                  <a:pt x="1440" y="1409"/>
                </a:lnTo>
                <a:lnTo>
                  <a:pt x="1441" y="1408"/>
                </a:lnTo>
                <a:lnTo>
                  <a:pt x="1441" y="1407"/>
                </a:lnTo>
                <a:lnTo>
                  <a:pt x="1442" y="1405"/>
                </a:lnTo>
                <a:lnTo>
                  <a:pt x="1444" y="1403"/>
                </a:lnTo>
                <a:lnTo>
                  <a:pt x="1440" y="1401"/>
                </a:lnTo>
                <a:lnTo>
                  <a:pt x="1436" y="1399"/>
                </a:lnTo>
                <a:lnTo>
                  <a:pt x="1430" y="1397"/>
                </a:lnTo>
                <a:lnTo>
                  <a:pt x="1427" y="1397"/>
                </a:lnTo>
                <a:lnTo>
                  <a:pt x="1424" y="1391"/>
                </a:lnTo>
                <a:lnTo>
                  <a:pt x="1426" y="1391"/>
                </a:lnTo>
                <a:lnTo>
                  <a:pt x="1427" y="1392"/>
                </a:lnTo>
                <a:lnTo>
                  <a:pt x="1430" y="1393"/>
                </a:lnTo>
                <a:lnTo>
                  <a:pt x="1434" y="1395"/>
                </a:lnTo>
                <a:lnTo>
                  <a:pt x="1436" y="1395"/>
                </a:lnTo>
                <a:lnTo>
                  <a:pt x="1438" y="1394"/>
                </a:lnTo>
                <a:lnTo>
                  <a:pt x="1438" y="1389"/>
                </a:lnTo>
                <a:lnTo>
                  <a:pt x="1449" y="1390"/>
                </a:lnTo>
                <a:lnTo>
                  <a:pt x="1461" y="1391"/>
                </a:lnTo>
                <a:lnTo>
                  <a:pt x="1460" y="1391"/>
                </a:lnTo>
                <a:lnTo>
                  <a:pt x="1460" y="1390"/>
                </a:lnTo>
                <a:lnTo>
                  <a:pt x="1460" y="1389"/>
                </a:lnTo>
                <a:lnTo>
                  <a:pt x="1461" y="1388"/>
                </a:lnTo>
                <a:lnTo>
                  <a:pt x="1464" y="1386"/>
                </a:lnTo>
                <a:lnTo>
                  <a:pt x="1465" y="1387"/>
                </a:lnTo>
                <a:lnTo>
                  <a:pt x="1466" y="1389"/>
                </a:lnTo>
                <a:lnTo>
                  <a:pt x="1466" y="1391"/>
                </a:lnTo>
                <a:lnTo>
                  <a:pt x="1467" y="1393"/>
                </a:lnTo>
                <a:lnTo>
                  <a:pt x="1468" y="1393"/>
                </a:lnTo>
                <a:lnTo>
                  <a:pt x="1470" y="1394"/>
                </a:lnTo>
                <a:lnTo>
                  <a:pt x="1472" y="1394"/>
                </a:lnTo>
                <a:lnTo>
                  <a:pt x="1478" y="1386"/>
                </a:lnTo>
                <a:lnTo>
                  <a:pt x="1486" y="1391"/>
                </a:lnTo>
                <a:lnTo>
                  <a:pt x="1487" y="1391"/>
                </a:lnTo>
                <a:lnTo>
                  <a:pt x="1487" y="1390"/>
                </a:lnTo>
                <a:lnTo>
                  <a:pt x="1488" y="1388"/>
                </a:lnTo>
                <a:lnTo>
                  <a:pt x="1490" y="1386"/>
                </a:lnTo>
                <a:lnTo>
                  <a:pt x="1491" y="1386"/>
                </a:lnTo>
                <a:lnTo>
                  <a:pt x="1492" y="1386"/>
                </a:lnTo>
                <a:lnTo>
                  <a:pt x="1493" y="1387"/>
                </a:lnTo>
                <a:lnTo>
                  <a:pt x="1494" y="1388"/>
                </a:lnTo>
                <a:lnTo>
                  <a:pt x="1495" y="1389"/>
                </a:lnTo>
                <a:lnTo>
                  <a:pt x="1495" y="1391"/>
                </a:lnTo>
                <a:lnTo>
                  <a:pt x="1495" y="1394"/>
                </a:lnTo>
                <a:lnTo>
                  <a:pt x="1498" y="1395"/>
                </a:lnTo>
                <a:lnTo>
                  <a:pt x="1501" y="1396"/>
                </a:lnTo>
                <a:lnTo>
                  <a:pt x="1505" y="1396"/>
                </a:lnTo>
                <a:lnTo>
                  <a:pt x="1507" y="1396"/>
                </a:lnTo>
                <a:lnTo>
                  <a:pt x="1509" y="1397"/>
                </a:lnTo>
                <a:lnTo>
                  <a:pt x="1510" y="1398"/>
                </a:lnTo>
                <a:lnTo>
                  <a:pt x="1511" y="1400"/>
                </a:lnTo>
                <a:lnTo>
                  <a:pt x="1511" y="1403"/>
                </a:lnTo>
                <a:lnTo>
                  <a:pt x="1512" y="1406"/>
                </a:lnTo>
                <a:lnTo>
                  <a:pt x="1515" y="1405"/>
                </a:lnTo>
                <a:lnTo>
                  <a:pt x="1518" y="1406"/>
                </a:lnTo>
                <a:lnTo>
                  <a:pt x="1526" y="1408"/>
                </a:lnTo>
                <a:lnTo>
                  <a:pt x="1528" y="1404"/>
                </a:lnTo>
                <a:lnTo>
                  <a:pt x="1531" y="1400"/>
                </a:lnTo>
                <a:lnTo>
                  <a:pt x="1532" y="1400"/>
                </a:lnTo>
                <a:lnTo>
                  <a:pt x="1533" y="1400"/>
                </a:lnTo>
                <a:lnTo>
                  <a:pt x="1535" y="1400"/>
                </a:lnTo>
                <a:lnTo>
                  <a:pt x="1537" y="1400"/>
                </a:lnTo>
                <a:lnTo>
                  <a:pt x="1539" y="1400"/>
                </a:lnTo>
                <a:lnTo>
                  <a:pt x="1540" y="1400"/>
                </a:lnTo>
                <a:lnTo>
                  <a:pt x="1542" y="1407"/>
                </a:lnTo>
                <a:lnTo>
                  <a:pt x="1544" y="1411"/>
                </a:lnTo>
                <a:lnTo>
                  <a:pt x="1545" y="1414"/>
                </a:lnTo>
                <a:lnTo>
                  <a:pt x="1554" y="1417"/>
                </a:lnTo>
                <a:lnTo>
                  <a:pt x="1555" y="1421"/>
                </a:lnTo>
                <a:lnTo>
                  <a:pt x="1555" y="1426"/>
                </a:lnTo>
                <a:lnTo>
                  <a:pt x="1555" y="1431"/>
                </a:lnTo>
                <a:lnTo>
                  <a:pt x="1555" y="1436"/>
                </a:lnTo>
                <a:lnTo>
                  <a:pt x="1554" y="1447"/>
                </a:lnTo>
                <a:lnTo>
                  <a:pt x="1554" y="1456"/>
                </a:lnTo>
                <a:lnTo>
                  <a:pt x="1558" y="1455"/>
                </a:lnTo>
                <a:lnTo>
                  <a:pt x="1560" y="1454"/>
                </a:lnTo>
                <a:lnTo>
                  <a:pt x="1561" y="1453"/>
                </a:lnTo>
                <a:lnTo>
                  <a:pt x="1565" y="1453"/>
                </a:lnTo>
                <a:lnTo>
                  <a:pt x="1564" y="1455"/>
                </a:lnTo>
                <a:lnTo>
                  <a:pt x="1563" y="1457"/>
                </a:lnTo>
                <a:lnTo>
                  <a:pt x="1561" y="1462"/>
                </a:lnTo>
                <a:lnTo>
                  <a:pt x="1559" y="1464"/>
                </a:lnTo>
                <a:lnTo>
                  <a:pt x="1559" y="1467"/>
                </a:lnTo>
                <a:lnTo>
                  <a:pt x="1559" y="1470"/>
                </a:lnTo>
                <a:lnTo>
                  <a:pt x="1559" y="1473"/>
                </a:lnTo>
                <a:lnTo>
                  <a:pt x="1565" y="1476"/>
                </a:lnTo>
                <a:lnTo>
                  <a:pt x="1569" y="1477"/>
                </a:lnTo>
                <a:lnTo>
                  <a:pt x="1571" y="1479"/>
                </a:lnTo>
                <a:lnTo>
                  <a:pt x="1571" y="1480"/>
                </a:lnTo>
                <a:lnTo>
                  <a:pt x="1572" y="1482"/>
                </a:lnTo>
                <a:lnTo>
                  <a:pt x="1572" y="1485"/>
                </a:lnTo>
                <a:lnTo>
                  <a:pt x="1572" y="1489"/>
                </a:lnTo>
                <a:lnTo>
                  <a:pt x="1573" y="1493"/>
                </a:lnTo>
                <a:lnTo>
                  <a:pt x="1575" y="1495"/>
                </a:lnTo>
                <a:lnTo>
                  <a:pt x="1578" y="1497"/>
                </a:lnTo>
                <a:lnTo>
                  <a:pt x="1580" y="1500"/>
                </a:lnTo>
                <a:lnTo>
                  <a:pt x="1582" y="1501"/>
                </a:lnTo>
                <a:lnTo>
                  <a:pt x="1582" y="1503"/>
                </a:lnTo>
                <a:lnTo>
                  <a:pt x="1582" y="1505"/>
                </a:lnTo>
                <a:lnTo>
                  <a:pt x="1581" y="1508"/>
                </a:lnTo>
                <a:lnTo>
                  <a:pt x="1582" y="1510"/>
                </a:lnTo>
                <a:lnTo>
                  <a:pt x="1583" y="1511"/>
                </a:lnTo>
                <a:lnTo>
                  <a:pt x="1585" y="1511"/>
                </a:lnTo>
                <a:lnTo>
                  <a:pt x="1589" y="1513"/>
                </a:lnTo>
                <a:lnTo>
                  <a:pt x="1593" y="1514"/>
                </a:lnTo>
                <a:lnTo>
                  <a:pt x="1596" y="1515"/>
                </a:lnTo>
                <a:lnTo>
                  <a:pt x="1597" y="1509"/>
                </a:lnTo>
                <a:lnTo>
                  <a:pt x="1598" y="1503"/>
                </a:lnTo>
                <a:lnTo>
                  <a:pt x="1599" y="1498"/>
                </a:lnTo>
                <a:lnTo>
                  <a:pt x="1600" y="1492"/>
                </a:lnTo>
                <a:lnTo>
                  <a:pt x="1601" y="1486"/>
                </a:lnTo>
                <a:lnTo>
                  <a:pt x="1602" y="1480"/>
                </a:lnTo>
                <a:lnTo>
                  <a:pt x="1602" y="1474"/>
                </a:lnTo>
                <a:lnTo>
                  <a:pt x="1602" y="1467"/>
                </a:lnTo>
                <a:lnTo>
                  <a:pt x="1598" y="1453"/>
                </a:lnTo>
                <a:lnTo>
                  <a:pt x="1593" y="1436"/>
                </a:lnTo>
                <a:lnTo>
                  <a:pt x="1587" y="1434"/>
                </a:lnTo>
                <a:lnTo>
                  <a:pt x="1587" y="1432"/>
                </a:lnTo>
                <a:lnTo>
                  <a:pt x="1588" y="1431"/>
                </a:lnTo>
                <a:lnTo>
                  <a:pt x="1589" y="1430"/>
                </a:lnTo>
                <a:lnTo>
                  <a:pt x="1590" y="1430"/>
                </a:lnTo>
                <a:lnTo>
                  <a:pt x="1591" y="1429"/>
                </a:lnTo>
                <a:lnTo>
                  <a:pt x="1591" y="1427"/>
                </a:lnTo>
                <a:lnTo>
                  <a:pt x="1590" y="1425"/>
                </a:lnTo>
                <a:lnTo>
                  <a:pt x="1589" y="1423"/>
                </a:lnTo>
                <a:lnTo>
                  <a:pt x="1586" y="1420"/>
                </a:lnTo>
                <a:lnTo>
                  <a:pt x="1583" y="1416"/>
                </a:lnTo>
                <a:lnTo>
                  <a:pt x="1582" y="1414"/>
                </a:lnTo>
                <a:lnTo>
                  <a:pt x="1581" y="1412"/>
                </a:lnTo>
                <a:lnTo>
                  <a:pt x="1581" y="1409"/>
                </a:lnTo>
                <a:lnTo>
                  <a:pt x="1582" y="1404"/>
                </a:lnTo>
                <a:lnTo>
                  <a:pt x="1582" y="1399"/>
                </a:lnTo>
                <a:lnTo>
                  <a:pt x="1582" y="1397"/>
                </a:lnTo>
                <a:lnTo>
                  <a:pt x="1582" y="1394"/>
                </a:lnTo>
                <a:lnTo>
                  <a:pt x="1580" y="1393"/>
                </a:lnTo>
                <a:lnTo>
                  <a:pt x="1576" y="1390"/>
                </a:lnTo>
                <a:lnTo>
                  <a:pt x="1574" y="1388"/>
                </a:lnTo>
                <a:lnTo>
                  <a:pt x="1573" y="1387"/>
                </a:lnTo>
                <a:lnTo>
                  <a:pt x="1574" y="1386"/>
                </a:lnTo>
                <a:lnTo>
                  <a:pt x="1576" y="1386"/>
                </a:lnTo>
                <a:lnTo>
                  <a:pt x="1579" y="1386"/>
                </a:lnTo>
                <a:lnTo>
                  <a:pt x="1578" y="1385"/>
                </a:lnTo>
                <a:lnTo>
                  <a:pt x="1578" y="1384"/>
                </a:lnTo>
                <a:lnTo>
                  <a:pt x="1579" y="1383"/>
                </a:lnTo>
                <a:lnTo>
                  <a:pt x="1584" y="1382"/>
                </a:lnTo>
                <a:lnTo>
                  <a:pt x="1585" y="1381"/>
                </a:lnTo>
                <a:lnTo>
                  <a:pt x="1584" y="1380"/>
                </a:lnTo>
                <a:lnTo>
                  <a:pt x="1582" y="1380"/>
                </a:lnTo>
                <a:lnTo>
                  <a:pt x="1581" y="1380"/>
                </a:lnTo>
                <a:lnTo>
                  <a:pt x="1580" y="1379"/>
                </a:lnTo>
                <a:lnTo>
                  <a:pt x="1580" y="1377"/>
                </a:lnTo>
                <a:lnTo>
                  <a:pt x="1581" y="1375"/>
                </a:lnTo>
                <a:lnTo>
                  <a:pt x="1581" y="1373"/>
                </a:lnTo>
                <a:lnTo>
                  <a:pt x="1583" y="1368"/>
                </a:lnTo>
                <a:lnTo>
                  <a:pt x="1590" y="1355"/>
                </a:lnTo>
                <a:lnTo>
                  <a:pt x="1590" y="1352"/>
                </a:lnTo>
                <a:lnTo>
                  <a:pt x="1590" y="1349"/>
                </a:lnTo>
                <a:lnTo>
                  <a:pt x="1590" y="1346"/>
                </a:lnTo>
                <a:lnTo>
                  <a:pt x="1590" y="1344"/>
                </a:lnTo>
                <a:lnTo>
                  <a:pt x="1592" y="1343"/>
                </a:lnTo>
                <a:lnTo>
                  <a:pt x="1594" y="1343"/>
                </a:lnTo>
                <a:lnTo>
                  <a:pt x="1597" y="1344"/>
                </a:lnTo>
                <a:lnTo>
                  <a:pt x="1599" y="1344"/>
                </a:lnTo>
                <a:lnTo>
                  <a:pt x="1600" y="1343"/>
                </a:lnTo>
                <a:lnTo>
                  <a:pt x="1600" y="1342"/>
                </a:lnTo>
                <a:lnTo>
                  <a:pt x="1600" y="1339"/>
                </a:lnTo>
                <a:lnTo>
                  <a:pt x="1601" y="1337"/>
                </a:lnTo>
                <a:lnTo>
                  <a:pt x="1601" y="1336"/>
                </a:lnTo>
                <a:lnTo>
                  <a:pt x="1602" y="1335"/>
                </a:lnTo>
                <a:lnTo>
                  <a:pt x="1606" y="1333"/>
                </a:lnTo>
                <a:lnTo>
                  <a:pt x="1612" y="1331"/>
                </a:lnTo>
                <a:lnTo>
                  <a:pt x="1618" y="1329"/>
                </a:lnTo>
                <a:lnTo>
                  <a:pt x="1620" y="1328"/>
                </a:lnTo>
                <a:lnTo>
                  <a:pt x="1621" y="1327"/>
                </a:lnTo>
                <a:lnTo>
                  <a:pt x="1622" y="1325"/>
                </a:lnTo>
                <a:lnTo>
                  <a:pt x="1622" y="1324"/>
                </a:lnTo>
                <a:lnTo>
                  <a:pt x="1622" y="1321"/>
                </a:lnTo>
                <a:lnTo>
                  <a:pt x="1622" y="1318"/>
                </a:lnTo>
                <a:lnTo>
                  <a:pt x="1623" y="1317"/>
                </a:lnTo>
                <a:lnTo>
                  <a:pt x="1624" y="1315"/>
                </a:lnTo>
                <a:lnTo>
                  <a:pt x="1629" y="1313"/>
                </a:lnTo>
                <a:lnTo>
                  <a:pt x="1634" y="1313"/>
                </a:lnTo>
                <a:lnTo>
                  <a:pt x="1639" y="1312"/>
                </a:lnTo>
                <a:lnTo>
                  <a:pt x="1641" y="1311"/>
                </a:lnTo>
                <a:lnTo>
                  <a:pt x="1644" y="1310"/>
                </a:lnTo>
                <a:lnTo>
                  <a:pt x="1645" y="1308"/>
                </a:lnTo>
                <a:lnTo>
                  <a:pt x="1646" y="1306"/>
                </a:lnTo>
                <a:lnTo>
                  <a:pt x="1648" y="1302"/>
                </a:lnTo>
                <a:lnTo>
                  <a:pt x="1650" y="1297"/>
                </a:lnTo>
                <a:lnTo>
                  <a:pt x="1652" y="1293"/>
                </a:lnTo>
                <a:lnTo>
                  <a:pt x="1654" y="1292"/>
                </a:lnTo>
                <a:lnTo>
                  <a:pt x="1656" y="1292"/>
                </a:lnTo>
                <a:lnTo>
                  <a:pt x="1661" y="1290"/>
                </a:lnTo>
                <a:lnTo>
                  <a:pt x="1655" y="1279"/>
                </a:lnTo>
                <a:lnTo>
                  <a:pt x="1658" y="1278"/>
                </a:lnTo>
                <a:lnTo>
                  <a:pt x="1661" y="1277"/>
                </a:lnTo>
                <a:lnTo>
                  <a:pt x="1664" y="1277"/>
                </a:lnTo>
                <a:lnTo>
                  <a:pt x="1666" y="1276"/>
                </a:lnTo>
                <a:lnTo>
                  <a:pt x="1663" y="1270"/>
                </a:lnTo>
                <a:lnTo>
                  <a:pt x="1664" y="1270"/>
                </a:lnTo>
                <a:lnTo>
                  <a:pt x="1669" y="1269"/>
                </a:lnTo>
                <a:lnTo>
                  <a:pt x="1677" y="1268"/>
                </a:lnTo>
                <a:lnTo>
                  <a:pt x="1683" y="1268"/>
                </a:lnTo>
                <a:lnTo>
                  <a:pt x="1681" y="1266"/>
                </a:lnTo>
                <a:lnTo>
                  <a:pt x="1680" y="1263"/>
                </a:lnTo>
                <a:lnTo>
                  <a:pt x="1677" y="1259"/>
                </a:lnTo>
                <a:lnTo>
                  <a:pt x="1675" y="1259"/>
                </a:lnTo>
                <a:lnTo>
                  <a:pt x="1672" y="1259"/>
                </a:lnTo>
                <a:lnTo>
                  <a:pt x="1666" y="1259"/>
                </a:lnTo>
                <a:lnTo>
                  <a:pt x="1666" y="1254"/>
                </a:lnTo>
                <a:lnTo>
                  <a:pt x="1672" y="1253"/>
                </a:lnTo>
                <a:lnTo>
                  <a:pt x="1675" y="1252"/>
                </a:lnTo>
                <a:lnTo>
                  <a:pt x="1677" y="1251"/>
                </a:lnTo>
                <a:lnTo>
                  <a:pt x="1677" y="1246"/>
                </a:lnTo>
                <a:lnTo>
                  <a:pt x="1677" y="1240"/>
                </a:lnTo>
                <a:lnTo>
                  <a:pt x="1675" y="1239"/>
                </a:lnTo>
                <a:lnTo>
                  <a:pt x="1672" y="1238"/>
                </a:lnTo>
                <a:lnTo>
                  <a:pt x="1669" y="1238"/>
                </a:lnTo>
                <a:lnTo>
                  <a:pt x="1666" y="1237"/>
                </a:lnTo>
                <a:lnTo>
                  <a:pt x="1665" y="1236"/>
                </a:lnTo>
                <a:lnTo>
                  <a:pt x="1664" y="1235"/>
                </a:lnTo>
                <a:lnTo>
                  <a:pt x="1664" y="1233"/>
                </a:lnTo>
                <a:lnTo>
                  <a:pt x="1663" y="1230"/>
                </a:lnTo>
                <a:lnTo>
                  <a:pt x="1662" y="1229"/>
                </a:lnTo>
                <a:lnTo>
                  <a:pt x="1661" y="1228"/>
                </a:lnTo>
                <a:lnTo>
                  <a:pt x="1666" y="1223"/>
                </a:lnTo>
                <a:lnTo>
                  <a:pt x="1669" y="1219"/>
                </a:lnTo>
                <a:lnTo>
                  <a:pt x="1669" y="1218"/>
                </a:lnTo>
                <a:lnTo>
                  <a:pt x="1669" y="1217"/>
                </a:lnTo>
                <a:lnTo>
                  <a:pt x="1666" y="1216"/>
                </a:lnTo>
                <a:lnTo>
                  <a:pt x="1665" y="1216"/>
                </a:lnTo>
                <a:lnTo>
                  <a:pt x="1665" y="1215"/>
                </a:lnTo>
                <a:lnTo>
                  <a:pt x="1665" y="1213"/>
                </a:lnTo>
                <a:lnTo>
                  <a:pt x="1666" y="1211"/>
                </a:lnTo>
                <a:lnTo>
                  <a:pt x="1666" y="1210"/>
                </a:lnTo>
                <a:lnTo>
                  <a:pt x="1666" y="1209"/>
                </a:lnTo>
                <a:lnTo>
                  <a:pt x="1665" y="1207"/>
                </a:lnTo>
                <a:lnTo>
                  <a:pt x="1664" y="1206"/>
                </a:lnTo>
                <a:lnTo>
                  <a:pt x="1661" y="1205"/>
                </a:lnTo>
                <a:lnTo>
                  <a:pt x="1655" y="1203"/>
                </a:lnTo>
                <a:lnTo>
                  <a:pt x="1656" y="1201"/>
                </a:lnTo>
                <a:lnTo>
                  <a:pt x="1656" y="1200"/>
                </a:lnTo>
                <a:lnTo>
                  <a:pt x="1658" y="1200"/>
                </a:lnTo>
                <a:lnTo>
                  <a:pt x="1661" y="1200"/>
                </a:lnTo>
                <a:lnTo>
                  <a:pt x="1661" y="1199"/>
                </a:lnTo>
                <a:lnTo>
                  <a:pt x="1660" y="1197"/>
                </a:lnTo>
                <a:lnTo>
                  <a:pt x="1659" y="1195"/>
                </a:lnTo>
                <a:lnTo>
                  <a:pt x="1658" y="1193"/>
                </a:lnTo>
                <a:lnTo>
                  <a:pt x="1658" y="1192"/>
                </a:lnTo>
                <a:lnTo>
                  <a:pt x="1660" y="1189"/>
                </a:lnTo>
                <a:lnTo>
                  <a:pt x="1662" y="1186"/>
                </a:lnTo>
                <a:lnTo>
                  <a:pt x="1663" y="1184"/>
                </a:lnTo>
                <a:lnTo>
                  <a:pt x="1664" y="1181"/>
                </a:lnTo>
                <a:lnTo>
                  <a:pt x="1665" y="1175"/>
                </a:lnTo>
                <a:lnTo>
                  <a:pt x="1665" y="1171"/>
                </a:lnTo>
                <a:lnTo>
                  <a:pt x="1666" y="1166"/>
                </a:lnTo>
                <a:lnTo>
                  <a:pt x="1669" y="1166"/>
                </a:lnTo>
                <a:lnTo>
                  <a:pt x="1672" y="1166"/>
                </a:lnTo>
                <a:lnTo>
                  <a:pt x="1677" y="1164"/>
                </a:lnTo>
                <a:lnTo>
                  <a:pt x="1678" y="1165"/>
                </a:lnTo>
                <a:lnTo>
                  <a:pt x="1679" y="1167"/>
                </a:lnTo>
                <a:lnTo>
                  <a:pt x="1680" y="1168"/>
                </a:lnTo>
                <a:lnTo>
                  <a:pt x="1681" y="1169"/>
                </a:lnTo>
                <a:lnTo>
                  <a:pt x="1680" y="1169"/>
                </a:lnTo>
                <a:lnTo>
                  <a:pt x="1678" y="1171"/>
                </a:lnTo>
                <a:lnTo>
                  <a:pt x="1677" y="1172"/>
                </a:lnTo>
                <a:lnTo>
                  <a:pt x="1675" y="1177"/>
                </a:lnTo>
                <a:lnTo>
                  <a:pt x="1673" y="1182"/>
                </a:lnTo>
                <a:lnTo>
                  <a:pt x="1672" y="1187"/>
                </a:lnTo>
                <a:lnTo>
                  <a:pt x="1671" y="1196"/>
                </a:lnTo>
                <a:lnTo>
                  <a:pt x="1670" y="1199"/>
                </a:lnTo>
                <a:lnTo>
                  <a:pt x="1670" y="1200"/>
                </a:lnTo>
                <a:lnTo>
                  <a:pt x="1669" y="1200"/>
                </a:lnTo>
                <a:lnTo>
                  <a:pt x="1671" y="1203"/>
                </a:lnTo>
                <a:lnTo>
                  <a:pt x="1672" y="1205"/>
                </a:lnTo>
                <a:lnTo>
                  <a:pt x="1672" y="1206"/>
                </a:lnTo>
                <a:lnTo>
                  <a:pt x="1673" y="1206"/>
                </a:lnTo>
                <a:lnTo>
                  <a:pt x="1674" y="1205"/>
                </a:lnTo>
                <a:lnTo>
                  <a:pt x="1676" y="1204"/>
                </a:lnTo>
                <a:lnTo>
                  <a:pt x="1679" y="1203"/>
                </a:lnTo>
                <a:lnTo>
                  <a:pt x="1681" y="1203"/>
                </a:lnTo>
                <a:lnTo>
                  <a:pt x="1683" y="1203"/>
                </a:lnTo>
                <a:lnTo>
                  <a:pt x="1683" y="1209"/>
                </a:lnTo>
                <a:lnTo>
                  <a:pt x="1687" y="1208"/>
                </a:lnTo>
                <a:lnTo>
                  <a:pt x="1692" y="1209"/>
                </a:lnTo>
                <a:lnTo>
                  <a:pt x="1694" y="1196"/>
                </a:lnTo>
                <a:lnTo>
                  <a:pt x="1697" y="1180"/>
                </a:lnTo>
                <a:lnTo>
                  <a:pt x="1692" y="1180"/>
                </a:lnTo>
                <a:lnTo>
                  <a:pt x="1690" y="1179"/>
                </a:lnTo>
                <a:lnTo>
                  <a:pt x="1689" y="1179"/>
                </a:lnTo>
                <a:lnTo>
                  <a:pt x="1689" y="1178"/>
                </a:lnTo>
                <a:lnTo>
                  <a:pt x="1689" y="1173"/>
                </a:lnTo>
                <a:lnTo>
                  <a:pt x="1689" y="1169"/>
                </a:lnTo>
                <a:lnTo>
                  <a:pt x="1698" y="1170"/>
                </a:lnTo>
                <a:lnTo>
                  <a:pt x="1704" y="1169"/>
                </a:lnTo>
                <a:lnTo>
                  <a:pt x="1709" y="1168"/>
                </a:lnTo>
                <a:lnTo>
                  <a:pt x="1710" y="1167"/>
                </a:lnTo>
                <a:lnTo>
                  <a:pt x="1711" y="1166"/>
                </a:lnTo>
                <a:lnTo>
                  <a:pt x="1714" y="1163"/>
                </a:lnTo>
                <a:lnTo>
                  <a:pt x="1716" y="1159"/>
                </a:lnTo>
                <a:lnTo>
                  <a:pt x="1718" y="1154"/>
                </a:lnTo>
                <a:lnTo>
                  <a:pt x="1722" y="1147"/>
                </a:lnTo>
                <a:lnTo>
                  <a:pt x="1714" y="1141"/>
                </a:lnTo>
                <a:lnTo>
                  <a:pt x="1714" y="1139"/>
                </a:lnTo>
                <a:lnTo>
                  <a:pt x="1714" y="1137"/>
                </a:lnTo>
                <a:lnTo>
                  <a:pt x="1715" y="1136"/>
                </a:lnTo>
                <a:lnTo>
                  <a:pt x="1717" y="1135"/>
                </a:lnTo>
                <a:lnTo>
                  <a:pt x="1717" y="1134"/>
                </a:lnTo>
                <a:lnTo>
                  <a:pt x="1717" y="1133"/>
                </a:lnTo>
                <a:lnTo>
                  <a:pt x="1725" y="1125"/>
                </a:lnTo>
                <a:lnTo>
                  <a:pt x="1729" y="1121"/>
                </a:lnTo>
                <a:lnTo>
                  <a:pt x="1732" y="1119"/>
                </a:lnTo>
                <a:lnTo>
                  <a:pt x="1734" y="1119"/>
                </a:lnTo>
                <a:lnTo>
                  <a:pt x="1736" y="1118"/>
                </a:lnTo>
                <a:lnTo>
                  <a:pt x="1739" y="1119"/>
                </a:lnTo>
                <a:lnTo>
                  <a:pt x="1742" y="1119"/>
                </a:lnTo>
                <a:lnTo>
                  <a:pt x="1745" y="1119"/>
                </a:lnTo>
                <a:lnTo>
                  <a:pt x="1748" y="1113"/>
                </a:lnTo>
                <a:lnTo>
                  <a:pt x="1751" y="1113"/>
                </a:lnTo>
                <a:lnTo>
                  <a:pt x="1753" y="1113"/>
                </a:lnTo>
                <a:lnTo>
                  <a:pt x="1755" y="1114"/>
                </a:lnTo>
                <a:lnTo>
                  <a:pt x="1758" y="1115"/>
                </a:lnTo>
                <a:lnTo>
                  <a:pt x="1760" y="1116"/>
                </a:lnTo>
                <a:lnTo>
                  <a:pt x="1762" y="1116"/>
                </a:lnTo>
                <a:lnTo>
                  <a:pt x="1763" y="1109"/>
                </a:lnTo>
                <a:lnTo>
                  <a:pt x="1765" y="1102"/>
                </a:lnTo>
                <a:lnTo>
                  <a:pt x="1768" y="1103"/>
                </a:lnTo>
                <a:lnTo>
                  <a:pt x="1769" y="1105"/>
                </a:lnTo>
                <a:lnTo>
                  <a:pt x="1769" y="1107"/>
                </a:lnTo>
                <a:lnTo>
                  <a:pt x="1770" y="1110"/>
                </a:lnTo>
                <a:lnTo>
                  <a:pt x="1775" y="1110"/>
                </a:lnTo>
                <a:lnTo>
                  <a:pt x="1777" y="1109"/>
                </a:lnTo>
                <a:lnTo>
                  <a:pt x="1777" y="1108"/>
                </a:lnTo>
                <a:lnTo>
                  <a:pt x="1776" y="1107"/>
                </a:lnTo>
                <a:lnTo>
                  <a:pt x="1779" y="1106"/>
                </a:lnTo>
                <a:lnTo>
                  <a:pt x="1781" y="1105"/>
                </a:lnTo>
                <a:lnTo>
                  <a:pt x="1784" y="1104"/>
                </a:lnTo>
                <a:lnTo>
                  <a:pt x="1778" y="1100"/>
                </a:lnTo>
                <a:lnTo>
                  <a:pt x="1770" y="1096"/>
                </a:lnTo>
                <a:lnTo>
                  <a:pt x="1772" y="1093"/>
                </a:lnTo>
                <a:lnTo>
                  <a:pt x="1775" y="1091"/>
                </a:lnTo>
                <a:lnTo>
                  <a:pt x="1777" y="1089"/>
                </a:lnTo>
                <a:lnTo>
                  <a:pt x="1779" y="1088"/>
                </a:lnTo>
                <a:lnTo>
                  <a:pt x="1779" y="1085"/>
                </a:lnTo>
                <a:lnTo>
                  <a:pt x="1779" y="1084"/>
                </a:lnTo>
                <a:lnTo>
                  <a:pt x="1779" y="1083"/>
                </a:lnTo>
                <a:lnTo>
                  <a:pt x="1778" y="1083"/>
                </a:lnTo>
                <a:lnTo>
                  <a:pt x="1776" y="1082"/>
                </a:lnTo>
                <a:lnTo>
                  <a:pt x="1776" y="1081"/>
                </a:lnTo>
                <a:lnTo>
                  <a:pt x="1776" y="1079"/>
                </a:lnTo>
                <a:lnTo>
                  <a:pt x="1782" y="1076"/>
                </a:lnTo>
                <a:lnTo>
                  <a:pt x="1783" y="1074"/>
                </a:lnTo>
                <a:lnTo>
                  <a:pt x="1784" y="1072"/>
                </a:lnTo>
                <a:lnTo>
                  <a:pt x="1785" y="1067"/>
                </a:lnTo>
                <a:lnTo>
                  <a:pt x="1786" y="1062"/>
                </a:lnTo>
                <a:lnTo>
                  <a:pt x="1786" y="1059"/>
                </a:lnTo>
                <a:lnTo>
                  <a:pt x="1787" y="1057"/>
                </a:lnTo>
                <a:lnTo>
                  <a:pt x="1797" y="1057"/>
                </a:lnTo>
                <a:lnTo>
                  <a:pt x="1801" y="1056"/>
                </a:lnTo>
                <a:lnTo>
                  <a:pt x="1804" y="1055"/>
                </a:lnTo>
                <a:lnTo>
                  <a:pt x="1807" y="1053"/>
                </a:lnTo>
                <a:lnTo>
                  <a:pt x="1809" y="1050"/>
                </a:lnTo>
                <a:lnTo>
                  <a:pt x="1815" y="1040"/>
                </a:lnTo>
                <a:lnTo>
                  <a:pt x="1815" y="1048"/>
                </a:lnTo>
                <a:lnTo>
                  <a:pt x="1824" y="1043"/>
                </a:lnTo>
                <a:lnTo>
                  <a:pt x="1823" y="1043"/>
                </a:lnTo>
                <a:lnTo>
                  <a:pt x="1824" y="1044"/>
                </a:lnTo>
                <a:lnTo>
                  <a:pt x="1826" y="1046"/>
                </a:lnTo>
                <a:lnTo>
                  <a:pt x="1829" y="1048"/>
                </a:lnTo>
                <a:lnTo>
                  <a:pt x="1843" y="1037"/>
                </a:lnTo>
                <a:lnTo>
                  <a:pt x="1840" y="1029"/>
                </a:lnTo>
                <a:lnTo>
                  <a:pt x="1838" y="1020"/>
                </a:lnTo>
                <a:lnTo>
                  <a:pt x="1840" y="1021"/>
                </a:lnTo>
                <a:lnTo>
                  <a:pt x="1842" y="1023"/>
                </a:lnTo>
                <a:lnTo>
                  <a:pt x="1846" y="1026"/>
                </a:lnTo>
                <a:lnTo>
                  <a:pt x="1849" y="1026"/>
                </a:lnTo>
                <a:lnTo>
                  <a:pt x="1851" y="1026"/>
                </a:lnTo>
                <a:lnTo>
                  <a:pt x="1856" y="1025"/>
                </a:lnTo>
                <a:lnTo>
                  <a:pt x="1860" y="1024"/>
                </a:lnTo>
                <a:lnTo>
                  <a:pt x="1862" y="1023"/>
                </a:lnTo>
                <a:lnTo>
                  <a:pt x="1863" y="1023"/>
                </a:lnTo>
                <a:lnTo>
                  <a:pt x="1861" y="1019"/>
                </a:lnTo>
                <a:lnTo>
                  <a:pt x="1860" y="1016"/>
                </a:lnTo>
                <a:lnTo>
                  <a:pt x="1860" y="1015"/>
                </a:lnTo>
                <a:lnTo>
                  <a:pt x="1860" y="1014"/>
                </a:lnTo>
                <a:lnTo>
                  <a:pt x="1861" y="1014"/>
                </a:lnTo>
                <a:lnTo>
                  <a:pt x="1862" y="1014"/>
                </a:lnTo>
                <a:lnTo>
                  <a:pt x="1864" y="1016"/>
                </a:lnTo>
                <a:lnTo>
                  <a:pt x="1866" y="1020"/>
                </a:lnTo>
                <a:lnTo>
                  <a:pt x="1872" y="1015"/>
                </a:lnTo>
                <a:lnTo>
                  <a:pt x="1877" y="1010"/>
                </a:lnTo>
                <a:lnTo>
                  <a:pt x="1879" y="1007"/>
                </a:lnTo>
                <a:lnTo>
                  <a:pt x="1881" y="1004"/>
                </a:lnTo>
                <a:lnTo>
                  <a:pt x="1886" y="998"/>
                </a:lnTo>
                <a:lnTo>
                  <a:pt x="1886" y="1000"/>
                </a:lnTo>
                <a:lnTo>
                  <a:pt x="1886" y="999"/>
                </a:lnTo>
                <a:lnTo>
                  <a:pt x="1887" y="999"/>
                </a:lnTo>
                <a:lnTo>
                  <a:pt x="1888" y="1000"/>
                </a:lnTo>
                <a:lnTo>
                  <a:pt x="1889" y="1000"/>
                </a:lnTo>
                <a:lnTo>
                  <a:pt x="1891" y="1003"/>
                </a:lnTo>
                <a:lnTo>
                  <a:pt x="1886" y="1003"/>
                </a:lnTo>
                <a:lnTo>
                  <a:pt x="1885" y="1008"/>
                </a:lnTo>
                <a:lnTo>
                  <a:pt x="1885" y="1011"/>
                </a:lnTo>
                <a:lnTo>
                  <a:pt x="1884" y="1013"/>
                </a:lnTo>
                <a:lnTo>
                  <a:pt x="1883" y="1017"/>
                </a:lnTo>
                <a:lnTo>
                  <a:pt x="1894" y="1014"/>
                </a:lnTo>
                <a:lnTo>
                  <a:pt x="1905" y="1012"/>
                </a:lnTo>
                <a:lnTo>
                  <a:pt x="1908" y="1014"/>
                </a:lnTo>
                <a:lnTo>
                  <a:pt x="1909" y="1016"/>
                </a:lnTo>
                <a:lnTo>
                  <a:pt x="1909" y="1017"/>
                </a:lnTo>
                <a:lnTo>
                  <a:pt x="1908" y="1017"/>
                </a:lnTo>
                <a:lnTo>
                  <a:pt x="1905" y="1018"/>
                </a:lnTo>
                <a:lnTo>
                  <a:pt x="1904" y="1020"/>
                </a:lnTo>
                <a:lnTo>
                  <a:pt x="1904" y="1022"/>
                </a:lnTo>
                <a:lnTo>
                  <a:pt x="1902" y="1026"/>
                </a:lnTo>
                <a:lnTo>
                  <a:pt x="1893" y="1023"/>
                </a:lnTo>
                <a:lnTo>
                  <a:pt x="1890" y="1023"/>
                </a:lnTo>
                <a:lnTo>
                  <a:pt x="1888" y="1023"/>
                </a:lnTo>
                <a:lnTo>
                  <a:pt x="1883" y="1025"/>
                </a:lnTo>
                <a:lnTo>
                  <a:pt x="1874" y="1029"/>
                </a:lnTo>
                <a:lnTo>
                  <a:pt x="1874" y="1034"/>
                </a:lnTo>
                <a:lnTo>
                  <a:pt x="1870" y="1034"/>
                </a:lnTo>
                <a:lnTo>
                  <a:pt x="1866" y="1034"/>
                </a:lnTo>
                <a:lnTo>
                  <a:pt x="1863" y="1039"/>
                </a:lnTo>
                <a:lnTo>
                  <a:pt x="1861" y="1042"/>
                </a:lnTo>
                <a:lnTo>
                  <a:pt x="1858" y="1045"/>
                </a:lnTo>
                <a:lnTo>
                  <a:pt x="1857" y="1048"/>
                </a:lnTo>
                <a:lnTo>
                  <a:pt x="1857" y="1050"/>
                </a:lnTo>
                <a:lnTo>
                  <a:pt x="1857" y="1051"/>
                </a:lnTo>
                <a:lnTo>
                  <a:pt x="1858" y="1054"/>
                </a:lnTo>
                <a:lnTo>
                  <a:pt x="1862" y="1057"/>
                </a:lnTo>
                <a:lnTo>
                  <a:pt x="1869" y="1059"/>
                </a:lnTo>
                <a:lnTo>
                  <a:pt x="1872" y="1065"/>
                </a:lnTo>
                <a:lnTo>
                  <a:pt x="1874" y="1065"/>
                </a:lnTo>
                <a:lnTo>
                  <a:pt x="1875" y="1065"/>
                </a:lnTo>
                <a:lnTo>
                  <a:pt x="1876" y="1065"/>
                </a:lnTo>
                <a:lnTo>
                  <a:pt x="1877" y="1064"/>
                </a:lnTo>
                <a:lnTo>
                  <a:pt x="1878" y="1062"/>
                </a:lnTo>
                <a:lnTo>
                  <a:pt x="1879" y="1062"/>
                </a:lnTo>
                <a:lnTo>
                  <a:pt x="1880" y="1062"/>
                </a:lnTo>
                <a:lnTo>
                  <a:pt x="1880" y="1063"/>
                </a:lnTo>
                <a:lnTo>
                  <a:pt x="1880" y="1065"/>
                </a:lnTo>
                <a:lnTo>
                  <a:pt x="1881" y="1067"/>
                </a:lnTo>
                <a:lnTo>
                  <a:pt x="1883" y="1068"/>
                </a:lnTo>
                <a:lnTo>
                  <a:pt x="1894" y="1059"/>
                </a:lnTo>
                <a:lnTo>
                  <a:pt x="1895" y="1058"/>
                </a:lnTo>
                <a:lnTo>
                  <a:pt x="1895" y="1056"/>
                </a:lnTo>
                <a:lnTo>
                  <a:pt x="1895" y="1052"/>
                </a:lnTo>
                <a:lnTo>
                  <a:pt x="1895" y="1048"/>
                </a:lnTo>
                <a:lnTo>
                  <a:pt x="1897" y="1045"/>
                </a:lnTo>
                <a:lnTo>
                  <a:pt x="1900" y="1043"/>
                </a:lnTo>
                <a:lnTo>
                  <a:pt x="1901" y="1042"/>
                </a:lnTo>
                <a:lnTo>
                  <a:pt x="1902" y="1042"/>
                </a:lnTo>
                <a:lnTo>
                  <a:pt x="1903" y="1043"/>
                </a:lnTo>
                <a:lnTo>
                  <a:pt x="1903" y="1044"/>
                </a:lnTo>
                <a:lnTo>
                  <a:pt x="1904" y="1045"/>
                </a:lnTo>
                <a:lnTo>
                  <a:pt x="1906" y="1046"/>
                </a:lnTo>
                <a:lnTo>
                  <a:pt x="1907" y="1046"/>
                </a:lnTo>
                <a:lnTo>
                  <a:pt x="1908" y="1045"/>
                </a:lnTo>
                <a:lnTo>
                  <a:pt x="1909" y="1041"/>
                </a:lnTo>
                <a:lnTo>
                  <a:pt x="1910" y="1038"/>
                </a:lnTo>
                <a:lnTo>
                  <a:pt x="1911" y="1037"/>
                </a:lnTo>
                <a:lnTo>
                  <a:pt x="1912" y="1037"/>
                </a:lnTo>
                <a:lnTo>
                  <a:pt x="1914" y="1036"/>
                </a:lnTo>
                <a:lnTo>
                  <a:pt x="1918" y="1037"/>
                </a:lnTo>
                <a:lnTo>
                  <a:pt x="1921" y="1037"/>
                </a:lnTo>
                <a:lnTo>
                  <a:pt x="1925" y="1037"/>
                </a:lnTo>
                <a:lnTo>
                  <a:pt x="1925" y="1034"/>
                </a:lnTo>
                <a:lnTo>
                  <a:pt x="1935" y="1029"/>
                </a:lnTo>
                <a:lnTo>
                  <a:pt x="1939" y="1026"/>
                </a:lnTo>
                <a:lnTo>
                  <a:pt x="1941" y="1025"/>
                </a:lnTo>
                <a:lnTo>
                  <a:pt x="1942" y="1023"/>
                </a:lnTo>
                <a:lnTo>
                  <a:pt x="1942" y="1017"/>
                </a:lnTo>
                <a:lnTo>
                  <a:pt x="1947" y="1017"/>
                </a:lnTo>
                <a:lnTo>
                  <a:pt x="1946" y="1013"/>
                </a:lnTo>
                <a:lnTo>
                  <a:pt x="1945" y="1010"/>
                </a:lnTo>
                <a:lnTo>
                  <a:pt x="1944" y="1006"/>
                </a:lnTo>
                <a:lnTo>
                  <a:pt x="1942" y="1000"/>
                </a:lnTo>
                <a:lnTo>
                  <a:pt x="1936" y="1005"/>
                </a:lnTo>
                <a:lnTo>
                  <a:pt x="1933" y="1007"/>
                </a:lnTo>
                <a:lnTo>
                  <a:pt x="1930" y="1009"/>
                </a:lnTo>
                <a:lnTo>
                  <a:pt x="1927" y="1010"/>
                </a:lnTo>
                <a:lnTo>
                  <a:pt x="1924" y="1011"/>
                </a:lnTo>
                <a:lnTo>
                  <a:pt x="1922" y="1011"/>
                </a:lnTo>
                <a:lnTo>
                  <a:pt x="1920" y="1010"/>
                </a:lnTo>
                <a:lnTo>
                  <a:pt x="1917" y="1009"/>
                </a:lnTo>
                <a:lnTo>
                  <a:pt x="1911" y="1003"/>
                </a:lnTo>
                <a:lnTo>
                  <a:pt x="1907" y="1003"/>
                </a:lnTo>
                <a:lnTo>
                  <a:pt x="1906" y="1005"/>
                </a:lnTo>
                <a:lnTo>
                  <a:pt x="1905" y="1006"/>
                </a:lnTo>
                <a:lnTo>
                  <a:pt x="1904" y="1006"/>
                </a:lnTo>
                <a:lnTo>
                  <a:pt x="1902" y="1006"/>
                </a:lnTo>
                <a:lnTo>
                  <a:pt x="1903" y="1005"/>
                </a:lnTo>
                <a:lnTo>
                  <a:pt x="1902" y="1003"/>
                </a:lnTo>
                <a:lnTo>
                  <a:pt x="1900" y="1000"/>
                </a:lnTo>
                <a:lnTo>
                  <a:pt x="1905" y="1000"/>
                </a:lnTo>
                <a:lnTo>
                  <a:pt x="1905" y="999"/>
                </a:lnTo>
                <a:lnTo>
                  <a:pt x="1906" y="998"/>
                </a:lnTo>
                <a:lnTo>
                  <a:pt x="1908" y="995"/>
                </a:lnTo>
                <a:lnTo>
                  <a:pt x="1898" y="992"/>
                </a:lnTo>
                <a:lnTo>
                  <a:pt x="1893" y="991"/>
                </a:lnTo>
                <a:lnTo>
                  <a:pt x="1888" y="989"/>
                </a:lnTo>
                <a:lnTo>
                  <a:pt x="1889" y="986"/>
                </a:lnTo>
                <a:lnTo>
                  <a:pt x="1890" y="981"/>
                </a:lnTo>
                <a:lnTo>
                  <a:pt x="1890" y="977"/>
                </a:lnTo>
                <a:lnTo>
                  <a:pt x="1889" y="976"/>
                </a:lnTo>
                <a:lnTo>
                  <a:pt x="1888" y="975"/>
                </a:lnTo>
                <a:lnTo>
                  <a:pt x="1890" y="975"/>
                </a:lnTo>
                <a:lnTo>
                  <a:pt x="1891" y="975"/>
                </a:lnTo>
                <a:lnTo>
                  <a:pt x="1891" y="974"/>
                </a:lnTo>
                <a:lnTo>
                  <a:pt x="1891" y="972"/>
                </a:lnTo>
                <a:lnTo>
                  <a:pt x="1891" y="969"/>
                </a:lnTo>
                <a:lnTo>
                  <a:pt x="1887" y="970"/>
                </a:lnTo>
                <a:lnTo>
                  <a:pt x="1885" y="971"/>
                </a:lnTo>
                <a:lnTo>
                  <a:pt x="1885" y="972"/>
                </a:lnTo>
                <a:lnTo>
                  <a:pt x="1886" y="972"/>
                </a:lnTo>
                <a:lnTo>
                  <a:pt x="1883" y="972"/>
                </a:lnTo>
                <a:lnTo>
                  <a:pt x="1886" y="964"/>
                </a:lnTo>
                <a:lnTo>
                  <a:pt x="1886" y="962"/>
                </a:lnTo>
                <a:lnTo>
                  <a:pt x="1886" y="961"/>
                </a:lnTo>
                <a:lnTo>
                  <a:pt x="1888" y="955"/>
                </a:lnTo>
                <a:lnTo>
                  <a:pt x="1890" y="951"/>
                </a:lnTo>
                <a:lnTo>
                  <a:pt x="1890" y="949"/>
                </a:lnTo>
                <a:lnTo>
                  <a:pt x="1889" y="948"/>
                </a:lnTo>
                <a:lnTo>
                  <a:pt x="1888" y="947"/>
                </a:lnTo>
                <a:lnTo>
                  <a:pt x="1883" y="948"/>
                </a:lnTo>
                <a:lnTo>
                  <a:pt x="1872" y="949"/>
                </a:lnTo>
                <a:lnTo>
                  <a:pt x="1864" y="950"/>
                </a:lnTo>
                <a:lnTo>
                  <a:pt x="1863" y="950"/>
                </a:lnTo>
                <a:lnTo>
                  <a:pt x="1866" y="950"/>
                </a:lnTo>
                <a:lnTo>
                  <a:pt x="1863" y="944"/>
                </a:lnTo>
                <a:lnTo>
                  <a:pt x="1860" y="939"/>
                </a:lnTo>
                <a:lnTo>
                  <a:pt x="1862" y="939"/>
                </a:lnTo>
                <a:lnTo>
                  <a:pt x="1864" y="939"/>
                </a:lnTo>
                <a:lnTo>
                  <a:pt x="1865" y="938"/>
                </a:lnTo>
                <a:lnTo>
                  <a:pt x="1865" y="937"/>
                </a:lnTo>
                <a:lnTo>
                  <a:pt x="1866" y="936"/>
                </a:lnTo>
                <a:lnTo>
                  <a:pt x="1867" y="935"/>
                </a:lnTo>
                <a:lnTo>
                  <a:pt x="1869" y="936"/>
                </a:lnTo>
                <a:lnTo>
                  <a:pt x="1874" y="944"/>
                </a:lnTo>
                <a:lnTo>
                  <a:pt x="1876" y="943"/>
                </a:lnTo>
                <a:lnTo>
                  <a:pt x="1877" y="942"/>
                </a:lnTo>
                <a:lnTo>
                  <a:pt x="1883" y="941"/>
                </a:lnTo>
                <a:lnTo>
                  <a:pt x="1884" y="935"/>
                </a:lnTo>
                <a:lnTo>
                  <a:pt x="1885" y="932"/>
                </a:lnTo>
                <a:lnTo>
                  <a:pt x="1885" y="931"/>
                </a:lnTo>
                <a:lnTo>
                  <a:pt x="1886" y="930"/>
                </a:lnTo>
                <a:lnTo>
                  <a:pt x="1890" y="930"/>
                </a:lnTo>
                <a:lnTo>
                  <a:pt x="1894" y="930"/>
                </a:lnTo>
                <a:lnTo>
                  <a:pt x="1895" y="928"/>
                </a:lnTo>
                <a:lnTo>
                  <a:pt x="1895" y="927"/>
                </a:lnTo>
                <a:lnTo>
                  <a:pt x="1894" y="923"/>
                </a:lnTo>
                <a:lnTo>
                  <a:pt x="1893" y="919"/>
                </a:lnTo>
                <a:lnTo>
                  <a:pt x="1893" y="918"/>
                </a:lnTo>
                <a:lnTo>
                  <a:pt x="1894" y="916"/>
                </a:lnTo>
                <a:lnTo>
                  <a:pt x="1895" y="917"/>
                </a:lnTo>
                <a:lnTo>
                  <a:pt x="1896" y="917"/>
                </a:lnTo>
                <a:lnTo>
                  <a:pt x="1897" y="917"/>
                </a:lnTo>
                <a:lnTo>
                  <a:pt x="1898" y="916"/>
                </a:lnTo>
                <a:lnTo>
                  <a:pt x="1900" y="913"/>
                </a:lnTo>
                <a:lnTo>
                  <a:pt x="1894" y="910"/>
                </a:lnTo>
                <a:lnTo>
                  <a:pt x="1892" y="908"/>
                </a:lnTo>
                <a:lnTo>
                  <a:pt x="1891" y="906"/>
                </a:lnTo>
                <a:lnTo>
                  <a:pt x="1891" y="905"/>
                </a:lnTo>
                <a:lnTo>
                  <a:pt x="1891" y="902"/>
                </a:lnTo>
                <a:lnTo>
                  <a:pt x="1886" y="900"/>
                </a:lnTo>
                <a:lnTo>
                  <a:pt x="1881" y="899"/>
                </a:lnTo>
                <a:lnTo>
                  <a:pt x="1876" y="899"/>
                </a:lnTo>
                <a:lnTo>
                  <a:pt x="1871" y="900"/>
                </a:lnTo>
                <a:lnTo>
                  <a:pt x="1867" y="901"/>
                </a:lnTo>
                <a:lnTo>
                  <a:pt x="1863" y="902"/>
                </a:lnTo>
                <a:lnTo>
                  <a:pt x="1855" y="905"/>
                </a:lnTo>
                <a:lnTo>
                  <a:pt x="1849" y="907"/>
                </a:lnTo>
                <a:lnTo>
                  <a:pt x="1843" y="910"/>
                </a:lnTo>
                <a:lnTo>
                  <a:pt x="1834" y="915"/>
                </a:lnTo>
                <a:lnTo>
                  <a:pt x="1825" y="921"/>
                </a:lnTo>
                <a:lnTo>
                  <a:pt x="1817" y="928"/>
                </a:lnTo>
                <a:lnTo>
                  <a:pt x="1809" y="935"/>
                </a:lnTo>
                <a:lnTo>
                  <a:pt x="1794" y="950"/>
                </a:lnTo>
                <a:lnTo>
                  <a:pt x="1782" y="967"/>
                </a:lnTo>
                <a:lnTo>
                  <a:pt x="1786" y="959"/>
                </a:lnTo>
                <a:lnTo>
                  <a:pt x="1790" y="953"/>
                </a:lnTo>
                <a:lnTo>
                  <a:pt x="1793" y="945"/>
                </a:lnTo>
                <a:lnTo>
                  <a:pt x="1796" y="939"/>
                </a:lnTo>
                <a:lnTo>
                  <a:pt x="1793" y="938"/>
                </a:lnTo>
                <a:lnTo>
                  <a:pt x="1791" y="939"/>
                </a:lnTo>
                <a:lnTo>
                  <a:pt x="1790" y="938"/>
                </a:lnTo>
                <a:lnTo>
                  <a:pt x="1789" y="937"/>
                </a:lnTo>
                <a:lnTo>
                  <a:pt x="1790" y="936"/>
                </a:lnTo>
                <a:lnTo>
                  <a:pt x="1791" y="935"/>
                </a:lnTo>
                <a:lnTo>
                  <a:pt x="1791" y="934"/>
                </a:lnTo>
                <a:lnTo>
                  <a:pt x="1794" y="934"/>
                </a:lnTo>
                <a:lnTo>
                  <a:pt x="1796" y="934"/>
                </a:lnTo>
                <a:lnTo>
                  <a:pt x="1798" y="933"/>
                </a:lnTo>
                <a:lnTo>
                  <a:pt x="1800" y="931"/>
                </a:lnTo>
                <a:lnTo>
                  <a:pt x="1802" y="929"/>
                </a:lnTo>
                <a:lnTo>
                  <a:pt x="1804" y="925"/>
                </a:lnTo>
                <a:lnTo>
                  <a:pt x="1807" y="920"/>
                </a:lnTo>
                <a:lnTo>
                  <a:pt x="1810" y="916"/>
                </a:lnTo>
                <a:lnTo>
                  <a:pt x="1811" y="915"/>
                </a:lnTo>
                <a:lnTo>
                  <a:pt x="1814" y="916"/>
                </a:lnTo>
                <a:lnTo>
                  <a:pt x="1816" y="916"/>
                </a:lnTo>
                <a:lnTo>
                  <a:pt x="1818" y="916"/>
                </a:lnTo>
                <a:lnTo>
                  <a:pt x="1819" y="914"/>
                </a:lnTo>
                <a:lnTo>
                  <a:pt x="1818" y="912"/>
                </a:lnTo>
                <a:lnTo>
                  <a:pt x="1818" y="909"/>
                </a:lnTo>
                <a:lnTo>
                  <a:pt x="1818" y="908"/>
                </a:lnTo>
                <a:lnTo>
                  <a:pt x="1819" y="907"/>
                </a:lnTo>
                <a:lnTo>
                  <a:pt x="1820" y="907"/>
                </a:lnTo>
                <a:lnTo>
                  <a:pt x="1822" y="907"/>
                </a:lnTo>
                <a:lnTo>
                  <a:pt x="1824" y="908"/>
                </a:lnTo>
                <a:lnTo>
                  <a:pt x="1827" y="908"/>
                </a:lnTo>
                <a:lnTo>
                  <a:pt x="1841" y="891"/>
                </a:lnTo>
                <a:lnTo>
                  <a:pt x="1843" y="888"/>
                </a:lnTo>
                <a:lnTo>
                  <a:pt x="1846" y="885"/>
                </a:lnTo>
                <a:lnTo>
                  <a:pt x="1850" y="880"/>
                </a:lnTo>
                <a:lnTo>
                  <a:pt x="1852" y="878"/>
                </a:lnTo>
                <a:lnTo>
                  <a:pt x="1854" y="877"/>
                </a:lnTo>
                <a:lnTo>
                  <a:pt x="1855" y="877"/>
                </a:lnTo>
                <a:lnTo>
                  <a:pt x="1863" y="875"/>
                </a:lnTo>
                <a:lnTo>
                  <a:pt x="1872" y="874"/>
                </a:lnTo>
                <a:lnTo>
                  <a:pt x="1881" y="875"/>
                </a:lnTo>
                <a:lnTo>
                  <a:pt x="1889" y="875"/>
                </a:lnTo>
                <a:lnTo>
                  <a:pt x="1905" y="877"/>
                </a:lnTo>
                <a:lnTo>
                  <a:pt x="1911" y="877"/>
                </a:lnTo>
                <a:lnTo>
                  <a:pt x="1917" y="877"/>
                </a:lnTo>
                <a:lnTo>
                  <a:pt x="1918" y="876"/>
                </a:lnTo>
                <a:lnTo>
                  <a:pt x="1918" y="875"/>
                </a:lnTo>
                <a:lnTo>
                  <a:pt x="1920" y="873"/>
                </a:lnTo>
                <a:lnTo>
                  <a:pt x="1921" y="872"/>
                </a:lnTo>
                <a:lnTo>
                  <a:pt x="1923" y="871"/>
                </a:lnTo>
                <a:lnTo>
                  <a:pt x="1925" y="871"/>
                </a:lnTo>
                <a:lnTo>
                  <a:pt x="1928" y="871"/>
                </a:lnTo>
                <a:lnTo>
                  <a:pt x="1929" y="871"/>
                </a:lnTo>
                <a:lnTo>
                  <a:pt x="1929" y="872"/>
                </a:lnTo>
                <a:lnTo>
                  <a:pt x="1930" y="875"/>
                </a:lnTo>
                <a:lnTo>
                  <a:pt x="1932" y="877"/>
                </a:lnTo>
                <a:lnTo>
                  <a:pt x="1934" y="877"/>
                </a:lnTo>
                <a:lnTo>
                  <a:pt x="1936" y="877"/>
                </a:lnTo>
                <a:lnTo>
                  <a:pt x="1937" y="876"/>
                </a:lnTo>
                <a:lnTo>
                  <a:pt x="1937" y="875"/>
                </a:lnTo>
                <a:lnTo>
                  <a:pt x="1938" y="873"/>
                </a:lnTo>
                <a:lnTo>
                  <a:pt x="1939" y="871"/>
                </a:lnTo>
                <a:lnTo>
                  <a:pt x="1940" y="871"/>
                </a:lnTo>
                <a:lnTo>
                  <a:pt x="1942" y="871"/>
                </a:lnTo>
                <a:lnTo>
                  <a:pt x="1943" y="872"/>
                </a:lnTo>
                <a:lnTo>
                  <a:pt x="1945" y="875"/>
                </a:lnTo>
                <a:lnTo>
                  <a:pt x="1947" y="879"/>
                </a:lnTo>
                <a:lnTo>
                  <a:pt x="1956" y="879"/>
                </a:lnTo>
                <a:lnTo>
                  <a:pt x="1956" y="874"/>
                </a:lnTo>
                <a:lnTo>
                  <a:pt x="1958" y="874"/>
                </a:lnTo>
                <a:lnTo>
                  <a:pt x="1960" y="874"/>
                </a:lnTo>
                <a:lnTo>
                  <a:pt x="1963" y="876"/>
                </a:lnTo>
                <a:lnTo>
                  <a:pt x="1964" y="877"/>
                </a:lnTo>
                <a:lnTo>
                  <a:pt x="1965" y="877"/>
                </a:lnTo>
                <a:lnTo>
                  <a:pt x="1967" y="877"/>
                </a:lnTo>
                <a:lnTo>
                  <a:pt x="1970" y="877"/>
                </a:lnTo>
                <a:lnTo>
                  <a:pt x="1970" y="871"/>
                </a:lnTo>
                <a:lnTo>
                  <a:pt x="1971" y="871"/>
                </a:lnTo>
                <a:lnTo>
                  <a:pt x="1973" y="870"/>
                </a:lnTo>
                <a:lnTo>
                  <a:pt x="1976" y="871"/>
                </a:lnTo>
                <a:lnTo>
                  <a:pt x="1979" y="871"/>
                </a:lnTo>
                <a:lnTo>
                  <a:pt x="1981" y="871"/>
                </a:lnTo>
                <a:lnTo>
                  <a:pt x="1982" y="870"/>
                </a:lnTo>
                <a:lnTo>
                  <a:pt x="1983" y="869"/>
                </a:lnTo>
                <a:lnTo>
                  <a:pt x="1983" y="867"/>
                </a:lnTo>
                <a:lnTo>
                  <a:pt x="1983" y="863"/>
                </a:lnTo>
                <a:lnTo>
                  <a:pt x="1983" y="862"/>
                </a:lnTo>
                <a:lnTo>
                  <a:pt x="1984" y="862"/>
                </a:lnTo>
                <a:lnTo>
                  <a:pt x="1986" y="861"/>
                </a:lnTo>
                <a:lnTo>
                  <a:pt x="1987" y="860"/>
                </a:lnTo>
                <a:lnTo>
                  <a:pt x="1991" y="859"/>
                </a:lnTo>
                <a:lnTo>
                  <a:pt x="1995" y="858"/>
                </a:lnTo>
                <a:lnTo>
                  <a:pt x="1997" y="857"/>
                </a:lnTo>
                <a:lnTo>
                  <a:pt x="1998" y="856"/>
                </a:lnTo>
                <a:lnTo>
                  <a:pt x="1998" y="853"/>
                </a:lnTo>
                <a:lnTo>
                  <a:pt x="1998" y="848"/>
                </a:lnTo>
                <a:lnTo>
                  <a:pt x="1998" y="846"/>
                </a:lnTo>
                <a:lnTo>
                  <a:pt x="1998" y="843"/>
                </a:lnTo>
                <a:lnTo>
                  <a:pt x="1999" y="841"/>
                </a:lnTo>
                <a:lnTo>
                  <a:pt x="2001" y="839"/>
                </a:lnTo>
                <a:lnTo>
                  <a:pt x="2006" y="837"/>
                </a:lnTo>
                <a:lnTo>
                  <a:pt x="2013" y="835"/>
                </a:lnTo>
                <a:lnTo>
                  <a:pt x="2021" y="832"/>
                </a:lnTo>
                <a:lnTo>
                  <a:pt x="2026" y="831"/>
                </a:lnTo>
                <a:lnTo>
                  <a:pt x="2025" y="831"/>
                </a:lnTo>
                <a:lnTo>
                  <a:pt x="2025" y="832"/>
                </a:lnTo>
                <a:lnTo>
                  <a:pt x="2026" y="833"/>
                </a:lnTo>
                <a:lnTo>
                  <a:pt x="2027" y="833"/>
                </a:lnTo>
                <a:lnTo>
                  <a:pt x="2030" y="833"/>
                </a:lnTo>
                <a:lnTo>
                  <a:pt x="2032" y="833"/>
                </a:lnTo>
                <a:lnTo>
                  <a:pt x="2036" y="830"/>
                </a:lnTo>
                <a:lnTo>
                  <a:pt x="2044" y="824"/>
                </a:lnTo>
                <a:lnTo>
                  <a:pt x="2051" y="818"/>
                </a:lnTo>
                <a:lnTo>
                  <a:pt x="2053" y="815"/>
                </a:lnTo>
                <a:lnTo>
                  <a:pt x="2054" y="814"/>
                </a:lnTo>
                <a:lnTo>
                  <a:pt x="2052" y="786"/>
                </a:lnTo>
                <a:lnTo>
                  <a:pt x="2051" y="785"/>
                </a:lnTo>
                <a:lnTo>
                  <a:pt x="2050" y="786"/>
                </a:lnTo>
                <a:lnTo>
                  <a:pt x="2048" y="787"/>
                </a:lnTo>
                <a:lnTo>
                  <a:pt x="2046" y="788"/>
                </a:lnTo>
                <a:lnTo>
                  <a:pt x="2045" y="789"/>
                </a:lnTo>
                <a:lnTo>
                  <a:pt x="2043" y="788"/>
                </a:lnTo>
                <a:lnTo>
                  <a:pt x="2041" y="788"/>
                </a:lnTo>
                <a:lnTo>
                  <a:pt x="2040" y="787"/>
                </a:lnTo>
                <a:lnTo>
                  <a:pt x="2037" y="785"/>
                </a:lnTo>
                <a:lnTo>
                  <a:pt x="2032" y="779"/>
                </a:lnTo>
                <a:lnTo>
                  <a:pt x="2029" y="777"/>
                </a:lnTo>
                <a:lnTo>
                  <a:pt x="2027" y="776"/>
                </a:lnTo>
                <a:lnTo>
                  <a:pt x="2025" y="775"/>
                </a:lnTo>
                <a:lnTo>
                  <a:pt x="2020" y="774"/>
                </a:lnTo>
                <a:lnTo>
                  <a:pt x="2016" y="774"/>
                </a:lnTo>
                <a:lnTo>
                  <a:pt x="2012" y="774"/>
                </a:lnTo>
                <a:lnTo>
                  <a:pt x="2012" y="775"/>
                </a:lnTo>
                <a:lnTo>
                  <a:pt x="2013" y="777"/>
                </a:lnTo>
                <a:lnTo>
                  <a:pt x="2015" y="780"/>
                </a:lnTo>
                <a:lnTo>
                  <a:pt x="2007" y="781"/>
                </a:lnTo>
                <a:lnTo>
                  <a:pt x="2001" y="783"/>
                </a:lnTo>
                <a:lnTo>
                  <a:pt x="1989" y="788"/>
                </a:lnTo>
                <a:lnTo>
                  <a:pt x="1976" y="794"/>
                </a:lnTo>
                <a:lnTo>
                  <a:pt x="1976" y="800"/>
                </a:lnTo>
                <a:lnTo>
                  <a:pt x="1972" y="800"/>
                </a:lnTo>
                <a:lnTo>
                  <a:pt x="1970" y="799"/>
                </a:lnTo>
                <a:lnTo>
                  <a:pt x="1969" y="798"/>
                </a:lnTo>
                <a:lnTo>
                  <a:pt x="1969" y="796"/>
                </a:lnTo>
                <a:lnTo>
                  <a:pt x="1969" y="792"/>
                </a:lnTo>
                <a:lnTo>
                  <a:pt x="1968" y="790"/>
                </a:lnTo>
                <a:lnTo>
                  <a:pt x="1967" y="788"/>
                </a:lnTo>
                <a:lnTo>
                  <a:pt x="1969" y="788"/>
                </a:lnTo>
                <a:lnTo>
                  <a:pt x="1971" y="788"/>
                </a:lnTo>
                <a:lnTo>
                  <a:pt x="1976" y="788"/>
                </a:lnTo>
                <a:lnTo>
                  <a:pt x="1980" y="789"/>
                </a:lnTo>
                <a:lnTo>
                  <a:pt x="1982" y="789"/>
                </a:lnTo>
                <a:lnTo>
                  <a:pt x="1984" y="788"/>
                </a:lnTo>
                <a:lnTo>
                  <a:pt x="1986" y="787"/>
                </a:lnTo>
                <a:lnTo>
                  <a:pt x="1988" y="786"/>
                </a:lnTo>
                <a:lnTo>
                  <a:pt x="1992" y="782"/>
                </a:lnTo>
                <a:lnTo>
                  <a:pt x="1997" y="777"/>
                </a:lnTo>
                <a:lnTo>
                  <a:pt x="2001" y="774"/>
                </a:lnTo>
                <a:lnTo>
                  <a:pt x="2003" y="774"/>
                </a:lnTo>
                <a:lnTo>
                  <a:pt x="2005" y="773"/>
                </a:lnTo>
                <a:lnTo>
                  <a:pt x="2009" y="773"/>
                </a:lnTo>
                <a:lnTo>
                  <a:pt x="2014" y="773"/>
                </a:lnTo>
                <a:lnTo>
                  <a:pt x="2016" y="772"/>
                </a:lnTo>
                <a:lnTo>
                  <a:pt x="2018" y="772"/>
                </a:lnTo>
                <a:lnTo>
                  <a:pt x="2019" y="771"/>
                </a:lnTo>
                <a:lnTo>
                  <a:pt x="2020" y="769"/>
                </a:lnTo>
                <a:lnTo>
                  <a:pt x="2022" y="766"/>
                </a:lnTo>
                <a:lnTo>
                  <a:pt x="2024" y="763"/>
                </a:lnTo>
                <a:lnTo>
                  <a:pt x="2026" y="760"/>
                </a:lnTo>
                <a:lnTo>
                  <a:pt x="2025" y="760"/>
                </a:lnTo>
                <a:lnTo>
                  <a:pt x="2023" y="761"/>
                </a:lnTo>
                <a:lnTo>
                  <a:pt x="2018" y="763"/>
                </a:lnTo>
                <a:lnTo>
                  <a:pt x="2015" y="757"/>
                </a:lnTo>
                <a:lnTo>
                  <a:pt x="2017" y="757"/>
                </a:lnTo>
                <a:lnTo>
                  <a:pt x="2018" y="756"/>
                </a:lnTo>
                <a:lnTo>
                  <a:pt x="2017" y="755"/>
                </a:lnTo>
                <a:lnTo>
                  <a:pt x="2017" y="754"/>
                </a:lnTo>
                <a:lnTo>
                  <a:pt x="2014" y="753"/>
                </a:lnTo>
                <a:lnTo>
                  <a:pt x="2012" y="752"/>
                </a:lnTo>
                <a:lnTo>
                  <a:pt x="2012" y="753"/>
                </a:lnTo>
                <a:lnTo>
                  <a:pt x="2012" y="755"/>
                </a:lnTo>
                <a:lnTo>
                  <a:pt x="2011" y="756"/>
                </a:lnTo>
                <a:lnTo>
                  <a:pt x="2010" y="757"/>
                </a:lnTo>
                <a:lnTo>
                  <a:pt x="2009" y="758"/>
                </a:lnTo>
                <a:lnTo>
                  <a:pt x="2007" y="757"/>
                </a:lnTo>
                <a:lnTo>
                  <a:pt x="2003" y="756"/>
                </a:lnTo>
                <a:lnTo>
                  <a:pt x="2001" y="755"/>
                </a:lnTo>
                <a:lnTo>
                  <a:pt x="2000" y="754"/>
                </a:lnTo>
                <a:lnTo>
                  <a:pt x="2000" y="752"/>
                </a:lnTo>
                <a:lnTo>
                  <a:pt x="2000" y="748"/>
                </a:lnTo>
                <a:lnTo>
                  <a:pt x="1999" y="746"/>
                </a:lnTo>
                <a:lnTo>
                  <a:pt x="1998" y="743"/>
                </a:lnTo>
                <a:lnTo>
                  <a:pt x="1990" y="746"/>
                </a:lnTo>
                <a:lnTo>
                  <a:pt x="1985" y="747"/>
                </a:lnTo>
                <a:lnTo>
                  <a:pt x="1982" y="746"/>
                </a:lnTo>
                <a:lnTo>
                  <a:pt x="1978" y="746"/>
                </a:lnTo>
                <a:lnTo>
                  <a:pt x="1967" y="743"/>
                </a:lnTo>
                <a:lnTo>
                  <a:pt x="1967" y="740"/>
                </a:lnTo>
                <a:lnTo>
                  <a:pt x="1968" y="737"/>
                </a:lnTo>
                <a:lnTo>
                  <a:pt x="1969" y="734"/>
                </a:lnTo>
                <a:lnTo>
                  <a:pt x="1968" y="732"/>
                </a:lnTo>
                <a:lnTo>
                  <a:pt x="1967" y="729"/>
                </a:lnTo>
                <a:lnTo>
                  <a:pt x="1964" y="729"/>
                </a:lnTo>
                <a:lnTo>
                  <a:pt x="1963" y="728"/>
                </a:lnTo>
                <a:lnTo>
                  <a:pt x="1960" y="725"/>
                </a:lnTo>
                <a:lnTo>
                  <a:pt x="1958" y="722"/>
                </a:lnTo>
                <a:lnTo>
                  <a:pt x="1956" y="721"/>
                </a:lnTo>
                <a:lnTo>
                  <a:pt x="1954" y="721"/>
                </a:lnTo>
                <a:lnTo>
                  <a:pt x="1952" y="721"/>
                </a:lnTo>
                <a:lnTo>
                  <a:pt x="1949" y="721"/>
                </a:lnTo>
                <a:lnTo>
                  <a:pt x="1947" y="721"/>
                </a:lnTo>
                <a:lnTo>
                  <a:pt x="1942" y="707"/>
                </a:lnTo>
                <a:lnTo>
                  <a:pt x="1939" y="709"/>
                </a:lnTo>
                <a:lnTo>
                  <a:pt x="1937" y="710"/>
                </a:lnTo>
                <a:lnTo>
                  <a:pt x="1936" y="710"/>
                </a:lnTo>
                <a:lnTo>
                  <a:pt x="1939" y="698"/>
                </a:lnTo>
                <a:lnTo>
                  <a:pt x="1937" y="699"/>
                </a:lnTo>
                <a:lnTo>
                  <a:pt x="1936" y="699"/>
                </a:lnTo>
                <a:lnTo>
                  <a:pt x="1935" y="698"/>
                </a:lnTo>
                <a:lnTo>
                  <a:pt x="1933" y="696"/>
                </a:lnTo>
                <a:lnTo>
                  <a:pt x="1945" y="695"/>
                </a:lnTo>
                <a:lnTo>
                  <a:pt x="1953" y="696"/>
                </a:lnTo>
                <a:lnTo>
                  <a:pt x="1953" y="691"/>
                </a:lnTo>
                <a:lnTo>
                  <a:pt x="1953" y="687"/>
                </a:lnTo>
                <a:lnTo>
                  <a:pt x="1950" y="686"/>
                </a:lnTo>
                <a:lnTo>
                  <a:pt x="1946" y="684"/>
                </a:lnTo>
                <a:lnTo>
                  <a:pt x="1939" y="681"/>
                </a:lnTo>
                <a:lnTo>
                  <a:pt x="1940" y="675"/>
                </a:lnTo>
                <a:lnTo>
                  <a:pt x="1940" y="671"/>
                </a:lnTo>
                <a:lnTo>
                  <a:pt x="1939" y="669"/>
                </a:lnTo>
                <a:lnTo>
                  <a:pt x="1939" y="667"/>
                </a:lnTo>
                <a:lnTo>
                  <a:pt x="1936" y="667"/>
                </a:lnTo>
                <a:lnTo>
                  <a:pt x="1934" y="667"/>
                </a:lnTo>
                <a:lnTo>
                  <a:pt x="1933" y="666"/>
                </a:lnTo>
                <a:lnTo>
                  <a:pt x="1930" y="663"/>
                </a:lnTo>
                <a:lnTo>
                  <a:pt x="1925" y="656"/>
                </a:lnTo>
                <a:lnTo>
                  <a:pt x="1927" y="651"/>
                </a:lnTo>
                <a:lnTo>
                  <a:pt x="1928" y="648"/>
                </a:lnTo>
                <a:lnTo>
                  <a:pt x="1918" y="648"/>
                </a:lnTo>
                <a:lnTo>
                  <a:pt x="1908" y="648"/>
                </a:lnTo>
                <a:lnTo>
                  <a:pt x="1915" y="644"/>
                </a:lnTo>
                <a:lnTo>
                  <a:pt x="1922" y="639"/>
                </a:lnTo>
                <a:lnTo>
                  <a:pt x="1914" y="622"/>
                </a:lnTo>
                <a:lnTo>
                  <a:pt x="1908" y="623"/>
                </a:lnTo>
                <a:lnTo>
                  <a:pt x="1905" y="623"/>
                </a:lnTo>
                <a:lnTo>
                  <a:pt x="1902" y="622"/>
                </a:lnTo>
                <a:lnTo>
                  <a:pt x="1901" y="621"/>
                </a:lnTo>
                <a:lnTo>
                  <a:pt x="1902" y="620"/>
                </a:lnTo>
                <a:lnTo>
                  <a:pt x="1902" y="618"/>
                </a:lnTo>
                <a:lnTo>
                  <a:pt x="1900" y="617"/>
                </a:lnTo>
                <a:lnTo>
                  <a:pt x="1900" y="608"/>
                </a:lnTo>
                <a:lnTo>
                  <a:pt x="1899" y="606"/>
                </a:lnTo>
                <a:lnTo>
                  <a:pt x="1899" y="603"/>
                </a:lnTo>
                <a:lnTo>
                  <a:pt x="1900" y="594"/>
                </a:lnTo>
                <a:lnTo>
                  <a:pt x="1894" y="591"/>
                </a:lnTo>
                <a:lnTo>
                  <a:pt x="1894" y="588"/>
                </a:lnTo>
                <a:lnTo>
                  <a:pt x="1895" y="585"/>
                </a:lnTo>
                <a:lnTo>
                  <a:pt x="1896" y="582"/>
                </a:lnTo>
                <a:lnTo>
                  <a:pt x="1897" y="580"/>
                </a:lnTo>
                <a:lnTo>
                  <a:pt x="1893" y="580"/>
                </a:lnTo>
                <a:lnTo>
                  <a:pt x="1888" y="580"/>
                </a:lnTo>
                <a:lnTo>
                  <a:pt x="1880" y="599"/>
                </a:lnTo>
                <a:lnTo>
                  <a:pt x="1877" y="607"/>
                </a:lnTo>
                <a:lnTo>
                  <a:pt x="1875" y="611"/>
                </a:lnTo>
                <a:lnTo>
                  <a:pt x="1874" y="617"/>
                </a:lnTo>
                <a:lnTo>
                  <a:pt x="1873" y="617"/>
                </a:lnTo>
                <a:lnTo>
                  <a:pt x="1872" y="616"/>
                </a:lnTo>
                <a:lnTo>
                  <a:pt x="1871" y="615"/>
                </a:lnTo>
                <a:lnTo>
                  <a:pt x="1871" y="614"/>
                </a:lnTo>
                <a:lnTo>
                  <a:pt x="1872" y="611"/>
                </a:lnTo>
                <a:lnTo>
                  <a:pt x="1872" y="608"/>
                </a:lnTo>
                <a:lnTo>
                  <a:pt x="1870" y="610"/>
                </a:lnTo>
                <a:lnTo>
                  <a:pt x="1867" y="611"/>
                </a:lnTo>
                <a:lnTo>
                  <a:pt x="1865" y="613"/>
                </a:lnTo>
                <a:lnTo>
                  <a:pt x="1863" y="614"/>
                </a:lnTo>
                <a:lnTo>
                  <a:pt x="1863" y="616"/>
                </a:lnTo>
                <a:lnTo>
                  <a:pt x="1863" y="618"/>
                </a:lnTo>
                <a:lnTo>
                  <a:pt x="1864" y="621"/>
                </a:lnTo>
                <a:lnTo>
                  <a:pt x="1863" y="622"/>
                </a:lnTo>
                <a:lnTo>
                  <a:pt x="1860" y="620"/>
                </a:lnTo>
                <a:lnTo>
                  <a:pt x="1859" y="619"/>
                </a:lnTo>
                <a:lnTo>
                  <a:pt x="1858" y="619"/>
                </a:lnTo>
                <a:lnTo>
                  <a:pt x="1857" y="620"/>
                </a:lnTo>
                <a:lnTo>
                  <a:pt x="1856" y="622"/>
                </a:lnTo>
                <a:lnTo>
                  <a:pt x="1856" y="625"/>
                </a:lnTo>
                <a:lnTo>
                  <a:pt x="1856" y="628"/>
                </a:lnTo>
                <a:lnTo>
                  <a:pt x="1855" y="631"/>
                </a:lnTo>
                <a:lnTo>
                  <a:pt x="1852" y="633"/>
                </a:lnTo>
                <a:lnTo>
                  <a:pt x="1848" y="635"/>
                </a:lnTo>
                <a:lnTo>
                  <a:pt x="1841" y="639"/>
                </a:lnTo>
                <a:lnTo>
                  <a:pt x="1837" y="637"/>
                </a:lnTo>
                <a:lnTo>
                  <a:pt x="1835" y="634"/>
                </a:lnTo>
                <a:lnTo>
                  <a:pt x="1829" y="628"/>
                </a:lnTo>
                <a:lnTo>
                  <a:pt x="1828" y="630"/>
                </a:lnTo>
                <a:lnTo>
                  <a:pt x="1826" y="632"/>
                </a:lnTo>
                <a:lnTo>
                  <a:pt x="1824" y="634"/>
                </a:lnTo>
                <a:lnTo>
                  <a:pt x="1823" y="634"/>
                </a:lnTo>
                <a:lnTo>
                  <a:pt x="1821" y="634"/>
                </a:lnTo>
                <a:lnTo>
                  <a:pt x="1820" y="631"/>
                </a:lnTo>
                <a:lnTo>
                  <a:pt x="1819" y="627"/>
                </a:lnTo>
                <a:lnTo>
                  <a:pt x="1818" y="620"/>
                </a:lnTo>
                <a:lnTo>
                  <a:pt x="1809" y="619"/>
                </a:lnTo>
                <a:lnTo>
                  <a:pt x="1805" y="619"/>
                </a:lnTo>
                <a:lnTo>
                  <a:pt x="1801" y="617"/>
                </a:lnTo>
                <a:lnTo>
                  <a:pt x="1793" y="614"/>
                </a:lnTo>
                <a:lnTo>
                  <a:pt x="1793" y="605"/>
                </a:lnTo>
                <a:lnTo>
                  <a:pt x="1793" y="598"/>
                </a:lnTo>
                <a:lnTo>
                  <a:pt x="1792" y="592"/>
                </a:lnTo>
                <a:lnTo>
                  <a:pt x="1790" y="583"/>
                </a:lnTo>
                <a:lnTo>
                  <a:pt x="1795" y="582"/>
                </a:lnTo>
                <a:lnTo>
                  <a:pt x="1797" y="582"/>
                </a:lnTo>
                <a:lnTo>
                  <a:pt x="1798" y="580"/>
                </a:lnTo>
                <a:lnTo>
                  <a:pt x="1798" y="578"/>
                </a:lnTo>
                <a:lnTo>
                  <a:pt x="1798" y="577"/>
                </a:lnTo>
                <a:lnTo>
                  <a:pt x="1797" y="577"/>
                </a:lnTo>
                <a:lnTo>
                  <a:pt x="1795" y="577"/>
                </a:lnTo>
                <a:lnTo>
                  <a:pt x="1793" y="577"/>
                </a:lnTo>
                <a:lnTo>
                  <a:pt x="1798" y="568"/>
                </a:lnTo>
                <a:lnTo>
                  <a:pt x="1804" y="558"/>
                </a:lnTo>
                <a:lnTo>
                  <a:pt x="1801" y="559"/>
                </a:lnTo>
                <a:lnTo>
                  <a:pt x="1798" y="561"/>
                </a:lnTo>
                <a:lnTo>
                  <a:pt x="1797" y="562"/>
                </a:lnTo>
                <a:lnTo>
                  <a:pt x="1796" y="563"/>
                </a:lnTo>
                <a:lnTo>
                  <a:pt x="1793" y="563"/>
                </a:lnTo>
                <a:lnTo>
                  <a:pt x="1790" y="562"/>
                </a:lnTo>
                <a:lnTo>
                  <a:pt x="1786" y="561"/>
                </a:lnTo>
                <a:lnTo>
                  <a:pt x="1784" y="560"/>
                </a:lnTo>
                <a:lnTo>
                  <a:pt x="1782" y="561"/>
                </a:lnTo>
                <a:lnTo>
                  <a:pt x="1782" y="558"/>
                </a:lnTo>
                <a:lnTo>
                  <a:pt x="1781" y="556"/>
                </a:lnTo>
                <a:lnTo>
                  <a:pt x="1782" y="555"/>
                </a:lnTo>
                <a:lnTo>
                  <a:pt x="1783" y="555"/>
                </a:lnTo>
                <a:lnTo>
                  <a:pt x="1784" y="555"/>
                </a:lnTo>
                <a:lnTo>
                  <a:pt x="1786" y="552"/>
                </a:lnTo>
                <a:lnTo>
                  <a:pt x="1787" y="550"/>
                </a:lnTo>
                <a:lnTo>
                  <a:pt x="1787" y="549"/>
                </a:lnTo>
                <a:lnTo>
                  <a:pt x="1784" y="549"/>
                </a:lnTo>
                <a:lnTo>
                  <a:pt x="1781" y="549"/>
                </a:lnTo>
                <a:lnTo>
                  <a:pt x="1773" y="549"/>
                </a:lnTo>
                <a:lnTo>
                  <a:pt x="1765" y="550"/>
                </a:lnTo>
                <a:lnTo>
                  <a:pt x="1762" y="550"/>
                </a:lnTo>
                <a:lnTo>
                  <a:pt x="1759" y="549"/>
                </a:lnTo>
                <a:lnTo>
                  <a:pt x="1759" y="545"/>
                </a:lnTo>
                <a:lnTo>
                  <a:pt x="1759" y="541"/>
                </a:lnTo>
                <a:lnTo>
                  <a:pt x="1753" y="541"/>
                </a:lnTo>
                <a:lnTo>
                  <a:pt x="1753" y="535"/>
                </a:lnTo>
                <a:lnTo>
                  <a:pt x="1753" y="534"/>
                </a:lnTo>
                <a:lnTo>
                  <a:pt x="1752" y="532"/>
                </a:lnTo>
                <a:lnTo>
                  <a:pt x="1749" y="529"/>
                </a:lnTo>
                <a:lnTo>
                  <a:pt x="1745" y="526"/>
                </a:lnTo>
                <a:lnTo>
                  <a:pt x="1741" y="523"/>
                </a:lnTo>
                <a:lnTo>
                  <a:pt x="1732" y="517"/>
                </a:lnTo>
                <a:lnTo>
                  <a:pt x="1725" y="513"/>
                </a:lnTo>
                <a:lnTo>
                  <a:pt x="1723" y="514"/>
                </a:lnTo>
                <a:lnTo>
                  <a:pt x="1720" y="514"/>
                </a:lnTo>
                <a:lnTo>
                  <a:pt x="1717" y="515"/>
                </a:lnTo>
                <a:lnTo>
                  <a:pt x="1714" y="515"/>
                </a:lnTo>
                <a:lnTo>
                  <a:pt x="1713" y="517"/>
                </a:lnTo>
                <a:lnTo>
                  <a:pt x="1711" y="520"/>
                </a:lnTo>
                <a:lnTo>
                  <a:pt x="1710" y="522"/>
                </a:lnTo>
                <a:lnTo>
                  <a:pt x="1708" y="524"/>
                </a:lnTo>
                <a:lnTo>
                  <a:pt x="1707" y="524"/>
                </a:lnTo>
                <a:lnTo>
                  <a:pt x="1705" y="524"/>
                </a:lnTo>
                <a:lnTo>
                  <a:pt x="1701" y="524"/>
                </a:lnTo>
                <a:lnTo>
                  <a:pt x="1698" y="523"/>
                </a:lnTo>
                <a:lnTo>
                  <a:pt x="1696" y="523"/>
                </a:lnTo>
                <a:lnTo>
                  <a:pt x="1694" y="524"/>
                </a:lnTo>
                <a:lnTo>
                  <a:pt x="1694" y="530"/>
                </a:lnTo>
                <a:lnTo>
                  <a:pt x="1691" y="530"/>
                </a:lnTo>
                <a:lnTo>
                  <a:pt x="1687" y="530"/>
                </a:lnTo>
                <a:lnTo>
                  <a:pt x="1683" y="529"/>
                </a:lnTo>
                <a:lnTo>
                  <a:pt x="1679" y="528"/>
                </a:lnTo>
                <a:lnTo>
                  <a:pt x="1671" y="526"/>
                </a:lnTo>
                <a:lnTo>
                  <a:pt x="1663" y="524"/>
                </a:lnTo>
                <a:lnTo>
                  <a:pt x="1657" y="524"/>
                </a:lnTo>
                <a:lnTo>
                  <a:pt x="1653" y="525"/>
                </a:lnTo>
                <a:lnTo>
                  <a:pt x="1648" y="526"/>
                </a:lnTo>
                <a:lnTo>
                  <a:pt x="1644" y="527"/>
                </a:lnTo>
                <a:lnTo>
                  <a:pt x="1641" y="535"/>
                </a:lnTo>
                <a:lnTo>
                  <a:pt x="1644" y="536"/>
                </a:lnTo>
                <a:lnTo>
                  <a:pt x="1646" y="537"/>
                </a:lnTo>
                <a:lnTo>
                  <a:pt x="1652" y="538"/>
                </a:lnTo>
                <a:lnTo>
                  <a:pt x="1652" y="544"/>
                </a:lnTo>
                <a:lnTo>
                  <a:pt x="1647" y="544"/>
                </a:lnTo>
                <a:lnTo>
                  <a:pt x="1646" y="545"/>
                </a:lnTo>
                <a:lnTo>
                  <a:pt x="1646" y="546"/>
                </a:lnTo>
                <a:lnTo>
                  <a:pt x="1648" y="547"/>
                </a:lnTo>
                <a:lnTo>
                  <a:pt x="1649" y="548"/>
                </a:lnTo>
                <a:lnTo>
                  <a:pt x="1650" y="550"/>
                </a:lnTo>
                <a:lnTo>
                  <a:pt x="1649" y="552"/>
                </a:lnTo>
                <a:lnTo>
                  <a:pt x="1646" y="557"/>
                </a:lnTo>
                <a:lnTo>
                  <a:pt x="1643" y="560"/>
                </a:lnTo>
                <a:lnTo>
                  <a:pt x="1641" y="563"/>
                </a:lnTo>
                <a:lnTo>
                  <a:pt x="1639" y="563"/>
                </a:lnTo>
                <a:lnTo>
                  <a:pt x="1638" y="564"/>
                </a:lnTo>
                <a:lnTo>
                  <a:pt x="1639" y="565"/>
                </a:lnTo>
                <a:lnTo>
                  <a:pt x="1641" y="569"/>
                </a:lnTo>
                <a:lnTo>
                  <a:pt x="1645" y="569"/>
                </a:lnTo>
                <a:lnTo>
                  <a:pt x="1649" y="569"/>
                </a:lnTo>
                <a:lnTo>
                  <a:pt x="1649" y="573"/>
                </a:lnTo>
                <a:lnTo>
                  <a:pt x="1649" y="576"/>
                </a:lnTo>
                <a:lnTo>
                  <a:pt x="1647" y="581"/>
                </a:lnTo>
                <a:lnTo>
                  <a:pt x="1648" y="583"/>
                </a:lnTo>
                <a:lnTo>
                  <a:pt x="1649" y="586"/>
                </a:lnTo>
                <a:lnTo>
                  <a:pt x="1651" y="588"/>
                </a:lnTo>
                <a:lnTo>
                  <a:pt x="1655" y="591"/>
                </a:lnTo>
                <a:lnTo>
                  <a:pt x="1655" y="592"/>
                </a:lnTo>
                <a:lnTo>
                  <a:pt x="1656" y="593"/>
                </a:lnTo>
                <a:lnTo>
                  <a:pt x="1655" y="596"/>
                </a:lnTo>
                <a:lnTo>
                  <a:pt x="1653" y="598"/>
                </a:lnTo>
                <a:lnTo>
                  <a:pt x="1652" y="597"/>
                </a:lnTo>
                <a:lnTo>
                  <a:pt x="1649" y="603"/>
                </a:lnTo>
                <a:lnTo>
                  <a:pt x="1645" y="601"/>
                </a:lnTo>
                <a:lnTo>
                  <a:pt x="1641" y="600"/>
                </a:lnTo>
                <a:lnTo>
                  <a:pt x="1644" y="606"/>
                </a:lnTo>
                <a:lnTo>
                  <a:pt x="1645" y="605"/>
                </a:lnTo>
                <a:lnTo>
                  <a:pt x="1646" y="605"/>
                </a:lnTo>
                <a:lnTo>
                  <a:pt x="1647" y="606"/>
                </a:lnTo>
                <a:lnTo>
                  <a:pt x="1647" y="608"/>
                </a:lnTo>
                <a:lnTo>
                  <a:pt x="1647" y="611"/>
                </a:lnTo>
                <a:lnTo>
                  <a:pt x="1647" y="614"/>
                </a:lnTo>
                <a:lnTo>
                  <a:pt x="1642" y="615"/>
                </a:lnTo>
                <a:lnTo>
                  <a:pt x="1638" y="615"/>
                </a:lnTo>
                <a:lnTo>
                  <a:pt x="1634" y="615"/>
                </a:lnTo>
                <a:lnTo>
                  <a:pt x="1630" y="617"/>
                </a:lnTo>
                <a:lnTo>
                  <a:pt x="1630" y="618"/>
                </a:lnTo>
                <a:lnTo>
                  <a:pt x="1630" y="620"/>
                </a:lnTo>
                <a:lnTo>
                  <a:pt x="1630" y="626"/>
                </a:lnTo>
                <a:lnTo>
                  <a:pt x="1630" y="634"/>
                </a:lnTo>
                <a:lnTo>
                  <a:pt x="1632" y="635"/>
                </a:lnTo>
                <a:lnTo>
                  <a:pt x="1634" y="635"/>
                </a:lnTo>
                <a:lnTo>
                  <a:pt x="1638" y="636"/>
                </a:lnTo>
                <a:lnTo>
                  <a:pt x="1643" y="637"/>
                </a:lnTo>
                <a:lnTo>
                  <a:pt x="1647" y="639"/>
                </a:lnTo>
                <a:lnTo>
                  <a:pt x="1649" y="642"/>
                </a:lnTo>
                <a:lnTo>
                  <a:pt x="1651" y="646"/>
                </a:lnTo>
                <a:lnTo>
                  <a:pt x="1652" y="650"/>
                </a:lnTo>
                <a:lnTo>
                  <a:pt x="1653" y="654"/>
                </a:lnTo>
                <a:lnTo>
                  <a:pt x="1655" y="663"/>
                </a:lnTo>
                <a:lnTo>
                  <a:pt x="1656" y="667"/>
                </a:lnTo>
                <a:lnTo>
                  <a:pt x="1658" y="670"/>
                </a:lnTo>
                <a:lnTo>
                  <a:pt x="1659" y="671"/>
                </a:lnTo>
                <a:lnTo>
                  <a:pt x="1660" y="672"/>
                </a:lnTo>
                <a:lnTo>
                  <a:pt x="1664" y="674"/>
                </a:lnTo>
                <a:lnTo>
                  <a:pt x="1667" y="676"/>
                </a:lnTo>
                <a:lnTo>
                  <a:pt x="1668" y="678"/>
                </a:lnTo>
                <a:lnTo>
                  <a:pt x="1669" y="679"/>
                </a:lnTo>
                <a:lnTo>
                  <a:pt x="1669" y="683"/>
                </a:lnTo>
                <a:lnTo>
                  <a:pt x="1668" y="690"/>
                </a:lnTo>
                <a:lnTo>
                  <a:pt x="1663" y="707"/>
                </a:lnTo>
                <a:lnTo>
                  <a:pt x="1666" y="704"/>
                </a:lnTo>
                <a:lnTo>
                  <a:pt x="1667" y="702"/>
                </a:lnTo>
                <a:lnTo>
                  <a:pt x="1668" y="701"/>
                </a:lnTo>
                <a:lnTo>
                  <a:pt x="1669" y="701"/>
                </a:lnTo>
                <a:lnTo>
                  <a:pt x="1670" y="702"/>
                </a:lnTo>
                <a:lnTo>
                  <a:pt x="1670" y="703"/>
                </a:lnTo>
                <a:lnTo>
                  <a:pt x="1671" y="707"/>
                </a:lnTo>
                <a:lnTo>
                  <a:pt x="1672" y="712"/>
                </a:lnTo>
                <a:lnTo>
                  <a:pt x="1670" y="713"/>
                </a:lnTo>
                <a:lnTo>
                  <a:pt x="1668" y="713"/>
                </a:lnTo>
                <a:lnTo>
                  <a:pt x="1665" y="712"/>
                </a:lnTo>
                <a:lnTo>
                  <a:pt x="1663" y="712"/>
                </a:lnTo>
                <a:lnTo>
                  <a:pt x="1655" y="729"/>
                </a:lnTo>
                <a:lnTo>
                  <a:pt x="1651" y="733"/>
                </a:lnTo>
                <a:lnTo>
                  <a:pt x="1647" y="737"/>
                </a:lnTo>
                <a:lnTo>
                  <a:pt x="1643" y="741"/>
                </a:lnTo>
                <a:lnTo>
                  <a:pt x="1638" y="744"/>
                </a:lnTo>
                <a:lnTo>
                  <a:pt x="1629" y="750"/>
                </a:lnTo>
                <a:lnTo>
                  <a:pt x="1618" y="755"/>
                </a:lnTo>
                <a:lnTo>
                  <a:pt x="1621" y="767"/>
                </a:lnTo>
                <a:lnTo>
                  <a:pt x="1623" y="779"/>
                </a:lnTo>
                <a:lnTo>
                  <a:pt x="1625" y="789"/>
                </a:lnTo>
                <a:lnTo>
                  <a:pt x="1627" y="800"/>
                </a:lnTo>
                <a:lnTo>
                  <a:pt x="1628" y="805"/>
                </a:lnTo>
                <a:lnTo>
                  <a:pt x="1628" y="810"/>
                </a:lnTo>
                <a:lnTo>
                  <a:pt x="1628" y="820"/>
                </a:lnTo>
                <a:lnTo>
                  <a:pt x="1628" y="825"/>
                </a:lnTo>
                <a:lnTo>
                  <a:pt x="1627" y="831"/>
                </a:lnTo>
                <a:lnTo>
                  <a:pt x="1626" y="836"/>
                </a:lnTo>
                <a:lnTo>
                  <a:pt x="1624" y="842"/>
                </a:lnTo>
                <a:lnTo>
                  <a:pt x="1620" y="841"/>
                </a:lnTo>
                <a:lnTo>
                  <a:pt x="1616" y="842"/>
                </a:lnTo>
                <a:lnTo>
                  <a:pt x="1613" y="844"/>
                </a:lnTo>
                <a:lnTo>
                  <a:pt x="1611" y="846"/>
                </a:lnTo>
                <a:lnTo>
                  <a:pt x="1609" y="850"/>
                </a:lnTo>
                <a:lnTo>
                  <a:pt x="1608" y="851"/>
                </a:lnTo>
                <a:lnTo>
                  <a:pt x="1605" y="851"/>
                </a:lnTo>
                <a:lnTo>
                  <a:pt x="1601" y="850"/>
                </a:lnTo>
                <a:lnTo>
                  <a:pt x="1596" y="847"/>
                </a:lnTo>
                <a:lnTo>
                  <a:pt x="1592" y="844"/>
                </a:lnTo>
                <a:lnTo>
                  <a:pt x="1586" y="838"/>
                </a:lnTo>
                <a:lnTo>
                  <a:pt x="1576" y="828"/>
                </a:lnTo>
                <a:lnTo>
                  <a:pt x="1576" y="825"/>
                </a:lnTo>
                <a:lnTo>
                  <a:pt x="1577" y="822"/>
                </a:lnTo>
                <a:lnTo>
                  <a:pt x="1578" y="818"/>
                </a:lnTo>
                <a:lnTo>
                  <a:pt x="1577" y="816"/>
                </a:lnTo>
                <a:lnTo>
                  <a:pt x="1576" y="814"/>
                </a:lnTo>
                <a:lnTo>
                  <a:pt x="1574" y="812"/>
                </a:lnTo>
                <a:lnTo>
                  <a:pt x="1570" y="811"/>
                </a:lnTo>
                <a:lnTo>
                  <a:pt x="1565" y="808"/>
                </a:lnTo>
                <a:lnTo>
                  <a:pt x="1564" y="806"/>
                </a:lnTo>
                <a:lnTo>
                  <a:pt x="1564" y="805"/>
                </a:lnTo>
                <a:lnTo>
                  <a:pt x="1565" y="801"/>
                </a:lnTo>
                <a:lnTo>
                  <a:pt x="1566" y="797"/>
                </a:lnTo>
                <a:lnTo>
                  <a:pt x="1565" y="796"/>
                </a:lnTo>
                <a:lnTo>
                  <a:pt x="1565" y="794"/>
                </a:lnTo>
                <a:lnTo>
                  <a:pt x="1563" y="794"/>
                </a:lnTo>
                <a:lnTo>
                  <a:pt x="1562" y="793"/>
                </a:lnTo>
                <a:lnTo>
                  <a:pt x="1561" y="791"/>
                </a:lnTo>
                <a:lnTo>
                  <a:pt x="1562" y="789"/>
                </a:lnTo>
                <a:lnTo>
                  <a:pt x="1564" y="787"/>
                </a:lnTo>
                <a:lnTo>
                  <a:pt x="1565" y="786"/>
                </a:lnTo>
                <a:lnTo>
                  <a:pt x="1563" y="784"/>
                </a:lnTo>
                <a:lnTo>
                  <a:pt x="1562" y="781"/>
                </a:lnTo>
                <a:lnTo>
                  <a:pt x="1562" y="780"/>
                </a:lnTo>
                <a:lnTo>
                  <a:pt x="1563" y="779"/>
                </a:lnTo>
                <a:lnTo>
                  <a:pt x="1564" y="778"/>
                </a:lnTo>
                <a:lnTo>
                  <a:pt x="1565" y="777"/>
                </a:lnTo>
                <a:lnTo>
                  <a:pt x="1568" y="760"/>
                </a:lnTo>
                <a:lnTo>
                  <a:pt x="1565" y="757"/>
                </a:lnTo>
                <a:lnTo>
                  <a:pt x="1564" y="754"/>
                </a:lnTo>
                <a:lnTo>
                  <a:pt x="1564" y="753"/>
                </a:lnTo>
                <a:lnTo>
                  <a:pt x="1565" y="752"/>
                </a:lnTo>
                <a:lnTo>
                  <a:pt x="1566" y="752"/>
                </a:lnTo>
                <a:lnTo>
                  <a:pt x="1567" y="752"/>
                </a:lnTo>
                <a:lnTo>
                  <a:pt x="1567" y="749"/>
                </a:lnTo>
                <a:lnTo>
                  <a:pt x="1566" y="745"/>
                </a:lnTo>
                <a:lnTo>
                  <a:pt x="1565" y="744"/>
                </a:lnTo>
                <a:lnTo>
                  <a:pt x="1565" y="743"/>
                </a:lnTo>
                <a:lnTo>
                  <a:pt x="1562" y="742"/>
                </a:lnTo>
                <a:lnTo>
                  <a:pt x="1560" y="741"/>
                </a:lnTo>
                <a:lnTo>
                  <a:pt x="1557" y="740"/>
                </a:lnTo>
                <a:lnTo>
                  <a:pt x="1554" y="739"/>
                </a:lnTo>
                <a:lnTo>
                  <a:pt x="1548" y="739"/>
                </a:lnTo>
                <a:lnTo>
                  <a:pt x="1542" y="739"/>
                </a:lnTo>
                <a:lnTo>
                  <a:pt x="1531" y="741"/>
                </a:lnTo>
                <a:lnTo>
                  <a:pt x="1525" y="741"/>
                </a:lnTo>
                <a:lnTo>
                  <a:pt x="1522" y="741"/>
                </a:lnTo>
                <a:lnTo>
                  <a:pt x="1520" y="741"/>
                </a:lnTo>
                <a:lnTo>
                  <a:pt x="1518" y="740"/>
                </a:lnTo>
                <a:lnTo>
                  <a:pt x="1515" y="738"/>
                </a:lnTo>
                <a:lnTo>
                  <a:pt x="1510" y="734"/>
                </a:lnTo>
                <a:lnTo>
                  <a:pt x="1505" y="729"/>
                </a:lnTo>
                <a:lnTo>
                  <a:pt x="1500" y="726"/>
                </a:lnTo>
                <a:lnTo>
                  <a:pt x="1494" y="724"/>
                </a:lnTo>
                <a:lnTo>
                  <a:pt x="1484" y="722"/>
                </a:lnTo>
                <a:lnTo>
                  <a:pt x="1474" y="720"/>
                </a:lnTo>
                <a:lnTo>
                  <a:pt x="1471" y="719"/>
                </a:lnTo>
                <a:lnTo>
                  <a:pt x="1469" y="718"/>
                </a:lnTo>
                <a:lnTo>
                  <a:pt x="1468" y="716"/>
                </a:lnTo>
                <a:lnTo>
                  <a:pt x="1467" y="714"/>
                </a:lnTo>
                <a:lnTo>
                  <a:pt x="1467" y="711"/>
                </a:lnTo>
                <a:lnTo>
                  <a:pt x="1467" y="708"/>
                </a:lnTo>
                <a:lnTo>
                  <a:pt x="1466" y="703"/>
                </a:lnTo>
                <a:lnTo>
                  <a:pt x="1465" y="700"/>
                </a:lnTo>
                <a:lnTo>
                  <a:pt x="1464" y="698"/>
                </a:lnTo>
                <a:lnTo>
                  <a:pt x="1462" y="697"/>
                </a:lnTo>
                <a:lnTo>
                  <a:pt x="1461" y="697"/>
                </a:lnTo>
                <a:lnTo>
                  <a:pt x="1458" y="696"/>
                </a:lnTo>
                <a:lnTo>
                  <a:pt x="1454" y="696"/>
                </a:lnTo>
                <a:lnTo>
                  <a:pt x="1450" y="696"/>
                </a:lnTo>
                <a:lnTo>
                  <a:pt x="1447" y="693"/>
                </a:lnTo>
                <a:lnTo>
                  <a:pt x="1443" y="690"/>
                </a:lnTo>
                <a:lnTo>
                  <a:pt x="1439" y="686"/>
                </a:lnTo>
                <a:lnTo>
                  <a:pt x="1436" y="684"/>
                </a:lnTo>
                <a:lnTo>
                  <a:pt x="1433" y="684"/>
                </a:lnTo>
                <a:lnTo>
                  <a:pt x="1430" y="684"/>
                </a:lnTo>
                <a:lnTo>
                  <a:pt x="1427" y="684"/>
                </a:lnTo>
                <a:lnTo>
                  <a:pt x="1424" y="684"/>
                </a:lnTo>
                <a:lnTo>
                  <a:pt x="1421" y="683"/>
                </a:lnTo>
                <a:lnTo>
                  <a:pt x="1418" y="680"/>
                </a:lnTo>
                <a:lnTo>
                  <a:pt x="1413" y="676"/>
                </a:lnTo>
                <a:lnTo>
                  <a:pt x="1409" y="675"/>
                </a:lnTo>
                <a:lnTo>
                  <a:pt x="1405" y="674"/>
                </a:lnTo>
                <a:lnTo>
                  <a:pt x="1401" y="675"/>
                </a:lnTo>
                <a:lnTo>
                  <a:pt x="1397" y="676"/>
                </a:lnTo>
                <a:lnTo>
                  <a:pt x="1390" y="678"/>
                </a:lnTo>
                <a:lnTo>
                  <a:pt x="1386" y="680"/>
                </a:lnTo>
                <a:lnTo>
                  <a:pt x="1382" y="681"/>
                </a:lnTo>
                <a:lnTo>
                  <a:pt x="1381" y="676"/>
                </a:lnTo>
                <a:lnTo>
                  <a:pt x="1379" y="669"/>
                </a:lnTo>
                <a:lnTo>
                  <a:pt x="1374" y="656"/>
                </a:lnTo>
                <a:lnTo>
                  <a:pt x="1369" y="642"/>
                </a:lnTo>
                <a:lnTo>
                  <a:pt x="1362" y="628"/>
                </a:lnTo>
                <a:lnTo>
                  <a:pt x="1355" y="628"/>
                </a:lnTo>
                <a:lnTo>
                  <a:pt x="1350" y="629"/>
                </a:lnTo>
                <a:lnTo>
                  <a:pt x="1346" y="630"/>
                </a:lnTo>
                <a:lnTo>
                  <a:pt x="1344" y="631"/>
                </a:lnTo>
                <a:lnTo>
                  <a:pt x="1341" y="630"/>
                </a:lnTo>
                <a:lnTo>
                  <a:pt x="1339" y="628"/>
                </a:lnTo>
                <a:lnTo>
                  <a:pt x="1337" y="624"/>
                </a:lnTo>
                <a:lnTo>
                  <a:pt x="1334" y="617"/>
                </a:lnTo>
                <a:lnTo>
                  <a:pt x="1329" y="611"/>
                </a:lnTo>
                <a:lnTo>
                  <a:pt x="1329" y="607"/>
                </a:lnTo>
                <a:lnTo>
                  <a:pt x="1329" y="601"/>
                </a:lnTo>
                <a:lnTo>
                  <a:pt x="1330" y="594"/>
                </a:lnTo>
                <a:lnTo>
                  <a:pt x="1331" y="591"/>
                </a:lnTo>
                <a:lnTo>
                  <a:pt x="1332" y="589"/>
                </a:lnTo>
                <a:lnTo>
                  <a:pt x="1336" y="586"/>
                </a:lnTo>
                <a:lnTo>
                  <a:pt x="1340" y="583"/>
                </a:lnTo>
                <a:lnTo>
                  <a:pt x="1340" y="581"/>
                </a:lnTo>
                <a:lnTo>
                  <a:pt x="1340" y="579"/>
                </a:lnTo>
                <a:lnTo>
                  <a:pt x="1338" y="577"/>
                </a:lnTo>
                <a:lnTo>
                  <a:pt x="1336" y="574"/>
                </a:lnTo>
                <a:lnTo>
                  <a:pt x="1336" y="573"/>
                </a:lnTo>
                <a:lnTo>
                  <a:pt x="1337" y="572"/>
                </a:lnTo>
                <a:lnTo>
                  <a:pt x="1339" y="571"/>
                </a:lnTo>
                <a:lnTo>
                  <a:pt x="1341" y="571"/>
                </a:lnTo>
                <a:lnTo>
                  <a:pt x="1346" y="572"/>
                </a:lnTo>
                <a:lnTo>
                  <a:pt x="1346" y="568"/>
                </a:lnTo>
                <a:lnTo>
                  <a:pt x="1346" y="565"/>
                </a:lnTo>
                <a:lnTo>
                  <a:pt x="1345" y="561"/>
                </a:lnTo>
                <a:lnTo>
                  <a:pt x="1345" y="559"/>
                </a:lnTo>
                <a:lnTo>
                  <a:pt x="1346" y="558"/>
                </a:lnTo>
                <a:lnTo>
                  <a:pt x="1346" y="556"/>
                </a:lnTo>
                <a:lnTo>
                  <a:pt x="1348" y="555"/>
                </a:lnTo>
                <a:lnTo>
                  <a:pt x="1352" y="553"/>
                </a:lnTo>
                <a:lnTo>
                  <a:pt x="1355" y="550"/>
                </a:lnTo>
                <a:lnTo>
                  <a:pt x="1356" y="548"/>
                </a:lnTo>
                <a:lnTo>
                  <a:pt x="1357" y="546"/>
                </a:lnTo>
                <a:lnTo>
                  <a:pt x="1357" y="544"/>
                </a:lnTo>
                <a:lnTo>
                  <a:pt x="1359" y="543"/>
                </a:lnTo>
                <a:lnTo>
                  <a:pt x="1363" y="544"/>
                </a:lnTo>
                <a:lnTo>
                  <a:pt x="1366" y="544"/>
                </a:lnTo>
                <a:lnTo>
                  <a:pt x="1367" y="544"/>
                </a:lnTo>
                <a:lnTo>
                  <a:pt x="1368" y="544"/>
                </a:lnTo>
                <a:lnTo>
                  <a:pt x="1369" y="541"/>
                </a:lnTo>
                <a:lnTo>
                  <a:pt x="1369" y="537"/>
                </a:lnTo>
                <a:lnTo>
                  <a:pt x="1368" y="530"/>
                </a:lnTo>
                <a:lnTo>
                  <a:pt x="1371" y="528"/>
                </a:lnTo>
                <a:lnTo>
                  <a:pt x="1372" y="528"/>
                </a:lnTo>
                <a:lnTo>
                  <a:pt x="1374" y="524"/>
                </a:lnTo>
                <a:lnTo>
                  <a:pt x="1376" y="525"/>
                </a:lnTo>
                <a:lnTo>
                  <a:pt x="1378" y="527"/>
                </a:lnTo>
                <a:lnTo>
                  <a:pt x="1381" y="528"/>
                </a:lnTo>
                <a:lnTo>
                  <a:pt x="1383" y="527"/>
                </a:lnTo>
                <a:lnTo>
                  <a:pt x="1385" y="527"/>
                </a:lnTo>
                <a:lnTo>
                  <a:pt x="1385" y="526"/>
                </a:lnTo>
                <a:lnTo>
                  <a:pt x="1385" y="525"/>
                </a:lnTo>
                <a:lnTo>
                  <a:pt x="1383" y="524"/>
                </a:lnTo>
                <a:lnTo>
                  <a:pt x="1379" y="521"/>
                </a:lnTo>
                <a:lnTo>
                  <a:pt x="1386" y="518"/>
                </a:lnTo>
                <a:lnTo>
                  <a:pt x="1391" y="515"/>
                </a:lnTo>
                <a:lnTo>
                  <a:pt x="1386" y="515"/>
                </a:lnTo>
                <a:lnTo>
                  <a:pt x="1384" y="514"/>
                </a:lnTo>
                <a:lnTo>
                  <a:pt x="1384" y="513"/>
                </a:lnTo>
                <a:lnTo>
                  <a:pt x="1385" y="513"/>
                </a:lnTo>
                <a:lnTo>
                  <a:pt x="1388" y="512"/>
                </a:lnTo>
                <a:lnTo>
                  <a:pt x="1390" y="512"/>
                </a:lnTo>
                <a:lnTo>
                  <a:pt x="1392" y="513"/>
                </a:lnTo>
                <a:lnTo>
                  <a:pt x="1393" y="514"/>
                </a:lnTo>
                <a:lnTo>
                  <a:pt x="1397" y="515"/>
                </a:lnTo>
                <a:lnTo>
                  <a:pt x="1399" y="516"/>
                </a:lnTo>
                <a:lnTo>
                  <a:pt x="1402" y="515"/>
                </a:lnTo>
                <a:lnTo>
                  <a:pt x="1404" y="514"/>
                </a:lnTo>
                <a:lnTo>
                  <a:pt x="1407" y="512"/>
                </a:lnTo>
                <a:lnTo>
                  <a:pt x="1410" y="509"/>
                </a:lnTo>
                <a:lnTo>
                  <a:pt x="1413" y="507"/>
                </a:lnTo>
                <a:lnTo>
                  <a:pt x="1413" y="506"/>
                </a:lnTo>
                <a:lnTo>
                  <a:pt x="1413" y="504"/>
                </a:lnTo>
                <a:lnTo>
                  <a:pt x="1413" y="502"/>
                </a:lnTo>
                <a:lnTo>
                  <a:pt x="1415" y="500"/>
                </a:lnTo>
                <a:lnTo>
                  <a:pt x="1415" y="499"/>
                </a:lnTo>
                <a:lnTo>
                  <a:pt x="1416" y="499"/>
                </a:lnTo>
                <a:lnTo>
                  <a:pt x="1413" y="497"/>
                </a:lnTo>
                <a:lnTo>
                  <a:pt x="1411" y="495"/>
                </a:lnTo>
                <a:lnTo>
                  <a:pt x="1409" y="494"/>
                </a:lnTo>
                <a:lnTo>
                  <a:pt x="1407" y="493"/>
                </a:lnTo>
                <a:lnTo>
                  <a:pt x="1407" y="487"/>
                </a:lnTo>
                <a:lnTo>
                  <a:pt x="1413" y="490"/>
                </a:lnTo>
                <a:lnTo>
                  <a:pt x="1416" y="490"/>
                </a:lnTo>
                <a:lnTo>
                  <a:pt x="1419" y="490"/>
                </a:lnTo>
                <a:lnTo>
                  <a:pt x="1422" y="468"/>
                </a:lnTo>
                <a:lnTo>
                  <a:pt x="1427" y="467"/>
                </a:lnTo>
                <a:lnTo>
                  <a:pt x="1433" y="468"/>
                </a:lnTo>
                <a:lnTo>
                  <a:pt x="1433" y="465"/>
                </a:lnTo>
                <a:lnTo>
                  <a:pt x="1432" y="463"/>
                </a:lnTo>
                <a:lnTo>
                  <a:pt x="1433" y="462"/>
                </a:lnTo>
                <a:lnTo>
                  <a:pt x="1436" y="462"/>
                </a:lnTo>
                <a:lnTo>
                  <a:pt x="1439" y="462"/>
                </a:lnTo>
                <a:lnTo>
                  <a:pt x="1441" y="462"/>
                </a:lnTo>
                <a:lnTo>
                  <a:pt x="1443" y="463"/>
                </a:lnTo>
                <a:lnTo>
                  <a:pt x="1444" y="464"/>
                </a:lnTo>
                <a:lnTo>
                  <a:pt x="1445" y="465"/>
                </a:lnTo>
                <a:lnTo>
                  <a:pt x="1446" y="465"/>
                </a:lnTo>
                <a:lnTo>
                  <a:pt x="1447" y="467"/>
                </a:lnTo>
                <a:lnTo>
                  <a:pt x="1448" y="468"/>
                </a:lnTo>
                <a:lnTo>
                  <a:pt x="1449" y="468"/>
                </a:lnTo>
                <a:lnTo>
                  <a:pt x="1450" y="468"/>
                </a:lnTo>
                <a:lnTo>
                  <a:pt x="1455" y="466"/>
                </a:lnTo>
                <a:lnTo>
                  <a:pt x="1464" y="462"/>
                </a:lnTo>
                <a:lnTo>
                  <a:pt x="1466" y="461"/>
                </a:lnTo>
                <a:lnTo>
                  <a:pt x="1468" y="461"/>
                </a:lnTo>
                <a:lnTo>
                  <a:pt x="1470" y="461"/>
                </a:lnTo>
                <a:lnTo>
                  <a:pt x="1472" y="459"/>
                </a:lnTo>
                <a:lnTo>
                  <a:pt x="1473" y="458"/>
                </a:lnTo>
                <a:lnTo>
                  <a:pt x="1473" y="457"/>
                </a:lnTo>
                <a:lnTo>
                  <a:pt x="1472" y="454"/>
                </a:lnTo>
                <a:lnTo>
                  <a:pt x="1469" y="448"/>
                </a:lnTo>
                <a:lnTo>
                  <a:pt x="1472" y="447"/>
                </a:lnTo>
                <a:lnTo>
                  <a:pt x="1472" y="446"/>
                </a:lnTo>
                <a:lnTo>
                  <a:pt x="1472" y="445"/>
                </a:lnTo>
                <a:lnTo>
                  <a:pt x="1472" y="442"/>
                </a:lnTo>
                <a:lnTo>
                  <a:pt x="1475" y="443"/>
                </a:lnTo>
                <a:lnTo>
                  <a:pt x="1476" y="443"/>
                </a:lnTo>
                <a:lnTo>
                  <a:pt x="1477" y="442"/>
                </a:lnTo>
                <a:lnTo>
                  <a:pt x="1477" y="441"/>
                </a:lnTo>
                <a:lnTo>
                  <a:pt x="1476" y="438"/>
                </a:lnTo>
                <a:lnTo>
                  <a:pt x="1475" y="437"/>
                </a:lnTo>
                <a:lnTo>
                  <a:pt x="1448" y="435"/>
                </a:lnTo>
                <a:lnTo>
                  <a:pt x="1433" y="434"/>
                </a:lnTo>
                <a:lnTo>
                  <a:pt x="1416" y="434"/>
                </a:lnTo>
                <a:lnTo>
                  <a:pt x="1426" y="431"/>
                </a:lnTo>
                <a:lnTo>
                  <a:pt x="1429" y="430"/>
                </a:lnTo>
                <a:lnTo>
                  <a:pt x="1430" y="429"/>
                </a:lnTo>
                <a:lnTo>
                  <a:pt x="1430" y="427"/>
                </a:lnTo>
                <a:lnTo>
                  <a:pt x="1431" y="425"/>
                </a:lnTo>
                <a:lnTo>
                  <a:pt x="1431" y="422"/>
                </a:lnTo>
                <a:lnTo>
                  <a:pt x="1433" y="417"/>
                </a:lnTo>
                <a:lnTo>
                  <a:pt x="1435" y="418"/>
                </a:lnTo>
                <a:lnTo>
                  <a:pt x="1436" y="418"/>
                </a:lnTo>
                <a:lnTo>
                  <a:pt x="1435" y="420"/>
                </a:lnTo>
                <a:lnTo>
                  <a:pt x="1435" y="421"/>
                </a:lnTo>
                <a:lnTo>
                  <a:pt x="1436" y="423"/>
                </a:lnTo>
                <a:lnTo>
                  <a:pt x="1452" y="423"/>
                </a:lnTo>
                <a:lnTo>
                  <a:pt x="1458" y="423"/>
                </a:lnTo>
                <a:lnTo>
                  <a:pt x="1463" y="424"/>
                </a:lnTo>
                <a:lnTo>
                  <a:pt x="1467" y="426"/>
                </a:lnTo>
                <a:lnTo>
                  <a:pt x="1472" y="429"/>
                </a:lnTo>
                <a:lnTo>
                  <a:pt x="1483" y="437"/>
                </a:lnTo>
                <a:lnTo>
                  <a:pt x="1484" y="436"/>
                </a:lnTo>
                <a:lnTo>
                  <a:pt x="1484" y="435"/>
                </a:lnTo>
                <a:lnTo>
                  <a:pt x="1483" y="433"/>
                </a:lnTo>
                <a:lnTo>
                  <a:pt x="1483" y="430"/>
                </a:lnTo>
                <a:lnTo>
                  <a:pt x="1483" y="428"/>
                </a:lnTo>
                <a:lnTo>
                  <a:pt x="1487" y="425"/>
                </a:lnTo>
                <a:lnTo>
                  <a:pt x="1492" y="423"/>
                </a:lnTo>
                <a:lnTo>
                  <a:pt x="1489" y="412"/>
                </a:lnTo>
                <a:lnTo>
                  <a:pt x="1486" y="403"/>
                </a:lnTo>
                <a:lnTo>
                  <a:pt x="1491" y="402"/>
                </a:lnTo>
                <a:lnTo>
                  <a:pt x="1496" y="401"/>
                </a:lnTo>
                <a:lnTo>
                  <a:pt x="1501" y="400"/>
                </a:lnTo>
                <a:lnTo>
                  <a:pt x="1503" y="400"/>
                </a:lnTo>
                <a:lnTo>
                  <a:pt x="1506" y="401"/>
                </a:lnTo>
                <a:lnTo>
                  <a:pt x="1507" y="403"/>
                </a:lnTo>
                <a:lnTo>
                  <a:pt x="1511" y="408"/>
                </a:lnTo>
                <a:lnTo>
                  <a:pt x="1512" y="410"/>
                </a:lnTo>
                <a:lnTo>
                  <a:pt x="1515" y="412"/>
                </a:lnTo>
                <a:lnTo>
                  <a:pt x="1518" y="414"/>
                </a:lnTo>
                <a:lnTo>
                  <a:pt x="1523" y="414"/>
                </a:lnTo>
                <a:lnTo>
                  <a:pt x="1528" y="414"/>
                </a:lnTo>
                <a:lnTo>
                  <a:pt x="1531" y="413"/>
                </a:lnTo>
                <a:lnTo>
                  <a:pt x="1533" y="412"/>
                </a:lnTo>
                <a:lnTo>
                  <a:pt x="1533" y="411"/>
                </a:lnTo>
                <a:lnTo>
                  <a:pt x="1533" y="410"/>
                </a:lnTo>
                <a:lnTo>
                  <a:pt x="1532" y="409"/>
                </a:lnTo>
                <a:lnTo>
                  <a:pt x="1530" y="407"/>
                </a:lnTo>
                <a:lnTo>
                  <a:pt x="1527" y="405"/>
                </a:lnTo>
                <a:lnTo>
                  <a:pt x="1523" y="403"/>
                </a:lnTo>
                <a:lnTo>
                  <a:pt x="1523" y="397"/>
                </a:lnTo>
                <a:lnTo>
                  <a:pt x="1525" y="398"/>
                </a:lnTo>
                <a:lnTo>
                  <a:pt x="1526" y="398"/>
                </a:lnTo>
                <a:lnTo>
                  <a:pt x="1527" y="397"/>
                </a:lnTo>
                <a:lnTo>
                  <a:pt x="1528" y="396"/>
                </a:lnTo>
                <a:lnTo>
                  <a:pt x="1529" y="395"/>
                </a:lnTo>
                <a:lnTo>
                  <a:pt x="1530" y="394"/>
                </a:lnTo>
                <a:lnTo>
                  <a:pt x="1531" y="395"/>
                </a:lnTo>
                <a:lnTo>
                  <a:pt x="1531" y="400"/>
                </a:lnTo>
                <a:lnTo>
                  <a:pt x="1537" y="403"/>
                </a:lnTo>
                <a:lnTo>
                  <a:pt x="1540" y="404"/>
                </a:lnTo>
                <a:lnTo>
                  <a:pt x="1542" y="406"/>
                </a:lnTo>
                <a:lnTo>
                  <a:pt x="1545" y="403"/>
                </a:lnTo>
                <a:lnTo>
                  <a:pt x="1548" y="398"/>
                </a:lnTo>
                <a:lnTo>
                  <a:pt x="1551" y="394"/>
                </a:lnTo>
                <a:lnTo>
                  <a:pt x="1552" y="393"/>
                </a:lnTo>
                <a:lnTo>
                  <a:pt x="1554" y="392"/>
                </a:lnTo>
                <a:lnTo>
                  <a:pt x="1555" y="391"/>
                </a:lnTo>
                <a:lnTo>
                  <a:pt x="1556" y="391"/>
                </a:lnTo>
                <a:lnTo>
                  <a:pt x="1558" y="391"/>
                </a:lnTo>
                <a:lnTo>
                  <a:pt x="1560" y="392"/>
                </a:lnTo>
                <a:lnTo>
                  <a:pt x="1562" y="392"/>
                </a:lnTo>
                <a:lnTo>
                  <a:pt x="1565" y="386"/>
                </a:lnTo>
                <a:lnTo>
                  <a:pt x="1575" y="383"/>
                </a:lnTo>
                <a:lnTo>
                  <a:pt x="1581" y="381"/>
                </a:lnTo>
                <a:lnTo>
                  <a:pt x="1588" y="379"/>
                </a:lnTo>
                <a:lnTo>
                  <a:pt x="1596" y="375"/>
                </a:lnTo>
                <a:lnTo>
                  <a:pt x="1595" y="368"/>
                </a:lnTo>
                <a:lnTo>
                  <a:pt x="1595" y="364"/>
                </a:lnTo>
                <a:lnTo>
                  <a:pt x="1595" y="362"/>
                </a:lnTo>
                <a:lnTo>
                  <a:pt x="1596" y="361"/>
                </a:lnTo>
                <a:lnTo>
                  <a:pt x="1587" y="357"/>
                </a:lnTo>
                <a:lnTo>
                  <a:pt x="1582" y="355"/>
                </a:lnTo>
                <a:lnTo>
                  <a:pt x="1577" y="352"/>
                </a:lnTo>
                <a:lnTo>
                  <a:pt x="1575" y="350"/>
                </a:lnTo>
                <a:lnTo>
                  <a:pt x="1574" y="349"/>
                </a:lnTo>
                <a:lnTo>
                  <a:pt x="1572" y="347"/>
                </a:lnTo>
                <a:lnTo>
                  <a:pt x="1571" y="344"/>
                </a:lnTo>
                <a:lnTo>
                  <a:pt x="1570" y="342"/>
                </a:lnTo>
                <a:lnTo>
                  <a:pt x="1570" y="339"/>
                </a:lnTo>
                <a:lnTo>
                  <a:pt x="1571" y="333"/>
                </a:lnTo>
                <a:lnTo>
                  <a:pt x="1573" y="331"/>
                </a:lnTo>
                <a:lnTo>
                  <a:pt x="1574" y="329"/>
                </a:lnTo>
                <a:lnTo>
                  <a:pt x="1574" y="328"/>
                </a:lnTo>
                <a:lnTo>
                  <a:pt x="1573" y="327"/>
                </a:lnTo>
                <a:lnTo>
                  <a:pt x="1576" y="328"/>
                </a:lnTo>
                <a:lnTo>
                  <a:pt x="1578" y="328"/>
                </a:lnTo>
                <a:lnTo>
                  <a:pt x="1579" y="327"/>
                </a:lnTo>
                <a:lnTo>
                  <a:pt x="1580" y="326"/>
                </a:lnTo>
                <a:lnTo>
                  <a:pt x="1581" y="323"/>
                </a:lnTo>
                <a:lnTo>
                  <a:pt x="1582" y="321"/>
                </a:lnTo>
                <a:lnTo>
                  <a:pt x="1577" y="322"/>
                </a:lnTo>
                <a:lnTo>
                  <a:pt x="1575" y="322"/>
                </a:lnTo>
                <a:lnTo>
                  <a:pt x="1575" y="321"/>
                </a:lnTo>
                <a:lnTo>
                  <a:pt x="1575" y="318"/>
                </a:lnTo>
                <a:lnTo>
                  <a:pt x="1576" y="315"/>
                </a:lnTo>
                <a:lnTo>
                  <a:pt x="1582" y="308"/>
                </a:lnTo>
                <a:lnTo>
                  <a:pt x="1585" y="304"/>
                </a:lnTo>
                <a:lnTo>
                  <a:pt x="1585" y="302"/>
                </a:lnTo>
                <a:lnTo>
                  <a:pt x="1584" y="301"/>
                </a:lnTo>
                <a:lnTo>
                  <a:pt x="1583" y="299"/>
                </a:lnTo>
                <a:lnTo>
                  <a:pt x="1582" y="298"/>
                </a:lnTo>
                <a:lnTo>
                  <a:pt x="1582" y="296"/>
                </a:lnTo>
                <a:lnTo>
                  <a:pt x="1579" y="297"/>
                </a:lnTo>
                <a:lnTo>
                  <a:pt x="1577" y="299"/>
                </a:lnTo>
                <a:lnTo>
                  <a:pt x="1573" y="302"/>
                </a:lnTo>
                <a:lnTo>
                  <a:pt x="1573" y="301"/>
                </a:lnTo>
                <a:lnTo>
                  <a:pt x="1572" y="300"/>
                </a:lnTo>
                <a:lnTo>
                  <a:pt x="1569" y="300"/>
                </a:lnTo>
                <a:lnTo>
                  <a:pt x="1567" y="300"/>
                </a:lnTo>
                <a:lnTo>
                  <a:pt x="1565" y="299"/>
                </a:lnTo>
                <a:lnTo>
                  <a:pt x="1563" y="290"/>
                </a:lnTo>
                <a:lnTo>
                  <a:pt x="1559" y="279"/>
                </a:lnTo>
                <a:lnTo>
                  <a:pt x="1547" y="280"/>
                </a:lnTo>
                <a:lnTo>
                  <a:pt x="1537" y="279"/>
                </a:lnTo>
                <a:lnTo>
                  <a:pt x="1526" y="278"/>
                </a:lnTo>
                <a:lnTo>
                  <a:pt x="1512" y="276"/>
                </a:lnTo>
                <a:lnTo>
                  <a:pt x="1514" y="285"/>
                </a:lnTo>
                <a:lnTo>
                  <a:pt x="1518" y="295"/>
                </a:lnTo>
                <a:lnTo>
                  <a:pt x="1526" y="313"/>
                </a:lnTo>
                <a:lnTo>
                  <a:pt x="1523" y="314"/>
                </a:lnTo>
                <a:lnTo>
                  <a:pt x="1523" y="315"/>
                </a:lnTo>
                <a:lnTo>
                  <a:pt x="1523" y="316"/>
                </a:lnTo>
                <a:lnTo>
                  <a:pt x="1523" y="319"/>
                </a:lnTo>
                <a:lnTo>
                  <a:pt x="1517" y="318"/>
                </a:lnTo>
                <a:lnTo>
                  <a:pt x="1514" y="318"/>
                </a:lnTo>
                <a:lnTo>
                  <a:pt x="1512" y="319"/>
                </a:lnTo>
                <a:lnTo>
                  <a:pt x="1511" y="322"/>
                </a:lnTo>
                <a:lnTo>
                  <a:pt x="1510" y="330"/>
                </a:lnTo>
                <a:lnTo>
                  <a:pt x="1509" y="341"/>
                </a:lnTo>
                <a:lnTo>
                  <a:pt x="1503" y="341"/>
                </a:lnTo>
                <a:lnTo>
                  <a:pt x="1498" y="351"/>
                </a:lnTo>
                <a:lnTo>
                  <a:pt x="1495" y="359"/>
                </a:lnTo>
                <a:lnTo>
                  <a:pt x="1490" y="367"/>
                </a:lnTo>
                <a:lnTo>
                  <a:pt x="1483" y="375"/>
                </a:lnTo>
                <a:lnTo>
                  <a:pt x="1485" y="375"/>
                </a:lnTo>
                <a:lnTo>
                  <a:pt x="1486" y="376"/>
                </a:lnTo>
                <a:lnTo>
                  <a:pt x="1482" y="376"/>
                </a:lnTo>
                <a:lnTo>
                  <a:pt x="1477" y="376"/>
                </a:lnTo>
                <a:lnTo>
                  <a:pt x="1472" y="375"/>
                </a:lnTo>
                <a:lnTo>
                  <a:pt x="1471" y="374"/>
                </a:lnTo>
                <a:lnTo>
                  <a:pt x="1470" y="372"/>
                </a:lnTo>
                <a:lnTo>
                  <a:pt x="1469" y="368"/>
                </a:lnTo>
                <a:lnTo>
                  <a:pt x="1468" y="364"/>
                </a:lnTo>
                <a:lnTo>
                  <a:pt x="1467" y="362"/>
                </a:lnTo>
                <a:lnTo>
                  <a:pt x="1467" y="361"/>
                </a:lnTo>
                <a:lnTo>
                  <a:pt x="1466" y="360"/>
                </a:lnTo>
                <a:lnTo>
                  <a:pt x="1465" y="359"/>
                </a:lnTo>
                <a:lnTo>
                  <a:pt x="1462" y="358"/>
                </a:lnTo>
                <a:lnTo>
                  <a:pt x="1460" y="357"/>
                </a:lnTo>
                <a:lnTo>
                  <a:pt x="1459" y="356"/>
                </a:lnTo>
                <a:lnTo>
                  <a:pt x="1458" y="355"/>
                </a:lnTo>
                <a:lnTo>
                  <a:pt x="1453" y="348"/>
                </a:lnTo>
                <a:lnTo>
                  <a:pt x="1452" y="346"/>
                </a:lnTo>
                <a:lnTo>
                  <a:pt x="1450" y="344"/>
                </a:lnTo>
                <a:lnTo>
                  <a:pt x="1450" y="342"/>
                </a:lnTo>
                <a:lnTo>
                  <a:pt x="1450" y="341"/>
                </a:lnTo>
                <a:lnTo>
                  <a:pt x="1452" y="339"/>
                </a:lnTo>
                <a:lnTo>
                  <a:pt x="1455" y="336"/>
                </a:lnTo>
                <a:lnTo>
                  <a:pt x="1457" y="332"/>
                </a:lnTo>
                <a:lnTo>
                  <a:pt x="1458" y="328"/>
                </a:lnTo>
                <a:lnTo>
                  <a:pt x="1461" y="321"/>
                </a:lnTo>
                <a:lnTo>
                  <a:pt x="1464" y="313"/>
                </a:lnTo>
                <a:lnTo>
                  <a:pt x="1467" y="312"/>
                </a:lnTo>
                <a:lnTo>
                  <a:pt x="1468" y="311"/>
                </a:lnTo>
                <a:lnTo>
                  <a:pt x="1467" y="310"/>
                </a:lnTo>
                <a:lnTo>
                  <a:pt x="1465" y="309"/>
                </a:lnTo>
                <a:lnTo>
                  <a:pt x="1463" y="308"/>
                </a:lnTo>
                <a:lnTo>
                  <a:pt x="1461" y="303"/>
                </a:lnTo>
                <a:lnTo>
                  <a:pt x="1460" y="298"/>
                </a:lnTo>
                <a:lnTo>
                  <a:pt x="1458" y="293"/>
                </a:lnTo>
                <a:lnTo>
                  <a:pt x="1450" y="296"/>
                </a:lnTo>
                <a:lnTo>
                  <a:pt x="1441" y="299"/>
                </a:lnTo>
                <a:lnTo>
                  <a:pt x="1440" y="312"/>
                </a:lnTo>
                <a:lnTo>
                  <a:pt x="1438" y="327"/>
                </a:lnTo>
                <a:lnTo>
                  <a:pt x="1433" y="328"/>
                </a:lnTo>
                <a:lnTo>
                  <a:pt x="1431" y="328"/>
                </a:lnTo>
                <a:lnTo>
                  <a:pt x="1430" y="329"/>
                </a:lnTo>
                <a:lnTo>
                  <a:pt x="1430" y="330"/>
                </a:lnTo>
                <a:lnTo>
                  <a:pt x="1430" y="332"/>
                </a:lnTo>
                <a:lnTo>
                  <a:pt x="1430" y="334"/>
                </a:lnTo>
                <a:lnTo>
                  <a:pt x="1430" y="336"/>
                </a:lnTo>
                <a:lnTo>
                  <a:pt x="1430" y="337"/>
                </a:lnTo>
                <a:lnTo>
                  <a:pt x="1430" y="338"/>
                </a:lnTo>
                <a:lnTo>
                  <a:pt x="1426" y="338"/>
                </a:lnTo>
                <a:lnTo>
                  <a:pt x="1422" y="338"/>
                </a:lnTo>
                <a:lnTo>
                  <a:pt x="1421" y="337"/>
                </a:lnTo>
                <a:lnTo>
                  <a:pt x="1422" y="335"/>
                </a:lnTo>
                <a:lnTo>
                  <a:pt x="1423" y="333"/>
                </a:lnTo>
                <a:lnTo>
                  <a:pt x="1424" y="331"/>
                </a:lnTo>
                <a:lnTo>
                  <a:pt x="1424" y="330"/>
                </a:lnTo>
                <a:lnTo>
                  <a:pt x="1423" y="328"/>
                </a:lnTo>
                <a:lnTo>
                  <a:pt x="1422" y="327"/>
                </a:lnTo>
                <a:lnTo>
                  <a:pt x="1420" y="323"/>
                </a:lnTo>
                <a:lnTo>
                  <a:pt x="1418" y="313"/>
                </a:lnTo>
                <a:lnTo>
                  <a:pt x="1416" y="305"/>
                </a:lnTo>
                <a:lnTo>
                  <a:pt x="1415" y="301"/>
                </a:lnTo>
                <a:lnTo>
                  <a:pt x="1413" y="299"/>
                </a:lnTo>
                <a:lnTo>
                  <a:pt x="1411" y="297"/>
                </a:lnTo>
                <a:lnTo>
                  <a:pt x="1408" y="296"/>
                </a:lnTo>
                <a:lnTo>
                  <a:pt x="1403" y="296"/>
                </a:lnTo>
                <a:lnTo>
                  <a:pt x="1397" y="295"/>
                </a:lnTo>
                <a:lnTo>
                  <a:pt x="1394" y="294"/>
                </a:lnTo>
                <a:lnTo>
                  <a:pt x="1391" y="293"/>
                </a:lnTo>
                <a:lnTo>
                  <a:pt x="1382" y="282"/>
                </a:lnTo>
                <a:lnTo>
                  <a:pt x="1381" y="283"/>
                </a:lnTo>
                <a:lnTo>
                  <a:pt x="1382" y="282"/>
                </a:lnTo>
                <a:lnTo>
                  <a:pt x="1386" y="277"/>
                </a:lnTo>
                <a:lnTo>
                  <a:pt x="1392" y="272"/>
                </a:lnTo>
                <a:lnTo>
                  <a:pt x="1396" y="268"/>
                </a:lnTo>
                <a:lnTo>
                  <a:pt x="1398" y="266"/>
                </a:lnTo>
                <a:lnTo>
                  <a:pt x="1398" y="265"/>
                </a:lnTo>
                <a:lnTo>
                  <a:pt x="1397" y="264"/>
                </a:lnTo>
                <a:lnTo>
                  <a:pt x="1396" y="263"/>
                </a:lnTo>
                <a:lnTo>
                  <a:pt x="1391" y="262"/>
                </a:lnTo>
                <a:lnTo>
                  <a:pt x="1389" y="265"/>
                </a:lnTo>
                <a:lnTo>
                  <a:pt x="1389" y="267"/>
                </a:lnTo>
                <a:lnTo>
                  <a:pt x="1388" y="268"/>
                </a:lnTo>
                <a:lnTo>
                  <a:pt x="1385" y="268"/>
                </a:lnTo>
                <a:lnTo>
                  <a:pt x="1386" y="267"/>
                </a:lnTo>
                <a:lnTo>
                  <a:pt x="1386" y="265"/>
                </a:lnTo>
                <a:lnTo>
                  <a:pt x="1387" y="262"/>
                </a:lnTo>
                <a:lnTo>
                  <a:pt x="1387" y="258"/>
                </a:lnTo>
                <a:lnTo>
                  <a:pt x="1388" y="254"/>
                </a:lnTo>
                <a:lnTo>
                  <a:pt x="1392" y="255"/>
                </a:lnTo>
                <a:lnTo>
                  <a:pt x="1396" y="256"/>
                </a:lnTo>
                <a:lnTo>
                  <a:pt x="1405" y="259"/>
                </a:lnTo>
                <a:lnTo>
                  <a:pt x="1405" y="257"/>
                </a:lnTo>
                <a:lnTo>
                  <a:pt x="1405" y="254"/>
                </a:lnTo>
                <a:lnTo>
                  <a:pt x="1406" y="253"/>
                </a:lnTo>
                <a:lnTo>
                  <a:pt x="1406" y="252"/>
                </a:lnTo>
                <a:lnTo>
                  <a:pt x="1407" y="251"/>
                </a:lnTo>
                <a:lnTo>
                  <a:pt x="1406" y="250"/>
                </a:lnTo>
                <a:lnTo>
                  <a:pt x="1405" y="250"/>
                </a:lnTo>
                <a:lnTo>
                  <a:pt x="1402" y="250"/>
                </a:lnTo>
                <a:lnTo>
                  <a:pt x="1400" y="251"/>
                </a:lnTo>
                <a:lnTo>
                  <a:pt x="1399" y="251"/>
                </a:lnTo>
                <a:lnTo>
                  <a:pt x="1399" y="245"/>
                </a:lnTo>
                <a:lnTo>
                  <a:pt x="1394" y="244"/>
                </a:lnTo>
                <a:lnTo>
                  <a:pt x="1390" y="244"/>
                </a:lnTo>
                <a:lnTo>
                  <a:pt x="1388" y="243"/>
                </a:lnTo>
                <a:lnTo>
                  <a:pt x="1387" y="242"/>
                </a:lnTo>
                <a:lnTo>
                  <a:pt x="1386" y="240"/>
                </a:lnTo>
                <a:lnTo>
                  <a:pt x="1384" y="237"/>
                </a:lnTo>
                <a:lnTo>
                  <a:pt x="1381" y="233"/>
                </a:lnTo>
                <a:lnTo>
                  <a:pt x="1379" y="231"/>
                </a:lnTo>
                <a:lnTo>
                  <a:pt x="1377" y="230"/>
                </a:lnTo>
                <a:lnTo>
                  <a:pt x="1374" y="229"/>
                </a:lnTo>
                <a:lnTo>
                  <a:pt x="1369" y="229"/>
                </a:lnTo>
                <a:lnTo>
                  <a:pt x="1364" y="228"/>
                </a:lnTo>
                <a:lnTo>
                  <a:pt x="1362" y="227"/>
                </a:lnTo>
                <a:lnTo>
                  <a:pt x="1360" y="226"/>
                </a:lnTo>
                <a:lnTo>
                  <a:pt x="1329" y="226"/>
                </a:lnTo>
                <a:lnTo>
                  <a:pt x="1326" y="227"/>
                </a:lnTo>
                <a:lnTo>
                  <a:pt x="1322" y="229"/>
                </a:lnTo>
                <a:lnTo>
                  <a:pt x="1318" y="232"/>
                </a:lnTo>
                <a:lnTo>
                  <a:pt x="1315" y="236"/>
                </a:lnTo>
                <a:lnTo>
                  <a:pt x="1313" y="241"/>
                </a:lnTo>
                <a:lnTo>
                  <a:pt x="1312" y="243"/>
                </a:lnTo>
                <a:lnTo>
                  <a:pt x="1311" y="245"/>
                </a:lnTo>
                <a:lnTo>
                  <a:pt x="1311" y="248"/>
                </a:lnTo>
                <a:lnTo>
                  <a:pt x="1312" y="250"/>
                </a:lnTo>
                <a:lnTo>
                  <a:pt x="1313" y="252"/>
                </a:lnTo>
                <a:lnTo>
                  <a:pt x="1315" y="254"/>
                </a:lnTo>
                <a:lnTo>
                  <a:pt x="1313" y="254"/>
                </a:lnTo>
                <a:lnTo>
                  <a:pt x="1310" y="254"/>
                </a:lnTo>
                <a:lnTo>
                  <a:pt x="1306" y="254"/>
                </a:lnTo>
                <a:lnTo>
                  <a:pt x="1306" y="255"/>
                </a:lnTo>
                <a:lnTo>
                  <a:pt x="1305" y="257"/>
                </a:lnTo>
                <a:lnTo>
                  <a:pt x="1303" y="259"/>
                </a:lnTo>
                <a:lnTo>
                  <a:pt x="1308" y="263"/>
                </a:lnTo>
                <a:lnTo>
                  <a:pt x="1312" y="266"/>
                </a:lnTo>
                <a:lnTo>
                  <a:pt x="1316" y="270"/>
                </a:lnTo>
                <a:lnTo>
                  <a:pt x="1320" y="274"/>
                </a:lnTo>
                <a:lnTo>
                  <a:pt x="1318" y="274"/>
                </a:lnTo>
                <a:lnTo>
                  <a:pt x="1316" y="275"/>
                </a:lnTo>
                <a:lnTo>
                  <a:pt x="1314" y="277"/>
                </a:lnTo>
                <a:lnTo>
                  <a:pt x="1314" y="278"/>
                </a:lnTo>
                <a:lnTo>
                  <a:pt x="1314" y="279"/>
                </a:lnTo>
                <a:lnTo>
                  <a:pt x="1314" y="280"/>
                </a:lnTo>
                <a:lnTo>
                  <a:pt x="1315" y="281"/>
                </a:lnTo>
                <a:lnTo>
                  <a:pt x="1318" y="282"/>
                </a:lnTo>
                <a:lnTo>
                  <a:pt x="1323" y="282"/>
                </a:lnTo>
                <a:lnTo>
                  <a:pt x="1322" y="283"/>
                </a:lnTo>
                <a:lnTo>
                  <a:pt x="1322" y="284"/>
                </a:lnTo>
                <a:lnTo>
                  <a:pt x="1323" y="285"/>
                </a:lnTo>
                <a:lnTo>
                  <a:pt x="1326" y="285"/>
                </a:lnTo>
                <a:lnTo>
                  <a:pt x="1325" y="284"/>
                </a:lnTo>
                <a:lnTo>
                  <a:pt x="1324" y="283"/>
                </a:lnTo>
                <a:lnTo>
                  <a:pt x="1324" y="279"/>
                </a:lnTo>
                <a:lnTo>
                  <a:pt x="1324" y="275"/>
                </a:lnTo>
                <a:lnTo>
                  <a:pt x="1325" y="274"/>
                </a:lnTo>
                <a:lnTo>
                  <a:pt x="1326" y="274"/>
                </a:lnTo>
                <a:lnTo>
                  <a:pt x="1328" y="273"/>
                </a:lnTo>
                <a:lnTo>
                  <a:pt x="1330" y="274"/>
                </a:lnTo>
                <a:lnTo>
                  <a:pt x="1332" y="274"/>
                </a:lnTo>
                <a:lnTo>
                  <a:pt x="1334" y="274"/>
                </a:lnTo>
                <a:lnTo>
                  <a:pt x="1339" y="280"/>
                </a:lnTo>
                <a:lnTo>
                  <a:pt x="1344" y="285"/>
                </a:lnTo>
                <a:lnTo>
                  <a:pt x="1345" y="287"/>
                </a:lnTo>
                <a:lnTo>
                  <a:pt x="1347" y="288"/>
                </a:lnTo>
                <a:lnTo>
                  <a:pt x="1351" y="288"/>
                </a:lnTo>
                <a:lnTo>
                  <a:pt x="1354" y="287"/>
                </a:lnTo>
                <a:lnTo>
                  <a:pt x="1359" y="286"/>
                </a:lnTo>
                <a:lnTo>
                  <a:pt x="1374" y="279"/>
                </a:lnTo>
                <a:lnTo>
                  <a:pt x="1374" y="285"/>
                </a:lnTo>
                <a:lnTo>
                  <a:pt x="1368" y="286"/>
                </a:lnTo>
                <a:lnTo>
                  <a:pt x="1365" y="288"/>
                </a:lnTo>
                <a:lnTo>
                  <a:pt x="1362" y="288"/>
                </a:lnTo>
                <a:lnTo>
                  <a:pt x="1362" y="289"/>
                </a:lnTo>
                <a:lnTo>
                  <a:pt x="1362" y="290"/>
                </a:lnTo>
                <a:lnTo>
                  <a:pt x="1362" y="294"/>
                </a:lnTo>
                <a:lnTo>
                  <a:pt x="1362" y="302"/>
                </a:lnTo>
                <a:lnTo>
                  <a:pt x="1357" y="300"/>
                </a:lnTo>
                <a:lnTo>
                  <a:pt x="1354" y="299"/>
                </a:lnTo>
                <a:lnTo>
                  <a:pt x="1352" y="299"/>
                </a:lnTo>
                <a:lnTo>
                  <a:pt x="1350" y="299"/>
                </a:lnTo>
                <a:lnTo>
                  <a:pt x="1346" y="299"/>
                </a:lnTo>
                <a:lnTo>
                  <a:pt x="1345" y="304"/>
                </a:lnTo>
                <a:lnTo>
                  <a:pt x="1344" y="309"/>
                </a:lnTo>
                <a:lnTo>
                  <a:pt x="1343" y="321"/>
                </a:lnTo>
                <a:lnTo>
                  <a:pt x="1350" y="319"/>
                </a:lnTo>
                <a:lnTo>
                  <a:pt x="1353" y="318"/>
                </a:lnTo>
                <a:lnTo>
                  <a:pt x="1357" y="319"/>
                </a:lnTo>
                <a:lnTo>
                  <a:pt x="1356" y="319"/>
                </a:lnTo>
                <a:lnTo>
                  <a:pt x="1356" y="320"/>
                </a:lnTo>
                <a:lnTo>
                  <a:pt x="1357" y="323"/>
                </a:lnTo>
                <a:lnTo>
                  <a:pt x="1360" y="327"/>
                </a:lnTo>
                <a:lnTo>
                  <a:pt x="1353" y="328"/>
                </a:lnTo>
                <a:lnTo>
                  <a:pt x="1349" y="328"/>
                </a:lnTo>
                <a:lnTo>
                  <a:pt x="1346" y="330"/>
                </a:lnTo>
                <a:lnTo>
                  <a:pt x="1346" y="333"/>
                </a:lnTo>
                <a:lnTo>
                  <a:pt x="1333" y="341"/>
                </a:lnTo>
                <a:lnTo>
                  <a:pt x="1327" y="347"/>
                </a:lnTo>
                <a:lnTo>
                  <a:pt x="1321" y="353"/>
                </a:lnTo>
                <a:lnTo>
                  <a:pt x="1318" y="359"/>
                </a:lnTo>
                <a:lnTo>
                  <a:pt x="1317" y="362"/>
                </a:lnTo>
                <a:lnTo>
                  <a:pt x="1317" y="366"/>
                </a:lnTo>
                <a:lnTo>
                  <a:pt x="1317" y="369"/>
                </a:lnTo>
                <a:lnTo>
                  <a:pt x="1319" y="372"/>
                </a:lnTo>
                <a:lnTo>
                  <a:pt x="1322" y="375"/>
                </a:lnTo>
                <a:lnTo>
                  <a:pt x="1326" y="378"/>
                </a:lnTo>
                <a:lnTo>
                  <a:pt x="1326" y="379"/>
                </a:lnTo>
                <a:lnTo>
                  <a:pt x="1325" y="380"/>
                </a:lnTo>
                <a:lnTo>
                  <a:pt x="1323" y="382"/>
                </a:lnTo>
                <a:lnTo>
                  <a:pt x="1323" y="383"/>
                </a:lnTo>
                <a:lnTo>
                  <a:pt x="1316" y="379"/>
                </a:lnTo>
                <a:lnTo>
                  <a:pt x="1309" y="375"/>
                </a:lnTo>
                <a:lnTo>
                  <a:pt x="1305" y="371"/>
                </a:lnTo>
                <a:lnTo>
                  <a:pt x="1302" y="367"/>
                </a:lnTo>
                <a:lnTo>
                  <a:pt x="1301" y="365"/>
                </a:lnTo>
                <a:lnTo>
                  <a:pt x="1300" y="363"/>
                </a:lnTo>
                <a:lnTo>
                  <a:pt x="1299" y="359"/>
                </a:lnTo>
                <a:lnTo>
                  <a:pt x="1298" y="354"/>
                </a:lnTo>
                <a:lnTo>
                  <a:pt x="1298" y="348"/>
                </a:lnTo>
                <a:lnTo>
                  <a:pt x="1298" y="335"/>
                </a:lnTo>
                <a:lnTo>
                  <a:pt x="1296" y="335"/>
                </a:lnTo>
                <a:lnTo>
                  <a:pt x="1295" y="336"/>
                </a:lnTo>
                <a:lnTo>
                  <a:pt x="1294" y="337"/>
                </a:lnTo>
                <a:lnTo>
                  <a:pt x="1292" y="338"/>
                </a:lnTo>
                <a:lnTo>
                  <a:pt x="1293" y="339"/>
                </a:lnTo>
                <a:lnTo>
                  <a:pt x="1294" y="340"/>
                </a:lnTo>
                <a:lnTo>
                  <a:pt x="1293" y="341"/>
                </a:lnTo>
                <a:lnTo>
                  <a:pt x="1289" y="341"/>
                </a:lnTo>
                <a:lnTo>
                  <a:pt x="1285" y="337"/>
                </a:lnTo>
                <a:lnTo>
                  <a:pt x="1281" y="333"/>
                </a:lnTo>
                <a:lnTo>
                  <a:pt x="1277" y="328"/>
                </a:lnTo>
                <a:lnTo>
                  <a:pt x="1272" y="324"/>
                </a:lnTo>
                <a:lnTo>
                  <a:pt x="1270" y="329"/>
                </a:lnTo>
                <a:lnTo>
                  <a:pt x="1267" y="336"/>
                </a:lnTo>
                <a:lnTo>
                  <a:pt x="1266" y="339"/>
                </a:lnTo>
                <a:lnTo>
                  <a:pt x="1266" y="343"/>
                </a:lnTo>
                <a:lnTo>
                  <a:pt x="1267" y="345"/>
                </a:lnTo>
                <a:lnTo>
                  <a:pt x="1267" y="346"/>
                </a:lnTo>
                <a:lnTo>
                  <a:pt x="1268" y="348"/>
                </a:lnTo>
                <a:lnTo>
                  <a:pt x="1270" y="349"/>
                </a:lnTo>
                <a:lnTo>
                  <a:pt x="1261" y="352"/>
                </a:lnTo>
                <a:lnTo>
                  <a:pt x="1254" y="354"/>
                </a:lnTo>
                <a:lnTo>
                  <a:pt x="1250" y="355"/>
                </a:lnTo>
                <a:lnTo>
                  <a:pt x="1246" y="355"/>
                </a:lnTo>
                <a:lnTo>
                  <a:pt x="1241" y="354"/>
                </a:lnTo>
                <a:lnTo>
                  <a:pt x="1236" y="352"/>
                </a:lnTo>
                <a:lnTo>
                  <a:pt x="1233" y="347"/>
                </a:lnTo>
                <a:lnTo>
                  <a:pt x="1229" y="347"/>
                </a:lnTo>
                <a:lnTo>
                  <a:pt x="1226" y="348"/>
                </a:lnTo>
                <a:lnTo>
                  <a:pt x="1220" y="352"/>
                </a:lnTo>
                <a:lnTo>
                  <a:pt x="1215" y="356"/>
                </a:lnTo>
                <a:lnTo>
                  <a:pt x="1211" y="357"/>
                </a:lnTo>
                <a:lnTo>
                  <a:pt x="1208" y="358"/>
                </a:lnTo>
                <a:lnTo>
                  <a:pt x="1205" y="352"/>
                </a:lnTo>
                <a:lnTo>
                  <a:pt x="1200" y="352"/>
                </a:lnTo>
                <a:lnTo>
                  <a:pt x="1196" y="352"/>
                </a:lnTo>
                <a:lnTo>
                  <a:pt x="1194" y="352"/>
                </a:lnTo>
                <a:lnTo>
                  <a:pt x="1192" y="352"/>
                </a:lnTo>
                <a:lnTo>
                  <a:pt x="1189" y="351"/>
                </a:lnTo>
                <a:lnTo>
                  <a:pt x="1185" y="349"/>
                </a:lnTo>
                <a:lnTo>
                  <a:pt x="1183" y="347"/>
                </a:lnTo>
                <a:lnTo>
                  <a:pt x="1180" y="343"/>
                </a:lnTo>
                <a:lnTo>
                  <a:pt x="1177" y="340"/>
                </a:lnTo>
                <a:lnTo>
                  <a:pt x="1176" y="339"/>
                </a:lnTo>
                <a:lnTo>
                  <a:pt x="1174" y="338"/>
                </a:lnTo>
                <a:lnTo>
                  <a:pt x="1173" y="338"/>
                </a:lnTo>
                <a:lnTo>
                  <a:pt x="1172" y="339"/>
                </a:lnTo>
                <a:lnTo>
                  <a:pt x="1170" y="340"/>
                </a:lnTo>
                <a:lnTo>
                  <a:pt x="1168" y="342"/>
                </a:lnTo>
                <a:lnTo>
                  <a:pt x="1167" y="343"/>
                </a:lnTo>
                <a:lnTo>
                  <a:pt x="1166" y="344"/>
                </a:lnTo>
                <a:lnTo>
                  <a:pt x="1166" y="341"/>
                </a:lnTo>
                <a:lnTo>
                  <a:pt x="1163" y="344"/>
                </a:lnTo>
                <a:lnTo>
                  <a:pt x="1159" y="345"/>
                </a:lnTo>
                <a:lnTo>
                  <a:pt x="1158" y="345"/>
                </a:lnTo>
                <a:lnTo>
                  <a:pt x="1157" y="344"/>
                </a:lnTo>
                <a:lnTo>
                  <a:pt x="1158" y="342"/>
                </a:lnTo>
                <a:lnTo>
                  <a:pt x="1160" y="338"/>
                </a:lnTo>
                <a:lnTo>
                  <a:pt x="1160" y="337"/>
                </a:lnTo>
                <a:lnTo>
                  <a:pt x="1160" y="335"/>
                </a:lnTo>
                <a:lnTo>
                  <a:pt x="1158" y="335"/>
                </a:lnTo>
                <a:lnTo>
                  <a:pt x="1156" y="334"/>
                </a:lnTo>
                <a:lnTo>
                  <a:pt x="1153" y="334"/>
                </a:lnTo>
                <a:lnTo>
                  <a:pt x="1152" y="333"/>
                </a:lnTo>
                <a:lnTo>
                  <a:pt x="1149" y="334"/>
                </a:lnTo>
                <a:lnTo>
                  <a:pt x="1149" y="336"/>
                </a:lnTo>
                <a:lnTo>
                  <a:pt x="1147" y="337"/>
                </a:lnTo>
                <a:lnTo>
                  <a:pt x="1145" y="338"/>
                </a:lnTo>
                <a:lnTo>
                  <a:pt x="1143" y="338"/>
                </a:lnTo>
                <a:lnTo>
                  <a:pt x="1141" y="332"/>
                </a:lnTo>
                <a:lnTo>
                  <a:pt x="1139" y="325"/>
                </a:lnTo>
                <a:lnTo>
                  <a:pt x="1135" y="313"/>
                </a:lnTo>
                <a:lnTo>
                  <a:pt x="1109" y="314"/>
                </a:lnTo>
                <a:lnTo>
                  <a:pt x="1084" y="316"/>
                </a:lnTo>
                <a:lnTo>
                  <a:pt x="1081" y="323"/>
                </a:lnTo>
                <a:lnTo>
                  <a:pt x="1080" y="329"/>
                </a:lnTo>
                <a:lnTo>
                  <a:pt x="1078" y="335"/>
                </a:lnTo>
                <a:lnTo>
                  <a:pt x="1076" y="341"/>
                </a:lnTo>
                <a:lnTo>
                  <a:pt x="1080" y="339"/>
                </a:lnTo>
                <a:lnTo>
                  <a:pt x="1084" y="338"/>
                </a:lnTo>
                <a:lnTo>
                  <a:pt x="1083" y="339"/>
                </a:lnTo>
                <a:lnTo>
                  <a:pt x="1083" y="340"/>
                </a:lnTo>
                <a:lnTo>
                  <a:pt x="1085" y="341"/>
                </a:lnTo>
                <a:lnTo>
                  <a:pt x="1090" y="341"/>
                </a:lnTo>
                <a:lnTo>
                  <a:pt x="1087" y="333"/>
                </a:lnTo>
                <a:lnTo>
                  <a:pt x="1089" y="332"/>
                </a:lnTo>
                <a:lnTo>
                  <a:pt x="1090" y="333"/>
                </a:lnTo>
                <a:lnTo>
                  <a:pt x="1092" y="334"/>
                </a:lnTo>
                <a:lnTo>
                  <a:pt x="1094" y="335"/>
                </a:lnTo>
                <a:lnTo>
                  <a:pt x="1096" y="336"/>
                </a:lnTo>
                <a:lnTo>
                  <a:pt x="1098" y="335"/>
                </a:lnTo>
                <a:lnTo>
                  <a:pt x="1104" y="327"/>
                </a:lnTo>
                <a:lnTo>
                  <a:pt x="1107" y="328"/>
                </a:lnTo>
                <a:lnTo>
                  <a:pt x="1110" y="329"/>
                </a:lnTo>
                <a:lnTo>
                  <a:pt x="1113" y="330"/>
                </a:lnTo>
                <a:lnTo>
                  <a:pt x="1118" y="330"/>
                </a:lnTo>
                <a:lnTo>
                  <a:pt x="1099" y="342"/>
                </a:lnTo>
                <a:lnTo>
                  <a:pt x="1081" y="355"/>
                </a:lnTo>
                <a:lnTo>
                  <a:pt x="1082" y="359"/>
                </a:lnTo>
                <a:lnTo>
                  <a:pt x="1084" y="362"/>
                </a:lnTo>
                <a:lnTo>
                  <a:pt x="1087" y="366"/>
                </a:lnTo>
                <a:lnTo>
                  <a:pt x="1087" y="368"/>
                </a:lnTo>
                <a:lnTo>
                  <a:pt x="1087" y="370"/>
                </a:lnTo>
                <a:lnTo>
                  <a:pt x="1086" y="371"/>
                </a:lnTo>
                <a:lnTo>
                  <a:pt x="1085" y="371"/>
                </a:lnTo>
                <a:lnTo>
                  <a:pt x="1084" y="373"/>
                </a:lnTo>
                <a:lnTo>
                  <a:pt x="1084" y="375"/>
                </a:lnTo>
                <a:lnTo>
                  <a:pt x="1087" y="377"/>
                </a:lnTo>
                <a:lnTo>
                  <a:pt x="1088" y="379"/>
                </a:lnTo>
                <a:lnTo>
                  <a:pt x="1090" y="380"/>
                </a:lnTo>
                <a:lnTo>
                  <a:pt x="1092" y="380"/>
                </a:lnTo>
                <a:lnTo>
                  <a:pt x="1093" y="381"/>
                </a:lnTo>
                <a:lnTo>
                  <a:pt x="1092" y="382"/>
                </a:lnTo>
                <a:lnTo>
                  <a:pt x="1091" y="383"/>
                </a:lnTo>
                <a:lnTo>
                  <a:pt x="1089" y="384"/>
                </a:lnTo>
                <a:lnTo>
                  <a:pt x="1088" y="384"/>
                </a:lnTo>
                <a:lnTo>
                  <a:pt x="1087" y="383"/>
                </a:lnTo>
                <a:lnTo>
                  <a:pt x="1084" y="392"/>
                </a:lnTo>
                <a:lnTo>
                  <a:pt x="1082" y="390"/>
                </a:lnTo>
                <a:lnTo>
                  <a:pt x="1080" y="389"/>
                </a:lnTo>
                <a:lnTo>
                  <a:pt x="1077" y="388"/>
                </a:lnTo>
                <a:lnTo>
                  <a:pt x="1076" y="386"/>
                </a:lnTo>
                <a:lnTo>
                  <a:pt x="1075" y="383"/>
                </a:lnTo>
                <a:lnTo>
                  <a:pt x="1074" y="379"/>
                </a:lnTo>
                <a:lnTo>
                  <a:pt x="1073" y="369"/>
                </a:lnTo>
                <a:lnTo>
                  <a:pt x="1073" y="365"/>
                </a:lnTo>
                <a:lnTo>
                  <a:pt x="1072" y="363"/>
                </a:lnTo>
                <a:lnTo>
                  <a:pt x="1071" y="363"/>
                </a:lnTo>
                <a:lnTo>
                  <a:pt x="1070" y="366"/>
                </a:lnTo>
                <a:lnTo>
                  <a:pt x="1067" y="375"/>
                </a:lnTo>
                <a:lnTo>
                  <a:pt x="1064" y="364"/>
                </a:lnTo>
                <a:lnTo>
                  <a:pt x="1061" y="352"/>
                </a:lnTo>
                <a:lnTo>
                  <a:pt x="1056" y="353"/>
                </a:lnTo>
                <a:lnTo>
                  <a:pt x="1052" y="353"/>
                </a:lnTo>
                <a:lnTo>
                  <a:pt x="1050" y="352"/>
                </a:lnTo>
                <a:lnTo>
                  <a:pt x="1048" y="350"/>
                </a:lnTo>
                <a:lnTo>
                  <a:pt x="1047" y="347"/>
                </a:lnTo>
                <a:lnTo>
                  <a:pt x="1046" y="344"/>
                </a:lnTo>
                <a:lnTo>
                  <a:pt x="1045" y="341"/>
                </a:lnTo>
                <a:lnTo>
                  <a:pt x="1037" y="347"/>
                </a:lnTo>
                <a:lnTo>
                  <a:pt x="1034" y="350"/>
                </a:lnTo>
                <a:lnTo>
                  <a:pt x="1031" y="352"/>
                </a:lnTo>
                <a:lnTo>
                  <a:pt x="1028" y="353"/>
                </a:lnTo>
                <a:lnTo>
                  <a:pt x="1027" y="353"/>
                </a:lnTo>
                <a:lnTo>
                  <a:pt x="1028" y="352"/>
                </a:lnTo>
                <a:lnTo>
                  <a:pt x="1029" y="351"/>
                </a:lnTo>
                <a:lnTo>
                  <a:pt x="1029" y="350"/>
                </a:lnTo>
                <a:lnTo>
                  <a:pt x="1028" y="349"/>
                </a:lnTo>
                <a:lnTo>
                  <a:pt x="1023" y="349"/>
                </a:lnTo>
                <a:lnTo>
                  <a:pt x="1017" y="351"/>
                </a:lnTo>
                <a:lnTo>
                  <a:pt x="1002" y="355"/>
                </a:lnTo>
                <a:lnTo>
                  <a:pt x="994" y="357"/>
                </a:lnTo>
                <a:lnTo>
                  <a:pt x="987" y="359"/>
                </a:lnTo>
                <a:lnTo>
                  <a:pt x="979" y="359"/>
                </a:lnTo>
                <a:lnTo>
                  <a:pt x="975" y="359"/>
                </a:lnTo>
                <a:lnTo>
                  <a:pt x="971" y="358"/>
                </a:lnTo>
                <a:lnTo>
                  <a:pt x="969" y="357"/>
                </a:lnTo>
                <a:lnTo>
                  <a:pt x="968" y="354"/>
                </a:lnTo>
                <a:lnTo>
                  <a:pt x="967" y="351"/>
                </a:lnTo>
                <a:lnTo>
                  <a:pt x="966" y="348"/>
                </a:lnTo>
                <a:lnTo>
                  <a:pt x="966" y="345"/>
                </a:lnTo>
                <a:lnTo>
                  <a:pt x="967" y="343"/>
                </a:lnTo>
                <a:lnTo>
                  <a:pt x="968" y="342"/>
                </a:lnTo>
                <a:lnTo>
                  <a:pt x="969" y="341"/>
                </a:lnTo>
                <a:lnTo>
                  <a:pt x="971" y="341"/>
                </a:lnTo>
                <a:lnTo>
                  <a:pt x="970" y="340"/>
                </a:lnTo>
                <a:lnTo>
                  <a:pt x="969" y="339"/>
                </a:lnTo>
                <a:lnTo>
                  <a:pt x="969" y="337"/>
                </a:lnTo>
                <a:lnTo>
                  <a:pt x="969" y="335"/>
                </a:lnTo>
                <a:lnTo>
                  <a:pt x="977" y="336"/>
                </a:lnTo>
                <a:lnTo>
                  <a:pt x="981" y="336"/>
                </a:lnTo>
                <a:lnTo>
                  <a:pt x="986" y="335"/>
                </a:lnTo>
                <a:lnTo>
                  <a:pt x="981" y="330"/>
                </a:lnTo>
                <a:lnTo>
                  <a:pt x="975" y="323"/>
                </a:lnTo>
                <a:lnTo>
                  <a:pt x="971" y="319"/>
                </a:lnTo>
                <a:lnTo>
                  <a:pt x="968" y="316"/>
                </a:lnTo>
                <a:lnTo>
                  <a:pt x="965" y="314"/>
                </a:lnTo>
                <a:lnTo>
                  <a:pt x="963" y="313"/>
                </a:lnTo>
                <a:lnTo>
                  <a:pt x="960" y="312"/>
                </a:lnTo>
                <a:lnTo>
                  <a:pt x="957" y="312"/>
                </a:lnTo>
                <a:lnTo>
                  <a:pt x="955" y="313"/>
                </a:lnTo>
                <a:lnTo>
                  <a:pt x="954" y="313"/>
                </a:lnTo>
                <a:lnTo>
                  <a:pt x="952" y="315"/>
                </a:lnTo>
                <a:lnTo>
                  <a:pt x="951" y="317"/>
                </a:lnTo>
                <a:lnTo>
                  <a:pt x="950" y="319"/>
                </a:lnTo>
                <a:lnTo>
                  <a:pt x="948" y="321"/>
                </a:lnTo>
                <a:lnTo>
                  <a:pt x="944" y="322"/>
                </a:lnTo>
                <a:lnTo>
                  <a:pt x="941" y="322"/>
                </a:lnTo>
                <a:lnTo>
                  <a:pt x="938" y="321"/>
                </a:lnTo>
                <a:lnTo>
                  <a:pt x="936" y="321"/>
                </a:lnTo>
                <a:lnTo>
                  <a:pt x="934" y="320"/>
                </a:lnTo>
                <a:lnTo>
                  <a:pt x="930" y="317"/>
                </a:lnTo>
                <a:lnTo>
                  <a:pt x="924" y="313"/>
                </a:lnTo>
                <a:lnTo>
                  <a:pt x="918" y="312"/>
                </a:lnTo>
                <a:lnTo>
                  <a:pt x="913" y="312"/>
                </a:lnTo>
                <a:lnTo>
                  <a:pt x="908" y="312"/>
                </a:lnTo>
                <a:lnTo>
                  <a:pt x="906" y="311"/>
                </a:lnTo>
                <a:lnTo>
                  <a:pt x="904" y="310"/>
                </a:lnTo>
                <a:lnTo>
                  <a:pt x="903" y="309"/>
                </a:lnTo>
                <a:lnTo>
                  <a:pt x="903" y="308"/>
                </a:lnTo>
                <a:lnTo>
                  <a:pt x="903" y="306"/>
                </a:lnTo>
                <a:lnTo>
                  <a:pt x="903" y="303"/>
                </a:lnTo>
                <a:lnTo>
                  <a:pt x="902" y="302"/>
                </a:lnTo>
                <a:lnTo>
                  <a:pt x="901" y="302"/>
                </a:lnTo>
                <a:lnTo>
                  <a:pt x="899" y="301"/>
                </a:lnTo>
                <a:lnTo>
                  <a:pt x="898" y="301"/>
                </a:lnTo>
                <a:lnTo>
                  <a:pt x="896" y="302"/>
                </a:lnTo>
                <a:lnTo>
                  <a:pt x="895" y="304"/>
                </a:lnTo>
                <a:lnTo>
                  <a:pt x="894" y="304"/>
                </a:lnTo>
                <a:lnTo>
                  <a:pt x="893" y="304"/>
                </a:lnTo>
                <a:lnTo>
                  <a:pt x="887" y="299"/>
                </a:lnTo>
                <a:lnTo>
                  <a:pt x="881" y="296"/>
                </a:lnTo>
                <a:lnTo>
                  <a:pt x="875" y="293"/>
                </a:lnTo>
                <a:lnTo>
                  <a:pt x="860" y="286"/>
                </a:lnTo>
                <a:lnTo>
                  <a:pt x="852" y="283"/>
                </a:lnTo>
                <a:lnTo>
                  <a:pt x="844" y="281"/>
                </a:lnTo>
                <a:lnTo>
                  <a:pt x="840" y="281"/>
                </a:lnTo>
                <a:lnTo>
                  <a:pt x="836" y="281"/>
                </a:lnTo>
                <a:lnTo>
                  <a:pt x="832" y="281"/>
                </a:lnTo>
                <a:lnTo>
                  <a:pt x="828" y="282"/>
                </a:lnTo>
                <a:lnTo>
                  <a:pt x="828" y="288"/>
                </a:lnTo>
                <a:lnTo>
                  <a:pt x="819" y="292"/>
                </a:lnTo>
                <a:lnTo>
                  <a:pt x="810" y="296"/>
                </a:lnTo>
                <a:lnTo>
                  <a:pt x="808" y="288"/>
                </a:lnTo>
                <a:lnTo>
                  <a:pt x="806" y="280"/>
                </a:lnTo>
                <a:lnTo>
                  <a:pt x="805" y="273"/>
                </a:lnTo>
                <a:lnTo>
                  <a:pt x="805" y="268"/>
                </a:lnTo>
                <a:lnTo>
                  <a:pt x="803" y="270"/>
                </a:lnTo>
                <a:lnTo>
                  <a:pt x="802" y="271"/>
                </a:lnTo>
                <a:lnTo>
                  <a:pt x="799" y="274"/>
                </a:lnTo>
                <a:lnTo>
                  <a:pt x="800" y="274"/>
                </a:lnTo>
                <a:lnTo>
                  <a:pt x="801" y="277"/>
                </a:lnTo>
                <a:lnTo>
                  <a:pt x="801" y="280"/>
                </a:lnTo>
                <a:lnTo>
                  <a:pt x="800" y="284"/>
                </a:lnTo>
                <a:lnTo>
                  <a:pt x="796" y="299"/>
                </a:lnTo>
                <a:lnTo>
                  <a:pt x="790" y="299"/>
                </a:lnTo>
                <a:lnTo>
                  <a:pt x="784" y="294"/>
                </a:lnTo>
                <a:lnTo>
                  <a:pt x="774" y="285"/>
                </a:lnTo>
                <a:lnTo>
                  <a:pt x="769" y="281"/>
                </a:lnTo>
                <a:lnTo>
                  <a:pt x="764" y="276"/>
                </a:lnTo>
                <a:lnTo>
                  <a:pt x="761" y="273"/>
                </a:lnTo>
                <a:lnTo>
                  <a:pt x="760" y="271"/>
                </a:lnTo>
                <a:lnTo>
                  <a:pt x="760" y="265"/>
                </a:lnTo>
                <a:lnTo>
                  <a:pt x="754" y="265"/>
                </a:lnTo>
                <a:lnTo>
                  <a:pt x="754" y="262"/>
                </a:lnTo>
                <a:lnTo>
                  <a:pt x="750" y="260"/>
                </a:lnTo>
                <a:lnTo>
                  <a:pt x="746" y="257"/>
                </a:lnTo>
                <a:lnTo>
                  <a:pt x="738" y="251"/>
                </a:lnTo>
                <a:lnTo>
                  <a:pt x="731" y="244"/>
                </a:lnTo>
                <a:lnTo>
                  <a:pt x="723" y="237"/>
                </a:lnTo>
                <a:lnTo>
                  <a:pt x="720" y="251"/>
                </a:lnTo>
                <a:lnTo>
                  <a:pt x="722" y="251"/>
                </a:lnTo>
                <a:lnTo>
                  <a:pt x="723" y="252"/>
                </a:lnTo>
                <a:lnTo>
                  <a:pt x="723" y="253"/>
                </a:lnTo>
                <a:lnTo>
                  <a:pt x="723" y="254"/>
                </a:lnTo>
                <a:lnTo>
                  <a:pt x="723" y="255"/>
                </a:lnTo>
                <a:lnTo>
                  <a:pt x="723" y="256"/>
                </a:lnTo>
                <a:lnTo>
                  <a:pt x="721" y="257"/>
                </a:lnTo>
                <a:lnTo>
                  <a:pt x="720" y="257"/>
                </a:lnTo>
                <a:lnTo>
                  <a:pt x="716" y="267"/>
                </a:lnTo>
                <a:lnTo>
                  <a:pt x="713" y="273"/>
                </a:lnTo>
                <a:lnTo>
                  <a:pt x="712" y="275"/>
                </a:lnTo>
                <a:lnTo>
                  <a:pt x="712" y="276"/>
                </a:lnTo>
                <a:lnTo>
                  <a:pt x="710" y="276"/>
                </a:lnTo>
                <a:lnTo>
                  <a:pt x="707" y="275"/>
                </a:lnTo>
                <a:lnTo>
                  <a:pt x="704" y="274"/>
                </a:lnTo>
                <a:lnTo>
                  <a:pt x="700" y="274"/>
                </a:lnTo>
                <a:lnTo>
                  <a:pt x="696" y="275"/>
                </a:lnTo>
                <a:lnTo>
                  <a:pt x="693" y="277"/>
                </a:lnTo>
                <a:lnTo>
                  <a:pt x="692" y="278"/>
                </a:lnTo>
                <a:lnTo>
                  <a:pt x="691" y="279"/>
                </a:lnTo>
                <a:lnTo>
                  <a:pt x="689" y="282"/>
                </a:lnTo>
                <a:lnTo>
                  <a:pt x="686" y="290"/>
                </a:lnTo>
                <a:lnTo>
                  <a:pt x="684" y="299"/>
                </a:lnTo>
                <a:lnTo>
                  <a:pt x="681" y="299"/>
                </a:lnTo>
                <a:lnTo>
                  <a:pt x="682" y="299"/>
                </a:lnTo>
                <a:lnTo>
                  <a:pt x="682" y="298"/>
                </a:lnTo>
                <a:lnTo>
                  <a:pt x="681" y="296"/>
                </a:lnTo>
                <a:lnTo>
                  <a:pt x="678" y="293"/>
                </a:lnTo>
                <a:lnTo>
                  <a:pt x="674" y="296"/>
                </a:lnTo>
                <a:lnTo>
                  <a:pt x="672" y="298"/>
                </a:lnTo>
                <a:lnTo>
                  <a:pt x="671" y="298"/>
                </a:lnTo>
                <a:lnTo>
                  <a:pt x="670" y="299"/>
                </a:lnTo>
                <a:lnTo>
                  <a:pt x="670" y="293"/>
                </a:lnTo>
                <a:lnTo>
                  <a:pt x="660" y="297"/>
                </a:lnTo>
                <a:lnTo>
                  <a:pt x="656" y="300"/>
                </a:lnTo>
                <a:lnTo>
                  <a:pt x="653" y="302"/>
                </a:lnTo>
                <a:lnTo>
                  <a:pt x="647" y="319"/>
                </a:lnTo>
                <a:lnTo>
                  <a:pt x="646" y="319"/>
                </a:lnTo>
                <a:lnTo>
                  <a:pt x="644" y="320"/>
                </a:lnTo>
                <a:lnTo>
                  <a:pt x="641" y="320"/>
                </a:lnTo>
                <a:lnTo>
                  <a:pt x="638" y="320"/>
                </a:lnTo>
                <a:lnTo>
                  <a:pt x="637" y="321"/>
                </a:lnTo>
                <a:lnTo>
                  <a:pt x="636" y="321"/>
                </a:lnTo>
                <a:lnTo>
                  <a:pt x="635" y="321"/>
                </a:lnTo>
                <a:lnTo>
                  <a:pt x="635" y="320"/>
                </a:lnTo>
                <a:lnTo>
                  <a:pt x="636" y="318"/>
                </a:lnTo>
                <a:lnTo>
                  <a:pt x="633" y="319"/>
                </a:lnTo>
                <a:lnTo>
                  <a:pt x="643" y="301"/>
                </a:lnTo>
                <a:lnTo>
                  <a:pt x="649" y="290"/>
                </a:lnTo>
                <a:lnTo>
                  <a:pt x="653" y="285"/>
                </a:lnTo>
                <a:lnTo>
                  <a:pt x="656" y="283"/>
                </a:lnTo>
                <a:lnTo>
                  <a:pt x="660" y="282"/>
                </a:lnTo>
                <a:lnTo>
                  <a:pt x="668" y="281"/>
                </a:lnTo>
                <a:lnTo>
                  <a:pt x="676" y="280"/>
                </a:lnTo>
                <a:lnTo>
                  <a:pt x="680" y="278"/>
                </a:lnTo>
                <a:lnTo>
                  <a:pt x="684" y="276"/>
                </a:lnTo>
                <a:lnTo>
                  <a:pt x="691" y="271"/>
                </a:lnTo>
                <a:lnTo>
                  <a:pt x="696" y="268"/>
                </a:lnTo>
                <a:lnTo>
                  <a:pt x="698" y="265"/>
                </a:lnTo>
                <a:lnTo>
                  <a:pt x="698" y="264"/>
                </a:lnTo>
                <a:lnTo>
                  <a:pt x="697" y="263"/>
                </a:lnTo>
                <a:lnTo>
                  <a:pt x="694" y="262"/>
                </a:lnTo>
                <a:lnTo>
                  <a:pt x="690" y="261"/>
                </a:lnTo>
                <a:lnTo>
                  <a:pt x="675" y="259"/>
                </a:lnTo>
                <a:lnTo>
                  <a:pt x="673" y="264"/>
                </a:lnTo>
                <a:lnTo>
                  <a:pt x="672" y="268"/>
                </a:lnTo>
                <a:lnTo>
                  <a:pt x="671" y="272"/>
                </a:lnTo>
                <a:lnTo>
                  <a:pt x="670" y="276"/>
                </a:lnTo>
                <a:lnTo>
                  <a:pt x="668" y="276"/>
                </a:lnTo>
                <a:lnTo>
                  <a:pt x="667" y="275"/>
                </a:lnTo>
                <a:lnTo>
                  <a:pt x="665" y="273"/>
                </a:lnTo>
                <a:lnTo>
                  <a:pt x="661" y="271"/>
                </a:lnTo>
                <a:lnTo>
                  <a:pt x="656" y="272"/>
                </a:lnTo>
                <a:lnTo>
                  <a:pt x="648" y="275"/>
                </a:lnTo>
                <a:lnTo>
                  <a:pt x="636" y="279"/>
                </a:lnTo>
                <a:lnTo>
                  <a:pt x="635" y="281"/>
                </a:lnTo>
                <a:lnTo>
                  <a:pt x="635" y="282"/>
                </a:lnTo>
                <a:lnTo>
                  <a:pt x="635" y="285"/>
                </a:lnTo>
                <a:lnTo>
                  <a:pt x="635" y="288"/>
                </a:lnTo>
                <a:lnTo>
                  <a:pt x="634" y="289"/>
                </a:lnTo>
                <a:lnTo>
                  <a:pt x="633" y="290"/>
                </a:lnTo>
                <a:lnTo>
                  <a:pt x="630" y="291"/>
                </a:lnTo>
                <a:lnTo>
                  <a:pt x="627" y="292"/>
                </a:lnTo>
                <a:lnTo>
                  <a:pt x="624" y="292"/>
                </a:lnTo>
                <a:lnTo>
                  <a:pt x="622" y="293"/>
                </a:lnTo>
                <a:lnTo>
                  <a:pt x="621" y="292"/>
                </a:lnTo>
                <a:lnTo>
                  <a:pt x="621" y="289"/>
                </a:lnTo>
                <a:lnTo>
                  <a:pt x="622" y="285"/>
                </a:lnTo>
                <a:lnTo>
                  <a:pt x="618" y="283"/>
                </a:lnTo>
                <a:lnTo>
                  <a:pt x="615" y="282"/>
                </a:lnTo>
                <a:lnTo>
                  <a:pt x="613" y="281"/>
                </a:lnTo>
                <a:lnTo>
                  <a:pt x="610" y="279"/>
                </a:lnTo>
                <a:lnTo>
                  <a:pt x="610" y="282"/>
                </a:lnTo>
                <a:lnTo>
                  <a:pt x="609" y="284"/>
                </a:lnTo>
                <a:lnTo>
                  <a:pt x="609" y="288"/>
                </a:lnTo>
                <a:lnTo>
                  <a:pt x="609" y="292"/>
                </a:lnTo>
                <a:lnTo>
                  <a:pt x="608" y="296"/>
                </a:lnTo>
                <a:lnTo>
                  <a:pt x="607" y="297"/>
                </a:lnTo>
                <a:lnTo>
                  <a:pt x="606" y="297"/>
                </a:lnTo>
                <a:lnTo>
                  <a:pt x="605" y="296"/>
                </a:lnTo>
                <a:lnTo>
                  <a:pt x="605" y="294"/>
                </a:lnTo>
                <a:lnTo>
                  <a:pt x="605" y="293"/>
                </a:lnTo>
                <a:lnTo>
                  <a:pt x="602" y="293"/>
                </a:lnTo>
                <a:lnTo>
                  <a:pt x="600" y="293"/>
                </a:lnTo>
                <a:lnTo>
                  <a:pt x="599" y="294"/>
                </a:lnTo>
                <a:lnTo>
                  <a:pt x="599" y="296"/>
                </a:lnTo>
                <a:lnTo>
                  <a:pt x="600" y="299"/>
                </a:lnTo>
                <a:lnTo>
                  <a:pt x="600" y="301"/>
                </a:lnTo>
                <a:lnTo>
                  <a:pt x="599" y="302"/>
                </a:lnTo>
                <a:lnTo>
                  <a:pt x="596" y="302"/>
                </a:lnTo>
                <a:lnTo>
                  <a:pt x="592" y="301"/>
                </a:lnTo>
                <a:lnTo>
                  <a:pt x="587" y="300"/>
                </a:lnTo>
                <a:lnTo>
                  <a:pt x="582" y="299"/>
                </a:lnTo>
                <a:lnTo>
                  <a:pt x="582" y="301"/>
                </a:lnTo>
                <a:lnTo>
                  <a:pt x="582" y="303"/>
                </a:lnTo>
                <a:lnTo>
                  <a:pt x="582" y="304"/>
                </a:lnTo>
                <a:lnTo>
                  <a:pt x="583" y="304"/>
                </a:lnTo>
                <a:lnTo>
                  <a:pt x="585" y="304"/>
                </a:lnTo>
                <a:lnTo>
                  <a:pt x="585" y="307"/>
                </a:lnTo>
                <a:lnTo>
                  <a:pt x="589" y="308"/>
                </a:lnTo>
                <a:lnTo>
                  <a:pt x="591" y="310"/>
                </a:lnTo>
                <a:lnTo>
                  <a:pt x="593" y="313"/>
                </a:lnTo>
                <a:lnTo>
                  <a:pt x="593" y="314"/>
                </a:lnTo>
                <a:lnTo>
                  <a:pt x="593" y="315"/>
                </a:lnTo>
                <a:lnTo>
                  <a:pt x="591" y="316"/>
                </a:lnTo>
                <a:lnTo>
                  <a:pt x="590" y="316"/>
                </a:lnTo>
                <a:lnTo>
                  <a:pt x="588" y="316"/>
                </a:lnTo>
                <a:lnTo>
                  <a:pt x="585" y="316"/>
                </a:lnTo>
                <a:lnTo>
                  <a:pt x="582" y="307"/>
                </a:lnTo>
                <a:lnTo>
                  <a:pt x="581" y="306"/>
                </a:lnTo>
                <a:lnTo>
                  <a:pt x="579" y="306"/>
                </a:lnTo>
                <a:lnTo>
                  <a:pt x="576" y="305"/>
                </a:lnTo>
                <a:lnTo>
                  <a:pt x="572" y="305"/>
                </a:lnTo>
                <a:lnTo>
                  <a:pt x="571" y="305"/>
                </a:lnTo>
                <a:lnTo>
                  <a:pt x="568" y="304"/>
                </a:lnTo>
                <a:lnTo>
                  <a:pt x="565" y="299"/>
                </a:lnTo>
                <a:lnTo>
                  <a:pt x="544" y="291"/>
                </a:lnTo>
                <a:lnTo>
                  <a:pt x="534" y="287"/>
                </a:lnTo>
                <a:lnTo>
                  <a:pt x="530" y="285"/>
                </a:lnTo>
                <a:lnTo>
                  <a:pt x="526" y="282"/>
                </a:lnTo>
                <a:lnTo>
                  <a:pt x="525" y="279"/>
                </a:lnTo>
                <a:lnTo>
                  <a:pt x="523" y="276"/>
                </a:lnTo>
                <a:lnTo>
                  <a:pt x="519" y="276"/>
                </a:lnTo>
                <a:lnTo>
                  <a:pt x="516" y="276"/>
                </a:lnTo>
                <a:lnTo>
                  <a:pt x="513" y="276"/>
                </a:lnTo>
                <a:lnTo>
                  <a:pt x="510" y="277"/>
                </a:lnTo>
                <a:lnTo>
                  <a:pt x="508" y="278"/>
                </a:lnTo>
                <a:lnTo>
                  <a:pt x="505" y="279"/>
                </a:lnTo>
                <a:lnTo>
                  <a:pt x="502" y="279"/>
                </a:lnTo>
                <a:lnTo>
                  <a:pt x="498" y="279"/>
                </a:lnTo>
                <a:lnTo>
                  <a:pt x="494" y="278"/>
                </a:lnTo>
                <a:lnTo>
                  <a:pt x="489" y="277"/>
                </a:lnTo>
                <a:lnTo>
                  <a:pt x="480" y="272"/>
                </a:lnTo>
                <a:lnTo>
                  <a:pt x="472" y="268"/>
                </a:lnTo>
                <a:lnTo>
                  <a:pt x="463" y="265"/>
                </a:lnTo>
                <a:lnTo>
                  <a:pt x="459" y="263"/>
                </a:lnTo>
                <a:lnTo>
                  <a:pt x="454" y="262"/>
                </a:lnTo>
                <a:lnTo>
                  <a:pt x="449" y="262"/>
                </a:lnTo>
                <a:lnTo>
                  <a:pt x="445" y="262"/>
                </a:lnTo>
                <a:lnTo>
                  <a:pt x="445" y="271"/>
                </a:lnTo>
                <a:lnTo>
                  <a:pt x="435" y="271"/>
                </a:lnTo>
                <a:lnTo>
                  <a:pt x="428" y="271"/>
                </a:lnTo>
                <a:lnTo>
                  <a:pt x="425" y="265"/>
                </a:lnTo>
                <a:lnTo>
                  <a:pt x="414" y="265"/>
                </a:lnTo>
                <a:lnTo>
                  <a:pt x="402" y="265"/>
                </a:lnTo>
                <a:lnTo>
                  <a:pt x="402" y="259"/>
                </a:lnTo>
                <a:lnTo>
                  <a:pt x="398" y="259"/>
                </a:lnTo>
                <a:lnTo>
                  <a:pt x="393" y="259"/>
                </a:lnTo>
                <a:lnTo>
                  <a:pt x="382" y="261"/>
                </a:lnTo>
                <a:lnTo>
                  <a:pt x="372" y="262"/>
                </a:lnTo>
                <a:lnTo>
                  <a:pt x="367" y="262"/>
                </a:lnTo>
                <a:lnTo>
                  <a:pt x="363" y="262"/>
                </a:lnTo>
                <a:lnTo>
                  <a:pt x="360" y="257"/>
                </a:lnTo>
                <a:lnTo>
                  <a:pt x="359" y="257"/>
                </a:lnTo>
                <a:lnTo>
                  <a:pt x="358" y="257"/>
                </a:lnTo>
                <a:lnTo>
                  <a:pt x="357" y="258"/>
                </a:lnTo>
                <a:lnTo>
                  <a:pt x="355" y="259"/>
                </a:lnTo>
                <a:lnTo>
                  <a:pt x="354" y="260"/>
                </a:lnTo>
                <a:lnTo>
                  <a:pt x="352" y="259"/>
                </a:lnTo>
                <a:lnTo>
                  <a:pt x="349" y="258"/>
                </a:lnTo>
                <a:lnTo>
                  <a:pt x="345" y="255"/>
                </a:lnTo>
                <a:lnTo>
                  <a:pt x="341" y="252"/>
                </a:lnTo>
                <a:lnTo>
                  <a:pt x="338" y="251"/>
                </a:lnTo>
                <a:lnTo>
                  <a:pt x="333" y="251"/>
                </a:lnTo>
                <a:lnTo>
                  <a:pt x="329" y="251"/>
                </a:lnTo>
                <a:lnTo>
                  <a:pt x="325" y="252"/>
                </a:lnTo>
                <a:lnTo>
                  <a:pt x="322" y="254"/>
                </a:lnTo>
                <a:lnTo>
                  <a:pt x="319" y="255"/>
                </a:lnTo>
                <a:lnTo>
                  <a:pt x="315" y="256"/>
                </a:lnTo>
                <a:lnTo>
                  <a:pt x="311" y="257"/>
                </a:lnTo>
                <a:lnTo>
                  <a:pt x="307" y="257"/>
                </a:lnTo>
                <a:lnTo>
                  <a:pt x="301" y="256"/>
                </a:lnTo>
                <a:lnTo>
                  <a:pt x="292" y="253"/>
                </a:lnTo>
                <a:lnTo>
                  <a:pt x="276" y="248"/>
                </a:lnTo>
                <a:lnTo>
                  <a:pt x="273" y="243"/>
                </a:lnTo>
                <a:lnTo>
                  <a:pt x="269" y="242"/>
                </a:lnTo>
                <a:lnTo>
                  <a:pt x="265" y="242"/>
                </a:lnTo>
                <a:lnTo>
                  <a:pt x="257" y="244"/>
                </a:lnTo>
                <a:lnTo>
                  <a:pt x="250" y="245"/>
                </a:lnTo>
                <a:lnTo>
                  <a:pt x="247" y="245"/>
                </a:lnTo>
                <a:lnTo>
                  <a:pt x="245" y="245"/>
                </a:lnTo>
                <a:lnTo>
                  <a:pt x="243" y="245"/>
                </a:lnTo>
                <a:lnTo>
                  <a:pt x="242" y="243"/>
                </a:lnTo>
                <a:lnTo>
                  <a:pt x="240" y="240"/>
                </a:lnTo>
                <a:lnTo>
                  <a:pt x="238" y="237"/>
                </a:lnTo>
                <a:lnTo>
                  <a:pt x="236" y="234"/>
                </a:lnTo>
                <a:lnTo>
                  <a:pt x="228" y="240"/>
                </a:lnTo>
                <a:lnTo>
                  <a:pt x="220" y="245"/>
                </a:lnTo>
                <a:lnTo>
                  <a:pt x="219" y="244"/>
                </a:lnTo>
                <a:lnTo>
                  <a:pt x="218" y="243"/>
                </a:lnTo>
                <a:lnTo>
                  <a:pt x="218" y="240"/>
                </a:lnTo>
                <a:lnTo>
                  <a:pt x="218" y="237"/>
                </a:lnTo>
                <a:lnTo>
                  <a:pt x="217" y="233"/>
                </a:lnTo>
                <a:lnTo>
                  <a:pt x="215" y="230"/>
                </a:lnTo>
                <a:lnTo>
                  <a:pt x="214" y="229"/>
                </a:lnTo>
                <a:lnTo>
                  <a:pt x="212" y="228"/>
                </a:lnTo>
                <a:lnTo>
                  <a:pt x="209" y="228"/>
                </a:lnTo>
                <a:lnTo>
                  <a:pt x="206" y="227"/>
                </a:lnTo>
                <a:lnTo>
                  <a:pt x="202" y="228"/>
                </a:lnTo>
                <a:lnTo>
                  <a:pt x="197" y="229"/>
                </a:lnTo>
                <a:lnTo>
                  <a:pt x="195" y="229"/>
                </a:lnTo>
                <a:lnTo>
                  <a:pt x="193" y="231"/>
                </a:lnTo>
                <a:lnTo>
                  <a:pt x="189" y="235"/>
                </a:lnTo>
                <a:lnTo>
                  <a:pt x="184" y="240"/>
                </a:lnTo>
                <a:lnTo>
                  <a:pt x="180" y="243"/>
                </a:lnTo>
                <a:lnTo>
                  <a:pt x="178" y="243"/>
                </a:lnTo>
                <a:lnTo>
                  <a:pt x="176" y="243"/>
                </a:lnTo>
                <a:lnTo>
                  <a:pt x="172" y="243"/>
                </a:lnTo>
                <a:lnTo>
                  <a:pt x="167" y="242"/>
                </a:lnTo>
                <a:lnTo>
                  <a:pt x="165" y="242"/>
                </a:lnTo>
                <a:lnTo>
                  <a:pt x="163" y="243"/>
                </a:lnTo>
                <a:lnTo>
                  <a:pt x="162" y="244"/>
                </a:lnTo>
                <a:lnTo>
                  <a:pt x="161" y="246"/>
                </a:lnTo>
                <a:lnTo>
                  <a:pt x="160" y="248"/>
                </a:lnTo>
                <a:lnTo>
                  <a:pt x="159" y="248"/>
                </a:lnTo>
                <a:lnTo>
                  <a:pt x="158" y="248"/>
                </a:lnTo>
                <a:lnTo>
                  <a:pt x="157" y="247"/>
                </a:lnTo>
                <a:lnTo>
                  <a:pt x="157" y="244"/>
                </a:lnTo>
                <a:lnTo>
                  <a:pt x="157" y="243"/>
                </a:lnTo>
                <a:lnTo>
                  <a:pt x="156" y="242"/>
                </a:lnTo>
                <a:lnTo>
                  <a:pt x="154" y="242"/>
                </a:lnTo>
                <a:lnTo>
                  <a:pt x="152" y="243"/>
                </a:lnTo>
                <a:lnTo>
                  <a:pt x="152" y="248"/>
                </a:lnTo>
                <a:lnTo>
                  <a:pt x="150" y="249"/>
                </a:lnTo>
                <a:lnTo>
                  <a:pt x="148" y="249"/>
                </a:lnTo>
                <a:lnTo>
                  <a:pt x="144" y="248"/>
                </a:lnTo>
                <a:lnTo>
                  <a:pt x="142" y="251"/>
                </a:lnTo>
                <a:lnTo>
                  <a:pt x="141" y="254"/>
                </a:lnTo>
                <a:lnTo>
                  <a:pt x="138" y="254"/>
                </a:lnTo>
                <a:lnTo>
                  <a:pt x="136" y="254"/>
                </a:lnTo>
                <a:lnTo>
                  <a:pt x="131" y="254"/>
                </a:lnTo>
                <a:lnTo>
                  <a:pt x="126" y="253"/>
                </a:lnTo>
                <a:lnTo>
                  <a:pt x="123" y="253"/>
                </a:lnTo>
                <a:lnTo>
                  <a:pt x="121" y="254"/>
                </a:lnTo>
                <a:lnTo>
                  <a:pt x="118" y="255"/>
                </a:lnTo>
                <a:lnTo>
                  <a:pt x="116" y="257"/>
                </a:lnTo>
                <a:lnTo>
                  <a:pt x="114" y="260"/>
                </a:lnTo>
                <a:lnTo>
                  <a:pt x="112" y="263"/>
                </a:lnTo>
                <a:lnTo>
                  <a:pt x="108" y="269"/>
                </a:lnTo>
                <a:lnTo>
                  <a:pt x="106" y="272"/>
                </a:lnTo>
                <a:lnTo>
                  <a:pt x="104" y="274"/>
                </a:lnTo>
                <a:lnTo>
                  <a:pt x="102" y="274"/>
                </a:lnTo>
                <a:lnTo>
                  <a:pt x="100" y="275"/>
                </a:lnTo>
                <a:lnTo>
                  <a:pt x="97" y="275"/>
                </a:lnTo>
                <a:lnTo>
                  <a:pt x="96" y="275"/>
                </a:lnTo>
                <a:lnTo>
                  <a:pt x="96" y="276"/>
                </a:lnTo>
                <a:lnTo>
                  <a:pt x="95" y="279"/>
                </a:lnTo>
                <a:lnTo>
                  <a:pt x="94" y="283"/>
                </a:lnTo>
                <a:lnTo>
                  <a:pt x="91" y="294"/>
                </a:lnTo>
                <a:lnTo>
                  <a:pt x="89" y="305"/>
                </a:lnTo>
                <a:lnTo>
                  <a:pt x="88" y="308"/>
                </a:lnTo>
                <a:lnTo>
                  <a:pt x="87" y="310"/>
                </a:lnTo>
                <a:lnTo>
                  <a:pt x="84" y="312"/>
                </a:lnTo>
                <a:lnTo>
                  <a:pt x="80" y="313"/>
                </a:lnTo>
                <a:lnTo>
                  <a:pt x="76" y="313"/>
                </a:lnTo>
                <a:lnTo>
                  <a:pt x="71" y="313"/>
                </a:lnTo>
                <a:lnTo>
                  <a:pt x="62" y="313"/>
                </a:lnTo>
                <a:lnTo>
                  <a:pt x="56" y="313"/>
                </a:lnTo>
                <a:lnTo>
                  <a:pt x="55" y="314"/>
                </a:lnTo>
                <a:lnTo>
                  <a:pt x="53" y="316"/>
                </a:lnTo>
                <a:lnTo>
                  <a:pt x="50" y="318"/>
                </a:lnTo>
                <a:lnTo>
                  <a:pt x="49" y="318"/>
                </a:lnTo>
                <a:lnTo>
                  <a:pt x="48" y="319"/>
                </a:lnTo>
                <a:lnTo>
                  <a:pt x="41" y="316"/>
                </a:lnTo>
                <a:lnTo>
                  <a:pt x="38" y="315"/>
                </a:lnTo>
                <a:lnTo>
                  <a:pt x="36" y="315"/>
                </a:lnTo>
                <a:lnTo>
                  <a:pt x="33" y="315"/>
                </a:lnTo>
                <a:lnTo>
                  <a:pt x="31" y="316"/>
                </a:lnTo>
                <a:lnTo>
                  <a:pt x="31" y="333"/>
                </a:lnTo>
                <a:lnTo>
                  <a:pt x="31" y="334"/>
                </a:lnTo>
                <a:lnTo>
                  <a:pt x="30" y="335"/>
                </a:lnTo>
                <a:lnTo>
                  <a:pt x="28" y="338"/>
                </a:lnTo>
                <a:lnTo>
                  <a:pt x="31" y="339"/>
                </a:lnTo>
                <a:lnTo>
                  <a:pt x="34" y="341"/>
                </a:lnTo>
                <a:lnTo>
                  <a:pt x="40" y="342"/>
                </a:lnTo>
                <a:lnTo>
                  <a:pt x="45" y="344"/>
                </a:lnTo>
                <a:lnTo>
                  <a:pt x="51" y="347"/>
                </a:lnTo>
                <a:lnTo>
                  <a:pt x="52" y="348"/>
                </a:lnTo>
                <a:lnTo>
                  <a:pt x="54" y="350"/>
                </a:lnTo>
                <a:lnTo>
                  <a:pt x="58" y="354"/>
                </a:lnTo>
                <a:lnTo>
                  <a:pt x="62" y="358"/>
                </a:lnTo>
                <a:lnTo>
                  <a:pt x="65" y="361"/>
                </a:lnTo>
                <a:lnTo>
                  <a:pt x="67" y="361"/>
                </a:lnTo>
                <a:lnTo>
                  <a:pt x="71" y="360"/>
                </a:lnTo>
                <a:lnTo>
                  <a:pt x="74" y="360"/>
                </a:lnTo>
                <a:lnTo>
                  <a:pt x="76" y="361"/>
                </a:lnTo>
                <a:lnTo>
                  <a:pt x="77" y="362"/>
                </a:lnTo>
                <a:lnTo>
                  <a:pt x="77" y="364"/>
                </a:lnTo>
                <a:lnTo>
                  <a:pt x="77" y="368"/>
                </a:lnTo>
                <a:lnTo>
                  <a:pt x="77" y="372"/>
                </a:lnTo>
                <a:lnTo>
                  <a:pt x="77" y="373"/>
                </a:lnTo>
                <a:lnTo>
                  <a:pt x="77" y="374"/>
                </a:lnTo>
                <a:lnTo>
                  <a:pt x="79" y="375"/>
                </a:lnTo>
                <a:lnTo>
                  <a:pt x="82" y="376"/>
                </a:lnTo>
                <a:lnTo>
                  <a:pt x="84" y="375"/>
                </a:lnTo>
                <a:lnTo>
                  <a:pt x="86" y="375"/>
                </a:lnTo>
                <a:lnTo>
                  <a:pt x="88" y="374"/>
                </a:lnTo>
                <a:lnTo>
                  <a:pt x="90" y="372"/>
                </a:lnTo>
                <a:lnTo>
                  <a:pt x="92" y="372"/>
                </a:lnTo>
                <a:lnTo>
                  <a:pt x="95" y="371"/>
                </a:lnTo>
                <a:lnTo>
                  <a:pt x="99" y="372"/>
                </a:lnTo>
                <a:lnTo>
                  <a:pt x="104" y="372"/>
                </a:lnTo>
                <a:lnTo>
                  <a:pt x="107" y="372"/>
                </a:lnTo>
                <a:lnTo>
                  <a:pt x="108" y="372"/>
                </a:lnTo>
                <a:lnTo>
                  <a:pt x="107" y="372"/>
                </a:lnTo>
                <a:lnTo>
                  <a:pt x="110" y="372"/>
                </a:lnTo>
                <a:lnTo>
                  <a:pt x="112" y="372"/>
                </a:lnTo>
                <a:lnTo>
                  <a:pt x="112" y="373"/>
                </a:lnTo>
                <a:lnTo>
                  <a:pt x="112" y="374"/>
                </a:lnTo>
                <a:lnTo>
                  <a:pt x="112" y="375"/>
                </a:lnTo>
                <a:lnTo>
                  <a:pt x="112" y="377"/>
                </a:lnTo>
                <a:lnTo>
                  <a:pt x="111" y="379"/>
                </a:lnTo>
                <a:lnTo>
                  <a:pt x="109" y="380"/>
                </a:lnTo>
                <a:lnTo>
                  <a:pt x="107" y="380"/>
                </a:lnTo>
                <a:lnTo>
                  <a:pt x="124" y="389"/>
                </a:lnTo>
                <a:lnTo>
                  <a:pt x="123" y="388"/>
                </a:lnTo>
                <a:lnTo>
                  <a:pt x="126" y="387"/>
                </a:lnTo>
                <a:lnTo>
                  <a:pt x="132" y="386"/>
                </a:lnTo>
                <a:lnTo>
                  <a:pt x="132" y="390"/>
                </a:lnTo>
                <a:lnTo>
                  <a:pt x="132" y="395"/>
                </a:lnTo>
                <a:lnTo>
                  <a:pt x="126" y="394"/>
                </a:lnTo>
                <a:lnTo>
                  <a:pt x="122" y="393"/>
                </a:lnTo>
                <a:lnTo>
                  <a:pt x="113" y="392"/>
                </a:lnTo>
                <a:lnTo>
                  <a:pt x="112" y="393"/>
                </a:lnTo>
                <a:lnTo>
                  <a:pt x="110" y="395"/>
                </a:lnTo>
                <a:lnTo>
                  <a:pt x="107" y="397"/>
                </a:lnTo>
                <a:lnTo>
                  <a:pt x="113" y="397"/>
                </a:lnTo>
                <a:lnTo>
                  <a:pt x="118" y="397"/>
                </a:lnTo>
                <a:lnTo>
                  <a:pt x="121" y="409"/>
                </a:lnTo>
                <a:lnTo>
                  <a:pt x="118" y="403"/>
                </a:lnTo>
                <a:lnTo>
                  <a:pt x="107" y="411"/>
                </a:lnTo>
                <a:lnTo>
                  <a:pt x="102" y="411"/>
                </a:lnTo>
                <a:lnTo>
                  <a:pt x="97" y="411"/>
                </a:lnTo>
                <a:lnTo>
                  <a:pt x="92" y="410"/>
                </a:lnTo>
                <a:lnTo>
                  <a:pt x="87" y="408"/>
                </a:lnTo>
                <a:lnTo>
                  <a:pt x="78" y="405"/>
                </a:lnTo>
                <a:lnTo>
                  <a:pt x="70" y="403"/>
                </a:lnTo>
                <a:lnTo>
                  <a:pt x="72" y="402"/>
                </a:lnTo>
                <a:lnTo>
                  <a:pt x="73" y="401"/>
                </a:lnTo>
                <a:lnTo>
                  <a:pt x="73" y="399"/>
                </a:lnTo>
                <a:lnTo>
                  <a:pt x="73" y="396"/>
                </a:lnTo>
                <a:lnTo>
                  <a:pt x="73" y="393"/>
                </a:lnTo>
                <a:lnTo>
                  <a:pt x="71" y="387"/>
                </a:lnTo>
                <a:lnTo>
                  <a:pt x="70" y="383"/>
                </a:lnTo>
                <a:lnTo>
                  <a:pt x="53" y="389"/>
                </a:lnTo>
                <a:lnTo>
                  <a:pt x="45" y="391"/>
                </a:lnTo>
                <a:lnTo>
                  <a:pt x="37" y="395"/>
                </a:lnTo>
                <a:lnTo>
                  <a:pt x="37" y="400"/>
                </a:lnTo>
                <a:lnTo>
                  <a:pt x="37" y="406"/>
                </a:lnTo>
                <a:lnTo>
                  <a:pt x="34" y="407"/>
                </a:lnTo>
                <a:lnTo>
                  <a:pt x="32" y="407"/>
                </a:lnTo>
                <a:lnTo>
                  <a:pt x="28" y="405"/>
                </a:lnTo>
                <a:lnTo>
                  <a:pt x="25" y="403"/>
                </a:lnTo>
                <a:lnTo>
                  <a:pt x="22" y="403"/>
                </a:lnTo>
                <a:lnTo>
                  <a:pt x="20" y="403"/>
                </a:lnTo>
                <a:lnTo>
                  <a:pt x="18" y="404"/>
                </a:lnTo>
                <a:lnTo>
                  <a:pt x="15" y="405"/>
                </a:lnTo>
                <a:lnTo>
                  <a:pt x="10" y="409"/>
                </a:lnTo>
                <a:lnTo>
                  <a:pt x="0" y="417"/>
                </a:lnTo>
                <a:lnTo>
                  <a:pt x="3" y="423"/>
                </a:lnTo>
                <a:lnTo>
                  <a:pt x="12" y="423"/>
                </a:lnTo>
                <a:lnTo>
                  <a:pt x="18" y="424"/>
                </a:lnTo>
                <a:lnTo>
                  <a:pt x="22" y="424"/>
                </a:lnTo>
                <a:lnTo>
                  <a:pt x="26" y="425"/>
                </a:lnTo>
                <a:lnTo>
                  <a:pt x="27" y="426"/>
                </a:lnTo>
                <a:lnTo>
                  <a:pt x="27" y="427"/>
                </a:lnTo>
                <a:lnTo>
                  <a:pt x="26" y="428"/>
                </a:lnTo>
                <a:lnTo>
                  <a:pt x="24" y="429"/>
                </a:lnTo>
                <a:lnTo>
                  <a:pt x="17" y="431"/>
                </a:lnTo>
                <a:lnTo>
                  <a:pt x="19" y="433"/>
                </a:lnTo>
                <a:lnTo>
                  <a:pt x="20" y="436"/>
                </a:lnTo>
                <a:lnTo>
                  <a:pt x="22" y="438"/>
                </a:lnTo>
                <a:lnTo>
                  <a:pt x="25" y="440"/>
                </a:lnTo>
                <a:lnTo>
                  <a:pt x="26" y="442"/>
                </a:lnTo>
                <a:lnTo>
                  <a:pt x="26" y="445"/>
                </a:lnTo>
                <a:lnTo>
                  <a:pt x="27" y="446"/>
                </a:lnTo>
                <a:lnTo>
                  <a:pt x="28" y="448"/>
                </a:lnTo>
                <a:lnTo>
                  <a:pt x="31" y="450"/>
                </a:lnTo>
                <a:lnTo>
                  <a:pt x="34" y="451"/>
                </a:lnTo>
                <a:lnTo>
                  <a:pt x="38" y="452"/>
                </a:lnTo>
                <a:lnTo>
                  <a:pt x="42" y="452"/>
                </a:lnTo>
                <a:lnTo>
                  <a:pt x="49" y="452"/>
                </a:lnTo>
                <a:lnTo>
                  <a:pt x="57" y="452"/>
                </a:lnTo>
                <a:lnTo>
                  <a:pt x="73" y="449"/>
                </a:lnTo>
                <a:lnTo>
                  <a:pt x="87" y="445"/>
                </a:lnTo>
                <a:lnTo>
                  <a:pt x="91" y="452"/>
                </a:lnTo>
                <a:lnTo>
                  <a:pt x="92" y="453"/>
                </a:lnTo>
                <a:lnTo>
                  <a:pt x="93" y="455"/>
                </a:lnTo>
                <a:lnTo>
                  <a:pt x="95" y="456"/>
                </a:lnTo>
                <a:lnTo>
                  <a:pt x="96" y="456"/>
                </a:lnTo>
                <a:lnTo>
                  <a:pt x="97" y="455"/>
                </a:lnTo>
                <a:lnTo>
                  <a:pt x="98" y="452"/>
                </a:lnTo>
                <a:lnTo>
                  <a:pt x="100" y="449"/>
                </a:lnTo>
                <a:lnTo>
                  <a:pt x="101" y="448"/>
                </a:lnTo>
                <a:lnTo>
                  <a:pt x="106" y="447"/>
                </a:lnTo>
                <a:lnTo>
                  <a:pt x="110" y="446"/>
                </a:lnTo>
                <a:lnTo>
                  <a:pt x="114" y="446"/>
                </a:lnTo>
                <a:lnTo>
                  <a:pt x="118" y="447"/>
                </a:lnTo>
                <a:lnTo>
                  <a:pt x="126" y="448"/>
                </a:lnTo>
                <a:lnTo>
                  <a:pt x="132" y="448"/>
                </a:lnTo>
                <a:lnTo>
                  <a:pt x="130" y="456"/>
                </a:lnTo>
                <a:lnTo>
                  <a:pt x="129" y="463"/>
                </a:lnTo>
                <a:lnTo>
                  <a:pt x="128" y="470"/>
                </a:lnTo>
                <a:lnTo>
                  <a:pt x="129" y="475"/>
                </a:lnTo>
                <a:lnTo>
                  <a:pt x="130" y="482"/>
                </a:lnTo>
                <a:lnTo>
                  <a:pt x="126" y="484"/>
                </a:lnTo>
                <a:lnTo>
                  <a:pt x="121" y="486"/>
                </a:lnTo>
                <a:lnTo>
                  <a:pt x="117" y="489"/>
                </a:lnTo>
                <a:lnTo>
                  <a:pt x="115" y="490"/>
                </a:lnTo>
                <a:lnTo>
                  <a:pt x="113" y="490"/>
                </a:lnTo>
                <a:lnTo>
                  <a:pt x="110" y="490"/>
                </a:lnTo>
                <a:lnTo>
                  <a:pt x="110" y="489"/>
                </a:lnTo>
                <a:lnTo>
                  <a:pt x="110" y="488"/>
                </a:lnTo>
                <a:lnTo>
                  <a:pt x="109" y="487"/>
                </a:lnTo>
                <a:lnTo>
                  <a:pt x="108" y="487"/>
                </a:lnTo>
                <a:lnTo>
                  <a:pt x="107" y="487"/>
                </a:lnTo>
                <a:lnTo>
                  <a:pt x="105" y="489"/>
                </a:lnTo>
                <a:lnTo>
                  <a:pt x="101" y="493"/>
                </a:lnTo>
                <a:lnTo>
                  <a:pt x="98" y="497"/>
                </a:lnTo>
                <a:lnTo>
                  <a:pt x="96" y="499"/>
                </a:lnTo>
                <a:lnTo>
                  <a:pt x="92" y="499"/>
                </a:lnTo>
                <a:lnTo>
                  <a:pt x="89" y="499"/>
                </a:lnTo>
                <a:lnTo>
                  <a:pt x="85" y="498"/>
                </a:lnTo>
                <a:lnTo>
                  <a:pt x="83" y="498"/>
                </a:lnTo>
                <a:lnTo>
                  <a:pt x="82" y="499"/>
                </a:lnTo>
                <a:lnTo>
                  <a:pt x="79" y="494"/>
                </a:lnTo>
                <a:lnTo>
                  <a:pt x="76" y="490"/>
                </a:lnTo>
                <a:lnTo>
                  <a:pt x="75" y="490"/>
                </a:lnTo>
                <a:lnTo>
                  <a:pt x="74" y="490"/>
                </a:lnTo>
                <a:lnTo>
                  <a:pt x="72" y="490"/>
                </a:lnTo>
                <a:lnTo>
                  <a:pt x="70" y="491"/>
                </a:lnTo>
                <a:lnTo>
                  <a:pt x="69" y="491"/>
                </a:lnTo>
                <a:lnTo>
                  <a:pt x="68" y="490"/>
                </a:lnTo>
                <a:lnTo>
                  <a:pt x="65" y="494"/>
                </a:lnTo>
                <a:lnTo>
                  <a:pt x="62" y="498"/>
                </a:lnTo>
                <a:lnTo>
                  <a:pt x="57" y="502"/>
                </a:lnTo>
                <a:lnTo>
                  <a:pt x="57" y="503"/>
                </a:lnTo>
                <a:lnTo>
                  <a:pt x="58" y="504"/>
                </a:lnTo>
                <a:lnTo>
                  <a:pt x="68" y="504"/>
                </a:lnTo>
                <a:lnTo>
                  <a:pt x="67" y="509"/>
                </a:lnTo>
                <a:lnTo>
                  <a:pt x="68" y="513"/>
                </a:lnTo>
                <a:lnTo>
                  <a:pt x="64" y="512"/>
                </a:lnTo>
                <a:lnTo>
                  <a:pt x="59" y="510"/>
                </a:lnTo>
                <a:lnTo>
                  <a:pt x="58" y="512"/>
                </a:lnTo>
                <a:lnTo>
                  <a:pt x="58" y="514"/>
                </a:lnTo>
                <a:lnTo>
                  <a:pt x="57" y="517"/>
                </a:lnTo>
                <a:lnTo>
                  <a:pt x="56" y="518"/>
                </a:lnTo>
                <a:lnTo>
                  <a:pt x="53" y="520"/>
                </a:lnTo>
                <a:lnTo>
                  <a:pt x="49" y="522"/>
                </a:lnTo>
                <a:lnTo>
                  <a:pt x="47" y="523"/>
                </a:lnTo>
                <a:lnTo>
                  <a:pt x="45" y="524"/>
                </a:lnTo>
                <a:lnTo>
                  <a:pt x="43" y="525"/>
                </a:lnTo>
                <a:lnTo>
                  <a:pt x="42" y="527"/>
                </a:lnTo>
                <a:lnTo>
                  <a:pt x="42" y="528"/>
                </a:lnTo>
                <a:lnTo>
                  <a:pt x="42" y="529"/>
                </a:lnTo>
                <a:lnTo>
                  <a:pt x="42" y="531"/>
                </a:lnTo>
                <a:lnTo>
                  <a:pt x="43" y="533"/>
                </a:lnTo>
                <a:lnTo>
                  <a:pt x="43" y="534"/>
                </a:lnTo>
                <a:lnTo>
                  <a:pt x="42" y="535"/>
                </a:lnTo>
                <a:lnTo>
                  <a:pt x="41" y="537"/>
                </a:lnTo>
                <a:lnTo>
                  <a:pt x="38" y="538"/>
                </a:lnTo>
                <a:lnTo>
                  <a:pt x="36" y="539"/>
                </a:lnTo>
                <a:lnTo>
                  <a:pt x="34" y="541"/>
                </a:lnTo>
                <a:lnTo>
                  <a:pt x="44" y="549"/>
                </a:lnTo>
                <a:lnTo>
                  <a:pt x="48" y="552"/>
                </a:lnTo>
                <a:lnTo>
                  <a:pt x="52" y="554"/>
                </a:lnTo>
                <a:lnTo>
                  <a:pt x="56" y="556"/>
                </a:lnTo>
                <a:lnTo>
                  <a:pt x="61" y="557"/>
                </a:lnTo>
                <a:lnTo>
                  <a:pt x="67" y="557"/>
                </a:lnTo>
                <a:lnTo>
                  <a:pt x="76" y="558"/>
                </a:lnTo>
                <a:lnTo>
                  <a:pt x="70" y="569"/>
                </a:lnTo>
                <a:lnTo>
                  <a:pt x="69" y="568"/>
                </a:lnTo>
                <a:lnTo>
                  <a:pt x="68" y="567"/>
                </a:lnTo>
                <a:lnTo>
                  <a:pt x="66" y="565"/>
                </a:lnTo>
                <a:lnTo>
                  <a:pt x="64" y="562"/>
                </a:lnTo>
                <a:lnTo>
                  <a:pt x="62" y="561"/>
                </a:lnTo>
                <a:lnTo>
                  <a:pt x="60" y="560"/>
                </a:lnTo>
                <a:lnTo>
                  <a:pt x="58" y="560"/>
                </a:lnTo>
                <a:lnTo>
                  <a:pt x="54" y="562"/>
                </a:lnTo>
                <a:lnTo>
                  <a:pt x="53" y="563"/>
                </a:lnTo>
                <a:lnTo>
                  <a:pt x="53" y="564"/>
                </a:lnTo>
                <a:lnTo>
                  <a:pt x="54" y="565"/>
                </a:lnTo>
                <a:lnTo>
                  <a:pt x="56" y="566"/>
                </a:lnTo>
                <a:lnTo>
                  <a:pt x="56" y="572"/>
                </a:lnTo>
                <a:lnTo>
                  <a:pt x="62" y="572"/>
                </a:lnTo>
                <a:lnTo>
                  <a:pt x="65" y="572"/>
                </a:lnTo>
                <a:lnTo>
                  <a:pt x="66" y="573"/>
                </a:lnTo>
                <a:lnTo>
                  <a:pt x="66" y="574"/>
                </a:lnTo>
                <a:lnTo>
                  <a:pt x="63" y="577"/>
                </a:lnTo>
                <a:lnTo>
                  <a:pt x="62" y="580"/>
                </a:lnTo>
                <a:lnTo>
                  <a:pt x="62" y="583"/>
                </a:lnTo>
                <a:lnTo>
                  <a:pt x="66" y="588"/>
                </a:lnTo>
                <a:lnTo>
                  <a:pt x="69" y="591"/>
                </a:lnTo>
                <a:lnTo>
                  <a:pt x="70" y="594"/>
                </a:lnTo>
                <a:lnTo>
                  <a:pt x="74" y="594"/>
                </a:lnTo>
                <a:lnTo>
                  <a:pt x="78" y="594"/>
                </a:lnTo>
                <a:lnTo>
                  <a:pt x="82" y="595"/>
                </a:lnTo>
                <a:lnTo>
                  <a:pt x="86" y="595"/>
                </a:lnTo>
                <a:lnTo>
                  <a:pt x="89" y="594"/>
                </a:lnTo>
                <a:lnTo>
                  <a:pt x="92" y="593"/>
                </a:lnTo>
                <a:lnTo>
                  <a:pt x="93" y="591"/>
                </a:lnTo>
                <a:lnTo>
                  <a:pt x="94" y="590"/>
                </a:lnTo>
                <a:lnTo>
                  <a:pt x="95" y="588"/>
                </a:lnTo>
                <a:lnTo>
                  <a:pt x="96" y="586"/>
                </a:lnTo>
                <a:lnTo>
                  <a:pt x="96" y="584"/>
                </a:lnTo>
                <a:lnTo>
                  <a:pt x="95" y="582"/>
                </a:lnTo>
                <a:lnTo>
                  <a:pt x="95" y="579"/>
                </a:lnTo>
                <a:lnTo>
                  <a:pt x="96" y="577"/>
                </a:lnTo>
                <a:lnTo>
                  <a:pt x="98" y="578"/>
                </a:lnTo>
                <a:lnTo>
                  <a:pt x="101" y="578"/>
                </a:lnTo>
                <a:lnTo>
                  <a:pt x="102" y="579"/>
                </a:lnTo>
                <a:lnTo>
                  <a:pt x="103" y="580"/>
                </a:lnTo>
                <a:lnTo>
                  <a:pt x="103" y="581"/>
                </a:lnTo>
                <a:lnTo>
                  <a:pt x="101" y="583"/>
                </a:lnTo>
                <a:lnTo>
                  <a:pt x="101" y="582"/>
                </a:lnTo>
                <a:lnTo>
                  <a:pt x="100" y="583"/>
                </a:lnTo>
                <a:lnTo>
                  <a:pt x="100" y="585"/>
                </a:lnTo>
                <a:lnTo>
                  <a:pt x="101" y="588"/>
                </a:lnTo>
                <a:lnTo>
                  <a:pt x="102" y="592"/>
                </a:lnTo>
                <a:lnTo>
                  <a:pt x="104" y="597"/>
                </a:lnTo>
                <a:lnTo>
                  <a:pt x="105" y="599"/>
                </a:lnTo>
                <a:lnTo>
                  <a:pt x="106" y="601"/>
                </a:lnTo>
                <a:lnTo>
                  <a:pt x="108" y="603"/>
                </a:lnTo>
                <a:lnTo>
                  <a:pt x="110" y="606"/>
                </a:lnTo>
                <a:lnTo>
                  <a:pt x="110" y="607"/>
                </a:lnTo>
                <a:lnTo>
                  <a:pt x="108" y="609"/>
                </a:lnTo>
                <a:lnTo>
                  <a:pt x="107" y="611"/>
                </a:lnTo>
                <a:lnTo>
                  <a:pt x="107" y="612"/>
                </a:lnTo>
                <a:lnTo>
                  <a:pt x="107" y="614"/>
                </a:lnTo>
                <a:lnTo>
                  <a:pt x="106" y="614"/>
                </a:lnTo>
                <a:lnTo>
                  <a:pt x="108" y="616"/>
                </a:lnTo>
                <a:lnTo>
                  <a:pt x="113" y="617"/>
                </a:lnTo>
                <a:lnTo>
                  <a:pt x="110" y="631"/>
                </a:lnTo>
                <a:lnTo>
                  <a:pt x="112" y="631"/>
                </a:lnTo>
                <a:lnTo>
                  <a:pt x="114" y="630"/>
                </a:lnTo>
                <a:lnTo>
                  <a:pt x="118" y="629"/>
                </a:lnTo>
                <a:lnTo>
                  <a:pt x="122" y="626"/>
                </a:lnTo>
                <a:lnTo>
                  <a:pt x="125" y="623"/>
                </a:lnTo>
                <a:lnTo>
                  <a:pt x="130" y="617"/>
                </a:lnTo>
                <a:lnTo>
                  <a:pt x="134" y="615"/>
                </a:lnTo>
                <a:lnTo>
                  <a:pt x="138" y="614"/>
                </a:lnTo>
                <a:lnTo>
                  <a:pt x="139" y="614"/>
                </a:lnTo>
                <a:lnTo>
                  <a:pt x="140" y="615"/>
                </a:lnTo>
                <a:lnTo>
                  <a:pt x="141" y="618"/>
                </a:lnTo>
                <a:lnTo>
                  <a:pt x="142" y="621"/>
                </a:lnTo>
                <a:lnTo>
                  <a:pt x="143" y="622"/>
                </a:lnTo>
                <a:lnTo>
                  <a:pt x="144" y="622"/>
                </a:lnTo>
                <a:lnTo>
                  <a:pt x="146" y="623"/>
                </a:lnTo>
                <a:lnTo>
                  <a:pt x="147" y="623"/>
                </a:lnTo>
                <a:lnTo>
                  <a:pt x="148" y="622"/>
                </a:lnTo>
                <a:lnTo>
                  <a:pt x="149" y="621"/>
                </a:lnTo>
                <a:lnTo>
                  <a:pt x="150" y="620"/>
                </a:lnTo>
                <a:lnTo>
                  <a:pt x="151" y="619"/>
                </a:lnTo>
                <a:lnTo>
                  <a:pt x="153" y="619"/>
                </a:lnTo>
                <a:lnTo>
                  <a:pt x="155" y="620"/>
                </a:lnTo>
                <a:lnTo>
                  <a:pt x="163" y="634"/>
                </a:lnTo>
                <a:lnTo>
                  <a:pt x="165" y="632"/>
                </a:lnTo>
                <a:lnTo>
                  <a:pt x="166" y="631"/>
                </a:lnTo>
                <a:lnTo>
                  <a:pt x="166" y="629"/>
                </a:lnTo>
                <a:lnTo>
                  <a:pt x="166" y="625"/>
                </a:lnTo>
                <a:lnTo>
                  <a:pt x="176" y="628"/>
                </a:lnTo>
                <a:lnTo>
                  <a:pt x="180" y="628"/>
                </a:lnTo>
                <a:lnTo>
                  <a:pt x="183" y="628"/>
                </a:lnTo>
                <a:lnTo>
                  <a:pt x="187" y="627"/>
                </a:lnTo>
                <a:lnTo>
                  <a:pt x="192" y="626"/>
                </a:lnTo>
                <a:lnTo>
                  <a:pt x="203" y="620"/>
                </a:lnTo>
                <a:lnTo>
                  <a:pt x="201" y="624"/>
                </a:lnTo>
                <a:lnTo>
                  <a:pt x="200" y="628"/>
                </a:lnTo>
                <a:lnTo>
                  <a:pt x="199" y="632"/>
                </a:lnTo>
                <a:lnTo>
                  <a:pt x="197" y="636"/>
                </a:lnTo>
                <a:lnTo>
                  <a:pt x="190" y="642"/>
                </a:lnTo>
                <a:lnTo>
                  <a:pt x="186" y="647"/>
                </a:lnTo>
                <a:lnTo>
                  <a:pt x="183" y="651"/>
                </a:lnTo>
                <a:lnTo>
                  <a:pt x="182" y="655"/>
                </a:lnTo>
                <a:lnTo>
                  <a:pt x="183" y="659"/>
                </a:lnTo>
                <a:lnTo>
                  <a:pt x="183" y="663"/>
                </a:lnTo>
                <a:lnTo>
                  <a:pt x="183" y="667"/>
                </a:lnTo>
                <a:lnTo>
                  <a:pt x="172" y="684"/>
                </a:lnTo>
                <a:lnTo>
                  <a:pt x="169" y="687"/>
                </a:lnTo>
                <a:lnTo>
                  <a:pt x="165" y="690"/>
                </a:lnTo>
                <a:lnTo>
                  <a:pt x="160" y="693"/>
                </a:lnTo>
                <a:lnTo>
                  <a:pt x="156" y="695"/>
                </a:lnTo>
                <a:lnTo>
                  <a:pt x="138" y="704"/>
                </a:lnTo>
                <a:lnTo>
                  <a:pt x="138" y="710"/>
                </a:lnTo>
                <a:lnTo>
                  <a:pt x="138" y="713"/>
                </a:lnTo>
                <a:lnTo>
                  <a:pt x="138" y="715"/>
                </a:lnTo>
                <a:lnTo>
                  <a:pt x="134" y="715"/>
                </a:lnTo>
                <a:lnTo>
                  <a:pt x="131" y="716"/>
                </a:lnTo>
                <a:lnTo>
                  <a:pt x="129" y="717"/>
                </a:lnTo>
                <a:lnTo>
                  <a:pt x="127" y="718"/>
                </a:lnTo>
                <a:lnTo>
                  <a:pt x="128" y="718"/>
                </a:lnTo>
                <a:lnTo>
                  <a:pt x="128" y="717"/>
                </a:lnTo>
                <a:lnTo>
                  <a:pt x="127" y="716"/>
                </a:lnTo>
                <a:lnTo>
                  <a:pt x="124" y="715"/>
                </a:lnTo>
                <a:lnTo>
                  <a:pt x="121" y="714"/>
                </a:lnTo>
                <a:lnTo>
                  <a:pt x="117" y="714"/>
                </a:lnTo>
                <a:lnTo>
                  <a:pt x="114" y="714"/>
                </a:lnTo>
                <a:lnTo>
                  <a:pt x="112" y="715"/>
                </a:lnTo>
                <a:lnTo>
                  <a:pt x="110" y="715"/>
                </a:lnTo>
                <a:lnTo>
                  <a:pt x="108" y="717"/>
                </a:lnTo>
                <a:lnTo>
                  <a:pt x="106" y="719"/>
                </a:lnTo>
                <a:lnTo>
                  <a:pt x="102" y="727"/>
                </a:lnTo>
                <a:lnTo>
                  <a:pt x="96" y="738"/>
                </a:lnTo>
                <a:lnTo>
                  <a:pt x="94" y="738"/>
                </a:lnTo>
                <a:lnTo>
                  <a:pt x="92" y="738"/>
                </a:lnTo>
                <a:lnTo>
                  <a:pt x="90" y="737"/>
                </a:lnTo>
                <a:lnTo>
                  <a:pt x="87" y="738"/>
                </a:lnTo>
                <a:lnTo>
                  <a:pt x="85" y="741"/>
                </a:lnTo>
                <a:lnTo>
                  <a:pt x="85" y="746"/>
                </a:lnTo>
                <a:lnTo>
                  <a:pt x="94" y="743"/>
                </a:lnTo>
                <a:lnTo>
                  <a:pt x="96" y="742"/>
                </a:lnTo>
                <a:lnTo>
                  <a:pt x="98" y="742"/>
                </a:lnTo>
                <a:lnTo>
                  <a:pt x="101" y="740"/>
                </a:lnTo>
                <a:lnTo>
                  <a:pt x="103" y="737"/>
                </a:lnTo>
                <a:lnTo>
                  <a:pt x="106" y="734"/>
                </a:lnTo>
                <a:lnTo>
                  <a:pt x="109" y="728"/>
                </a:lnTo>
                <a:lnTo>
                  <a:pt x="113" y="721"/>
                </a:lnTo>
                <a:lnTo>
                  <a:pt x="114" y="721"/>
                </a:lnTo>
                <a:lnTo>
                  <a:pt x="117" y="721"/>
                </a:lnTo>
                <a:lnTo>
                  <a:pt x="121" y="721"/>
                </a:lnTo>
                <a:lnTo>
                  <a:pt x="119" y="725"/>
                </a:lnTo>
                <a:lnTo>
                  <a:pt x="118" y="728"/>
                </a:lnTo>
                <a:lnTo>
                  <a:pt x="118" y="729"/>
                </a:lnTo>
                <a:lnTo>
                  <a:pt x="121" y="730"/>
                </a:lnTo>
                <a:lnTo>
                  <a:pt x="123" y="730"/>
                </a:lnTo>
                <a:lnTo>
                  <a:pt x="126" y="729"/>
                </a:lnTo>
                <a:lnTo>
                  <a:pt x="128" y="728"/>
                </a:lnTo>
                <a:lnTo>
                  <a:pt x="132" y="726"/>
                </a:lnTo>
                <a:lnTo>
                  <a:pt x="137" y="724"/>
                </a:lnTo>
                <a:lnTo>
                  <a:pt x="145" y="718"/>
                </a:lnTo>
                <a:lnTo>
                  <a:pt x="148" y="716"/>
                </a:lnTo>
                <a:lnTo>
                  <a:pt x="152" y="715"/>
                </a:lnTo>
                <a:lnTo>
                  <a:pt x="154" y="716"/>
                </a:lnTo>
                <a:lnTo>
                  <a:pt x="155" y="717"/>
                </a:lnTo>
                <a:lnTo>
                  <a:pt x="155" y="718"/>
                </a:lnTo>
                <a:lnTo>
                  <a:pt x="156" y="718"/>
                </a:lnTo>
                <a:lnTo>
                  <a:pt x="156" y="719"/>
                </a:lnTo>
                <a:lnTo>
                  <a:pt x="158" y="718"/>
                </a:lnTo>
                <a:lnTo>
                  <a:pt x="160" y="710"/>
                </a:lnTo>
                <a:lnTo>
                  <a:pt x="162" y="709"/>
                </a:lnTo>
                <a:lnTo>
                  <a:pt x="163" y="710"/>
                </a:lnTo>
                <a:lnTo>
                  <a:pt x="163" y="711"/>
                </a:lnTo>
                <a:lnTo>
                  <a:pt x="164" y="712"/>
                </a:lnTo>
                <a:lnTo>
                  <a:pt x="164" y="713"/>
                </a:lnTo>
                <a:lnTo>
                  <a:pt x="165" y="713"/>
                </a:lnTo>
                <a:lnTo>
                  <a:pt x="166" y="712"/>
                </a:lnTo>
                <a:lnTo>
                  <a:pt x="166" y="710"/>
                </a:lnTo>
                <a:lnTo>
                  <a:pt x="166" y="707"/>
                </a:lnTo>
                <a:lnTo>
                  <a:pt x="166" y="701"/>
                </a:lnTo>
                <a:lnTo>
                  <a:pt x="171" y="700"/>
                </a:lnTo>
                <a:lnTo>
                  <a:pt x="175" y="699"/>
                </a:lnTo>
                <a:lnTo>
                  <a:pt x="177" y="698"/>
                </a:lnTo>
                <a:lnTo>
                  <a:pt x="175" y="695"/>
                </a:lnTo>
                <a:lnTo>
                  <a:pt x="174" y="694"/>
                </a:lnTo>
                <a:lnTo>
                  <a:pt x="175" y="693"/>
                </a:lnTo>
                <a:lnTo>
                  <a:pt x="176" y="692"/>
                </a:lnTo>
                <a:lnTo>
                  <a:pt x="177" y="692"/>
                </a:lnTo>
                <a:lnTo>
                  <a:pt x="179" y="692"/>
                </a:lnTo>
                <a:lnTo>
                  <a:pt x="181" y="693"/>
                </a:lnTo>
                <a:lnTo>
                  <a:pt x="183" y="693"/>
                </a:lnTo>
                <a:lnTo>
                  <a:pt x="187" y="690"/>
                </a:lnTo>
                <a:lnTo>
                  <a:pt x="193" y="686"/>
                </a:lnTo>
                <a:lnTo>
                  <a:pt x="203" y="679"/>
                </a:lnTo>
                <a:lnTo>
                  <a:pt x="200" y="670"/>
                </a:lnTo>
                <a:lnTo>
                  <a:pt x="201" y="669"/>
                </a:lnTo>
                <a:lnTo>
                  <a:pt x="203" y="668"/>
                </a:lnTo>
                <a:lnTo>
                  <a:pt x="206" y="667"/>
                </a:lnTo>
                <a:lnTo>
                  <a:pt x="210" y="666"/>
                </a:lnTo>
                <a:lnTo>
                  <a:pt x="214" y="665"/>
                </a:lnTo>
                <a:lnTo>
                  <a:pt x="216" y="663"/>
                </a:lnTo>
                <a:lnTo>
                  <a:pt x="218" y="660"/>
                </a:lnTo>
                <a:lnTo>
                  <a:pt x="222" y="655"/>
                </a:lnTo>
                <a:lnTo>
                  <a:pt x="226" y="649"/>
                </a:lnTo>
                <a:lnTo>
                  <a:pt x="229" y="647"/>
                </a:lnTo>
                <a:lnTo>
                  <a:pt x="231" y="645"/>
                </a:lnTo>
                <a:lnTo>
                  <a:pt x="232" y="644"/>
                </a:lnTo>
                <a:lnTo>
                  <a:pt x="234" y="644"/>
                </a:lnTo>
                <a:lnTo>
                  <a:pt x="238" y="643"/>
                </a:lnTo>
                <a:lnTo>
                  <a:pt x="242" y="643"/>
                </a:lnTo>
                <a:lnTo>
                  <a:pt x="243" y="643"/>
                </a:lnTo>
                <a:lnTo>
                  <a:pt x="245" y="642"/>
                </a:lnTo>
                <a:lnTo>
                  <a:pt x="245" y="641"/>
                </a:lnTo>
                <a:lnTo>
                  <a:pt x="245" y="638"/>
                </a:lnTo>
                <a:lnTo>
                  <a:pt x="245" y="636"/>
                </a:lnTo>
                <a:lnTo>
                  <a:pt x="245" y="634"/>
                </a:lnTo>
                <a:lnTo>
                  <a:pt x="246" y="632"/>
                </a:lnTo>
                <a:lnTo>
                  <a:pt x="247" y="631"/>
                </a:lnTo>
                <a:lnTo>
                  <a:pt x="251" y="629"/>
                </a:lnTo>
                <a:lnTo>
                  <a:pt x="255" y="627"/>
                </a:lnTo>
                <a:lnTo>
                  <a:pt x="259" y="625"/>
                </a:lnTo>
                <a:lnTo>
                  <a:pt x="259" y="620"/>
                </a:lnTo>
                <a:lnTo>
                  <a:pt x="256" y="619"/>
                </a:lnTo>
                <a:lnTo>
                  <a:pt x="252" y="619"/>
                </a:lnTo>
                <a:lnTo>
                  <a:pt x="245" y="620"/>
                </a:lnTo>
                <a:lnTo>
                  <a:pt x="249" y="607"/>
                </a:lnTo>
                <a:lnTo>
                  <a:pt x="251" y="603"/>
                </a:lnTo>
                <a:lnTo>
                  <a:pt x="253" y="600"/>
                </a:lnTo>
                <a:lnTo>
                  <a:pt x="256" y="597"/>
                </a:lnTo>
                <a:lnTo>
                  <a:pt x="259" y="594"/>
                </a:lnTo>
                <a:lnTo>
                  <a:pt x="264" y="592"/>
                </a:lnTo>
                <a:lnTo>
                  <a:pt x="270" y="589"/>
                </a:lnTo>
                <a:lnTo>
                  <a:pt x="269" y="587"/>
                </a:lnTo>
                <a:lnTo>
                  <a:pt x="268" y="585"/>
                </a:lnTo>
                <a:lnTo>
                  <a:pt x="267" y="584"/>
                </a:lnTo>
                <a:lnTo>
                  <a:pt x="267" y="583"/>
                </a:lnTo>
                <a:lnTo>
                  <a:pt x="267" y="582"/>
                </a:lnTo>
                <a:lnTo>
                  <a:pt x="267" y="580"/>
                </a:lnTo>
                <a:lnTo>
                  <a:pt x="271" y="580"/>
                </a:lnTo>
                <a:lnTo>
                  <a:pt x="273" y="581"/>
                </a:lnTo>
                <a:lnTo>
                  <a:pt x="275" y="581"/>
                </a:lnTo>
                <a:lnTo>
                  <a:pt x="279" y="580"/>
                </a:lnTo>
                <a:lnTo>
                  <a:pt x="279" y="576"/>
                </a:lnTo>
                <a:lnTo>
                  <a:pt x="279" y="573"/>
                </a:lnTo>
                <a:lnTo>
                  <a:pt x="280" y="571"/>
                </a:lnTo>
                <a:lnTo>
                  <a:pt x="281" y="569"/>
                </a:lnTo>
                <a:lnTo>
                  <a:pt x="284" y="568"/>
                </a:lnTo>
                <a:lnTo>
                  <a:pt x="287" y="568"/>
                </a:lnTo>
                <a:lnTo>
                  <a:pt x="290" y="567"/>
                </a:lnTo>
                <a:lnTo>
                  <a:pt x="293" y="566"/>
                </a:lnTo>
                <a:lnTo>
                  <a:pt x="293" y="565"/>
                </a:lnTo>
                <a:lnTo>
                  <a:pt x="294" y="564"/>
                </a:lnTo>
                <a:lnTo>
                  <a:pt x="294" y="561"/>
                </a:lnTo>
                <a:lnTo>
                  <a:pt x="294" y="558"/>
                </a:lnTo>
                <a:lnTo>
                  <a:pt x="295" y="555"/>
                </a:lnTo>
                <a:lnTo>
                  <a:pt x="310" y="544"/>
                </a:lnTo>
                <a:lnTo>
                  <a:pt x="312" y="543"/>
                </a:lnTo>
                <a:lnTo>
                  <a:pt x="314" y="543"/>
                </a:lnTo>
                <a:lnTo>
                  <a:pt x="314" y="544"/>
                </a:lnTo>
                <a:lnTo>
                  <a:pt x="315" y="545"/>
                </a:lnTo>
                <a:lnTo>
                  <a:pt x="316" y="548"/>
                </a:lnTo>
                <a:lnTo>
                  <a:pt x="316" y="549"/>
                </a:lnTo>
                <a:lnTo>
                  <a:pt x="318" y="549"/>
                </a:lnTo>
                <a:lnTo>
                  <a:pt x="326" y="544"/>
                </a:lnTo>
                <a:lnTo>
                  <a:pt x="329" y="543"/>
                </a:lnTo>
                <a:lnTo>
                  <a:pt x="331" y="544"/>
                </a:lnTo>
                <a:lnTo>
                  <a:pt x="332" y="545"/>
                </a:lnTo>
                <a:lnTo>
                  <a:pt x="331" y="546"/>
                </a:lnTo>
                <a:lnTo>
                  <a:pt x="331" y="547"/>
                </a:lnTo>
                <a:lnTo>
                  <a:pt x="329" y="548"/>
                </a:lnTo>
                <a:lnTo>
                  <a:pt x="328" y="549"/>
                </a:lnTo>
                <a:lnTo>
                  <a:pt x="326" y="549"/>
                </a:lnTo>
                <a:lnTo>
                  <a:pt x="326" y="555"/>
                </a:lnTo>
                <a:lnTo>
                  <a:pt x="329" y="555"/>
                </a:lnTo>
                <a:lnTo>
                  <a:pt x="330" y="555"/>
                </a:lnTo>
                <a:lnTo>
                  <a:pt x="331" y="556"/>
                </a:lnTo>
                <a:lnTo>
                  <a:pt x="331" y="557"/>
                </a:lnTo>
                <a:lnTo>
                  <a:pt x="331" y="559"/>
                </a:lnTo>
                <a:lnTo>
                  <a:pt x="331" y="560"/>
                </a:lnTo>
                <a:lnTo>
                  <a:pt x="332" y="561"/>
                </a:lnTo>
                <a:lnTo>
                  <a:pt x="326" y="560"/>
                </a:lnTo>
                <a:lnTo>
                  <a:pt x="322" y="558"/>
                </a:lnTo>
                <a:lnTo>
                  <a:pt x="317" y="557"/>
                </a:lnTo>
                <a:lnTo>
                  <a:pt x="315" y="557"/>
                </a:lnTo>
                <a:lnTo>
                  <a:pt x="312" y="558"/>
                </a:lnTo>
                <a:lnTo>
                  <a:pt x="308" y="562"/>
                </a:lnTo>
                <a:lnTo>
                  <a:pt x="304" y="566"/>
                </a:lnTo>
                <a:lnTo>
                  <a:pt x="298" y="566"/>
                </a:lnTo>
                <a:lnTo>
                  <a:pt x="297" y="572"/>
                </a:lnTo>
                <a:lnTo>
                  <a:pt x="295" y="582"/>
                </a:lnTo>
                <a:lnTo>
                  <a:pt x="293" y="600"/>
                </a:lnTo>
                <a:lnTo>
                  <a:pt x="295" y="600"/>
                </a:lnTo>
                <a:lnTo>
                  <a:pt x="297" y="600"/>
                </a:lnTo>
                <a:lnTo>
                  <a:pt x="301" y="600"/>
                </a:lnTo>
                <a:lnTo>
                  <a:pt x="301" y="606"/>
                </a:lnTo>
                <a:lnTo>
                  <a:pt x="295" y="608"/>
                </a:lnTo>
                <a:lnTo>
                  <a:pt x="290" y="611"/>
                </a:lnTo>
                <a:lnTo>
                  <a:pt x="293" y="614"/>
                </a:lnTo>
                <a:lnTo>
                  <a:pt x="295" y="615"/>
                </a:lnTo>
                <a:lnTo>
                  <a:pt x="296" y="616"/>
                </a:lnTo>
                <a:lnTo>
                  <a:pt x="295" y="617"/>
                </a:lnTo>
                <a:lnTo>
                  <a:pt x="307" y="613"/>
                </a:lnTo>
                <a:lnTo>
                  <a:pt x="318" y="608"/>
                </a:lnTo>
                <a:lnTo>
                  <a:pt x="318" y="603"/>
                </a:lnTo>
                <a:lnTo>
                  <a:pt x="321" y="602"/>
                </a:lnTo>
                <a:lnTo>
                  <a:pt x="324" y="601"/>
                </a:lnTo>
                <a:lnTo>
                  <a:pt x="327" y="601"/>
                </a:lnTo>
                <a:lnTo>
                  <a:pt x="328" y="601"/>
                </a:lnTo>
                <a:lnTo>
                  <a:pt x="329" y="600"/>
                </a:lnTo>
                <a:lnTo>
                  <a:pt x="330" y="598"/>
                </a:lnTo>
                <a:lnTo>
                  <a:pt x="331" y="597"/>
                </a:lnTo>
                <a:lnTo>
                  <a:pt x="332" y="592"/>
                </a:lnTo>
                <a:lnTo>
                  <a:pt x="333" y="590"/>
                </a:lnTo>
                <a:lnTo>
                  <a:pt x="334" y="588"/>
                </a:lnTo>
                <a:lnTo>
                  <a:pt x="336" y="587"/>
                </a:lnTo>
                <a:lnTo>
                  <a:pt x="338" y="586"/>
                </a:lnTo>
                <a:lnTo>
                  <a:pt x="340" y="586"/>
                </a:lnTo>
                <a:lnTo>
                  <a:pt x="343" y="586"/>
                </a:lnTo>
                <a:lnTo>
                  <a:pt x="348" y="588"/>
                </a:lnTo>
                <a:lnTo>
                  <a:pt x="353" y="591"/>
                </a:lnTo>
                <a:lnTo>
                  <a:pt x="355" y="591"/>
                </a:lnTo>
                <a:lnTo>
                  <a:pt x="357" y="591"/>
                </a:lnTo>
                <a:lnTo>
                  <a:pt x="361" y="588"/>
                </a:lnTo>
                <a:lnTo>
                  <a:pt x="363" y="585"/>
                </a:lnTo>
                <a:lnTo>
                  <a:pt x="366" y="583"/>
                </a:lnTo>
                <a:lnTo>
                  <a:pt x="365" y="580"/>
                </a:lnTo>
                <a:lnTo>
                  <a:pt x="364" y="574"/>
                </a:lnTo>
                <a:lnTo>
                  <a:pt x="363" y="570"/>
                </a:lnTo>
                <a:lnTo>
                  <a:pt x="363" y="572"/>
                </a:lnTo>
                <a:lnTo>
                  <a:pt x="355" y="569"/>
                </a:lnTo>
                <a:lnTo>
                  <a:pt x="355" y="562"/>
                </a:lnTo>
                <a:lnTo>
                  <a:pt x="355" y="558"/>
                </a:lnTo>
                <a:lnTo>
                  <a:pt x="355" y="556"/>
                </a:lnTo>
                <a:lnTo>
                  <a:pt x="355" y="555"/>
                </a:lnTo>
                <a:lnTo>
                  <a:pt x="364" y="557"/>
                </a:lnTo>
                <a:lnTo>
                  <a:pt x="372" y="558"/>
                </a:lnTo>
                <a:lnTo>
                  <a:pt x="376" y="558"/>
                </a:lnTo>
                <a:lnTo>
                  <a:pt x="379" y="558"/>
                </a:lnTo>
                <a:lnTo>
                  <a:pt x="382" y="557"/>
                </a:lnTo>
                <a:lnTo>
                  <a:pt x="385" y="555"/>
                </a:lnTo>
                <a:lnTo>
                  <a:pt x="386" y="554"/>
                </a:lnTo>
                <a:lnTo>
                  <a:pt x="386" y="553"/>
                </a:lnTo>
                <a:lnTo>
                  <a:pt x="385" y="552"/>
                </a:lnTo>
                <a:lnTo>
                  <a:pt x="385" y="551"/>
                </a:lnTo>
                <a:lnTo>
                  <a:pt x="388" y="552"/>
                </a:lnTo>
                <a:lnTo>
                  <a:pt x="388" y="561"/>
                </a:lnTo>
                <a:lnTo>
                  <a:pt x="393" y="563"/>
                </a:lnTo>
                <a:lnTo>
                  <a:pt x="388" y="563"/>
                </a:lnTo>
                <a:lnTo>
                  <a:pt x="395" y="566"/>
                </a:lnTo>
                <a:lnTo>
                  <a:pt x="402" y="569"/>
                </a:lnTo>
                <a:lnTo>
                  <a:pt x="401" y="570"/>
                </a:lnTo>
                <a:lnTo>
                  <a:pt x="401" y="571"/>
                </a:lnTo>
                <a:lnTo>
                  <a:pt x="400" y="573"/>
                </a:lnTo>
                <a:lnTo>
                  <a:pt x="400" y="575"/>
                </a:lnTo>
                <a:lnTo>
                  <a:pt x="401" y="576"/>
                </a:lnTo>
                <a:lnTo>
                  <a:pt x="401" y="578"/>
                </a:lnTo>
                <a:lnTo>
                  <a:pt x="402" y="579"/>
                </a:lnTo>
                <a:lnTo>
                  <a:pt x="402" y="580"/>
                </a:lnTo>
                <a:lnTo>
                  <a:pt x="405" y="581"/>
                </a:lnTo>
                <a:lnTo>
                  <a:pt x="406" y="581"/>
                </a:lnTo>
                <a:lnTo>
                  <a:pt x="408" y="580"/>
                </a:lnTo>
                <a:lnTo>
                  <a:pt x="410" y="579"/>
                </a:lnTo>
                <a:lnTo>
                  <a:pt x="413" y="578"/>
                </a:lnTo>
                <a:lnTo>
                  <a:pt x="414" y="577"/>
                </a:lnTo>
                <a:lnTo>
                  <a:pt x="416" y="577"/>
                </a:lnTo>
                <a:lnTo>
                  <a:pt x="418" y="581"/>
                </a:lnTo>
                <a:lnTo>
                  <a:pt x="419" y="586"/>
                </a:lnTo>
                <a:lnTo>
                  <a:pt x="423" y="587"/>
                </a:lnTo>
                <a:lnTo>
                  <a:pt x="426" y="587"/>
                </a:lnTo>
                <a:lnTo>
                  <a:pt x="430" y="588"/>
                </a:lnTo>
                <a:lnTo>
                  <a:pt x="433" y="589"/>
                </a:lnTo>
                <a:lnTo>
                  <a:pt x="433" y="591"/>
                </a:lnTo>
                <a:lnTo>
                  <a:pt x="438" y="592"/>
                </a:lnTo>
                <a:lnTo>
                  <a:pt x="443" y="592"/>
                </a:lnTo>
                <a:lnTo>
                  <a:pt x="446" y="591"/>
                </a:lnTo>
                <a:lnTo>
                  <a:pt x="450" y="590"/>
                </a:lnTo>
                <a:lnTo>
                  <a:pt x="458" y="589"/>
                </a:lnTo>
                <a:lnTo>
                  <a:pt x="462" y="588"/>
                </a:lnTo>
                <a:lnTo>
                  <a:pt x="467" y="589"/>
                </a:lnTo>
                <a:lnTo>
                  <a:pt x="472" y="590"/>
                </a:lnTo>
                <a:lnTo>
                  <a:pt x="479" y="593"/>
                </a:lnTo>
                <a:lnTo>
                  <a:pt x="493" y="600"/>
                </a:lnTo>
                <a:lnTo>
                  <a:pt x="500" y="603"/>
                </a:lnTo>
                <a:lnTo>
                  <a:pt x="508" y="605"/>
                </a:lnTo>
                <a:lnTo>
                  <a:pt x="511" y="606"/>
                </a:lnTo>
                <a:lnTo>
                  <a:pt x="514" y="606"/>
                </a:lnTo>
                <a:lnTo>
                  <a:pt x="520" y="606"/>
                </a:lnTo>
                <a:lnTo>
                  <a:pt x="523" y="603"/>
                </a:lnTo>
                <a:lnTo>
                  <a:pt x="524" y="601"/>
                </a:lnTo>
                <a:lnTo>
                  <a:pt x="525" y="600"/>
                </a:lnTo>
                <a:lnTo>
                  <a:pt x="526" y="600"/>
                </a:lnTo>
                <a:lnTo>
                  <a:pt x="523" y="614"/>
                </a:lnTo>
                <a:lnTo>
                  <a:pt x="527" y="616"/>
                </a:lnTo>
                <a:lnTo>
                  <a:pt x="533" y="619"/>
                </a:lnTo>
                <a:lnTo>
                  <a:pt x="539" y="622"/>
                </a:lnTo>
                <a:lnTo>
                  <a:pt x="541" y="622"/>
                </a:lnTo>
                <a:lnTo>
                  <a:pt x="543" y="622"/>
                </a:lnTo>
                <a:lnTo>
                  <a:pt x="543" y="614"/>
                </a:lnTo>
                <a:lnTo>
                  <a:pt x="547" y="614"/>
                </a:lnTo>
                <a:lnTo>
                  <a:pt x="551" y="614"/>
                </a:lnTo>
                <a:lnTo>
                  <a:pt x="552" y="615"/>
                </a:lnTo>
                <a:lnTo>
                  <a:pt x="552" y="616"/>
                </a:lnTo>
                <a:lnTo>
                  <a:pt x="550" y="621"/>
                </a:lnTo>
                <a:lnTo>
                  <a:pt x="549" y="626"/>
                </a:lnTo>
                <a:lnTo>
                  <a:pt x="548" y="629"/>
                </a:lnTo>
                <a:lnTo>
                  <a:pt x="549" y="631"/>
                </a:lnTo>
                <a:lnTo>
                  <a:pt x="554" y="631"/>
                </a:lnTo>
                <a:lnTo>
                  <a:pt x="565" y="648"/>
                </a:lnTo>
                <a:lnTo>
                  <a:pt x="567" y="647"/>
                </a:lnTo>
                <a:lnTo>
                  <a:pt x="569" y="645"/>
                </a:lnTo>
                <a:lnTo>
                  <a:pt x="571" y="644"/>
                </a:lnTo>
                <a:lnTo>
                  <a:pt x="574" y="645"/>
                </a:lnTo>
                <a:lnTo>
                  <a:pt x="574" y="649"/>
                </a:lnTo>
                <a:lnTo>
                  <a:pt x="574" y="653"/>
                </a:lnTo>
                <a:lnTo>
                  <a:pt x="579" y="654"/>
                </a:lnTo>
                <a:lnTo>
                  <a:pt x="580" y="655"/>
                </a:lnTo>
                <a:lnTo>
                  <a:pt x="582" y="656"/>
                </a:lnTo>
                <a:lnTo>
                  <a:pt x="580" y="659"/>
                </a:lnTo>
                <a:lnTo>
                  <a:pt x="579" y="660"/>
                </a:lnTo>
                <a:lnTo>
                  <a:pt x="579" y="661"/>
                </a:lnTo>
                <a:lnTo>
                  <a:pt x="580" y="662"/>
                </a:lnTo>
                <a:lnTo>
                  <a:pt x="581" y="662"/>
                </a:lnTo>
                <a:lnTo>
                  <a:pt x="582" y="661"/>
                </a:lnTo>
                <a:lnTo>
                  <a:pt x="585" y="659"/>
                </a:lnTo>
                <a:lnTo>
                  <a:pt x="586" y="660"/>
                </a:lnTo>
                <a:lnTo>
                  <a:pt x="586" y="661"/>
                </a:lnTo>
                <a:lnTo>
                  <a:pt x="585" y="665"/>
                </a:lnTo>
                <a:lnTo>
                  <a:pt x="585" y="668"/>
                </a:lnTo>
                <a:lnTo>
                  <a:pt x="585" y="669"/>
                </a:lnTo>
                <a:lnTo>
                  <a:pt x="585" y="670"/>
                </a:lnTo>
                <a:lnTo>
                  <a:pt x="592" y="674"/>
                </a:lnTo>
                <a:lnTo>
                  <a:pt x="599" y="679"/>
                </a:lnTo>
                <a:lnTo>
                  <a:pt x="600" y="680"/>
                </a:lnTo>
                <a:lnTo>
                  <a:pt x="600" y="681"/>
                </a:lnTo>
                <a:lnTo>
                  <a:pt x="599" y="683"/>
                </a:lnTo>
                <a:lnTo>
                  <a:pt x="599" y="685"/>
                </a:lnTo>
                <a:lnTo>
                  <a:pt x="599" y="687"/>
                </a:lnTo>
                <a:lnTo>
                  <a:pt x="600" y="689"/>
                </a:lnTo>
                <a:lnTo>
                  <a:pt x="602" y="691"/>
                </a:lnTo>
                <a:lnTo>
                  <a:pt x="605" y="697"/>
                </a:lnTo>
                <a:lnTo>
                  <a:pt x="613" y="707"/>
                </a:lnTo>
                <a:lnTo>
                  <a:pt x="615" y="707"/>
                </a:lnTo>
                <a:lnTo>
                  <a:pt x="616" y="707"/>
                </a:lnTo>
                <a:lnTo>
                  <a:pt x="617" y="709"/>
                </a:lnTo>
                <a:lnTo>
                  <a:pt x="618" y="711"/>
                </a:lnTo>
                <a:lnTo>
                  <a:pt x="618" y="712"/>
                </a:lnTo>
                <a:lnTo>
                  <a:pt x="619" y="712"/>
                </a:lnTo>
                <a:lnTo>
                  <a:pt x="621" y="712"/>
                </a:lnTo>
                <a:lnTo>
                  <a:pt x="622" y="712"/>
                </a:lnTo>
                <a:lnTo>
                  <a:pt x="622" y="711"/>
                </a:lnTo>
                <a:lnTo>
                  <a:pt x="622" y="710"/>
                </a:lnTo>
                <a:lnTo>
                  <a:pt x="622" y="707"/>
                </a:lnTo>
                <a:lnTo>
                  <a:pt x="622" y="704"/>
                </a:lnTo>
                <a:lnTo>
                  <a:pt x="624" y="706"/>
                </a:lnTo>
                <a:lnTo>
                  <a:pt x="626" y="707"/>
                </a:lnTo>
                <a:lnTo>
                  <a:pt x="630" y="710"/>
                </a:lnTo>
                <a:lnTo>
                  <a:pt x="628" y="712"/>
                </a:lnTo>
                <a:lnTo>
                  <a:pt x="627" y="714"/>
                </a:lnTo>
                <a:lnTo>
                  <a:pt x="627" y="715"/>
                </a:lnTo>
                <a:lnTo>
                  <a:pt x="632" y="717"/>
                </a:lnTo>
                <a:lnTo>
                  <a:pt x="634" y="717"/>
                </a:lnTo>
                <a:lnTo>
                  <a:pt x="636" y="718"/>
                </a:lnTo>
                <a:lnTo>
                  <a:pt x="633" y="707"/>
                </a:lnTo>
                <a:lnTo>
                  <a:pt x="635" y="706"/>
                </a:lnTo>
                <a:lnTo>
                  <a:pt x="636" y="706"/>
                </a:lnTo>
                <a:lnTo>
                  <a:pt x="635" y="708"/>
                </a:lnTo>
                <a:lnTo>
                  <a:pt x="636" y="710"/>
                </a:lnTo>
                <a:lnTo>
                  <a:pt x="641" y="710"/>
                </a:lnTo>
                <a:lnTo>
                  <a:pt x="642" y="706"/>
                </a:lnTo>
                <a:lnTo>
                  <a:pt x="642" y="701"/>
                </a:lnTo>
                <a:lnTo>
                  <a:pt x="643" y="697"/>
                </a:lnTo>
                <a:lnTo>
                  <a:pt x="644" y="693"/>
                </a:lnTo>
                <a:lnTo>
                  <a:pt x="639" y="693"/>
                </a:lnTo>
                <a:lnTo>
                  <a:pt x="640" y="692"/>
                </a:lnTo>
                <a:lnTo>
                  <a:pt x="639" y="691"/>
                </a:lnTo>
                <a:lnTo>
                  <a:pt x="638" y="691"/>
                </a:lnTo>
                <a:lnTo>
                  <a:pt x="636" y="690"/>
                </a:lnTo>
                <a:lnTo>
                  <a:pt x="630" y="690"/>
                </a:lnTo>
                <a:lnTo>
                  <a:pt x="630" y="701"/>
                </a:lnTo>
                <a:lnTo>
                  <a:pt x="625" y="700"/>
                </a:lnTo>
                <a:lnTo>
                  <a:pt x="619" y="698"/>
                </a:lnTo>
                <a:lnTo>
                  <a:pt x="618" y="697"/>
                </a:lnTo>
                <a:lnTo>
                  <a:pt x="618" y="696"/>
                </a:lnTo>
                <a:lnTo>
                  <a:pt x="617" y="691"/>
                </a:lnTo>
                <a:lnTo>
                  <a:pt x="617" y="687"/>
                </a:lnTo>
                <a:lnTo>
                  <a:pt x="617" y="685"/>
                </a:lnTo>
                <a:lnTo>
                  <a:pt x="616" y="684"/>
                </a:lnTo>
                <a:lnTo>
                  <a:pt x="612" y="683"/>
                </a:lnTo>
                <a:lnTo>
                  <a:pt x="608" y="681"/>
                </a:lnTo>
                <a:lnTo>
                  <a:pt x="616" y="676"/>
                </a:lnTo>
                <a:lnTo>
                  <a:pt x="613" y="667"/>
                </a:lnTo>
                <a:lnTo>
                  <a:pt x="608" y="667"/>
                </a:lnTo>
                <a:lnTo>
                  <a:pt x="607" y="666"/>
                </a:lnTo>
                <a:lnTo>
                  <a:pt x="608" y="665"/>
                </a:lnTo>
                <a:lnTo>
                  <a:pt x="608" y="663"/>
                </a:lnTo>
                <a:lnTo>
                  <a:pt x="608" y="661"/>
                </a:lnTo>
                <a:lnTo>
                  <a:pt x="607" y="660"/>
                </a:lnTo>
                <a:lnTo>
                  <a:pt x="605" y="658"/>
                </a:lnTo>
                <a:lnTo>
                  <a:pt x="602" y="656"/>
                </a:lnTo>
                <a:lnTo>
                  <a:pt x="599" y="655"/>
                </a:lnTo>
                <a:lnTo>
                  <a:pt x="596" y="655"/>
                </a:lnTo>
                <a:lnTo>
                  <a:pt x="589" y="654"/>
                </a:lnTo>
                <a:lnTo>
                  <a:pt x="585" y="654"/>
                </a:lnTo>
                <a:lnTo>
                  <a:pt x="588" y="653"/>
                </a:lnTo>
                <a:lnTo>
                  <a:pt x="593" y="652"/>
                </a:lnTo>
                <a:lnTo>
                  <a:pt x="597" y="651"/>
                </a:lnTo>
                <a:lnTo>
                  <a:pt x="605" y="648"/>
                </a:lnTo>
                <a:lnTo>
                  <a:pt x="605" y="650"/>
                </a:lnTo>
                <a:lnTo>
                  <a:pt x="605" y="652"/>
                </a:lnTo>
                <a:lnTo>
                  <a:pt x="605" y="653"/>
                </a:lnTo>
                <a:lnTo>
                  <a:pt x="608" y="653"/>
                </a:lnTo>
                <a:lnTo>
                  <a:pt x="607" y="652"/>
                </a:lnTo>
                <a:lnTo>
                  <a:pt x="606" y="650"/>
                </a:lnTo>
                <a:lnTo>
                  <a:pt x="605" y="643"/>
                </a:lnTo>
                <a:lnTo>
                  <a:pt x="606" y="637"/>
                </a:lnTo>
                <a:lnTo>
                  <a:pt x="607" y="635"/>
                </a:lnTo>
                <a:lnTo>
                  <a:pt x="607" y="634"/>
                </a:lnTo>
                <a:lnTo>
                  <a:pt x="608" y="634"/>
                </a:lnTo>
                <a:lnTo>
                  <a:pt x="610" y="638"/>
                </a:lnTo>
                <a:lnTo>
                  <a:pt x="613" y="642"/>
                </a:lnTo>
                <a:lnTo>
                  <a:pt x="619" y="651"/>
                </a:lnTo>
                <a:lnTo>
                  <a:pt x="623" y="650"/>
                </a:lnTo>
                <a:lnTo>
                  <a:pt x="627" y="651"/>
                </a:lnTo>
                <a:lnTo>
                  <a:pt x="627" y="656"/>
                </a:lnTo>
                <a:lnTo>
                  <a:pt x="629" y="656"/>
                </a:lnTo>
                <a:lnTo>
                  <a:pt x="632" y="656"/>
                </a:lnTo>
                <a:lnTo>
                  <a:pt x="634" y="656"/>
                </a:lnTo>
                <a:lnTo>
                  <a:pt x="635" y="656"/>
                </a:lnTo>
                <a:lnTo>
                  <a:pt x="636" y="656"/>
                </a:lnTo>
                <a:lnTo>
                  <a:pt x="637" y="657"/>
                </a:lnTo>
                <a:lnTo>
                  <a:pt x="637" y="658"/>
                </a:lnTo>
                <a:lnTo>
                  <a:pt x="637" y="659"/>
                </a:lnTo>
                <a:lnTo>
                  <a:pt x="636" y="660"/>
                </a:lnTo>
                <a:lnTo>
                  <a:pt x="634" y="661"/>
                </a:lnTo>
                <a:lnTo>
                  <a:pt x="633" y="662"/>
                </a:lnTo>
                <a:lnTo>
                  <a:pt x="633" y="663"/>
                </a:lnTo>
                <a:lnTo>
                  <a:pt x="634" y="665"/>
                </a:lnTo>
                <a:lnTo>
                  <a:pt x="636" y="667"/>
                </a:lnTo>
                <a:lnTo>
                  <a:pt x="638" y="670"/>
                </a:lnTo>
                <a:lnTo>
                  <a:pt x="639" y="672"/>
                </a:lnTo>
                <a:lnTo>
                  <a:pt x="640" y="673"/>
                </a:lnTo>
                <a:lnTo>
                  <a:pt x="639" y="675"/>
                </a:lnTo>
                <a:lnTo>
                  <a:pt x="639" y="677"/>
                </a:lnTo>
                <a:lnTo>
                  <a:pt x="639" y="679"/>
                </a:lnTo>
                <a:lnTo>
                  <a:pt x="640" y="683"/>
                </a:lnTo>
                <a:lnTo>
                  <a:pt x="641" y="687"/>
                </a:lnTo>
                <a:lnTo>
                  <a:pt x="650" y="687"/>
                </a:lnTo>
                <a:lnTo>
                  <a:pt x="650" y="691"/>
                </a:lnTo>
                <a:lnTo>
                  <a:pt x="651" y="694"/>
                </a:lnTo>
                <a:lnTo>
                  <a:pt x="651" y="696"/>
                </a:lnTo>
                <a:lnTo>
                  <a:pt x="653" y="698"/>
                </a:lnTo>
                <a:lnTo>
                  <a:pt x="650" y="700"/>
                </a:lnTo>
                <a:lnTo>
                  <a:pt x="649" y="701"/>
                </a:lnTo>
                <a:lnTo>
                  <a:pt x="648" y="703"/>
                </a:lnTo>
                <a:lnTo>
                  <a:pt x="647" y="707"/>
                </a:lnTo>
                <a:lnTo>
                  <a:pt x="648" y="707"/>
                </a:lnTo>
                <a:lnTo>
                  <a:pt x="650" y="708"/>
                </a:lnTo>
                <a:lnTo>
                  <a:pt x="653" y="710"/>
                </a:lnTo>
                <a:lnTo>
                  <a:pt x="653" y="701"/>
                </a:lnTo>
                <a:lnTo>
                  <a:pt x="658" y="705"/>
                </a:lnTo>
                <a:lnTo>
                  <a:pt x="660" y="706"/>
                </a:lnTo>
                <a:lnTo>
                  <a:pt x="664" y="707"/>
                </a:lnTo>
                <a:lnTo>
                  <a:pt x="662" y="709"/>
                </a:lnTo>
                <a:lnTo>
                  <a:pt x="661" y="711"/>
                </a:lnTo>
                <a:lnTo>
                  <a:pt x="661" y="712"/>
                </a:lnTo>
                <a:lnTo>
                  <a:pt x="662" y="712"/>
                </a:lnTo>
                <a:lnTo>
                  <a:pt x="664" y="711"/>
                </a:lnTo>
                <a:lnTo>
                  <a:pt x="667" y="710"/>
                </a:lnTo>
                <a:lnTo>
                  <a:pt x="667" y="719"/>
                </a:lnTo>
                <a:lnTo>
                  <a:pt x="667" y="732"/>
                </a:lnTo>
                <a:lnTo>
                  <a:pt x="670" y="731"/>
                </a:lnTo>
                <a:lnTo>
                  <a:pt x="671" y="729"/>
                </a:lnTo>
                <a:lnTo>
                  <a:pt x="671" y="727"/>
                </a:lnTo>
                <a:lnTo>
                  <a:pt x="672" y="724"/>
                </a:lnTo>
                <a:lnTo>
                  <a:pt x="678" y="743"/>
                </a:lnTo>
                <a:lnTo>
                  <a:pt x="680" y="743"/>
                </a:lnTo>
                <a:lnTo>
                  <a:pt x="681" y="743"/>
                </a:lnTo>
                <a:lnTo>
                  <a:pt x="682" y="742"/>
                </a:lnTo>
                <a:lnTo>
                  <a:pt x="683" y="741"/>
                </a:lnTo>
                <a:lnTo>
                  <a:pt x="684" y="741"/>
                </a:lnTo>
                <a:lnTo>
                  <a:pt x="686" y="743"/>
                </a:lnTo>
                <a:lnTo>
                  <a:pt x="687" y="736"/>
                </a:lnTo>
                <a:lnTo>
                  <a:pt x="688" y="734"/>
                </a:lnTo>
                <a:lnTo>
                  <a:pt x="688" y="733"/>
                </a:lnTo>
                <a:lnTo>
                  <a:pt x="689" y="732"/>
                </a:lnTo>
                <a:lnTo>
                  <a:pt x="689" y="735"/>
                </a:lnTo>
                <a:lnTo>
                  <a:pt x="689" y="741"/>
                </a:lnTo>
                <a:lnTo>
                  <a:pt x="689" y="743"/>
                </a:lnTo>
                <a:lnTo>
                  <a:pt x="688" y="745"/>
                </a:lnTo>
                <a:lnTo>
                  <a:pt x="684" y="749"/>
                </a:lnTo>
                <a:lnTo>
                  <a:pt x="685" y="751"/>
                </a:lnTo>
                <a:lnTo>
                  <a:pt x="686" y="754"/>
                </a:lnTo>
                <a:lnTo>
                  <a:pt x="686" y="757"/>
                </a:lnTo>
                <a:lnTo>
                  <a:pt x="689" y="759"/>
                </a:lnTo>
                <a:lnTo>
                  <a:pt x="692" y="759"/>
                </a:lnTo>
                <a:lnTo>
                  <a:pt x="695" y="760"/>
                </a:lnTo>
                <a:lnTo>
                  <a:pt x="698" y="760"/>
                </a:lnTo>
                <a:lnTo>
                  <a:pt x="698" y="762"/>
                </a:lnTo>
                <a:lnTo>
                  <a:pt x="698" y="765"/>
                </a:lnTo>
                <a:lnTo>
                  <a:pt x="698" y="766"/>
                </a:lnTo>
                <a:lnTo>
                  <a:pt x="697" y="766"/>
                </a:lnTo>
                <a:lnTo>
                  <a:pt x="696" y="767"/>
                </a:lnTo>
                <a:lnTo>
                  <a:pt x="695" y="766"/>
                </a:lnTo>
                <a:lnTo>
                  <a:pt x="694" y="771"/>
                </a:lnTo>
                <a:lnTo>
                  <a:pt x="693" y="773"/>
                </a:lnTo>
                <a:lnTo>
                  <a:pt x="692" y="774"/>
                </a:lnTo>
                <a:lnTo>
                  <a:pt x="700" y="777"/>
                </a:lnTo>
                <a:lnTo>
                  <a:pt x="700" y="800"/>
                </a:lnTo>
                <a:lnTo>
                  <a:pt x="705" y="802"/>
                </a:lnTo>
                <a:lnTo>
                  <a:pt x="709" y="805"/>
                </a:lnTo>
                <a:lnTo>
                  <a:pt x="706" y="807"/>
                </a:lnTo>
                <a:lnTo>
                  <a:pt x="705" y="808"/>
                </a:lnTo>
                <a:lnTo>
                  <a:pt x="705" y="809"/>
                </a:lnTo>
                <a:lnTo>
                  <a:pt x="706" y="809"/>
                </a:lnTo>
                <a:lnTo>
                  <a:pt x="712" y="808"/>
                </a:lnTo>
                <a:lnTo>
                  <a:pt x="713" y="807"/>
                </a:lnTo>
                <a:lnTo>
                  <a:pt x="714" y="804"/>
                </a:lnTo>
                <a:lnTo>
                  <a:pt x="715" y="803"/>
                </a:lnTo>
                <a:lnTo>
                  <a:pt x="714" y="802"/>
                </a:lnTo>
                <a:lnTo>
                  <a:pt x="712" y="802"/>
                </a:lnTo>
                <a:lnTo>
                  <a:pt x="712" y="800"/>
                </a:lnTo>
                <a:lnTo>
                  <a:pt x="715" y="799"/>
                </a:lnTo>
                <a:lnTo>
                  <a:pt x="718" y="799"/>
                </a:lnTo>
                <a:lnTo>
                  <a:pt x="720" y="798"/>
                </a:lnTo>
                <a:lnTo>
                  <a:pt x="723" y="797"/>
                </a:lnTo>
                <a:lnTo>
                  <a:pt x="722" y="800"/>
                </a:lnTo>
                <a:lnTo>
                  <a:pt x="721" y="803"/>
                </a:lnTo>
                <a:lnTo>
                  <a:pt x="720" y="811"/>
                </a:lnTo>
                <a:lnTo>
                  <a:pt x="715" y="811"/>
                </a:lnTo>
                <a:lnTo>
                  <a:pt x="714" y="813"/>
                </a:lnTo>
                <a:lnTo>
                  <a:pt x="714" y="815"/>
                </a:lnTo>
                <a:lnTo>
                  <a:pt x="715" y="815"/>
                </a:lnTo>
                <a:lnTo>
                  <a:pt x="716" y="816"/>
                </a:lnTo>
                <a:lnTo>
                  <a:pt x="717" y="817"/>
                </a:lnTo>
                <a:lnTo>
                  <a:pt x="718" y="818"/>
                </a:lnTo>
                <a:lnTo>
                  <a:pt x="717" y="819"/>
                </a:lnTo>
                <a:lnTo>
                  <a:pt x="720" y="820"/>
                </a:lnTo>
                <a:lnTo>
                  <a:pt x="720" y="821"/>
                </a:lnTo>
                <a:lnTo>
                  <a:pt x="720" y="822"/>
                </a:lnTo>
                <a:lnTo>
                  <a:pt x="720" y="825"/>
                </a:lnTo>
                <a:lnTo>
                  <a:pt x="720" y="828"/>
                </a:lnTo>
                <a:lnTo>
                  <a:pt x="723" y="828"/>
                </a:lnTo>
                <a:lnTo>
                  <a:pt x="723" y="827"/>
                </a:lnTo>
                <a:lnTo>
                  <a:pt x="723" y="824"/>
                </a:lnTo>
                <a:lnTo>
                  <a:pt x="723" y="822"/>
                </a:lnTo>
                <a:lnTo>
                  <a:pt x="733" y="828"/>
                </a:lnTo>
                <a:lnTo>
                  <a:pt x="743" y="833"/>
                </a:lnTo>
                <a:lnTo>
                  <a:pt x="743" y="838"/>
                </a:lnTo>
                <a:lnTo>
                  <a:pt x="743" y="848"/>
                </a:lnTo>
                <a:lnTo>
                  <a:pt x="743" y="868"/>
                </a:lnTo>
                <a:lnTo>
                  <a:pt x="737" y="868"/>
                </a:lnTo>
                <a:lnTo>
                  <a:pt x="733" y="868"/>
                </a:lnTo>
                <a:lnTo>
                  <a:pt x="731" y="868"/>
                </a:lnTo>
                <a:lnTo>
                  <a:pt x="734" y="875"/>
                </a:lnTo>
                <a:lnTo>
                  <a:pt x="735" y="879"/>
                </a:lnTo>
                <a:lnTo>
                  <a:pt x="735" y="883"/>
                </a:lnTo>
                <a:lnTo>
                  <a:pt x="737" y="891"/>
                </a:lnTo>
                <a:lnTo>
                  <a:pt x="744" y="890"/>
                </a:lnTo>
                <a:lnTo>
                  <a:pt x="750" y="889"/>
                </a:lnTo>
                <a:lnTo>
                  <a:pt x="754" y="889"/>
                </a:lnTo>
                <a:lnTo>
                  <a:pt x="757" y="889"/>
                </a:lnTo>
                <a:lnTo>
                  <a:pt x="761" y="889"/>
                </a:lnTo>
                <a:lnTo>
                  <a:pt x="765" y="891"/>
                </a:lnTo>
                <a:lnTo>
                  <a:pt x="765" y="899"/>
                </a:lnTo>
                <a:lnTo>
                  <a:pt x="762" y="902"/>
                </a:lnTo>
                <a:lnTo>
                  <a:pt x="765" y="902"/>
                </a:lnTo>
                <a:lnTo>
                  <a:pt x="766" y="902"/>
                </a:lnTo>
                <a:lnTo>
                  <a:pt x="769" y="901"/>
                </a:lnTo>
                <a:lnTo>
                  <a:pt x="771" y="899"/>
                </a:lnTo>
                <a:lnTo>
                  <a:pt x="772" y="899"/>
                </a:lnTo>
                <a:lnTo>
                  <a:pt x="774" y="899"/>
                </a:lnTo>
                <a:lnTo>
                  <a:pt x="775" y="900"/>
                </a:lnTo>
                <a:lnTo>
                  <a:pt x="777" y="901"/>
                </a:lnTo>
                <a:lnTo>
                  <a:pt x="780" y="903"/>
                </a:lnTo>
                <a:lnTo>
                  <a:pt x="782" y="905"/>
                </a:lnTo>
                <a:lnTo>
                  <a:pt x="790" y="913"/>
                </a:lnTo>
                <a:lnTo>
                  <a:pt x="790" y="912"/>
                </a:lnTo>
                <a:lnTo>
                  <a:pt x="791" y="910"/>
                </a:lnTo>
                <a:lnTo>
                  <a:pt x="791" y="909"/>
                </a:lnTo>
                <a:lnTo>
                  <a:pt x="792" y="909"/>
                </a:lnTo>
                <a:lnTo>
                  <a:pt x="793" y="910"/>
                </a:lnTo>
                <a:lnTo>
                  <a:pt x="795" y="913"/>
                </a:lnTo>
                <a:lnTo>
                  <a:pt x="795" y="915"/>
                </a:lnTo>
                <a:lnTo>
                  <a:pt x="795" y="920"/>
                </a:lnTo>
                <a:lnTo>
                  <a:pt x="795" y="922"/>
                </a:lnTo>
                <a:lnTo>
                  <a:pt x="796" y="924"/>
                </a:lnTo>
                <a:lnTo>
                  <a:pt x="796" y="925"/>
                </a:lnTo>
                <a:lnTo>
                  <a:pt x="797" y="926"/>
                </a:lnTo>
                <a:lnTo>
                  <a:pt x="799" y="927"/>
                </a:lnTo>
                <a:lnTo>
                  <a:pt x="803" y="929"/>
                </a:lnTo>
                <a:lnTo>
                  <a:pt x="808" y="930"/>
                </a:lnTo>
                <a:lnTo>
                  <a:pt x="812" y="931"/>
                </a:lnTo>
                <a:lnTo>
                  <a:pt x="817" y="931"/>
                </a:lnTo>
                <a:lnTo>
                  <a:pt x="825" y="930"/>
                </a:lnTo>
                <a:lnTo>
                  <a:pt x="828" y="930"/>
                </a:lnTo>
                <a:lnTo>
                  <a:pt x="831" y="930"/>
                </a:lnTo>
                <a:lnTo>
                  <a:pt x="834" y="930"/>
                </a:lnTo>
                <a:lnTo>
                  <a:pt x="826" y="917"/>
                </a:lnTo>
                <a:lnTo>
                  <a:pt x="820" y="909"/>
                </a:lnTo>
                <a:lnTo>
                  <a:pt x="817" y="905"/>
                </a:lnTo>
                <a:lnTo>
                  <a:pt x="813" y="903"/>
                </a:lnTo>
                <a:lnTo>
                  <a:pt x="810" y="902"/>
                </a:lnTo>
                <a:lnTo>
                  <a:pt x="804" y="901"/>
                </a:lnTo>
                <a:lnTo>
                  <a:pt x="798" y="899"/>
                </a:lnTo>
                <a:lnTo>
                  <a:pt x="796" y="898"/>
                </a:lnTo>
                <a:lnTo>
                  <a:pt x="793" y="896"/>
                </a:lnTo>
                <a:lnTo>
                  <a:pt x="785" y="885"/>
                </a:lnTo>
                <a:lnTo>
                  <a:pt x="787" y="882"/>
                </a:lnTo>
                <a:lnTo>
                  <a:pt x="788" y="881"/>
                </a:lnTo>
                <a:lnTo>
                  <a:pt x="788" y="880"/>
                </a:lnTo>
                <a:lnTo>
                  <a:pt x="788" y="879"/>
                </a:lnTo>
                <a:lnTo>
                  <a:pt x="768" y="877"/>
                </a:lnTo>
                <a:lnTo>
                  <a:pt x="779" y="875"/>
                </a:lnTo>
                <a:lnTo>
                  <a:pt x="786" y="874"/>
                </a:lnTo>
                <a:lnTo>
                  <a:pt x="788" y="874"/>
                </a:lnTo>
                <a:lnTo>
                  <a:pt x="786" y="874"/>
                </a:lnTo>
                <a:lnTo>
                  <a:pt x="785" y="874"/>
                </a:lnTo>
                <a:lnTo>
                  <a:pt x="787" y="872"/>
                </a:lnTo>
                <a:lnTo>
                  <a:pt x="793" y="868"/>
                </a:lnTo>
                <a:lnTo>
                  <a:pt x="796" y="874"/>
                </a:lnTo>
                <a:lnTo>
                  <a:pt x="797" y="878"/>
                </a:lnTo>
                <a:lnTo>
                  <a:pt x="798" y="881"/>
                </a:lnTo>
                <a:lnTo>
                  <a:pt x="800" y="881"/>
                </a:lnTo>
                <a:lnTo>
                  <a:pt x="802" y="882"/>
                </a:lnTo>
                <a:lnTo>
                  <a:pt x="813" y="885"/>
                </a:lnTo>
                <a:lnTo>
                  <a:pt x="817" y="891"/>
                </a:lnTo>
                <a:lnTo>
                  <a:pt x="815" y="891"/>
                </a:lnTo>
                <a:lnTo>
                  <a:pt x="813" y="893"/>
                </a:lnTo>
                <a:lnTo>
                  <a:pt x="812" y="894"/>
                </a:lnTo>
                <a:lnTo>
                  <a:pt x="812" y="895"/>
                </a:lnTo>
                <a:lnTo>
                  <a:pt x="813" y="896"/>
                </a:lnTo>
                <a:lnTo>
                  <a:pt x="815" y="897"/>
                </a:lnTo>
                <a:lnTo>
                  <a:pt x="817" y="897"/>
                </a:lnTo>
                <a:lnTo>
                  <a:pt x="820" y="895"/>
                </a:lnTo>
                <a:lnTo>
                  <a:pt x="825" y="891"/>
                </a:lnTo>
                <a:lnTo>
                  <a:pt x="826" y="892"/>
                </a:lnTo>
                <a:lnTo>
                  <a:pt x="826" y="893"/>
                </a:lnTo>
                <a:lnTo>
                  <a:pt x="825" y="895"/>
                </a:lnTo>
                <a:lnTo>
                  <a:pt x="822" y="899"/>
                </a:lnTo>
                <a:lnTo>
                  <a:pt x="827" y="902"/>
                </a:lnTo>
                <a:lnTo>
                  <a:pt x="832" y="905"/>
                </a:lnTo>
                <a:lnTo>
                  <a:pt x="836" y="908"/>
                </a:lnTo>
                <a:lnTo>
                  <a:pt x="838" y="910"/>
                </a:lnTo>
                <a:lnTo>
                  <a:pt x="839" y="913"/>
                </a:lnTo>
                <a:lnTo>
                  <a:pt x="840" y="915"/>
                </a:lnTo>
                <a:lnTo>
                  <a:pt x="840" y="918"/>
                </a:lnTo>
                <a:lnTo>
                  <a:pt x="839" y="922"/>
                </a:lnTo>
                <a:lnTo>
                  <a:pt x="838" y="925"/>
                </a:lnTo>
                <a:lnTo>
                  <a:pt x="837" y="927"/>
                </a:lnTo>
                <a:lnTo>
                  <a:pt x="837" y="929"/>
                </a:lnTo>
                <a:lnTo>
                  <a:pt x="836" y="933"/>
                </a:lnTo>
                <a:lnTo>
                  <a:pt x="834" y="939"/>
                </a:lnTo>
                <a:lnTo>
                  <a:pt x="826" y="938"/>
                </a:lnTo>
                <a:lnTo>
                  <a:pt x="817" y="936"/>
                </a:lnTo>
                <a:lnTo>
                  <a:pt x="796" y="933"/>
                </a:lnTo>
                <a:lnTo>
                  <a:pt x="797" y="936"/>
                </a:lnTo>
                <a:lnTo>
                  <a:pt x="797" y="939"/>
                </a:lnTo>
                <a:lnTo>
                  <a:pt x="798" y="943"/>
                </a:lnTo>
                <a:lnTo>
                  <a:pt x="799" y="947"/>
                </a:lnTo>
                <a:lnTo>
                  <a:pt x="802" y="952"/>
                </a:lnTo>
                <a:lnTo>
                  <a:pt x="808" y="959"/>
                </a:lnTo>
                <a:lnTo>
                  <a:pt x="813" y="967"/>
                </a:lnTo>
                <a:lnTo>
                  <a:pt x="815" y="971"/>
                </a:lnTo>
                <a:lnTo>
                  <a:pt x="817" y="975"/>
                </a:lnTo>
                <a:lnTo>
                  <a:pt x="817" y="978"/>
                </a:lnTo>
                <a:lnTo>
                  <a:pt x="815" y="981"/>
                </a:lnTo>
                <a:lnTo>
                  <a:pt x="813" y="987"/>
                </a:lnTo>
                <a:lnTo>
                  <a:pt x="811" y="993"/>
                </a:lnTo>
                <a:lnTo>
                  <a:pt x="810" y="998"/>
                </a:lnTo>
                <a:lnTo>
                  <a:pt x="810" y="1001"/>
                </a:lnTo>
                <a:lnTo>
                  <a:pt x="811" y="1005"/>
                </a:lnTo>
                <a:lnTo>
                  <a:pt x="812" y="1014"/>
                </a:lnTo>
                <a:lnTo>
                  <a:pt x="813" y="1024"/>
                </a:lnTo>
                <a:lnTo>
                  <a:pt x="813" y="1034"/>
                </a:lnTo>
                <a:lnTo>
                  <a:pt x="812" y="1041"/>
                </a:lnTo>
                <a:lnTo>
                  <a:pt x="810" y="1049"/>
                </a:lnTo>
                <a:lnTo>
                  <a:pt x="807" y="1066"/>
                </a:lnTo>
                <a:lnTo>
                  <a:pt x="805" y="1074"/>
                </a:lnTo>
                <a:lnTo>
                  <a:pt x="805" y="1083"/>
                </a:lnTo>
                <a:lnTo>
                  <a:pt x="805" y="1091"/>
                </a:lnTo>
                <a:lnTo>
                  <a:pt x="806" y="1095"/>
                </a:lnTo>
                <a:lnTo>
                  <a:pt x="807" y="1099"/>
                </a:lnTo>
                <a:lnTo>
                  <a:pt x="809" y="1100"/>
                </a:lnTo>
                <a:lnTo>
                  <a:pt x="812" y="1102"/>
                </a:lnTo>
                <a:lnTo>
                  <a:pt x="814" y="1103"/>
                </a:lnTo>
                <a:lnTo>
                  <a:pt x="817" y="1104"/>
                </a:lnTo>
                <a:lnTo>
                  <a:pt x="815" y="1114"/>
                </a:lnTo>
                <a:lnTo>
                  <a:pt x="814" y="1120"/>
                </a:lnTo>
                <a:lnTo>
                  <a:pt x="815" y="1123"/>
                </a:lnTo>
                <a:lnTo>
                  <a:pt x="815" y="1124"/>
                </a:lnTo>
                <a:lnTo>
                  <a:pt x="817" y="1124"/>
                </a:lnTo>
                <a:lnTo>
                  <a:pt x="811" y="1138"/>
                </a:lnTo>
                <a:lnTo>
                  <a:pt x="807" y="1150"/>
                </a:lnTo>
                <a:lnTo>
                  <a:pt x="809" y="1151"/>
                </a:lnTo>
                <a:lnTo>
                  <a:pt x="811" y="1154"/>
                </a:lnTo>
                <a:lnTo>
                  <a:pt x="817" y="1158"/>
                </a:lnTo>
                <a:lnTo>
                  <a:pt x="819" y="1163"/>
                </a:lnTo>
                <a:lnTo>
                  <a:pt x="820" y="1166"/>
                </a:lnTo>
                <a:lnTo>
                  <a:pt x="820" y="1170"/>
                </a:lnTo>
                <a:lnTo>
                  <a:pt x="820" y="1172"/>
                </a:lnTo>
                <a:lnTo>
                  <a:pt x="820" y="1178"/>
                </a:lnTo>
                <a:lnTo>
                  <a:pt x="821" y="1182"/>
                </a:lnTo>
                <a:lnTo>
                  <a:pt x="822" y="1186"/>
                </a:lnTo>
                <a:lnTo>
                  <a:pt x="825" y="1190"/>
                </a:lnTo>
                <a:lnTo>
                  <a:pt x="829" y="1196"/>
                </a:lnTo>
                <a:lnTo>
                  <a:pt x="833" y="1203"/>
                </a:lnTo>
                <a:lnTo>
                  <a:pt x="836" y="1209"/>
                </a:lnTo>
                <a:lnTo>
                  <a:pt x="839" y="1207"/>
                </a:lnTo>
                <a:lnTo>
                  <a:pt x="840" y="1206"/>
                </a:lnTo>
                <a:lnTo>
                  <a:pt x="840" y="1203"/>
                </a:lnTo>
                <a:lnTo>
                  <a:pt x="840" y="1201"/>
                </a:lnTo>
                <a:lnTo>
                  <a:pt x="839" y="1200"/>
                </a:lnTo>
                <a:lnTo>
                  <a:pt x="841" y="1200"/>
                </a:lnTo>
                <a:lnTo>
                  <a:pt x="842" y="1201"/>
                </a:lnTo>
                <a:lnTo>
                  <a:pt x="844" y="1202"/>
                </a:lnTo>
                <a:lnTo>
                  <a:pt x="846" y="1203"/>
                </a:lnTo>
                <a:lnTo>
                  <a:pt x="848" y="1203"/>
                </a:lnTo>
                <a:lnTo>
                  <a:pt x="847" y="1204"/>
                </a:lnTo>
                <a:lnTo>
                  <a:pt x="846" y="1204"/>
                </a:lnTo>
                <a:lnTo>
                  <a:pt x="845" y="1207"/>
                </a:lnTo>
                <a:lnTo>
                  <a:pt x="845" y="1212"/>
                </a:lnTo>
                <a:lnTo>
                  <a:pt x="845" y="1215"/>
                </a:lnTo>
                <a:lnTo>
                  <a:pt x="845" y="1218"/>
                </a:lnTo>
                <a:lnTo>
                  <a:pt x="844" y="1220"/>
                </a:lnTo>
                <a:lnTo>
                  <a:pt x="842" y="1223"/>
                </a:lnTo>
                <a:lnTo>
                  <a:pt x="856" y="1228"/>
                </a:lnTo>
                <a:lnTo>
                  <a:pt x="852" y="1236"/>
                </a:lnTo>
                <a:lnTo>
                  <a:pt x="851" y="1238"/>
                </a:lnTo>
                <a:lnTo>
                  <a:pt x="850" y="1240"/>
                </a:lnTo>
                <a:lnTo>
                  <a:pt x="850" y="1242"/>
                </a:lnTo>
                <a:lnTo>
                  <a:pt x="851" y="1245"/>
                </a:lnTo>
                <a:lnTo>
                  <a:pt x="852" y="1248"/>
                </a:lnTo>
                <a:lnTo>
                  <a:pt x="854" y="1251"/>
                </a:lnTo>
                <a:lnTo>
                  <a:pt x="858" y="1255"/>
                </a:lnTo>
                <a:lnTo>
                  <a:pt x="862" y="1258"/>
                </a:lnTo>
                <a:lnTo>
                  <a:pt x="869" y="1264"/>
                </a:lnTo>
                <a:lnTo>
                  <a:pt x="873" y="1268"/>
                </a:lnTo>
                <a:lnTo>
                  <a:pt x="872" y="1269"/>
                </a:lnTo>
                <a:lnTo>
                  <a:pt x="870" y="1271"/>
                </a:lnTo>
                <a:lnTo>
                  <a:pt x="867" y="1273"/>
                </a:lnTo>
                <a:lnTo>
                  <a:pt x="873" y="1276"/>
                </a:lnTo>
                <a:lnTo>
                  <a:pt x="874" y="1279"/>
                </a:lnTo>
                <a:lnTo>
                  <a:pt x="875" y="1281"/>
                </a:lnTo>
                <a:lnTo>
                  <a:pt x="876" y="1286"/>
                </a:lnTo>
                <a:lnTo>
                  <a:pt x="875" y="1292"/>
                </a:lnTo>
                <a:lnTo>
                  <a:pt x="876" y="1295"/>
                </a:lnTo>
                <a:lnTo>
                  <a:pt x="876" y="1299"/>
                </a:lnTo>
                <a:lnTo>
                  <a:pt x="878" y="1299"/>
                </a:lnTo>
                <a:lnTo>
                  <a:pt x="879" y="1299"/>
                </a:lnTo>
                <a:lnTo>
                  <a:pt x="879" y="1298"/>
                </a:lnTo>
                <a:lnTo>
                  <a:pt x="879" y="1296"/>
                </a:lnTo>
                <a:lnTo>
                  <a:pt x="881" y="1296"/>
                </a:lnTo>
                <a:lnTo>
                  <a:pt x="885" y="1297"/>
                </a:lnTo>
                <a:lnTo>
                  <a:pt x="892" y="1299"/>
                </a:lnTo>
                <a:lnTo>
                  <a:pt x="898" y="1302"/>
                </a:lnTo>
                <a:lnTo>
                  <a:pt x="904" y="1304"/>
                </a:lnTo>
                <a:lnTo>
                  <a:pt x="904" y="1313"/>
                </a:lnTo>
                <a:lnTo>
                  <a:pt x="906" y="1313"/>
                </a:lnTo>
                <a:lnTo>
                  <a:pt x="907" y="1313"/>
                </a:lnTo>
                <a:lnTo>
                  <a:pt x="909" y="1311"/>
                </a:lnTo>
                <a:lnTo>
                  <a:pt x="911" y="1310"/>
                </a:lnTo>
                <a:lnTo>
                  <a:pt x="911" y="1309"/>
                </a:lnTo>
                <a:lnTo>
                  <a:pt x="912" y="1310"/>
                </a:lnTo>
                <a:lnTo>
                  <a:pt x="915" y="1313"/>
                </a:lnTo>
                <a:lnTo>
                  <a:pt x="917" y="1317"/>
                </a:lnTo>
                <a:lnTo>
                  <a:pt x="919" y="1321"/>
                </a:lnTo>
                <a:lnTo>
                  <a:pt x="921" y="1324"/>
                </a:lnTo>
                <a:lnTo>
                  <a:pt x="929" y="1327"/>
                </a:lnTo>
                <a:lnTo>
                  <a:pt x="930" y="1330"/>
                </a:lnTo>
                <a:lnTo>
                  <a:pt x="931" y="1332"/>
                </a:lnTo>
                <a:lnTo>
                  <a:pt x="931" y="1338"/>
                </a:lnTo>
                <a:lnTo>
                  <a:pt x="931" y="1344"/>
                </a:lnTo>
                <a:lnTo>
                  <a:pt x="931" y="1346"/>
                </a:lnTo>
                <a:lnTo>
                  <a:pt x="932" y="1349"/>
                </a:lnTo>
                <a:lnTo>
                  <a:pt x="933" y="1352"/>
                </a:lnTo>
                <a:lnTo>
                  <a:pt x="934" y="1355"/>
                </a:lnTo>
                <a:lnTo>
                  <a:pt x="935" y="1358"/>
                </a:lnTo>
                <a:lnTo>
                  <a:pt x="941" y="1358"/>
                </a:lnTo>
                <a:lnTo>
                  <a:pt x="942" y="1361"/>
                </a:lnTo>
                <a:lnTo>
                  <a:pt x="943" y="1364"/>
                </a:lnTo>
                <a:lnTo>
                  <a:pt x="943" y="1370"/>
                </a:lnTo>
                <a:lnTo>
                  <a:pt x="944" y="1376"/>
                </a:lnTo>
                <a:lnTo>
                  <a:pt x="945" y="1379"/>
                </a:lnTo>
                <a:lnTo>
                  <a:pt x="946" y="1383"/>
                </a:lnTo>
                <a:lnTo>
                  <a:pt x="948" y="1386"/>
                </a:lnTo>
                <a:lnTo>
                  <a:pt x="950" y="1389"/>
                </a:lnTo>
                <a:lnTo>
                  <a:pt x="956" y="1395"/>
                </a:lnTo>
                <a:lnTo>
                  <a:pt x="969" y="1406"/>
                </a:lnTo>
                <a:lnTo>
                  <a:pt x="970" y="1406"/>
                </a:lnTo>
                <a:lnTo>
                  <a:pt x="973" y="1407"/>
                </a:lnTo>
                <a:lnTo>
                  <a:pt x="975" y="1407"/>
                </a:lnTo>
                <a:lnTo>
                  <a:pt x="977" y="1408"/>
                </a:lnTo>
                <a:lnTo>
                  <a:pt x="980" y="1412"/>
                </a:lnTo>
                <a:lnTo>
                  <a:pt x="982" y="1416"/>
                </a:lnTo>
                <a:lnTo>
                  <a:pt x="983" y="1422"/>
                </a:lnTo>
                <a:lnTo>
                  <a:pt x="984" y="1428"/>
                </a:lnTo>
                <a:lnTo>
                  <a:pt x="985" y="1441"/>
                </a:lnTo>
                <a:lnTo>
                  <a:pt x="986" y="1453"/>
                </a:lnTo>
                <a:lnTo>
                  <a:pt x="976" y="1456"/>
                </a:lnTo>
                <a:lnTo>
                  <a:pt x="969" y="1459"/>
                </a:lnTo>
                <a:lnTo>
                  <a:pt x="980" y="1466"/>
                </a:lnTo>
                <a:lnTo>
                  <a:pt x="991" y="1473"/>
                </a:lnTo>
                <a:lnTo>
                  <a:pt x="991" y="1479"/>
                </a:lnTo>
                <a:lnTo>
                  <a:pt x="993" y="1480"/>
                </a:lnTo>
                <a:lnTo>
                  <a:pt x="996" y="1481"/>
                </a:lnTo>
                <a:lnTo>
                  <a:pt x="1000" y="1481"/>
                </a:lnTo>
                <a:lnTo>
                  <a:pt x="1004" y="1482"/>
                </a:lnTo>
                <a:lnTo>
                  <a:pt x="1006" y="1483"/>
                </a:lnTo>
                <a:lnTo>
                  <a:pt x="1008" y="1484"/>
                </a:lnTo>
                <a:lnTo>
                  <a:pt x="1009" y="1487"/>
                </a:lnTo>
                <a:lnTo>
                  <a:pt x="1011" y="1490"/>
                </a:lnTo>
                <a:lnTo>
                  <a:pt x="1013" y="1494"/>
                </a:lnTo>
                <a:lnTo>
                  <a:pt x="1013" y="1495"/>
                </a:lnTo>
                <a:lnTo>
                  <a:pt x="1014" y="1496"/>
                </a:lnTo>
                <a:lnTo>
                  <a:pt x="1019" y="1496"/>
                </a:lnTo>
                <a:lnTo>
                  <a:pt x="1021" y="1499"/>
                </a:lnTo>
                <a:lnTo>
                  <a:pt x="1021" y="1503"/>
                </a:lnTo>
                <a:lnTo>
                  <a:pt x="1021" y="1508"/>
                </a:lnTo>
                <a:lnTo>
                  <a:pt x="1021" y="1512"/>
                </a:lnTo>
                <a:lnTo>
                  <a:pt x="1020" y="1521"/>
                </a:lnTo>
                <a:lnTo>
                  <a:pt x="1021" y="1525"/>
                </a:lnTo>
                <a:lnTo>
                  <a:pt x="1022" y="1529"/>
                </a:lnTo>
                <a:lnTo>
                  <a:pt x="1024" y="1531"/>
                </a:lnTo>
                <a:lnTo>
                  <a:pt x="1027" y="1532"/>
                </a:lnTo>
                <a:lnTo>
                  <a:pt x="1031" y="1534"/>
                </a:lnTo>
                <a:lnTo>
                  <a:pt x="1033" y="1535"/>
                </a:lnTo>
                <a:lnTo>
                  <a:pt x="1033" y="1541"/>
                </a:lnTo>
                <a:lnTo>
                  <a:pt x="1035" y="1543"/>
                </a:lnTo>
                <a:lnTo>
                  <a:pt x="1038" y="1546"/>
                </a:lnTo>
                <a:lnTo>
                  <a:pt x="1046" y="1555"/>
                </a:lnTo>
                <a:lnTo>
                  <a:pt x="1051" y="1560"/>
                </a:lnTo>
                <a:lnTo>
                  <a:pt x="1055" y="1566"/>
                </a:lnTo>
                <a:lnTo>
                  <a:pt x="1059" y="1570"/>
                </a:lnTo>
                <a:lnTo>
                  <a:pt x="1061" y="1574"/>
                </a:lnTo>
                <a:lnTo>
                  <a:pt x="1062" y="1571"/>
                </a:lnTo>
                <a:lnTo>
                  <a:pt x="1063" y="1570"/>
                </a:lnTo>
                <a:lnTo>
                  <a:pt x="1064" y="1570"/>
                </a:lnTo>
                <a:lnTo>
                  <a:pt x="1067" y="1569"/>
                </a:lnTo>
                <a:lnTo>
                  <a:pt x="1067" y="1566"/>
                </a:lnTo>
                <a:lnTo>
                  <a:pt x="1067" y="1563"/>
                </a:lnTo>
                <a:lnTo>
                  <a:pt x="1067" y="1560"/>
                </a:lnTo>
                <a:lnTo>
                  <a:pt x="1067" y="1557"/>
                </a:lnTo>
                <a:lnTo>
                  <a:pt x="1066" y="1556"/>
                </a:lnTo>
                <a:lnTo>
                  <a:pt x="1065" y="1555"/>
                </a:lnTo>
                <a:lnTo>
                  <a:pt x="1062" y="1553"/>
                </a:lnTo>
                <a:lnTo>
                  <a:pt x="1058" y="1551"/>
                </a:lnTo>
                <a:lnTo>
                  <a:pt x="1056" y="1549"/>
                </a:lnTo>
                <a:lnTo>
                  <a:pt x="1055" y="1547"/>
                </a:lnTo>
                <a:lnTo>
                  <a:pt x="1055" y="1544"/>
                </a:lnTo>
                <a:lnTo>
                  <a:pt x="1054" y="1542"/>
                </a:lnTo>
                <a:lnTo>
                  <a:pt x="1054" y="1541"/>
                </a:lnTo>
                <a:lnTo>
                  <a:pt x="1053" y="1541"/>
                </a:lnTo>
                <a:lnTo>
                  <a:pt x="1052" y="1540"/>
                </a:lnTo>
                <a:lnTo>
                  <a:pt x="1051" y="1540"/>
                </a:lnTo>
                <a:lnTo>
                  <a:pt x="1048" y="1539"/>
                </a:lnTo>
                <a:lnTo>
                  <a:pt x="1046" y="1539"/>
                </a:lnTo>
                <a:lnTo>
                  <a:pt x="1045" y="1539"/>
                </a:lnTo>
                <a:lnTo>
                  <a:pt x="1045" y="1538"/>
                </a:lnTo>
                <a:lnTo>
                  <a:pt x="1045" y="1537"/>
                </a:lnTo>
                <a:lnTo>
                  <a:pt x="1045" y="1536"/>
                </a:lnTo>
                <a:lnTo>
                  <a:pt x="1046" y="1533"/>
                </a:lnTo>
                <a:lnTo>
                  <a:pt x="1047" y="1530"/>
                </a:lnTo>
                <a:lnTo>
                  <a:pt x="1047" y="1527"/>
                </a:lnTo>
                <a:lnTo>
                  <a:pt x="1042" y="1527"/>
                </a:lnTo>
                <a:lnTo>
                  <a:pt x="1039" y="1514"/>
                </a:lnTo>
                <a:lnTo>
                  <a:pt x="1037" y="1503"/>
                </a:lnTo>
                <a:lnTo>
                  <a:pt x="1035" y="1493"/>
                </a:lnTo>
                <a:lnTo>
                  <a:pt x="1031" y="1481"/>
                </a:lnTo>
                <a:lnTo>
                  <a:pt x="1026" y="1480"/>
                </a:lnTo>
                <a:lnTo>
                  <a:pt x="1024" y="1480"/>
                </a:lnTo>
                <a:lnTo>
                  <a:pt x="1023" y="1479"/>
                </a:lnTo>
                <a:lnTo>
                  <a:pt x="1022" y="1479"/>
                </a:lnTo>
                <a:lnTo>
                  <a:pt x="1022" y="1477"/>
                </a:lnTo>
                <a:lnTo>
                  <a:pt x="1022" y="1475"/>
                </a:lnTo>
                <a:lnTo>
                  <a:pt x="1022" y="1472"/>
                </a:lnTo>
                <a:lnTo>
                  <a:pt x="1023" y="1468"/>
                </a:lnTo>
                <a:lnTo>
                  <a:pt x="1023" y="1466"/>
                </a:lnTo>
                <a:lnTo>
                  <a:pt x="1022" y="1465"/>
                </a:lnTo>
                <a:lnTo>
                  <a:pt x="1016" y="1465"/>
                </a:lnTo>
                <a:lnTo>
                  <a:pt x="1013" y="1457"/>
                </a:lnTo>
                <a:lnTo>
                  <a:pt x="1010" y="1449"/>
                </a:lnTo>
                <a:lnTo>
                  <a:pt x="1007" y="1440"/>
                </a:lnTo>
                <a:lnTo>
                  <a:pt x="1005" y="1431"/>
                </a:lnTo>
                <a:lnTo>
                  <a:pt x="997" y="1431"/>
                </a:lnTo>
                <a:lnTo>
                  <a:pt x="996" y="1428"/>
                </a:lnTo>
                <a:lnTo>
                  <a:pt x="995" y="1425"/>
                </a:lnTo>
                <a:lnTo>
                  <a:pt x="995" y="1419"/>
                </a:lnTo>
                <a:lnTo>
                  <a:pt x="995" y="1413"/>
                </a:lnTo>
                <a:lnTo>
                  <a:pt x="995" y="1411"/>
                </a:lnTo>
                <a:lnTo>
                  <a:pt x="994" y="1408"/>
                </a:lnTo>
                <a:lnTo>
                  <a:pt x="990" y="1408"/>
                </a:lnTo>
                <a:lnTo>
                  <a:pt x="986" y="1408"/>
                </a:lnTo>
                <a:lnTo>
                  <a:pt x="983" y="1402"/>
                </a:lnTo>
                <a:lnTo>
                  <a:pt x="981" y="1396"/>
                </a:lnTo>
                <a:lnTo>
                  <a:pt x="980" y="1390"/>
                </a:lnTo>
                <a:lnTo>
                  <a:pt x="977" y="1383"/>
                </a:lnTo>
                <a:lnTo>
                  <a:pt x="976" y="1381"/>
                </a:lnTo>
                <a:lnTo>
                  <a:pt x="973" y="1379"/>
                </a:lnTo>
                <a:lnTo>
                  <a:pt x="970" y="1377"/>
                </a:lnTo>
                <a:lnTo>
                  <a:pt x="969" y="1375"/>
                </a:lnTo>
                <a:lnTo>
                  <a:pt x="970" y="1373"/>
                </a:lnTo>
                <a:lnTo>
                  <a:pt x="970" y="1372"/>
                </a:lnTo>
                <a:lnTo>
                  <a:pt x="971" y="1368"/>
                </a:lnTo>
                <a:lnTo>
                  <a:pt x="971" y="1364"/>
                </a:lnTo>
                <a:lnTo>
                  <a:pt x="971" y="1361"/>
                </a:lnTo>
                <a:lnTo>
                  <a:pt x="975" y="1363"/>
                </a:lnTo>
                <a:lnTo>
                  <a:pt x="979" y="1365"/>
                </a:lnTo>
                <a:lnTo>
                  <a:pt x="986" y="1369"/>
                </a:lnTo>
                <a:lnTo>
                  <a:pt x="989" y="1366"/>
                </a:lnTo>
                <a:lnTo>
                  <a:pt x="991" y="1365"/>
                </a:lnTo>
                <a:lnTo>
                  <a:pt x="992" y="1364"/>
                </a:lnTo>
                <a:lnTo>
                  <a:pt x="991" y="1363"/>
                </a:lnTo>
                <a:lnTo>
                  <a:pt x="995" y="1364"/>
                </a:lnTo>
                <a:lnTo>
                  <a:pt x="1000" y="1363"/>
                </a:lnTo>
                <a:lnTo>
                  <a:pt x="1000" y="1368"/>
                </a:lnTo>
                <a:lnTo>
                  <a:pt x="1000" y="1372"/>
                </a:lnTo>
                <a:lnTo>
                  <a:pt x="1005" y="1372"/>
                </a:lnTo>
                <a:lnTo>
                  <a:pt x="1006" y="1374"/>
                </a:lnTo>
                <a:lnTo>
                  <a:pt x="1005" y="1376"/>
                </a:lnTo>
                <a:lnTo>
                  <a:pt x="1004" y="1380"/>
                </a:lnTo>
                <a:lnTo>
                  <a:pt x="1003" y="1384"/>
                </a:lnTo>
                <a:lnTo>
                  <a:pt x="1002" y="1385"/>
                </a:lnTo>
                <a:lnTo>
                  <a:pt x="1002" y="1386"/>
                </a:lnTo>
                <a:lnTo>
                  <a:pt x="1004" y="1388"/>
                </a:lnTo>
                <a:lnTo>
                  <a:pt x="1008" y="1391"/>
                </a:lnTo>
                <a:lnTo>
                  <a:pt x="1012" y="1395"/>
                </a:lnTo>
                <a:lnTo>
                  <a:pt x="1014" y="1397"/>
                </a:lnTo>
                <a:lnTo>
                  <a:pt x="1014" y="1399"/>
                </a:lnTo>
                <a:lnTo>
                  <a:pt x="1015" y="1402"/>
                </a:lnTo>
                <a:lnTo>
                  <a:pt x="1015" y="1406"/>
                </a:lnTo>
                <a:lnTo>
                  <a:pt x="1015" y="1410"/>
                </a:lnTo>
                <a:lnTo>
                  <a:pt x="1016" y="1414"/>
                </a:lnTo>
                <a:lnTo>
                  <a:pt x="1019" y="1416"/>
                </a:lnTo>
                <a:lnTo>
                  <a:pt x="1024" y="1420"/>
                </a:lnTo>
                <a:lnTo>
                  <a:pt x="1031" y="1425"/>
                </a:lnTo>
                <a:lnTo>
                  <a:pt x="1031" y="1426"/>
                </a:lnTo>
                <a:lnTo>
                  <a:pt x="1031" y="1428"/>
                </a:lnTo>
                <a:lnTo>
                  <a:pt x="1031" y="1431"/>
                </a:lnTo>
                <a:lnTo>
                  <a:pt x="1030" y="1434"/>
                </a:lnTo>
                <a:lnTo>
                  <a:pt x="1031" y="1436"/>
                </a:lnTo>
                <a:lnTo>
                  <a:pt x="1033" y="1436"/>
                </a:lnTo>
                <a:lnTo>
                  <a:pt x="1036" y="1438"/>
                </a:lnTo>
                <a:lnTo>
                  <a:pt x="1038" y="1440"/>
                </a:lnTo>
                <a:lnTo>
                  <a:pt x="1042" y="1445"/>
                </a:lnTo>
                <a:lnTo>
                  <a:pt x="1047" y="1456"/>
                </a:lnTo>
                <a:lnTo>
                  <a:pt x="1052" y="1456"/>
                </a:lnTo>
                <a:lnTo>
                  <a:pt x="1056" y="1456"/>
                </a:lnTo>
                <a:lnTo>
                  <a:pt x="1056" y="1457"/>
                </a:lnTo>
                <a:lnTo>
                  <a:pt x="1056" y="1458"/>
                </a:lnTo>
                <a:lnTo>
                  <a:pt x="1056" y="1462"/>
                </a:lnTo>
                <a:lnTo>
                  <a:pt x="1056" y="1465"/>
                </a:lnTo>
                <a:lnTo>
                  <a:pt x="1056" y="1467"/>
                </a:lnTo>
                <a:lnTo>
                  <a:pt x="1057" y="1468"/>
                </a:lnTo>
                <a:lnTo>
                  <a:pt x="1057" y="1469"/>
                </a:lnTo>
                <a:lnTo>
                  <a:pt x="1060" y="1469"/>
                </a:lnTo>
                <a:lnTo>
                  <a:pt x="1062" y="1469"/>
                </a:lnTo>
                <a:lnTo>
                  <a:pt x="1063" y="1470"/>
                </a:lnTo>
                <a:lnTo>
                  <a:pt x="1064" y="1470"/>
                </a:lnTo>
                <a:lnTo>
                  <a:pt x="1065" y="1471"/>
                </a:lnTo>
                <a:lnTo>
                  <a:pt x="1065" y="1472"/>
                </a:lnTo>
                <a:lnTo>
                  <a:pt x="1066" y="1476"/>
                </a:lnTo>
                <a:lnTo>
                  <a:pt x="1066" y="1479"/>
                </a:lnTo>
                <a:lnTo>
                  <a:pt x="1067" y="1481"/>
                </a:lnTo>
                <a:lnTo>
                  <a:pt x="1074" y="1484"/>
                </a:lnTo>
                <a:lnTo>
                  <a:pt x="1081" y="1487"/>
                </a:lnTo>
                <a:lnTo>
                  <a:pt x="1079" y="1489"/>
                </a:lnTo>
                <a:lnTo>
                  <a:pt x="1078" y="1492"/>
                </a:lnTo>
                <a:lnTo>
                  <a:pt x="1076" y="1494"/>
                </a:lnTo>
                <a:lnTo>
                  <a:pt x="1073" y="1496"/>
                </a:lnTo>
                <a:lnTo>
                  <a:pt x="1073" y="1500"/>
                </a:lnTo>
                <a:lnTo>
                  <a:pt x="1073" y="1504"/>
                </a:lnTo>
                <a:lnTo>
                  <a:pt x="1080" y="1509"/>
                </a:lnTo>
                <a:lnTo>
                  <a:pt x="1088" y="1514"/>
                </a:lnTo>
                <a:lnTo>
                  <a:pt x="1095" y="1520"/>
                </a:lnTo>
                <a:lnTo>
                  <a:pt x="1098" y="1523"/>
                </a:lnTo>
                <a:lnTo>
                  <a:pt x="1101" y="1527"/>
                </a:lnTo>
                <a:lnTo>
                  <a:pt x="1102" y="1528"/>
                </a:lnTo>
                <a:lnTo>
                  <a:pt x="1102" y="1530"/>
                </a:lnTo>
                <a:lnTo>
                  <a:pt x="1103" y="1534"/>
                </a:lnTo>
                <a:lnTo>
                  <a:pt x="1104" y="1538"/>
                </a:lnTo>
                <a:lnTo>
                  <a:pt x="1105" y="1539"/>
                </a:lnTo>
                <a:lnTo>
                  <a:pt x="1106" y="1541"/>
                </a:lnTo>
                <a:lnTo>
                  <a:pt x="1109" y="1541"/>
                </a:lnTo>
                <a:lnTo>
                  <a:pt x="1111" y="1541"/>
                </a:lnTo>
                <a:lnTo>
                  <a:pt x="1113" y="1542"/>
                </a:lnTo>
                <a:lnTo>
                  <a:pt x="1114" y="1542"/>
                </a:lnTo>
                <a:lnTo>
                  <a:pt x="1115" y="1543"/>
                </a:lnTo>
                <a:lnTo>
                  <a:pt x="1115" y="1546"/>
                </a:lnTo>
                <a:lnTo>
                  <a:pt x="1115" y="1548"/>
                </a:lnTo>
                <a:lnTo>
                  <a:pt x="1114" y="1550"/>
                </a:lnTo>
                <a:lnTo>
                  <a:pt x="1115" y="1552"/>
                </a:lnTo>
                <a:lnTo>
                  <a:pt x="1121" y="1552"/>
                </a:lnTo>
                <a:lnTo>
                  <a:pt x="1125" y="1559"/>
                </a:lnTo>
                <a:lnTo>
                  <a:pt x="1129" y="1566"/>
                </a:lnTo>
                <a:lnTo>
                  <a:pt x="1129" y="1568"/>
                </a:lnTo>
                <a:lnTo>
                  <a:pt x="1129" y="1570"/>
                </a:lnTo>
                <a:lnTo>
                  <a:pt x="1128" y="1572"/>
                </a:lnTo>
                <a:lnTo>
                  <a:pt x="1129" y="1574"/>
                </a:lnTo>
                <a:lnTo>
                  <a:pt x="1133" y="1580"/>
                </a:lnTo>
                <a:lnTo>
                  <a:pt x="1138" y="1585"/>
                </a:lnTo>
                <a:lnTo>
                  <a:pt x="1143" y="1591"/>
                </a:lnTo>
                <a:lnTo>
                  <a:pt x="1144" y="1594"/>
                </a:lnTo>
                <a:lnTo>
                  <a:pt x="1146" y="1597"/>
                </a:lnTo>
                <a:lnTo>
                  <a:pt x="1147" y="1602"/>
                </a:lnTo>
                <a:lnTo>
                  <a:pt x="1148" y="1607"/>
                </a:lnTo>
                <a:lnTo>
                  <a:pt x="1148" y="1611"/>
                </a:lnTo>
                <a:lnTo>
                  <a:pt x="1148" y="1615"/>
                </a:lnTo>
                <a:lnTo>
                  <a:pt x="1146" y="1623"/>
                </a:lnTo>
                <a:lnTo>
                  <a:pt x="1143" y="1630"/>
                </a:lnTo>
                <a:lnTo>
                  <a:pt x="1141" y="1637"/>
                </a:lnTo>
                <a:lnTo>
                  <a:pt x="1141" y="1640"/>
                </a:lnTo>
                <a:lnTo>
                  <a:pt x="1140" y="1644"/>
                </a:lnTo>
                <a:lnTo>
                  <a:pt x="1141" y="1647"/>
                </a:lnTo>
                <a:lnTo>
                  <a:pt x="1142" y="1651"/>
                </a:lnTo>
                <a:lnTo>
                  <a:pt x="1143" y="1655"/>
                </a:lnTo>
                <a:lnTo>
                  <a:pt x="1146" y="1659"/>
                </a:lnTo>
                <a:lnTo>
                  <a:pt x="1148" y="1661"/>
                </a:lnTo>
                <a:lnTo>
                  <a:pt x="1150" y="1662"/>
                </a:lnTo>
                <a:lnTo>
                  <a:pt x="1152" y="1663"/>
                </a:lnTo>
                <a:lnTo>
                  <a:pt x="1155" y="1663"/>
                </a:lnTo>
                <a:lnTo>
                  <a:pt x="1160" y="1665"/>
                </a:lnTo>
                <a:lnTo>
                  <a:pt x="1163" y="1666"/>
                </a:lnTo>
                <a:lnTo>
                  <a:pt x="1166" y="1667"/>
                </a:lnTo>
                <a:lnTo>
                  <a:pt x="1174" y="1680"/>
                </a:lnTo>
                <a:lnTo>
                  <a:pt x="1182" y="1692"/>
                </a:lnTo>
                <a:lnTo>
                  <a:pt x="1185" y="1694"/>
                </a:lnTo>
                <a:lnTo>
                  <a:pt x="1189" y="1695"/>
                </a:lnTo>
                <a:lnTo>
                  <a:pt x="1195" y="1696"/>
                </a:lnTo>
                <a:lnTo>
                  <a:pt x="1202" y="1696"/>
                </a:lnTo>
                <a:lnTo>
                  <a:pt x="1205" y="1697"/>
                </a:lnTo>
                <a:lnTo>
                  <a:pt x="1208" y="1698"/>
                </a:lnTo>
                <a:lnTo>
                  <a:pt x="1210" y="1700"/>
                </a:lnTo>
                <a:lnTo>
                  <a:pt x="1213" y="1702"/>
                </a:lnTo>
                <a:lnTo>
                  <a:pt x="1219" y="1708"/>
                </a:lnTo>
                <a:lnTo>
                  <a:pt x="1225" y="1714"/>
                </a:lnTo>
                <a:lnTo>
                  <a:pt x="1227" y="1716"/>
                </a:lnTo>
                <a:lnTo>
                  <a:pt x="1230" y="1718"/>
                </a:lnTo>
                <a:lnTo>
                  <a:pt x="1234" y="1719"/>
                </a:lnTo>
                <a:lnTo>
                  <a:pt x="1237" y="1720"/>
                </a:lnTo>
                <a:lnTo>
                  <a:pt x="1244" y="1721"/>
                </a:lnTo>
                <a:lnTo>
                  <a:pt x="1251" y="1721"/>
                </a:lnTo>
                <a:lnTo>
                  <a:pt x="1255" y="1722"/>
                </a:lnTo>
                <a:lnTo>
                  <a:pt x="1258" y="1723"/>
                </a:lnTo>
                <a:lnTo>
                  <a:pt x="1261" y="1726"/>
                </a:lnTo>
                <a:lnTo>
                  <a:pt x="1264" y="1729"/>
                </a:lnTo>
                <a:lnTo>
                  <a:pt x="1267" y="1733"/>
                </a:lnTo>
                <a:lnTo>
                  <a:pt x="1270" y="1735"/>
                </a:lnTo>
                <a:lnTo>
                  <a:pt x="1283" y="1738"/>
                </a:lnTo>
                <a:lnTo>
                  <a:pt x="1295" y="1740"/>
                </a:lnTo>
                <a:lnTo>
                  <a:pt x="1299" y="1740"/>
                </a:lnTo>
                <a:lnTo>
                  <a:pt x="1302" y="1740"/>
                </a:lnTo>
                <a:lnTo>
                  <a:pt x="1307" y="1738"/>
                </a:lnTo>
                <a:lnTo>
                  <a:pt x="1311" y="1736"/>
                </a:lnTo>
                <a:lnTo>
                  <a:pt x="1315" y="1735"/>
                </a:lnTo>
                <a:lnTo>
                  <a:pt x="1321" y="1734"/>
                </a:lnTo>
                <a:lnTo>
                  <a:pt x="1326" y="1733"/>
                </a:lnTo>
                <a:lnTo>
                  <a:pt x="1332" y="1733"/>
                </a:lnTo>
                <a:lnTo>
                  <a:pt x="1337" y="1733"/>
                </a:lnTo>
                <a:lnTo>
                  <a:pt x="1346" y="1735"/>
                </a:lnTo>
                <a:lnTo>
                  <a:pt x="1357" y="1738"/>
                </a:lnTo>
                <a:lnTo>
                  <a:pt x="1357" y="1735"/>
                </a:lnTo>
                <a:lnTo>
                  <a:pt x="1357" y="1733"/>
                </a:lnTo>
                <a:lnTo>
                  <a:pt x="1357" y="1732"/>
                </a:lnTo>
                <a:lnTo>
                  <a:pt x="1360" y="1732"/>
                </a:lnTo>
                <a:lnTo>
                  <a:pt x="1362" y="1733"/>
                </a:lnTo>
                <a:lnTo>
                  <a:pt x="1364" y="1735"/>
                </a:lnTo>
                <a:lnTo>
                  <a:pt x="1368" y="1739"/>
                </a:lnTo>
                <a:lnTo>
                  <a:pt x="1371" y="1744"/>
                </a:lnTo>
                <a:lnTo>
                  <a:pt x="1374" y="1749"/>
                </a:lnTo>
                <a:lnTo>
                  <a:pt x="1389" y="1766"/>
                </a:lnTo>
                <a:lnTo>
                  <a:pt x="1394" y="1770"/>
                </a:lnTo>
                <a:lnTo>
                  <a:pt x="1399" y="1775"/>
                </a:lnTo>
                <a:lnTo>
                  <a:pt x="1403" y="1778"/>
                </a:lnTo>
                <a:lnTo>
                  <a:pt x="1407" y="1780"/>
                </a:lnTo>
                <a:lnTo>
                  <a:pt x="1410" y="1780"/>
                </a:lnTo>
                <a:lnTo>
                  <a:pt x="1412" y="1779"/>
                </a:lnTo>
                <a:lnTo>
                  <a:pt x="1415" y="1778"/>
                </a:lnTo>
                <a:lnTo>
                  <a:pt x="1416" y="1779"/>
                </a:lnTo>
                <a:lnTo>
                  <a:pt x="1419" y="1780"/>
                </a:lnTo>
                <a:lnTo>
                  <a:pt x="1427" y="1791"/>
                </a:lnTo>
                <a:lnTo>
                  <a:pt x="1432" y="1792"/>
                </a:lnTo>
                <a:lnTo>
                  <a:pt x="1438" y="1791"/>
                </a:lnTo>
                <a:lnTo>
                  <a:pt x="1444" y="1791"/>
                </a:lnTo>
                <a:lnTo>
                  <a:pt x="1450" y="1791"/>
                </a:lnTo>
                <a:lnTo>
                  <a:pt x="1452" y="1792"/>
                </a:lnTo>
                <a:lnTo>
                  <a:pt x="1456" y="1794"/>
                </a:lnTo>
                <a:lnTo>
                  <a:pt x="1458" y="1795"/>
                </a:lnTo>
                <a:lnTo>
                  <a:pt x="1460" y="1796"/>
                </a:lnTo>
                <a:lnTo>
                  <a:pt x="1462" y="1797"/>
                </a:lnTo>
                <a:lnTo>
                  <a:pt x="1464" y="1797"/>
                </a:lnTo>
                <a:lnTo>
                  <a:pt x="1465" y="1796"/>
                </a:lnTo>
                <a:lnTo>
                  <a:pt x="1465" y="1795"/>
                </a:lnTo>
                <a:lnTo>
                  <a:pt x="1466" y="1794"/>
                </a:lnTo>
                <a:lnTo>
                  <a:pt x="1467" y="1793"/>
                </a:lnTo>
                <a:lnTo>
                  <a:pt x="1469" y="1793"/>
                </a:lnTo>
                <a:lnTo>
                  <a:pt x="1473" y="1790"/>
                </a:lnTo>
                <a:lnTo>
                  <a:pt x="1473" y="1797"/>
                </a:lnTo>
                <a:lnTo>
                  <a:pt x="1474" y="1799"/>
                </a:lnTo>
                <a:lnTo>
                  <a:pt x="1474" y="1800"/>
                </a:lnTo>
                <a:lnTo>
                  <a:pt x="1473" y="1801"/>
                </a:lnTo>
                <a:lnTo>
                  <a:pt x="1472" y="1802"/>
                </a:lnTo>
                <a:lnTo>
                  <a:pt x="1472" y="1803"/>
                </a:lnTo>
                <a:lnTo>
                  <a:pt x="1472" y="1805"/>
                </a:lnTo>
                <a:lnTo>
                  <a:pt x="1474" y="1807"/>
                </a:lnTo>
                <a:lnTo>
                  <a:pt x="1478" y="1809"/>
                </a:lnTo>
                <a:lnTo>
                  <a:pt x="1481" y="1812"/>
                </a:lnTo>
                <a:lnTo>
                  <a:pt x="1483" y="1813"/>
                </a:lnTo>
                <a:lnTo>
                  <a:pt x="1485" y="1816"/>
                </a:lnTo>
                <a:lnTo>
                  <a:pt x="1485" y="1818"/>
                </a:lnTo>
                <a:lnTo>
                  <a:pt x="1486" y="1822"/>
                </a:lnTo>
                <a:lnTo>
                  <a:pt x="1487" y="1826"/>
                </a:lnTo>
                <a:lnTo>
                  <a:pt x="1489" y="1830"/>
                </a:lnTo>
                <a:lnTo>
                  <a:pt x="1491" y="1832"/>
                </a:lnTo>
                <a:lnTo>
                  <a:pt x="1493" y="1833"/>
                </a:lnTo>
                <a:lnTo>
                  <a:pt x="1496" y="1835"/>
                </a:lnTo>
                <a:lnTo>
                  <a:pt x="1497" y="1836"/>
                </a:lnTo>
                <a:lnTo>
                  <a:pt x="1500" y="1840"/>
                </a:lnTo>
                <a:lnTo>
                  <a:pt x="1501" y="1845"/>
                </a:lnTo>
                <a:lnTo>
                  <a:pt x="1502" y="1849"/>
                </a:lnTo>
                <a:lnTo>
                  <a:pt x="1502" y="1853"/>
                </a:lnTo>
                <a:lnTo>
                  <a:pt x="1501" y="1857"/>
                </a:lnTo>
                <a:lnTo>
                  <a:pt x="1500" y="1861"/>
                </a:lnTo>
                <a:lnTo>
                  <a:pt x="1497" y="1870"/>
                </a:lnTo>
                <a:lnTo>
                  <a:pt x="1499" y="1871"/>
                </a:lnTo>
                <a:lnTo>
                  <a:pt x="1501" y="1872"/>
                </a:lnTo>
                <a:lnTo>
                  <a:pt x="1503" y="1874"/>
                </a:lnTo>
                <a:lnTo>
                  <a:pt x="1505" y="1877"/>
                </a:lnTo>
                <a:lnTo>
                  <a:pt x="1506" y="1878"/>
                </a:lnTo>
                <a:lnTo>
                  <a:pt x="1514" y="1875"/>
                </a:lnTo>
                <a:lnTo>
                  <a:pt x="1515" y="1872"/>
                </a:lnTo>
                <a:lnTo>
                  <a:pt x="1514" y="1870"/>
                </a:lnTo>
                <a:lnTo>
                  <a:pt x="1515" y="1869"/>
                </a:lnTo>
                <a:lnTo>
                  <a:pt x="1517" y="1867"/>
                </a:lnTo>
                <a:lnTo>
                  <a:pt x="1522" y="1873"/>
                </a:lnTo>
                <a:lnTo>
                  <a:pt x="1527" y="1878"/>
                </a:lnTo>
                <a:lnTo>
                  <a:pt x="1533" y="1882"/>
                </a:lnTo>
                <a:lnTo>
                  <a:pt x="1540" y="1887"/>
                </a:lnTo>
                <a:lnTo>
                  <a:pt x="1539" y="1895"/>
                </a:lnTo>
                <a:lnTo>
                  <a:pt x="1539" y="1898"/>
                </a:lnTo>
                <a:lnTo>
                  <a:pt x="1540" y="1901"/>
                </a:lnTo>
                <a:lnTo>
                  <a:pt x="1540" y="1906"/>
                </a:lnTo>
                <a:lnTo>
                  <a:pt x="1541" y="1907"/>
                </a:lnTo>
                <a:lnTo>
                  <a:pt x="1542" y="1907"/>
                </a:lnTo>
                <a:lnTo>
                  <a:pt x="1542" y="1905"/>
                </a:lnTo>
                <a:lnTo>
                  <a:pt x="1543" y="1904"/>
                </a:lnTo>
                <a:lnTo>
                  <a:pt x="1542" y="1898"/>
                </a:lnTo>
                <a:lnTo>
                  <a:pt x="1548" y="1898"/>
                </a:lnTo>
                <a:lnTo>
                  <a:pt x="1551" y="1909"/>
                </a:lnTo>
                <a:lnTo>
                  <a:pt x="1557" y="1909"/>
                </a:lnTo>
                <a:lnTo>
                  <a:pt x="1563" y="1909"/>
                </a:lnTo>
                <a:lnTo>
                  <a:pt x="1569" y="1909"/>
                </a:lnTo>
                <a:lnTo>
                  <a:pt x="1572" y="1910"/>
                </a:lnTo>
                <a:lnTo>
                  <a:pt x="1576" y="1912"/>
                </a:lnTo>
                <a:lnTo>
                  <a:pt x="1576" y="1916"/>
                </a:lnTo>
                <a:lnTo>
                  <a:pt x="1576" y="1920"/>
                </a:lnTo>
                <a:lnTo>
                  <a:pt x="1579" y="1921"/>
                </a:lnTo>
                <a:lnTo>
                  <a:pt x="1582" y="1920"/>
                </a:lnTo>
                <a:lnTo>
                  <a:pt x="1585" y="1920"/>
                </a:lnTo>
                <a:lnTo>
                  <a:pt x="1586" y="1920"/>
                </a:lnTo>
                <a:lnTo>
                  <a:pt x="1587" y="1920"/>
                </a:lnTo>
                <a:lnTo>
                  <a:pt x="1587" y="1926"/>
                </a:lnTo>
                <a:lnTo>
                  <a:pt x="1597" y="1928"/>
                </a:lnTo>
                <a:lnTo>
                  <a:pt x="1602" y="1929"/>
                </a:lnTo>
                <a:lnTo>
                  <a:pt x="1607" y="1929"/>
                </a:lnTo>
                <a:lnTo>
                  <a:pt x="1608" y="1929"/>
                </a:lnTo>
                <a:lnTo>
                  <a:pt x="1608" y="1928"/>
                </a:lnTo>
                <a:lnTo>
                  <a:pt x="1606" y="1927"/>
                </a:lnTo>
                <a:lnTo>
                  <a:pt x="1602" y="1926"/>
                </a:lnTo>
                <a:lnTo>
                  <a:pt x="1601" y="1927"/>
                </a:lnTo>
                <a:lnTo>
                  <a:pt x="1600" y="1928"/>
                </a:lnTo>
                <a:lnTo>
                  <a:pt x="1599" y="1927"/>
                </a:lnTo>
                <a:lnTo>
                  <a:pt x="1599" y="1926"/>
                </a:lnTo>
                <a:lnTo>
                  <a:pt x="1600" y="1925"/>
                </a:lnTo>
                <a:lnTo>
                  <a:pt x="1602" y="1924"/>
                </a:lnTo>
                <a:lnTo>
                  <a:pt x="1604" y="1923"/>
                </a:lnTo>
                <a:lnTo>
                  <a:pt x="1602" y="1918"/>
                </a:lnTo>
                <a:lnTo>
                  <a:pt x="1602" y="1915"/>
                </a:lnTo>
                <a:lnTo>
                  <a:pt x="1596" y="1915"/>
                </a:lnTo>
                <a:lnTo>
                  <a:pt x="1596" y="1909"/>
                </a:lnTo>
                <a:lnTo>
                  <a:pt x="1604" y="1905"/>
                </a:lnTo>
                <a:lnTo>
                  <a:pt x="1610" y="1901"/>
                </a:lnTo>
                <a:lnTo>
                  <a:pt x="1608" y="1901"/>
                </a:lnTo>
                <a:lnTo>
                  <a:pt x="1609" y="1899"/>
                </a:lnTo>
                <a:lnTo>
                  <a:pt x="1613" y="1895"/>
                </a:lnTo>
                <a:lnTo>
                  <a:pt x="1614" y="1895"/>
                </a:lnTo>
                <a:lnTo>
                  <a:pt x="1616" y="1894"/>
                </a:lnTo>
                <a:lnTo>
                  <a:pt x="1618" y="1892"/>
                </a:lnTo>
                <a:lnTo>
                  <a:pt x="1621" y="1897"/>
                </a:lnTo>
                <a:lnTo>
                  <a:pt x="1624" y="1902"/>
                </a:lnTo>
                <a:lnTo>
                  <a:pt x="1630" y="1912"/>
                </a:lnTo>
                <a:lnTo>
                  <a:pt x="1636" y="1910"/>
                </a:lnTo>
                <a:lnTo>
                  <a:pt x="1641" y="1909"/>
                </a:lnTo>
                <a:lnTo>
                  <a:pt x="1639" y="1913"/>
                </a:lnTo>
                <a:lnTo>
                  <a:pt x="1638" y="1915"/>
                </a:lnTo>
                <a:lnTo>
                  <a:pt x="1635" y="1932"/>
                </a:lnTo>
                <a:lnTo>
                  <a:pt x="1637" y="1933"/>
                </a:lnTo>
                <a:lnTo>
                  <a:pt x="1639" y="1936"/>
                </a:lnTo>
                <a:lnTo>
                  <a:pt x="1641" y="1939"/>
                </a:lnTo>
                <a:lnTo>
                  <a:pt x="1644" y="1940"/>
                </a:lnTo>
                <a:lnTo>
                  <a:pt x="1646" y="1940"/>
                </a:lnTo>
                <a:lnTo>
                  <a:pt x="1648" y="1940"/>
                </a:lnTo>
                <a:lnTo>
                  <a:pt x="1650" y="1940"/>
                </a:lnTo>
                <a:lnTo>
                  <a:pt x="1651" y="1940"/>
                </a:lnTo>
                <a:lnTo>
                  <a:pt x="1652" y="1940"/>
                </a:lnTo>
                <a:lnTo>
                  <a:pt x="1652" y="1955"/>
                </a:lnTo>
                <a:lnTo>
                  <a:pt x="1653" y="1959"/>
                </a:lnTo>
                <a:lnTo>
                  <a:pt x="1653" y="1962"/>
                </a:lnTo>
                <a:lnTo>
                  <a:pt x="1654" y="1964"/>
                </a:lnTo>
                <a:lnTo>
                  <a:pt x="1655" y="1965"/>
                </a:lnTo>
                <a:lnTo>
                  <a:pt x="1652" y="1976"/>
                </a:lnTo>
                <a:lnTo>
                  <a:pt x="1650" y="1988"/>
                </a:lnTo>
                <a:lnTo>
                  <a:pt x="1647" y="2000"/>
                </a:lnTo>
                <a:lnTo>
                  <a:pt x="1644" y="2013"/>
                </a:lnTo>
                <a:lnTo>
                  <a:pt x="1650" y="2016"/>
                </a:lnTo>
                <a:lnTo>
                  <a:pt x="1653" y="2017"/>
                </a:lnTo>
                <a:lnTo>
                  <a:pt x="1655" y="2019"/>
                </a:lnTo>
                <a:lnTo>
                  <a:pt x="1649" y="2026"/>
                </a:lnTo>
                <a:lnTo>
                  <a:pt x="1646" y="2029"/>
                </a:lnTo>
                <a:lnTo>
                  <a:pt x="1643" y="2032"/>
                </a:lnTo>
                <a:lnTo>
                  <a:pt x="1635" y="2037"/>
                </a:lnTo>
                <a:lnTo>
                  <a:pt x="1627" y="2041"/>
                </a:lnTo>
                <a:lnTo>
                  <a:pt x="1629" y="2043"/>
                </a:lnTo>
                <a:lnTo>
                  <a:pt x="1629" y="2045"/>
                </a:lnTo>
                <a:lnTo>
                  <a:pt x="1627" y="2047"/>
                </a:lnTo>
                <a:lnTo>
                  <a:pt x="1626" y="2049"/>
                </a:lnTo>
                <a:lnTo>
                  <a:pt x="1625" y="2051"/>
                </a:lnTo>
                <a:lnTo>
                  <a:pt x="1624" y="2052"/>
                </a:lnTo>
                <a:lnTo>
                  <a:pt x="1624" y="2053"/>
                </a:lnTo>
                <a:lnTo>
                  <a:pt x="1625" y="2054"/>
                </a:lnTo>
                <a:lnTo>
                  <a:pt x="1626" y="2056"/>
                </a:lnTo>
                <a:lnTo>
                  <a:pt x="1627" y="2057"/>
                </a:lnTo>
                <a:lnTo>
                  <a:pt x="1630" y="2058"/>
                </a:lnTo>
                <a:lnTo>
                  <a:pt x="1627" y="2059"/>
                </a:lnTo>
                <a:lnTo>
                  <a:pt x="1624" y="2059"/>
                </a:lnTo>
                <a:lnTo>
                  <a:pt x="1618" y="2058"/>
                </a:lnTo>
                <a:lnTo>
                  <a:pt x="1619" y="2060"/>
                </a:lnTo>
                <a:lnTo>
                  <a:pt x="1619" y="2062"/>
                </a:lnTo>
                <a:lnTo>
                  <a:pt x="1621" y="2067"/>
                </a:lnTo>
                <a:lnTo>
                  <a:pt x="1611" y="2074"/>
                </a:lnTo>
                <a:lnTo>
                  <a:pt x="1602" y="2081"/>
                </a:lnTo>
                <a:lnTo>
                  <a:pt x="1603" y="2083"/>
                </a:lnTo>
                <a:lnTo>
                  <a:pt x="1605" y="2085"/>
                </a:lnTo>
                <a:lnTo>
                  <a:pt x="1605" y="2087"/>
                </a:lnTo>
                <a:lnTo>
                  <a:pt x="1606" y="2089"/>
                </a:lnTo>
                <a:lnTo>
                  <a:pt x="1605" y="2093"/>
                </a:lnTo>
                <a:lnTo>
                  <a:pt x="1603" y="2097"/>
                </a:lnTo>
                <a:lnTo>
                  <a:pt x="1599" y="2103"/>
                </a:lnTo>
                <a:lnTo>
                  <a:pt x="1597" y="2105"/>
                </a:lnTo>
                <a:lnTo>
                  <a:pt x="1596" y="2106"/>
                </a:lnTo>
                <a:lnTo>
                  <a:pt x="1595" y="2109"/>
                </a:lnTo>
                <a:lnTo>
                  <a:pt x="1596" y="2111"/>
                </a:lnTo>
                <a:lnTo>
                  <a:pt x="1596" y="2112"/>
                </a:lnTo>
                <a:lnTo>
                  <a:pt x="1596" y="2113"/>
                </a:lnTo>
                <a:lnTo>
                  <a:pt x="1597" y="2115"/>
                </a:lnTo>
                <a:lnTo>
                  <a:pt x="1599" y="2119"/>
                </a:lnTo>
                <a:lnTo>
                  <a:pt x="1599" y="2121"/>
                </a:lnTo>
                <a:lnTo>
                  <a:pt x="1599" y="2123"/>
                </a:lnTo>
                <a:lnTo>
                  <a:pt x="1597" y="2125"/>
                </a:lnTo>
                <a:lnTo>
                  <a:pt x="1594" y="2127"/>
                </a:lnTo>
                <a:lnTo>
                  <a:pt x="1587" y="2131"/>
                </a:lnTo>
                <a:lnTo>
                  <a:pt x="1589" y="2134"/>
                </a:lnTo>
                <a:lnTo>
                  <a:pt x="1590" y="2135"/>
                </a:lnTo>
                <a:lnTo>
                  <a:pt x="1591" y="2135"/>
                </a:lnTo>
                <a:lnTo>
                  <a:pt x="1592" y="2135"/>
                </a:lnTo>
                <a:lnTo>
                  <a:pt x="1593" y="2134"/>
                </a:lnTo>
                <a:lnTo>
                  <a:pt x="1590" y="2143"/>
                </a:lnTo>
                <a:lnTo>
                  <a:pt x="1590" y="2144"/>
                </a:lnTo>
                <a:lnTo>
                  <a:pt x="1589" y="2148"/>
                </a:lnTo>
                <a:lnTo>
                  <a:pt x="1589" y="2151"/>
                </a:lnTo>
                <a:lnTo>
                  <a:pt x="1589" y="2152"/>
                </a:lnTo>
                <a:lnTo>
                  <a:pt x="1590" y="2153"/>
                </a:lnTo>
                <a:lnTo>
                  <a:pt x="1591" y="2154"/>
                </a:lnTo>
                <a:lnTo>
                  <a:pt x="1593" y="2154"/>
                </a:lnTo>
                <a:lnTo>
                  <a:pt x="1592" y="2156"/>
                </a:lnTo>
                <a:lnTo>
                  <a:pt x="1590" y="2160"/>
                </a:lnTo>
                <a:lnTo>
                  <a:pt x="1589" y="2163"/>
                </a:lnTo>
                <a:lnTo>
                  <a:pt x="1587" y="2165"/>
                </a:lnTo>
                <a:lnTo>
                  <a:pt x="1589" y="2166"/>
                </a:lnTo>
                <a:lnTo>
                  <a:pt x="1591" y="2166"/>
                </a:lnTo>
                <a:lnTo>
                  <a:pt x="1595" y="2168"/>
                </a:lnTo>
                <a:lnTo>
                  <a:pt x="1599" y="2169"/>
                </a:lnTo>
                <a:lnTo>
                  <a:pt x="1601" y="2170"/>
                </a:lnTo>
                <a:lnTo>
                  <a:pt x="1602" y="2171"/>
                </a:lnTo>
                <a:lnTo>
                  <a:pt x="1602" y="2172"/>
                </a:lnTo>
                <a:lnTo>
                  <a:pt x="1601" y="2174"/>
                </a:lnTo>
                <a:lnTo>
                  <a:pt x="1600" y="2176"/>
                </a:lnTo>
                <a:lnTo>
                  <a:pt x="1601" y="2178"/>
                </a:lnTo>
                <a:lnTo>
                  <a:pt x="1602" y="2179"/>
                </a:lnTo>
                <a:lnTo>
                  <a:pt x="1591" y="2189"/>
                </a:lnTo>
                <a:lnTo>
                  <a:pt x="1587" y="2193"/>
                </a:lnTo>
                <a:lnTo>
                  <a:pt x="1583" y="2197"/>
                </a:lnTo>
                <a:lnTo>
                  <a:pt x="1580" y="2201"/>
                </a:lnTo>
                <a:lnTo>
                  <a:pt x="1580" y="2203"/>
                </a:lnTo>
                <a:lnTo>
                  <a:pt x="1579" y="2205"/>
                </a:lnTo>
                <a:lnTo>
                  <a:pt x="1579" y="2207"/>
                </a:lnTo>
                <a:lnTo>
                  <a:pt x="1580" y="2209"/>
                </a:lnTo>
                <a:lnTo>
                  <a:pt x="1582" y="2213"/>
                </a:lnTo>
                <a:lnTo>
                  <a:pt x="1585" y="2219"/>
                </a:lnTo>
                <a:lnTo>
                  <a:pt x="1583" y="2219"/>
                </a:lnTo>
                <a:lnTo>
                  <a:pt x="1581" y="2220"/>
                </a:lnTo>
                <a:lnTo>
                  <a:pt x="1581" y="2221"/>
                </a:lnTo>
                <a:lnTo>
                  <a:pt x="1581" y="2222"/>
                </a:lnTo>
                <a:lnTo>
                  <a:pt x="1581" y="2223"/>
                </a:lnTo>
                <a:lnTo>
                  <a:pt x="1582" y="2224"/>
                </a:lnTo>
                <a:lnTo>
                  <a:pt x="1587" y="2227"/>
                </a:lnTo>
                <a:lnTo>
                  <a:pt x="1588" y="2229"/>
                </a:lnTo>
                <a:lnTo>
                  <a:pt x="1587" y="2231"/>
                </a:lnTo>
                <a:lnTo>
                  <a:pt x="1586" y="2235"/>
                </a:lnTo>
                <a:lnTo>
                  <a:pt x="1584" y="2238"/>
                </a:lnTo>
                <a:lnTo>
                  <a:pt x="1584" y="2239"/>
                </a:lnTo>
                <a:lnTo>
                  <a:pt x="1585" y="2241"/>
                </a:lnTo>
                <a:lnTo>
                  <a:pt x="1586" y="2243"/>
                </a:lnTo>
                <a:lnTo>
                  <a:pt x="1588" y="2244"/>
                </a:lnTo>
                <a:lnTo>
                  <a:pt x="1594" y="2248"/>
                </a:lnTo>
                <a:lnTo>
                  <a:pt x="1600" y="2252"/>
                </a:lnTo>
                <a:lnTo>
                  <a:pt x="1604" y="2255"/>
                </a:lnTo>
                <a:lnTo>
                  <a:pt x="1606" y="2258"/>
                </a:lnTo>
                <a:lnTo>
                  <a:pt x="1607" y="2262"/>
                </a:lnTo>
                <a:lnTo>
                  <a:pt x="1608" y="2266"/>
                </a:lnTo>
                <a:lnTo>
                  <a:pt x="1610" y="2269"/>
                </a:lnTo>
                <a:lnTo>
                  <a:pt x="1611" y="2270"/>
                </a:lnTo>
                <a:lnTo>
                  <a:pt x="1612" y="2271"/>
                </a:lnTo>
                <a:lnTo>
                  <a:pt x="1615" y="2272"/>
                </a:lnTo>
                <a:lnTo>
                  <a:pt x="1619" y="2273"/>
                </a:lnTo>
                <a:lnTo>
                  <a:pt x="1621" y="2275"/>
                </a:lnTo>
                <a:lnTo>
                  <a:pt x="1623" y="2278"/>
                </a:lnTo>
                <a:lnTo>
                  <a:pt x="1624" y="2282"/>
                </a:lnTo>
                <a:lnTo>
                  <a:pt x="1625" y="2286"/>
                </a:lnTo>
                <a:lnTo>
                  <a:pt x="1627" y="2289"/>
                </a:lnTo>
                <a:lnTo>
                  <a:pt x="1629" y="2291"/>
                </a:lnTo>
                <a:lnTo>
                  <a:pt x="1632" y="2293"/>
                </a:lnTo>
                <a:lnTo>
                  <a:pt x="1636" y="2295"/>
                </a:lnTo>
                <a:lnTo>
                  <a:pt x="1638" y="2297"/>
                </a:lnTo>
                <a:lnTo>
                  <a:pt x="1641" y="2303"/>
                </a:lnTo>
                <a:lnTo>
                  <a:pt x="1644" y="2308"/>
                </a:lnTo>
                <a:lnTo>
                  <a:pt x="1645" y="2314"/>
                </a:lnTo>
                <a:lnTo>
                  <a:pt x="1647" y="2319"/>
                </a:lnTo>
                <a:lnTo>
                  <a:pt x="1649" y="2332"/>
                </a:lnTo>
                <a:lnTo>
                  <a:pt x="1652" y="2345"/>
                </a:lnTo>
                <a:lnTo>
                  <a:pt x="1655" y="2352"/>
                </a:lnTo>
                <a:lnTo>
                  <a:pt x="1659" y="2361"/>
                </a:lnTo>
                <a:lnTo>
                  <a:pt x="1669" y="2382"/>
                </a:lnTo>
                <a:lnTo>
                  <a:pt x="1674" y="2393"/>
                </a:lnTo>
                <a:lnTo>
                  <a:pt x="1678" y="2403"/>
                </a:lnTo>
                <a:lnTo>
                  <a:pt x="1679" y="2408"/>
                </a:lnTo>
                <a:lnTo>
                  <a:pt x="1680" y="2412"/>
                </a:lnTo>
                <a:lnTo>
                  <a:pt x="1681" y="2415"/>
                </a:lnTo>
                <a:lnTo>
                  <a:pt x="1680" y="2418"/>
                </a:lnTo>
                <a:lnTo>
                  <a:pt x="1677" y="2424"/>
                </a:lnTo>
                <a:lnTo>
                  <a:pt x="1680" y="2427"/>
                </a:lnTo>
                <a:lnTo>
                  <a:pt x="1683" y="2430"/>
                </a:lnTo>
                <a:lnTo>
                  <a:pt x="1687" y="2433"/>
                </a:lnTo>
                <a:lnTo>
                  <a:pt x="1689" y="2435"/>
                </a:lnTo>
                <a:lnTo>
                  <a:pt x="1690" y="2438"/>
                </a:lnTo>
                <a:lnTo>
                  <a:pt x="1691" y="2440"/>
                </a:lnTo>
                <a:lnTo>
                  <a:pt x="1691" y="2444"/>
                </a:lnTo>
                <a:lnTo>
                  <a:pt x="1692" y="2448"/>
                </a:lnTo>
                <a:lnTo>
                  <a:pt x="1694" y="2452"/>
                </a:lnTo>
                <a:lnTo>
                  <a:pt x="1698" y="2455"/>
                </a:lnTo>
                <a:lnTo>
                  <a:pt x="1704" y="2458"/>
                </a:lnTo>
                <a:lnTo>
                  <a:pt x="1710" y="2461"/>
                </a:lnTo>
                <a:lnTo>
                  <a:pt x="1714" y="2463"/>
                </a:lnTo>
                <a:lnTo>
                  <a:pt x="1715" y="2465"/>
                </a:lnTo>
                <a:lnTo>
                  <a:pt x="1717" y="2468"/>
                </a:lnTo>
                <a:lnTo>
                  <a:pt x="1718" y="2470"/>
                </a:lnTo>
                <a:lnTo>
                  <a:pt x="1720" y="2472"/>
                </a:lnTo>
                <a:lnTo>
                  <a:pt x="1734" y="2480"/>
                </a:lnTo>
                <a:lnTo>
                  <a:pt x="1748" y="2488"/>
                </a:lnTo>
                <a:lnTo>
                  <a:pt x="1754" y="2492"/>
                </a:lnTo>
                <a:lnTo>
                  <a:pt x="1761" y="2497"/>
                </a:lnTo>
                <a:lnTo>
                  <a:pt x="1764" y="2499"/>
                </a:lnTo>
                <a:lnTo>
                  <a:pt x="1766" y="2502"/>
                </a:lnTo>
                <a:lnTo>
                  <a:pt x="1772" y="2508"/>
                </a:lnTo>
                <a:lnTo>
                  <a:pt x="1775" y="2512"/>
                </a:lnTo>
                <a:lnTo>
                  <a:pt x="1777" y="2517"/>
                </a:lnTo>
                <a:lnTo>
                  <a:pt x="1780" y="2522"/>
                </a:lnTo>
                <a:lnTo>
                  <a:pt x="1782" y="2528"/>
                </a:lnTo>
                <a:lnTo>
                  <a:pt x="1784" y="2539"/>
                </a:lnTo>
                <a:lnTo>
                  <a:pt x="1785" y="2551"/>
                </a:lnTo>
                <a:lnTo>
                  <a:pt x="1785" y="2563"/>
                </a:lnTo>
                <a:lnTo>
                  <a:pt x="1784" y="2575"/>
                </a:lnTo>
                <a:lnTo>
                  <a:pt x="1783" y="2602"/>
                </a:lnTo>
                <a:lnTo>
                  <a:pt x="1782" y="2616"/>
                </a:lnTo>
                <a:lnTo>
                  <a:pt x="1782" y="2630"/>
                </a:lnTo>
                <a:lnTo>
                  <a:pt x="1776" y="2630"/>
                </a:lnTo>
                <a:lnTo>
                  <a:pt x="1776" y="2633"/>
                </a:lnTo>
                <a:lnTo>
                  <a:pt x="1776" y="2635"/>
                </a:lnTo>
                <a:lnTo>
                  <a:pt x="1778" y="2638"/>
                </a:lnTo>
                <a:lnTo>
                  <a:pt x="1780" y="2640"/>
                </a:lnTo>
                <a:lnTo>
                  <a:pt x="1782" y="2642"/>
                </a:lnTo>
                <a:lnTo>
                  <a:pt x="1779" y="2649"/>
                </a:lnTo>
                <a:lnTo>
                  <a:pt x="1776" y="2656"/>
                </a:lnTo>
                <a:lnTo>
                  <a:pt x="1775" y="2660"/>
                </a:lnTo>
                <a:lnTo>
                  <a:pt x="1776" y="2665"/>
                </a:lnTo>
                <a:lnTo>
                  <a:pt x="1777" y="2674"/>
                </a:lnTo>
                <a:lnTo>
                  <a:pt x="1778" y="2682"/>
                </a:lnTo>
                <a:lnTo>
                  <a:pt x="1779" y="2686"/>
                </a:lnTo>
                <a:lnTo>
                  <a:pt x="1779" y="2689"/>
                </a:lnTo>
                <a:lnTo>
                  <a:pt x="1773" y="2698"/>
                </a:lnTo>
                <a:lnTo>
                  <a:pt x="1772" y="2705"/>
                </a:lnTo>
                <a:lnTo>
                  <a:pt x="1772" y="2714"/>
                </a:lnTo>
                <a:lnTo>
                  <a:pt x="1771" y="2725"/>
                </a:lnTo>
                <a:lnTo>
                  <a:pt x="1770" y="2737"/>
                </a:lnTo>
                <a:lnTo>
                  <a:pt x="1768" y="2748"/>
                </a:lnTo>
                <a:lnTo>
                  <a:pt x="1767" y="2753"/>
                </a:lnTo>
                <a:lnTo>
                  <a:pt x="1766" y="2758"/>
                </a:lnTo>
                <a:lnTo>
                  <a:pt x="1765" y="2762"/>
                </a:lnTo>
                <a:lnTo>
                  <a:pt x="1763" y="2766"/>
                </a:lnTo>
                <a:lnTo>
                  <a:pt x="1761" y="2769"/>
                </a:lnTo>
                <a:lnTo>
                  <a:pt x="1759" y="2771"/>
                </a:lnTo>
                <a:lnTo>
                  <a:pt x="1765" y="2788"/>
                </a:lnTo>
                <a:lnTo>
                  <a:pt x="1766" y="2789"/>
                </a:lnTo>
                <a:lnTo>
                  <a:pt x="1767" y="2791"/>
                </a:lnTo>
                <a:lnTo>
                  <a:pt x="1767" y="2794"/>
                </a:lnTo>
                <a:lnTo>
                  <a:pt x="1767" y="2797"/>
                </a:lnTo>
                <a:lnTo>
                  <a:pt x="1766" y="2800"/>
                </a:lnTo>
                <a:lnTo>
                  <a:pt x="1763" y="2807"/>
                </a:lnTo>
                <a:lnTo>
                  <a:pt x="1761" y="2811"/>
                </a:lnTo>
                <a:lnTo>
                  <a:pt x="1760" y="2814"/>
                </a:lnTo>
                <a:lnTo>
                  <a:pt x="1759" y="2818"/>
                </a:lnTo>
                <a:lnTo>
                  <a:pt x="1759" y="2822"/>
                </a:lnTo>
                <a:lnTo>
                  <a:pt x="1760" y="2825"/>
                </a:lnTo>
                <a:lnTo>
                  <a:pt x="1761" y="2829"/>
                </a:lnTo>
                <a:lnTo>
                  <a:pt x="1764" y="2839"/>
                </a:lnTo>
                <a:lnTo>
                  <a:pt x="1765" y="2845"/>
                </a:lnTo>
                <a:lnTo>
                  <a:pt x="1766" y="2852"/>
                </a:lnTo>
                <a:lnTo>
                  <a:pt x="1766" y="2858"/>
                </a:lnTo>
                <a:lnTo>
                  <a:pt x="1765" y="2864"/>
                </a:lnTo>
                <a:lnTo>
                  <a:pt x="1764" y="2865"/>
                </a:lnTo>
                <a:lnTo>
                  <a:pt x="1763" y="2866"/>
                </a:lnTo>
                <a:lnTo>
                  <a:pt x="1759" y="2868"/>
                </a:lnTo>
                <a:lnTo>
                  <a:pt x="1756" y="2870"/>
                </a:lnTo>
                <a:lnTo>
                  <a:pt x="1754" y="2871"/>
                </a:lnTo>
                <a:lnTo>
                  <a:pt x="1753" y="2872"/>
                </a:lnTo>
                <a:lnTo>
                  <a:pt x="1753" y="2877"/>
                </a:lnTo>
                <a:lnTo>
                  <a:pt x="1753" y="2883"/>
                </a:lnTo>
                <a:lnTo>
                  <a:pt x="1753" y="2895"/>
                </a:lnTo>
                <a:lnTo>
                  <a:pt x="1750" y="2896"/>
                </a:lnTo>
                <a:lnTo>
                  <a:pt x="1748" y="2898"/>
                </a:lnTo>
                <a:lnTo>
                  <a:pt x="1741" y="2924"/>
                </a:lnTo>
                <a:lnTo>
                  <a:pt x="1739" y="2935"/>
                </a:lnTo>
                <a:lnTo>
                  <a:pt x="1739" y="2936"/>
                </a:lnTo>
                <a:lnTo>
                  <a:pt x="1739" y="2934"/>
                </a:lnTo>
                <a:lnTo>
                  <a:pt x="1741" y="2936"/>
                </a:lnTo>
                <a:lnTo>
                  <a:pt x="1741" y="2937"/>
                </a:lnTo>
                <a:lnTo>
                  <a:pt x="1741" y="2938"/>
                </a:lnTo>
                <a:lnTo>
                  <a:pt x="1740" y="2939"/>
                </a:lnTo>
                <a:lnTo>
                  <a:pt x="1739" y="2940"/>
                </a:lnTo>
                <a:lnTo>
                  <a:pt x="1736" y="2951"/>
                </a:lnTo>
                <a:lnTo>
                  <a:pt x="1732" y="2967"/>
                </a:lnTo>
                <a:lnTo>
                  <a:pt x="1729" y="2974"/>
                </a:lnTo>
                <a:lnTo>
                  <a:pt x="1726" y="2980"/>
                </a:lnTo>
                <a:lnTo>
                  <a:pt x="1725" y="2982"/>
                </a:lnTo>
                <a:lnTo>
                  <a:pt x="1723" y="2984"/>
                </a:lnTo>
                <a:lnTo>
                  <a:pt x="1721" y="2985"/>
                </a:lnTo>
                <a:lnTo>
                  <a:pt x="1720" y="2985"/>
                </a:lnTo>
                <a:lnTo>
                  <a:pt x="1723" y="2986"/>
                </a:lnTo>
                <a:lnTo>
                  <a:pt x="1728" y="2988"/>
                </a:lnTo>
                <a:lnTo>
                  <a:pt x="1729" y="2993"/>
                </a:lnTo>
                <a:lnTo>
                  <a:pt x="1729" y="2997"/>
                </a:lnTo>
                <a:lnTo>
                  <a:pt x="1730" y="3002"/>
                </a:lnTo>
                <a:lnTo>
                  <a:pt x="1731" y="3007"/>
                </a:lnTo>
                <a:lnTo>
                  <a:pt x="1733" y="3021"/>
                </a:lnTo>
                <a:lnTo>
                  <a:pt x="1734" y="3034"/>
                </a:lnTo>
                <a:lnTo>
                  <a:pt x="1734" y="3044"/>
                </a:lnTo>
                <a:lnTo>
                  <a:pt x="1728" y="3044"/>
                </a:lnTo>
                <a:lnTo>
                  <a:pt x="1724" y="3063"/>
                </a:lnTo>
                <a:lnTo>
                  <a:pt x="1722" y="3072"/>
                </a:lnTo>
                <a:lnTo>
                  <a:pt x="1722" y="3076"/>
                </a:lnTo>
                <a:lnTo>
                  <a:pt x="1722" y="3079"/>
                </a:lnTo>
                <a:lnTo>
                  <a:pt x="1722" y="3082"/>
                </a:lnTo>
                <a:lnTo>
                  <a:pt x="1723" y="3085"/>
                </a:lnTo>
                <a:lnTo>
                  <a:pt x="1724" y="3086"/>
                </a:lnTo>
                <a:lnTo>
                  <a:pt x="1725" y="3087"/>
                </a:lnTo>
                <a:lnTo>
                  <a:pt x="1727" y="3088"/>
                </a:lnTo>
                <a:lnTo>
                  <a:pt x="1729" y="3089"/>
                </a:lnTo>
                <a:lnTo>
                  <a:pt x="1733" y="3090"/>
                </a:lnTo>
                <a:lnTo>
                  <a:pt x="1737" y="3090"/>
                </a:lnTo>
                <a:lnTo>
                  <a:pt x="1742" y="3089"/>
                </a:lnTo>
                <a:lnTo>
                  <a:pt x="1740" y="3106"/>
                </a:lnTo>
                <a:lnTo>
                  <a:pt x="1740" y="3115"/>
                </a:lnTo>
                <a:lnTo>
                  <a:pt x="1739" y="3126"/>
                </a:lnTo>
                <a:lnTo>
                  <a:pt x="1734" y="3128"/>
                </a:lnTo>
                <a:lnTo>
                  <a:pt x="1734" y="3132"/>
                </a:lnTo>
                <a:lnTo>
                  <a:pt x="1734" y="3134"/>
                </a:lnTo>
                <a:lnTo>
                  <a:pt x="1735" y="3136"/>
                </a:lnTo>
                <a:lnTo>
                  <a:pt x="1737" y="3138"/>
                </a:lnTo>
                <a:lnTo>
                  <a:pt x="1738" y="3140"/>
                </a:lnTo>
                <a:lnTo>
                  <a:pt x="1739" y="3142"/>
                </a:lnTo>
                <a:lnTo>
                  <a:pt x="1739" y="3145"/>
                </a:lnTo>
                <a:lnTo>
                  <a:pt x="1739" y="3148"/>
                </a:lnTo>
                <a:lnTo>
                  <a:pt x="1737" y="3151"/>
                </a:lnTo>
                <a:lnTo>
                  <a:pt x="1734" y="3153"/>
                </a:lnTo>
                <a:lnTo>
                  <a:pt x="1732" y="3154"/>
                </a:lnTo>
                <a:lnTo>
                  <a:pt x="1732" y="3155"/>
                </a:lnTo>
                <a:lnTo>
                  <a:pt x="1731" y="3156"/>
                </a:lnTo>
                <a:lnTo>
                  <a:pt x="1731" y="3157"/>
                </a:lnTo>
                <a:lnTo>
                  <a:pt x="1732" y="3157"/>
                </a:lnTo>
                <a:lnTo>
                  <a:pt x="1734" y="3156"/>
                </a:lnTo>
                <a:lnTo>
                  <a:pt x="1734" y="3162"/>
                </a:lnTo>
                <a:lnTo>
                  <a:pt x="1732" y="3162"/>
                </a:lnTo>
                <a:lnTo>
                  <a:pt x="1730" y="3160"/>
                </a:lnTo>
                <a:lnTo>
                  <a:pt x="1729" y="3159"/>
                </a:lnTo>
                <a:lnTo>
                  <a:pt x="1728" y="3159"/>
                </a:lnTo>
                <a:lnTo>
                  <a:pt x="1726" y="3167"/>
                </a:lnTo>
                <a:lnTo>
                  <a:pt x="1726" y="3174"/>
                </a:lnTo>
                <a:lnTo>
                  <a:pt x="1726" y="3186"/>
                </a:lnTo>
                <a:lnTo>
                  <a:pt x="1726" y="3199"/>
                </a:lnTo>
                <a:lnTo>
                  <a:pt x="1726" y="3207"/>
                </a:lnTo>
                <a:lnTo>
                  <a:pt x="1725" y="3216"/>
                </a:lnTo>
                <a:lnTo>
                  <a:pt x="1720" y="3212"/>
                </a:lnTo>
                <a:lnTo>
                  <a:pt x="1717" y="3210"/>
                </a:lnTo>
                <a:lnTo>
                  <a:pt x="1716" y="3210"/>
                </a:lnTo>
                <a:lnTo>
                  <a:pt x="1714" y="3210"/>
                </a:lnTo>
                <a:lnTo>
                  <a:pt x="1716" y="3211"/>
                </a:lnTo>
                <a:lnTo>
                  <a:pt x="1716" y="3212"/>
                </a:lnTo>
                <a:lnTo>
                  <a:pt x="1715" y="3213"/>
                </a:lnTo>
                <a:lnTo>
                  <a:pt x="1714" y="3214"/>
                </a:lnTo>
                <a:lnTo>
                  <a:pt x="1710" y="3215"/>
                </a:lnTo>
                <a:lnTo>
                  <a:pt x="1708" y="3216"/>
                </a:lnTo>
                <a:lnTo>
                  <a:pt x="1708" y="3214"/>
                </a:lnTo>
                <a:lnTo>
                  <a:pt x="1709" y="3213"/>
                </a:lnTo>
                <a:lnTo>
                  <a:pt x="1711" y="3210"/>
                </a:lnTo>
                <a:lnTo>
                  <a:pt x="1705" y="3207"/>
                </a:lnTo>
                <a:lnTo>
                  <a:pt x="1703" y="3206"/>
                </a:lnTo>
                <a:lnTo>
                  <a:pt x="1700" y="3204"/>
                </a:lnTo>
                <a:lnTo>
                  <a:pt x="1699" y="3206"/>
                </a:lnTo>
                <a:lnTo>
                  <a:pt x="1699" y="3207"/>
                </a:lnTo>
                <a:lnTo>
                  <a:pt x="1698" y="3207"/>
                </a:lnTo>
                <a:lnTo>
                  <a:pt x="1697" y="3206"/>
                </a:lnTo>
                <a:lnTo>
                  <a:pt x="1696" y="3206"/>
                </a:lnTo>
                <a:lnTo>
                  <a:pt x="1694" y="3207"/>
                </a:lnTo>
                <a:lnTo>
                  <a:pt x="1694" y="3213"/>
                </a:lnTo>
                <a:lnTo>
                  <a:pt x="1693" y="3219"/>
                </a:lnTo>
                <a:lnTo>
                  <a:pt x="1689" y="3230"/>
                </a:lnTo>
                <a:lnTo>
                  <a:pt x="1697" y="3224"/>
                </a:lnTo>
                <a:lnTo>
                  <a:pt x="1697" y="3228"/>
                </a:lnTo>
                <a:lnTo>
                  <a:pt x="1697" y="3232"/>
                </a:lnTo>
                <a:lnTo>
                  <a:pt x="1702" y="3232"/>
                </a:lnTo>
                <a:lnTo>
                  <a:pt x="1706" y="3232"/>
                </a:lnTo>
                <a:lnTo>
                  <a:pt x="1705" y="3232"/>
                </a:lnTo>
                <a:lnTo>
                  <a:pt x="1706" y="3231"/>
                </a:lnTo>
                <a:lnTo>
                  <a:pt x="1709" y="3228"/>
                </a:lnTo>
                <a:lnTo>
                  <a:pt x="1711" y="3228"/>
                </a:lnTo>
                <a:lnTo>
                  <a:pt x="1714" y="3228"/>
                </a:lnTo>
                <a:lnTo>
                  <a:pt x="1715" y="3229"/>
                </a:lnTo>
                <a:lnTo>
                  <a:pt x="1717" y="3232"/>
                </a:lnTo>
                <a:lnTo>
                  <a:pt x="1717" y="3236"/>
                </a:lnTo>
                <a:lnTo>
                  <a:pt x="1716" y="3240"/>
                </a:lnTo>
                <a:lnTo>
                  <a:pt x="1714" y="3244"/>
                </a:lnTo>
                <a:lnTo>
                  <a:pt x="1716" y="3245"/>
                </a:lnTo>
                <a:lnTo>
                  <a:pt x="1719" y="3249"/>
                </a:lnTo>
                <a:lnTo>
                  <a:pt x="1719" y="3250"/>
                </a:lnTo>
                <a:lnTo>
                  <a:pt x="1719" y="3251"/>
                </a:lnTo>
                <a:lnTo>
                  <a:pt x="1718" y="3252"/>
                </a:lnTo>
                <a:lnTo>
                  <a:pt x="1716" y="3252"/>
                </a:lnTo>
                <a:lnTo>
                  <a:pt x="1711" y="3252"/>
                </a:lnTo>
                <a:lnTo>
                  <a:pt x="1712" y="3265"/>
                </a:lnTo>
                <a:lnTo>
                  <a:pt x="1712" y="3275"/>
                </a:lnTo>
                <a:lnTo>
                  <a:pt x="1712" y="3285"/>
                </a:lnTo>
                <a:lnTo>
                  <a:pt x="1711" y="3297"/>
                </a:lnTo>
                <a:lnTo>
                  <a:pt x="1714" y="3294"/>
                </a:lnTo>
                <a:lnTo>
                  <a:pt x="1715" y="3292"/>
                </a:lnTo>
                <a:lnTo>
                  <a:pt x="1717" y="3292"/>
                </a:lnTo>
                <a:lnTo>
                  <a:pt x="1718" y="3292"/>
                </a:lnTo>
                <a:lnTo>
                  <a:pt x="1718" y="3293"/>
                </a:lnTo>
                <a:lnTo>
                  <a:pt x="1716" y="3297"/>
                </a:lnTo>
                <a:lnTo>
                  <a:pt x="1713" y="3301"/>
                </a:lnTo>
                <a:lnTo>
                  <a:pt x="1711" y="3303"/>
                </a:lnTo>
                <a:lnTo>
                  <a:pt x="1710" y="3305"/>
                </a:lnTo>
                <a:lnTo>
                  <a:pt x="1710" y="3309"/>
                </a:lnTo>
                <a:lnTo>
                  <a:pt x="1710" y="3312"/>
                </a:lnTo>
                <a:lnTo>
                  <a:pt x="1709" y="3313"/>
                </a:lnTo>
                <a:lnTo>
                  <a:pt x="1708" y="3314"/>
                </a:lnTo>
                <a:lnTo>
                  <a:pt x="1706" y="3315"/>
                </a:lnTo>
                <a:lnTo>
                  <a:pt x="1706" y="3314"/>
                </a:lnTo>
                <a:lnTo>
                  <a:pt x="1706" y="3312"/>
                </a:lnTo>
                <a:lnTo>
                  <a:pt x="1706" y="3311"/>
                </a:lnTo>
                <a:lnTo>
                  <a:pt x="1707" y="3298"/>
                </a:lnTo>
                <a:lnTo>
                  <a:pt x="1707" y="3285"/>
                </a:lnTo>
                <a:lnTo>
                  <a:pt x="1705" y="3273"/>
                </a:lnTo>
                <a:lnTo>
                  <a:pt x="1703" y="3261"/>
                </a:lnTo>
                <a:lnTo>
                  <a:pt x="1700" y="3261"/>
                </a:lnTo>
                <a:lnTo>
                  <a:pt x="1697" y="3261"/>
                </a:lnTo>
                <a:lnTo>
                  <a:pt x="1692" y="3261"/>
                </a:lnTo>
                <a:lnTo>
                  <a:pt x="1691" y="3262"/>
                </a:lnTo>
                <a:lnTo>
                  <a:pt x="1692" y="3262"/>
                </a:lnTo>
                <a:lnTo>
                  <a:pt x="1693" y="3264"/>
                </a:lnTo>
                <a:lnTo>
                  <a:pt x="1695" y="3265"/>
                </a:lnTo>
                <a:lnTo>
                  <a:pt x="1695" y="3266"/>
                </a:lnTo>
                <a:lnTo>
                  <a:pt x="1694" y="3266"/>
                </a:lnTo>
                <a:lnTo>
                  <a:pt x="1689" y="3270"/>
                </a:lnTo>
                <a:lnTo>
                  <a:pt x="1687" y="3271"/>
                </a:lnTo>
                <a:lnTo>
                  <a:pt x="1686" y="3273"/>
                </a:lnTo>
                <a:lnTo>
                  <a:pt x="1685" y="3276"/>
                </a:lnTo>
                <a:lnTo>
                  <a:pt x="1686" y="3279"/>
                </a:lnTo>
                <a:lnTo>
                  <a:pt x="1689" y="3285"/>
                </a:lnTo>
                <a:lnTo>
                  <a:pt x="1690" y="3287"/>
                </a:lnTo>
                <a:lnTo>
                  <a:pt x="1691" y="3288"/>
                </a:lnTo>
                <a:lnTo>
                  <a:pt x="1692" y="3292"/>
                </a:lnTo>
                <a:lnTo>
                  <a:pt x="1692" y="3296"/>
                </a:lnTo>
                <a:lnTo>
                  <a:pt x="1691" y="3298"/>
                </a:lnTo>
                <a:lnTo>
                  <a:pt x="1689" y="3298"/>
                </a:lnTo>
                <a:lnTo>
                  <a:pt x="1686" y="3300"/>
                </a:lnTo>
                <a:lnTo>
                  <a:pt x="1687" y="3303"/>
                </a:lnTo>
                <a:lnTo>
                  <a:pt x="1688" y="3305"/>
                </a:lnTo>
                <a:lnTo>
                  <a:pt x="1689" y="3308"/>
                </a:lnTo>
                <a:lnTo>
                  <a:pt x="1689" y="3311"/>
                </a:lnTo>
                <a:lnTo>
                  <a:pt x="1693" y="3312"/>
                </a:lnTo>
                <a:lnTo>
                  <a:pt x="1697" y="3313"/>
                </a:lnTo>
                <a:lnTo>
                  <a:pt x="1701" y="3313"/>
                </a:lnTo>
                <a:lnTo>
                  <a:pt x="1706" y="3314"/>
                </a:lnTo>
                <a:lnTo>
                  <a:pt x="1705" y="3318"/>
                </a:lnTo>
                <a:lnTo>
                  <a:pt x="1706" y="3322"/>
                </a:lnTo>
                <a:lnTo>
                  <a:pt x="1707" y="3323"/>
                </a:lnTo>
                <a:lnTo>
                  <a:pt x="1708" y="3323"/>
                </a:lnTo>
                <a:lnTo>
                  <a:pt x="1710" y="3322"/>
                </a:lnTo>
                <a:lnTo>
                  <a:pt x="1712" y="3322"/>
                </a:lnTo>
                <a:lnTo>
                  <a:pt x="1713" y="3322"/>
                </a:lnTo>
                <a:lnTo>
                  <a:pt x="1714" y="3322"/>
                </a:lnTo>
                <a:lnTo>
                  <a:pt x="1714" y="3324"/>
                </a:lnTo>
                <a:lnTo>
                  <a:pt x="1714" y="3326"/>
                </a:lnTo>
                <a:lnTo>
                  <a:pt x="1714" y="3329"/>
                </a:lnTo>
                <a:lnTo>
                  <a:pt x="1714" y="3331"/>
                </a:lnTo>
                <a:lnTo>
                  <a:pt x="1710" y="3328"/>
                </a:lnTo>
                <a:lnTo>
                  <a:pt x="1708" y="3326"/>
                </a:lnTo>
                <a:lnTo>
                  <a:pt x="1706" y="3325"/>
                </a:lnTo>
                <a:lnTo>
                  <a:pt x="1706" y="3326"/>
                </a:lnTo>
                <a:lnTo>
                  <a:pt x="1707" y="3326"/>
                </a:lnTo>
                <a:lnTo>
                  <a:pt x="1707" y="3328"/>
                </a:lnTo>
                <a:lnTo>
                  <a:pt x="1707" y="3333"/>
                </a:lnTo>
                <a:lnTo>
                  <a:pt x="1707" y="3336"/>
                </a:lnTo>
                <a:lnTo>
                  <a:pt x="1706" y="3336"/>
                </a:lnTo>
                <a:lnTo>
                  <a:pt x="1706" y="3334"/>
                </a:lnTo>
                <a:lnTo>
                  <a:pt x="1702" y="3332"/>
                </a:lnTo>
                <a:lnTo>
                  <a:pt x="1697" y="3331"/>
                </a:lnTo>
                <a:lnTo>
                  <a:pt x="1697" y="3339"/>
                </a:lnTo>
                <a:lnTo>
                  <a:pt x="1694" y="3339"/>
                </a:lnTo>
                <a:lnTo>
                  <a:pt x="1695" y="3348"/>
                </a:lnTo>
                <a:lnTo>
                  <a:pt x="1694" y="3356"/>
                </a:lnTo>
                <a:lnTo>
                  <a:pt x="1698" y="3356"/>
                </a:lnTo>
                <a:lnTo>
                  <a:pt x="1703" y="3356"/>
                </a:lnTo>
                <a:lnTo>
                  <a:pt x="1705" y="3351"/>
                </a:lnTo>
                <a:lnTo>
                  <a:pt x="1707" y="3347"/>
                </a:lnTo>
                <a:lnTo>
                  <a:pt x="1708" y="3345"/>
                </a:lnTo>
                <a:lnTo>
                  <a:pt x="1710" y="3349"/>
                </a:lnTo>
                <a:lnTo>
                  <a:pt x="1711" y="3351"/>
                </a:lnTo>
                <a:lnTo>
                  <a:pt x="1711" y="3344"/>
                </a:lnTo>
                <a:lnTo>
                  <a:pt x="1710" y="3341"/>
                </a:lnTo>
                <a:lnTo>
                  <a:pt x="1710" y="3340"/>
                </a:lnTo>
                <a:lnTo>
                  <a:pt x="1710" y="3339"/>
                </a:lnTo>
                <a:lnTo>
                  <a:pt x="1714" y="3337"/>
                </a:lnTo>
                <a:lnTo>
                  <a:pt x="1714" y="3331"/>
                </a:lnTo>
                <a:lnTo>
                  <a:pt x="1716" y="3332"/>
                </a:lnTo>
                <a:lnTo>
                  <a:pt x="1717" y="3333"/>
                </a:lnTo>
                <a:lnTo>
                  <a:pt x="1719" y="3334"/>
                </a:lnTo>
                <a:lnTo>
                  <a:pt x="1721" y="3334"/>
                </a:lnTo>
                <a:lnTo>
                  <a:pt x="1722" y="3334"/>
                </a:lnTo>
                <a:lnTo>
                  <a:pt x="1719" y="3337"/>
                </a:lnTo>
                <a:lnTo>
                  <a:pt x="1716" y="3341"/>
                </a:lnTo>
                <a:lnTo>
                  <a:pt x="1715" y="3343"/>
                </a:lnTo>
                <a:lnTo>
                  <a:pt x="1715" y="3346"/>
                </a:lnTo>
                <a:lnTo>
                  <a:pt x="1715" y="3347"/>
                </a:lnTo>
                <a:lnTo>
                  <a:pt x="1715" y="3348"/>
                </a:lnTo>
                <a:lnTo>
                  <a:pt x="1716" y="3349"/>
                </a:lnTo>
                <a:lnTo>
                  <a:pt x="1717" y="3348"/>
                </a:lnTo>
                <a:lnTo>
                  <a:pt x="1720" y="3348"/>
                </a:lnTo>
                <a:lnTo>
                  <a:pt x="1719" y="3354"/>
                </a:lnTo>
                <a:lnTo>
                  <a:pt x="1718" y="3357"/>
                </a:lnTo>
                <a:lnTo>
                  <a:pt x="1717" y="3357"/>
                </a:lnTo>
                <a:lnTo>
                  <a:pt x="1717" y="3356"/>
                </a:lnTo>
                <a:lnTo>
                  <a:pt x="1717" y="3362"/>
                </a:lnTo>
                <a:lnTo>
                  <a:pt x="1715" y="3362"/>
                </a:lnTo>
                <a:lnTo>
                  <a:pt x="1713" y="3362"/>
                </a:lnTo>
                <a:lnTo>
                  <a:pt x="1712" y="3361"/>
                </a:lnTo>
                <a:lnTo>
                  <a:pt x="1711" y="3359"/>
                </a:lnTo>
                <a:lnTo>
                  <a:pt x="1710" y="3359"/>
                </a:lnTo>
                <a:lnTo>
                  <a:pt x="1708" y="3359"/>
                </a:lnTo>
                <a:lnTo>
                  <a:pt x="1708" y="3365"/>
                </a:lnTo>
                <a:lnTo>
                  <a:pt x="1707" y="3365"/>
                </a:lnTo>
                <a:lnTo>
                  <a:pt x="1704" y="3364"/>
                </a:lnTo>
                <a:lnTo>
                  <a:pt x="1703" y="3364"/>
                </a:lnTo>
                <a:lnTo>
                  <a:pt x="1703" y="3363"/>
                </a:lnTo>
                <a:lnTo>
                  <a:pt x="1706" y="3362"/>
                </a:lnTo>
                <a:lnTo>
                  <a:pt x="1702" y="3363"/>
                </a:lnTo>
                <a:lnTo>
                  <a:pt x="1699" y="3362"/>
                </a:lnTo>
                <a:lnTo>
                  <a:pt x="1692" y="3362"/>
                </a:lnTo>
                <a:lnTo>
                  <a:pt x="1694" y="3368"/>
                </a:lnTo>
                <a:lnTo>
                  <a:pt x="1696" y="3373"/>
                </a:lnTo>
                <a:lnTo>
                  <a:pt x="1699" y="3384"/>
                </a:lnTo>
                <a:lnTo>
                  <a:pt x="1701" y="3388"/>
                </a:lnTo>
                <a:lnTo>
                  <a:pt x="1703" y="3390"/>
                </a:lnTo>
                <a:lnTo>
                  <a:pt x="1704" y="3392"/>
                </a:lnTo>
                <a:lnTo>
                  <a:pt x="1709" y="3396"/>
                </a:lnTo>
                <a:lnTo>
                  <a:pt x="1711" y="3397"/>
                </a:lnTo>
                <a:lnTo>
                  <a:pt x="1714" y="3398"/>
                </a:lnTo>
                <a:lnTo>
                  <a:pt x="1720" y="3399"/>
                </a:lnTo>
                <a:lnTo>
                  <a:pt x="1723" y="3399"/>
                </a:lnTo>
                <a:lnTo>
                  <a:pt x="1722" y="3398"/>
                </a:lnTo>
                <a:lnTo>
                  <a:pt x="1715" y="3394"/>
                </a:lnTo>
                <a:lnTo>
                  <a:pt x="1709" y="3390"/>
                </a:lnTo>
                <a:lnTo>
                  <a:pt x="1707" y="3388"/>
                </a:lnTo>
                <a:lnTo>
                  <a:pt x="1707" y="3387"/>
                </a:lnTo>
                <a:lnTo>
                  <a:pt x="1708" y="3387"/>
                </a:lnTo>
                <a:lnTo>
                  <a:pt x="1709" y="3386"/>
                </a:lnTo>
                <a:lnTo>
                  <a:pt x="1711" y="3386"/>
                </a:lnTo>
                <a:lnTo>
                  <a:pt x="1717" y="3387"/>
                </a:lnTo>
                <a:lnTo>
                  <a:pt x="1717" y="3383"/>
                </a:lnTo>
                <a:lnTo>
                  <a:pt x="1717" y="3379"/>
                </a:lnTo>
                <a:lnTo>
                  <a:pt x="1717" y="3374"/>
                </a:lnTo>
                <a:lnTo>
                  <a:pt x="1717" y="3370"/>
                </a:lnTo>
                <a:lnTo>
                  <a:pt x="1714" y="3368"/>
                </a:lnTo>
                <a:lnTo>
                  <a:pt x="1712" y="3367"/>
                </a:lnTo>
                <a:lnTo>
                  <a:pt x="1712" y="3366"/>
                </a:lnTo>
                <a:lnTo>
                  <a:pt x="1711" y="3365"/>
                </a:lnTo>
                <a:lnTo>
                  <a:pt x="1713" y="3365"/>
                </a:lnTo>
                <a:lnTo>
                  <a:pt x="1715" y="3364"/>
                </a:lnTo>
                <a:lnTo>
                  <a:pt x="1718" y="3363"/>
                </a:lnTo>
                <a:lnTo>
                  <a:pt x="1720" y="3362"/>
                </a:lnTo>
                <a:lnTo>
                  <a:pt x="1721" y="3362"/>
                </a:lnTo>
                <a:lnTo>
                  <a:pt x="1722" y="3362"/>
                </a:lnTo>
                <a:lnTo>
                  <a:pt x="1723" y="3364"/>
                </a:lnTo>
                <a:lnTo>
                  <a:pt x="1724" y="3365"/>
                </a:lnTo>
                <a:lnTo>
                  <a:pt x="1725" y="3366"/>
                </a:lnTo>
                <a:lnTo>
                  <a:pt x="1728" y="3367"/>
                </a:lnTo>
                <a:lnTo>
                  <a:pt x="1731" y="3363"/>
                </a:lnTo>
                <a:lnTo>
                  <a:pt x="1734" y="3359"/>
                </a:lnTo>
                <a:lnTo>
                  <a:pt x="1736" y="3359"/>
                </a:lnTo>
                <a:lnTo>
                  <a:pt x="1738" y="3359"/>
                </a:lnTo>
                <a:lnTo>
                  <a:pt x="1741" y="3361"/>
                </a:lnTo>
                <a:lnTo>
                  <a:pt x="1742" y="3362"/>
                </a:lnTo>
                <a:lnTo>
                  <a:pt x="1742" y="3363"/>
                </a:lnTo>
                <a:lnTo>
                  <a:pt x="1741" y="3364"/>
                </a:lnTo>
                <a:lnTo>
                  <a:pt x="1739" y="3365"/>
                </a:lnTo>
                <a:lnTo>
                  <a:pt x="1737" y="3368"/>
                </a:lnTo>
                <a:lnTo>
                  <a:pt x="1737" y="3367"/>
                </a:lnTo>
                <a:lnTo>
                  <a:pt x="1737" y="3366"/>
                </a:lnTo>
                <a:lnTo>
                  <a:pt x="1736" y="3364"/>
                </a:lnTo>
                <a:lnTo>
                  <a:pt x="1735" y="3364"/>
                </a:lnTo>
                <a:lnTo>
                  <a:pt x="1734" y="3365"/>
                </a:lnTo>
                <a:lnTo>
                  <a:pt x="1733" y="3367"/>
                </a:lnTo>
                <a:lnTo>
                  <a:pt x="1733" y="3370"/>
                </a:lnTo>
                <a:lnTo>
                  <a:pt x="1734" y="3376"/>
                </a:lnTo>
                <a:lnTo>
                  <a:pt x="1732" y="3375"/>
                </a:lnTo>
                <a:lnTo>
                  <a:pt x="1730" y="3373"/>
                </a:lnTo>
                <a:lnTo>
                  <a:pt x="1729" y="3371"/>
                </a:lnTo>
                <a:lnTo>
                  <a:pt x="1728" y="3370"/>
                </a:lnTo>
                <a:lnTo>
                  <a:pt x="1723" y="3374"/>
                </a:lnTo>
                <a:lnTo>
                  <a:pt x="1721" y="3376"/>
                </a:lnTo>
                <a:lnTo>
                  <a:pt x="1722" y="3376"/>
                </a:lnTo>
                <a:lnTo>
                  <a:pt x="1724" y="3387"/>
                </a:lnTo>
                <a:lnTo>
                  <a:pt x="1725" y="3396"/>
                </a:lnTo>
                <a:lnTo>
                  <a:pt x="1730" y="3395"/>
                </a:lnTo>
                <a:lnTo>
                  <a:pt x="1732" y="3396"/>
                </a:lnTo>
                <a:lnTo>
                  <a:pt x="1733" y="3397"/>
                </a:lnTo>
                <a:lnTo>
                  <a:pt x="1732" y="3398"/>
                </a:lnTo>
                <a:lnTo>
                  <a:pt x="1729" y="3398"/>
                </a:lnTo>
                <a:lnTo>
                  <a:pt x="1725" y="3398"/>
                </a:lnTo>
                <a:lnTo>
                  <a:pt x="1725" y="3403"/>
                </a:lnTo>
                <a:lnTo>
                  <a:pt x="1724" y="3406"/>
                </a:lnTo>
                <a:lnTo>
                  <a:pt x="1724" y="3409"/>
                </a:lnTo>
                <a:lnTo>
                  <a:pt x="1722" y="3412"/>
                </a:lnTo>
                <a:lnTo>
                  <a:pt x="1725" y="3414"/>
                </a:lnTo>
                <a:lnTo>
                  <a:pt x="1728" y="3415"/>
                </a:lnTo>
                <a:lnTo>
                  <a:pt x="1731" y="3415"/>
                </a:lnTo>
                <a:lnTo>
                  <a:pt x="1731" y="3416"/>
                </a:lnTo>
                <a:lnTo>
                  <a:pt x="1731" y="3415"/>
                </a:lnTo>
                <a:lnTo>
                  <a:pt x="1734" y="3415"/>
                </a:lnTo>
                <a:lnTo>
                  <a:pt x="1734" y="3421"/>
                </a:lnTo>
                <a:lnTo>
                  <a:pt x="1732" y="3420"/>
                </a:lnTo>
                <a:lnTo>
                  <a:pt x="1731" y="3421"/>
                </a:lnTo>
                <a:lnTo>
                  <a:pt x="1732" y="3422"/>
                </a:lnTo>
                <a:lnTo>
                  <a:pt x="1735" y="3423"/>
                </a:lnTo>
                <a:lnTo>
                  <a:pt x="1742" y="3427"/>
                </a:lnTo>
                <a:lnTo>
                  <a:pt x="1744" y="3426"/>
                </a:lnTo>
                <a:lnTo>
                  <a:pt x="1745" y="3425"/>
                </a:lnTo>
                <a:lnTo>
                  <a:pt x="1745" y="3424"/>
                </a:lnTo>
                <a:lnTo>
                  <a:pt x="1745" y="3422"/>
                </a:lnTo>
                <a:lnTo>
                  <a:pt x="1745" y="3421"/>
                </a:lnTo>
                <a:lnTo>
                  <a:pt x="1744" y="3420"/>
                </a:lnTo>
                <a:lnTo>
                  <a:pt x="1743" y="3419"/>
                </a:lnTo>
                <a:lnTo>
                  <a:pt x="1742" y="3418"/>
                </a:lnTo>
                <a:lnTo>
                  <a:pt x="1745" y="3410"/>
                </a:lnTo>
                <a:lnTo>
                  <a:pt x="1739" y="3409"/>
                </a:lnTo>
                <a:lnTo>
                  <a:pt x="1737" y="3408"/>
                </a:lnTo>
                <a:lnTo>
                  <a:pt x="1737" y="3407"/>
                </a:lnTo>
                <a:lnTo>
                  <a:pt x="1738" y="3406"/>
                </a:lnTo>
                <a:lnTo>
                  <a:pt x="1742" y="3404"/>
                </a:lnTo>
                <a:lnTo>
                  <a:pt x="1743" y="3404"/>
                </a:lnTo>
                <a:lnTo>
                  <a:pt x="1742" y="3404"/>
                </a:lnTo>
                <a:lnTo>
                  <a:pt x="1743" y="3402"/>
                </a:lnTo>
                <a:lnTo>
                  <a:pt x="1745" y="3401"/>
                </a:lnTo>
                <a:lnTo>
                  <a:pt x="1746" y="3401"/>
                </a:lnTo>
                <a:lnTo>
                  <a:pt x="1748" y="3401"/>
                </a:lnTo>
                <a:lnTo>
                  <a:pt x="1748" y="3403"/>
                </a:lnTo>
                <a:lnTo>
                  <a:pt x="1749" y="3407"/>
                </a:lnTo>
                <a:lnTo>
                  <a:pt x="1750" y="3410"/>
                </a:lnTo>
                <a:lnTo>
                  <a:pt x="1750" y="3412"/>
                </a:lnTo>
                <a:lnTo>
                  <a:pt x="1751" y="3412"/>
                </a:lnTo>
                <a:lnTo>
                  <a:pt x="1754" y="3414"/>
                </a:lnTo>
                <a:lnTo>
                  <a:pt x="1758" y="3414"/>
                </a:lnTo>
                <a:lnTo>
                  <a:pt x="1765" y="3415"/>
                </a:lnTo>
                <a:lnTo>
                  <a:pt x="1764" y="3419"/>
                </a:lnTo>
                <a:lnTo>
                  <a:pt x="1765" y="3424"/>
                </a:lnTo>
                <a:lnTo>
                  <a:pt x="1757" y="3421"/>
                </a:lnTo>
                <a:lnTo>
                  <a:pt x="1748" y="3418"/>
                </a:lnTo>
                <a:lnTo>
                  <a:pt x="1751" y="3423"/>
                </a:lnTo>
                <a:lnTo>
                  <a:pt x="1753" y="3429"/>
                </a:lnTo>
                <a:lnTo>
                  <a:pt x="1756" y="3429"/>
                </a:lnTo>
                <a:lnTo>
                  <a:pt x="1760" y="3428"/>
                </a:lnTo>
                <a:lnTo>
                  <a:pt x="1765" y="3427"/>
                </a:lnTo>
                <a:lnTo>
                  <a:pt x="1772" y="3427"/>
                </a:lnTo>
                <a:lnTo>
                  <a:pt x="1773" y="3427"/>
                </a:lnTo>
                <a:lnTo>
                  <a:pt x="1773" y="3428"/>
                </a:lnTo>
                <a:lnTo>
                  <a:pt x="1771" y="3429"/>
                </a:lnTo>
                <a:lnTo>
                  <a:pt x="1766" y="3431"/>
                </a:lnTo>
                <a:lnTo>
                  <a:pt x="1754" y="3434"/>
                </a:lnTo>
                <a:lnTo>
                  <a:pt x="1748" y="3435"/>
                </a:lnTo>
                <a:lnTo>
                  <a:pt x="1748" y="3443"/>
                </a:lnTo>
                <a:lnTo>
                  <a:pt x="1750" y="3443"/>
                </a:lnTo>
                <a:lnTo>
                  <a:pt x="1751" y="3443"/>
                </a:lnTo>
                <a:lnTo>
                  <a:pt x="1751" y="3442"/>
                </a:lnTo>
                <a:lnTo>
                  <a:pt x="1750" y="3440"/>
                </a:lnTo>
                <a:lnTo>
                  <a:pt x="1750" y="3439"/>
                </a:lnTo>
                <a:lnTo>
                  <a:pt x="1751" y="3438"/>
                </a:lnTo>
                <a:lnTo>
                  <a:pt x="1755" y="3439"/>
                </a:lnTo>
                <a:lnTo>
                  <a:pt x="1758" y="3439"/>
                </a:lnTo>
                <a:lnTo>
                  <a:pt x="1762" y="3440"/>
                </a:lnTo>
                <a:lnTo>
                  <a:pt x="1767" y="3441"/>
                </a:lnTo>
                <a:lnTo>
                  <a:pt x="1767" y="3446"/>
                </a:lnTo>
                <a:lnTo>
                  <a:pt x="1771" y="3446"/>
                </a:lnTo>
                <a:lnTo>
                  <a:pt x="1775" y="3446"/>
                </a:lnTo>
                <a:lnTo>
                  <a:pt x="1778" y="3446"/>
                </a:lnTo>
                <a:lnTo>
                  <a:pt x="1782" y="3446"/>
                </a:lnTo>
                <a:lnTo>
                  <a:pt x="1782" y="3447"/>
                </a:lnTo>
                <a:lnTo>
                  <a:pt x="1782" y="3449"/>
                </a:lnTo>
                <a:lnTo>
                  <a:pt x="1782" y="3450"/>
                </a:lnTo>
                <a:lnTo>
                  <a:pt x="1784" y="3452"/>
                </a:lnTo>
                <a:lnTo>
                  <a:pt x="1790" y="3449"/>
                </a:lnTo>
                <a:lnTo>
                  <a:pt x="1790" y="3450"/>
                </a:lnTo>
                <a:lnTo>
                  <a:pt x="1790" y="3452"/>
                </a:lnTo>
                <a:lnTo>
                  <a:pt x="1790" y="3453"/>
                </a:lnTo>
                <a:lnTo>
                  <a:pt x="1788" y="3454"/>
                </a:lnTo>
                <a:lnTo>
                  <a:pt x="1786" y="3454"/>
                </a:lnTo>
                <a:lnTo>
                  <a:pt x="1782" y="3455"/>
                </a:lnTo>
                <a:lnTo>
                  <a:pt x="1785" y="3459"/>
                </a:lnTo>
                <a:lnTo>
                  <a:pt x="1787" y="3463"/>
                </a:lnTo>
                <a:lnTo>
                  <a:pt x="1790" y="3464"/>
                </a:lnTo>
                <a:lnTo>
                  <a:pt x="1793" y="3464"/>
                </a:lnTo>
                <a:lnTo>
                  <a:pt x="1796" y="3466"/>
                </a:lnTo>
                <a:lnTo>
                  <a:pt x="1799" y="3466"/>
                </a:lnTo>
                <a:lnTo>
                  <a:pt x="1800" y="3466"/>
                </a:lnTo>
                <a:lnTo>
                  <a:pt x="1801" y="3465"/>
                </a:lnTo>
                <a:lnTo>
                  <a:pt x="1800" y="3463"/>
                </a:lnTo>
                <a:lnTo>
                  <a:pt x="1799" y="3462"/>
                </a:lnTo>
                <a:lnTo>
                  <a:pt x="1799" y="3460"/>
                </a:lnTo>
                <a:lnTo>
                  <a:pt x="1799" y="3459"/>
                </a:lnTo>
                <a:lnTo>
                  <a:pt x="1800" y="3458"/>
                </a:lnTo>
                <a:lnTo>
                  <a:pt x="1801" y="3457"/>
                </a:lnTo>
                <a:lnTo>
                  <a:pt x="1803" y="3457"/>
                </a:lnTo>
                <a:lnTo>
                  <a:pt x="1806" y="3457"/>
                </a:lnTo>
                <a:lnTo>
                  <a:pt x="1812" y="3458"/>
                </a:lnTo>
                <a:lnTo>
                  <a:pt x="1814" y="3458"/>
                </a:lnTo>
                <a:lnTo>
                  <a:pt x="1815" y="3458"/>
                </a:lnTo>
                <a:lnTo>
                  <a:pt x="1815" y="3457"/>
                </a:lnTo>
                <a:lnTo>
                  <a:pt x="1812" y="3455"/>
                </a:lnTo>
                <a:lnTo>
                  <a:pt x="1812" y="3449"/>
                </a:lnTo>
                <a:lnTo>
                  <a:pt x="1807" y="3448"/>
                </a:lnTo>
                <a:lnTo>
                  <a:pt x="1804" y="3446"/>
                </a:lnTo>
                <a:lnTo>
                  <a:pt x="1807" y="3447"/>
                </a:lnTo>
                <a:lnTo>
                  <a:pt x="1810" y="3446"/>
                </a:lnTo>
                <a:lnTo>
                  <a:pt x="1813" y="3446"/>
                </a:lnTo>
                <a:lnTo>
                  <a:pt x="1814" y="3446"/>
                </a:lnTo>
                <a:lnTo>
                  <a:pt x="1815" y="3446"/>
                </a:lnTo>
                <a:lnTo>
                  <a:pt x="1824" y="3460"/>
                </a:lnTo>
                <a:lnTo>
                  <a:pt x="1829" y="3460"/>
                </a:lnTo>
                <a:lnTo>
                  <a:pt x="1831" y="3459"/>
                </a:lnTo>
                <a:lnTo>
                  <a:pt x="1831" y="3457"/>
                </a:lnTo>
                <a:lnTo>
                  <a:pt x="1833" y="3455"/>
                </a:lnTo>
                <a:lnTo>
                  <a:pt x="1835" y="3455"/>
                </a:lnTo>
                <a:lnTo>
                  <a:pt x="1836" y="3450"/>
                </a:lnTo>
                <a:lnTo>
                  <a:pt x="1836" y="3448"/>
                </a:lnTo>
                <a:lnTo>
                  <a:pt x="1838" y="3446"/>
                </a:lnTo>
                <a:lnTo>
                  <a:pt x="1840" y="3445"/>
                </a:lnTo>
                <a:lnTo>
                  <a:pt x="1842" y="3445"/>
                </a:lnTo>
                <a:lnTo>
                  <a:pt x="1846" y="3444"/>
                </a:lnTo>
                <a:lnTo>
                  <a:pt x="1851" y="3444"/>
                </a:lnTo>
                <a:lnTo>
                  <a:pt x="1855" y="3444"/>
                </a:lnTo>
                <a:lnTo>
                  <a:pt x="1862" y="3446"/>
                </a:lnTo>
                <a:lnTo>
                  <a:pt x="1866" y="3446"/>
                </a:lnTo>
                <a:lnTo>
                  <a:pt x="1869" y="3446"/>
                </a:lnTo>
                <a:lnTo>
                  <a:pt x="1868" y="3445"/>
                </a:lnTo>
                <a:lnTo>
                  <a:pt x="1867" y="3442"/>
                </a:lnTo>
                <a:lnTo>
                  <a:pt x="1867" y="3439"/>
                </a:lnTo>
                <a:lnTo>
                  <a:pt x="1866" y="3438"/>
                </a:lnTo>
                <a:lnTo>
                  <a:pt x="1863" y="3437"/>
                </a:lnTo>
                <a:lnTo>
                  <a:pt x="1861" y="3436"/>
                </a:lnTo>
                <a:lnTo>
                  <a:pt x="1855" y="3436"/>
                </a:lnTo>
                <a:lnTo>
                  <a:pt x="1849" y="3436"/>
                </a:lnTo>
                <a:lnTo>
                  <a:pt x="1846" y="3436"/>
                </a:lnTo>
                <a:lnTo>
                  <a:pt x="1843" y="3435"/>
                </a:lnTo>
                <a:lnTo>
                  <a:pt x="1815" y="3410"/>
                </a:lnTo>
                <a:lnTo>
                  <a:pt x="1815" y="3407"/>
                </a:lnTo>
                <a:lnTo>
                  <a:pt x="1814" y="3404"/>
                </a:lnTo>
                <a:lnTo>
                  <a:pt x="1815" y="3398"/>
                </a:lnTo>
                <a:lnTo>
                  <a:pt x="1815" y="3393"/>
                </a:lnTo>
                <a:lnTo>
                  <a:pt x="1816" y="3391"/>
                </a:lnTo>
                <a:lnTo>
                  <a:pt x="1815" y="3390"/>
                </a:lnTo>
                <a:lnTo>
                  <a:pt x="1810" y="3387"/>
                </a:lnTo>
                <a:lnTo>
                  <a:pt x="1793" y="3382"/>
                </a:lnTo>
                <a:lnTo>
                  <a:pt x="1794" y="3380"/>
                </a:lnTo>
                <a:lnTo>
                  <a:pt x="1796" y="3376"/>
                </a:lnTo>
                <a:lnTo>
                  <a:pt x="1797" y="3373"/>
                </a:lnTo>
                <a:lnTo>
                  <a:pt x="1798" y="3370"/>
                </a:lnTo>
                <a:lnTo>
                  <a:pt x="1803" y="3370"/>
                </a:lnTo>
                <a:lnTo>
                  <a:pt x="1804" y="3371"/>
                </a:lnTo>
                <a:lnTo>
                  <a:pt x="1805" y="3371"/>
                </a:lnTo>
                <a:lnTo>
                  <a:pt x="1805" y="3372"/>
                </a:lnTo>
                <a:lnTo>
                  <a:pt x="1804" y="3373"/>
                </a:lnTo>
                <a:lnTo>
                  <a:pt x="1812" y="3373"/>
                </a:lnTo>
                <a:lnTo>
                  <a:pt x="1811" y="3372"/>
                </a:lnTo>
                <a:lnTo>
                  <a:pt x="1811" y="3368"/>
                </a:lnTo>
                <a:lnTo>
                  <a:pt x="1810" y="3359"/>
                </a:lnTo>
                <a:lnTo>
                  <a:pt x="1798" y="3359"/>
                </a:lnTo>
                <a:lnTo>
                  <a:pt x="1800" y="3358"/>
                </a:lnTo>
                <a:lnTo>
                  <a:pt x="1802" y="3357"/>
                </a:lnTo>
                <a:lnTo>
                  <a:pt x="1802" y="3356"/>
                </a:lnTo>
                <a:lnTo>
                  <a:pt x="1803" y="3355"/>
                </a:lnTo>
                <a:lnTo>
                  <a:pt x="1803" y="3351"/>
                </a:lnTo>
                <a:lnTo>
                  <a:pt x="1803" y="3347"/>
                </a:lnTo>
                <a:lnTo>
                  <a:pt x="1802" y="3343"/>
                </a:lnTo>
                <a:lnTo>
                  <a:pt x="1802" y="3338"/>
                </a:lnTo>
                <a:lnTo>
                  <a:pt x="1802" y="3336"/>
                </a:lnTo>
                <a:lnTo>
                  <a:pt x="1802" y="3334"/>
                </a:lnTo>
                <a:lnTo>
                  <a:pt x="1803" y="3333"/>
                </a:lnTo>
                <a:lnTo>
                  <a:pt x="1804" y="3331"/>
                </a:lnTo>
                <a:lnTo>
                  <a:pt x="1805" y="3330"/>
                </a:lnTo>
                <a:lnTo>
                  <a:pt x="1806" y="3329"/>
                </a:lnTo>
                <a:lnTo>
                  <a:pt x="1810" y="3328"/>
                </a:lnTo>
                <a:lnTo>
                  <a:pt x="1813" y="3327"/>
                </a:lnTo>
                <a:lnTo>
                  <a:pt x="1815" y="3325"/>
                </a:lnTo>
                <a:lnTo>
                  <a:pt x="1813" y="3321"/>
                </a:lnTo>
                <a:lnTo>
                  <a:pt x="1812" y="3320"/>
                </a:lnTo>
                <a:lnTo>
                  <a:pt x="1810" y="3319"/>
                </a:lnTo>
                <a:lnTo>
                  <a:pt x="1807" y="3317"/>
                </a:lnTo>
                <a:lnTo>
                  <a:pt x="1808" y="3314"/>
                </a:lnTo>
                <a:lnTo>
                  <a:pt x="1809" y="3311"/>
                </a:lnTo>
                <a:lnTo>
                  <a:pt x="1810" y="3309"/>
                </a:lnTo>
                <a:lnTo>
                  <a:pt x="1810" y="3306"/>
                </a:lnTo>
                <a:lnTo>
                  <a:pt x="1813" y="3308"/>
                </a:lnTo>
                <a:lnTo>
                  <a:pt x="1814" y="3310"/>
                </a:lnTo>
                <a:lnTo>
                  <a:pt x="1815" y="3311"/>
                </a:lnTo>
                <a:lnTo>
                  <a:pt x="1815" y="3317"/>
                </a:lnTo>
                <a:lnTo>
                  <a:pt x="1823" y="3314"/>
                </a:lnTo>
                <a:lnTo>
                  <a:pt x="1826" y="3314"/>
                </a:lnTo>
                <a:lnTo>
                  <a:pt x="1829" y="3314"/>
                </a:lnTo>
                <a:lnTo>
                  <a:pt x="1829" y="3308"/>
                </a:lnTo>
                <a:lnTo>
                  <a:pt x="1829" y="3303"/>
                </a:lnTo>
                <a:lnTo>
                  <a:pt x="1829" y="3299"/>
                </a:lnTo>
                <a:lnTo>
                  <a:pt x="1830" y="3295"/>
                </a:lnTo>
                <a:lnTo>
                  <a:pt x="1831" y="3291"/>
                </a:lnTo>
                <a:lnTo>
                  <a:pt x="1833" y="3287"/>
                </a:lnTo>
                <a:lnTo>
                  <a:pt x="1835" y="3284"/>
                </a:lnTo>
                <a:lnTo>
                  <a:pt x="1838" y="3281"/>
                </a:lnTo>
                <a:lnTo>
                  <a:pt x="1843" y="3275"/>
                </a:lnTo>
                <a:lnTo>
                  <a:pt x="1850" y="3270"/>
                </a:lnTo>
                <a:lnTo>
                  <a:pt x="1866" y="3258"/>
                </a:lnTo>
                <a:lnTo>
                  <a:pt x="1864" y="3256"/>
                </a:lnTo>
                <a:lnTo>
                  <a:pt x="1862" y="3254"/>
                </a:lnTo>
                <a:lnTo>
                  <a:pt x="1861" y="3252"/>
                </a:lnTo>
                <a:lnTo>
                  <a:pt x="1860" y="3251"/>
                </a:lnTo>
                <a:lnTo>
                  <a:pt x="1860" y="3248"/>
                </a:lnTo>
                <a:lnTo>
                  <a:pt x="1861" y="3245"/>
                </a:lnTo>
                <a:lnTo>
                  <a:pt x="1862" y="3242"/>
                </a:lnTo>
                <a:lnTo>
                  <a:pt x="1862" y="3239"/>
                </a:lnTo>
                <a:lnTo>
                  <a:pt x="1861" y="3237"/>
                </a:lnTo>
                <a:lnTo>
                  <a:pt x="1861" y="3236"/>
                </a:lnTo>
                <a:lnTo>
                  <a:pt x="1859" y="3234"/>
                </a:lnTo>
                <a:lnTo>
                  <a:pt x="1857" y="3232"/>
                </a:lnTo>
                <a:lnTo>
                  <a:pt x="1856" y="3232"/>
                </a:lnTo>
                <a:lnTo>
                  <a:pt x="1855" y="3232"/>
                </a:lnTo>
                <a:lnTo>
                  <a:pt x="1852" y="3232"/>
                </a:lnTo>
                <a:lnTo>
                  <a:pt x="1849" y="3233"/>
                </a:lnTo>
                <a:lnTo>
                  <a:pt x="1846" y="3232"/>
                </a:lnTo>
                <a:lnTo>
                  <a:pt x="1845" y="3231"/>
                </a:lnTo>
                <a:lnTo>
                  <a:pt x="1843" y="3228"/>
                </a:lnTo>
                <a:lnTo>
                  <a:pt x="1841" y="3224"/>
                </a:lnTo>
                <a:lnTo>
                  <a:pt x="1835" y="3219"/>
                </a:lnTo>
                <a:lnTo>
                  <a:pt x="1831" y="3215"/>
                </a:lnTo>
                <a:lnTo>
                  <a:pt x="1830" y="3213"/>
                </a:lnTo>
                <a:lnTo>
                  <a:pt x="1830" y="3212"/>
                </a:lnTo>
                <a:lnTo>
                  <a:pt x="1829" y="3208"/>
                </a:lnTo>
                <a:lnTo>
                  <a:pt x="1830" y="3207"/>
                </a:lnTo>
                <a:lnTo>
                  <a:pt x="1831" y="3205"/>
                </a:lnTo>
                <a:lnTo>
                  <a:pt x="1832" y="3203"/>
                </a:lnTo>
                <a:lnTo>
                  <a:pt x="1833" y="3201"/>
                </a:lnTo>
                <a:lnTo>
                  <a:pt x="1841" y="3193"/>
                </a:lnTo>
                <a:lnTo>
                  <a:pt x="1855" y="3176"/>
                </a:lnTo>
                <a:lnTo>
                  <a:pt x="1857" y="3176"/>
                </a:lnTo>
                <a:lnTo>
                  <a:pt x="1859" y="3176"/>
                </a:lnTo>
                <a:lnTo>
                  <a:pt x="1863" y="3178"/>
                </a:lnTo>
                <a:lnTo>
                  <a:pt x="1866" y="3179"/>
                </a:lnTo>
                <a:lnTo>
                  <a:pt x="1867" y="3180"/>
                </a:lnTo>
                <a:lnTo>
                  <a:pt x="1869" y="3179"/>
                </a:lnTo>
                <a:lnTo>
                  <a:pt x="1869" y="3175"/>
                </a:lnTo>
                <a:lnTo>
                  <a:pt x="1869" y="3171"/>
                </a:lnTo>
                <a:lnTo>
                  <a:pt x="1868" y="3171"/>
                </a:lnTo>
                <a:lnTo>
                  <a:pt x="1867" y="3171"/>
                </a:lnTo>
                <a:lnTo>
                  <a:pt x="1866" y="3169"/>
                </a:lnTo>
                <a:lnTo>
                  <a:pt x="1865" y="3167"/>
                </a:lnTo>
                <a:lnTo>
                  <a:pt x="1865" y="3166"/>
                </a:lnTo>
                <a:lnTo>
                  <a:pt x="1866" y="3165"/>
                </a:lnTo>
                <a:lnTo>
                  <a:pt x="1868" y="3164"/>
                </a:lnTo>
                <a:lnTo>
                  <a:pt x="1869" y="3163"/>
                </a:lnTo>
                <a:lnTo>
                  <a:pt x="1874" y="3162"/>
                </a:lnTo>
                <a:lnTo>
                  <a:pt x="1875" y="3144"/>
                </a:lnTo>
                <a:lnTo>
                  <a:pt x="1875" y="3140"/>
                </a:lnTo>
                <a:lnTo>
                  <a:pt x="1875" y="3136"/>
                </a:lnTo>
                <a:lnTo>
                  <a:pt x="1876" y="3132"/>
                </a:lnTo>
                <a:lnTo>
                  <a:pt x="1877" y="3128"/>
                </a:lnTo>
                <a:lnTo>
                  <a:pt x="1883" y="3126"/>
                </a:lnTo>
                <a:lnTo>
                  <a:pt x="1885" y="3125"/>
                </a:lnTo>
                <a:lnTo>
                  <a:pt x="1888" y="3124"/>
                </a:lnTo>
                <a:lnTo>
                  <a:pt x="1889" y="3123"/>
                </a:lnTo>
                <a:lnTo>
                  <a:pt x="1890" y="3121"/>
                </a:lnTo>
                <a:lnTo>
                  <a:pt x="1890" y="3120"/>
                </a:lnTo>
                <a:lnTo>
                  <a:pt x="1889" y="3119"/>
                </a:lnTo>
                <a:lnTo>
                  <a:pt x="1888" y="3118"/>
                </a:lnTo>
                <a:lnTo>
                  <a:pt x="1885" y="3117"/>
                </a:lnTo>
                <a:lnTo>
                  <a:pt x="1880" y="3117"/>
                </a:lnTo>
                <a:lnTo>
                  <a:pt x="1882" y="3114"/>
                </a:lnTo>
                <a:lnTo>
                  <a:pt x="1883" y="3112"/>
                </a:lnTo>
                <a:lnTo>
                  <a:pt x="1883" y="3111"/>
                </a:lnTo>
                <a:lnTo>
                  <a:pt x="1885" y="3112"/>
                </a:lnTo>
                <a:lnTo>
                  <a:pt x="1888" y="3112"/>
                </a:lnTo>
                <a:lnTo>
                  <a:pt x="1891" y="3111"/>
                </a:lnTo>
                <a:lnTo>
                  <a:pt x="1894" y="3111"/>
                </a:lnTo>
                <a:lnTo>
                  <a:pt x="1896" y="3113"/>
                </a:lnTo>
                <a:lnTo>
                  <a:pt x="1897" y="3114"/>
                </a:lnTo>
                <a:lnTo>
                  <a:pt x="1898" y="3118"/>
                </a:lnTo>
                <a:lnTo>
                  <a:pt x="1899" y="3119"/>
                </a:lnTo>
                <a:lnTo>
                  <a:pt x="1900" y="3119"/>
                </a:lnTo>
                <a:lnTo>
                  <a:pt x="1902" y="3119"/>
                </a:lnTo>
                <a:lnTo>
                  <a:pt x="1905" y="3117"/>
                </a:lnTo>
                <a:lnTo>
                  <a:pt x="1907" y="3116"/>
                </a:lnTo>
                <a:lnTo>
                  <a:pt x="1907" y="3114"/>
                </a:lnTo>
                <a:lnTo>
                  <a:pt x="1907" y="3112"/>
                </a:lnTo>
                <a:lnTo>
                  <a:pt x="1907" y="3110"/>
                </a:lnTo>
                <a:lnTo>
                  <a:pt x="1906" y="3107"/>
                </a:lnTo>
                <a:lnTo>
                  <a:pt x="1905" y="3105"/>
                </a:lnTo>
                <a:lnTo>
                  <a:pt x="1905" y="3103"/>
                </a:lnTo>
                <a:lnTo>
                  <a:pt x="1901" y="3105"/>
                </a:lnTo>
                <a:lnTo>
                  <a:pt x="1897" y="3106"/>
                </a:lnTo>
                <a:lnTo>
                  <a:pt x="1894" y="3106"/>
                </a:lnTo>
                <a:lnTo>
                  <a:pt x="1888" y="3104"/>
                </a:lnTo>
                <a:lnTo>
                  <a:pt x="1883" y="3103"/>
                </a:lnTo>
                <a:lnTo>
                  <a:pt x="1883" y="3089"/>
                </a:lnTo>
                <a:lnTo>
                  <a:pt x="1882" y="3088"/>
                </a:lnTo>
                <a:lnTo>
                  <a:pt x="1879" y="3087"/>
                </a:lnTo>
                <a:lnTo>
                  <a:pt x="1877" y="3087"/>
                </a:lnTo>
                <a:lnTo>
                  <a:pt x="1874" y="3086"/>
                </a:lnTo>
                <a:lnTo>
                  <a:pt x="1880" y="3066"/>
                </a:lnTo>
                <a:lnTo>
                  <a:pt x="1881" y="3067"/>
                </a:lnTo>
                <a:lnTo>
                  <a:pt x="1883" y="3068"/>
                </a:lnTo>
                <a:lnTo>
                  <a:pt x="1886" y="3068"/>
                </a:lnTo>
                <a:lnTo>
                  <a:pt x="1888" y="3068"/>
                </a:lnTo>
                <a:lnTo>
                  <a:pt x="1890" y="3068"/>
                </a:lnTo>
                <a:lnTo>
                  <a:pt x="1891" y="3069"/>
                </a:lnTo>
                <a:lnTo>
                  <a:pt x="1893" y="3071"/>
                </a:lnTo>
                <a:lnTo>
                  <a:pt x="1893" y="3073"/>
                </a:lnTo>
                <a:lnTo>
                  <a:pt x="1893" y="3075"/>
                </a:lnTo>
                <a:lnTo>
                  <a:pt x="1894" y="3078"/>
                </a:lnTo>
                <a:lnTo>
                  <a:pt x="1903" y="3078"/>
                </a:lnTo>
                <a:lnTo>
                  <a:pt x="1909" y="3078"/>
                </a:lnTo>
                <a:lnTo>
                  <a:pt x="1911" y="3078"/>
                </a:lnTo>
                <a:lnTo>
                  <a:pt x="1913" y="3076"/>
                </a:lnTo>
                <a:lnTo>
                  <a:pt x="1919" y="3072"/>
                </a:lnTo>
                <a:lnTo>
                  <a:pt x="1924" y="3069"/>
                </a:lnTo>
                <a:lnTo>
                  <a:pt x="1926" y="3068"/>
                </a:lnTo>
                <a:lnTo>
                  <a:pt x="1928" y="3066"/>
                </a:lnTo>
                <a:lnTo>
                  <a:pt x="1929" y="3050"/>
                </a:lnTo>
                <a:lnTo>
                  <a:pt x="1930" y="3038"/>
                </a:lnTo>
                <a:lnTo>
                  <a:pt x="1931" y="3030"/>
                </a:lnTo>
                <a:lnTo>
                  <a:pt x="1926" y="3027"/>
                </a:lnTo>
                <a:lnTo>
                  <a:pt x="1922" y="3024"/>
                </a:lnTo>
                <a:lnTo>
                  <a:pt x="1922" y="3022"/>
                </a:lnTo>
                <a:lnTo>
                  <a:pt x="1922" y="3020"/>
                </a:lnTo>
                <a:lnTo>
                  <a:pt x="1923" y="3017"/>
                </a:lnTo>
                <a:lnTo>
                  <a:pt x="1925" y="3015"/>
                </a:lnTo>
                <a:lnTo>
                  <a:pt x="1925" y="3014"/>
                </a:lnTo>
                <a:lnTo>
                  <a:pt x="1925" y="3013"/>
                </a:lnTo>
                <a:lnTo>
                  <a:pt x="1927" y="3015"/>
                </a:lnTo>
                <a:lnTo>
                  <a:pt x="1929" y="3017"/>
                </a:lnTo>
                <a:lnTo>
                  <a:pt x="1931" y="3020"/>
                </a:lnTo>
                <a:lnTo>
                  <a:pt x="1933" y="3021"/>
                </a:lnTo>
                <a:lnTo>
                  <a:pt x="1935" y="3021"/>
                </a:lnTo>
                <a:lnTo>
                  <a:pt x="1938" y="3019"/>
                </a:lnTo>
                <a:lnTo>
                  <a:pt x="1942" y="3016"/>
                </a:lnTo>
                <a:lnTo>
                  <a:pt x="1951" y="3014"/>
                </a:lnTo>
                <a:lnTo>
                  <a:pt x="1959" y="3013"/>
                </a:lnTo>
                <a:lnTo>
                  <a:pt x="1974" y="3011"/>
                </a:lnTo>
                <a:lnTo>
                  <a:pt x="1981" y="3010"/>
                </a:lnTo>
                <a:lnTo>
                  <a:pt x="1987" y="3008"/>
                </a:lnTo>
                <a:lnTo>
                  <a:pt x="1994" y="3005"/>
                </a:lnTo>
                <a:lnTo>
                  <a:pt x="2001" y="3002"/>
                </a:lnTo>
                <a:lnTo>
                  <a:pt x="2004" y="3000"/>
                </a:lnTo>
                <a:lnTo>
                  <a:pt x="2007" y="2997"/>
                </a:lnTo>
                <a:lnTo>
                  <a:pt x="2009" y="2995"/>
                </a:lnTo>
                <a:lnTo>
                  <a:pt x="2011" y="2992"/>
                </a:lnTo>
                <a:lnTo>
                  <a:pt x="2015" y="2987"/>
                </a:lnTo>
                <a:lnTo>
                  <a:pt x="2018" y="2981"/>
                </a:lnTo>
                <a:lnTo>
                  <a:pt x="2020" y="2974"/>
                </a:lnTo>
                <a:lnTo>
                  <a:pt x="2022" y="2967"/>
                </a:lnTo>
                <a:lnTo>
                  <a:pt x="2026" y="2951"/>
                </a:lnTo>
                <a:lnTo>
                  <a:pt x="2024" y="2950"/>
                </a:lnTo>
                <a:lnTo>
                  <a:pt x="2022" y="2950"/>
                </a:lnTo>
                <a:lnTo>
                  <a:pt x="2018" y="2949"/>
                </a:lnTo>
                <a:lnTo>
                  <a:pt x="2014" y="2948"/>
                </a:lnTo>
                <a:lnTo>
                  <a:pt x="2013" y="2947"/>
                </a:lnTo>
                <a:lnTo>
                  <a:pt x="2012" y="2945"/>
                </a:lnTo>
                <a:lnTo>
                  <a:pt x="2011" y="2943"/>
                </a:lnTo>
                <a:lnTo>
                  <a:pt x="2011" y="2940"/>
                </a:lnTo>
                <a:lnTo>
                  <a:pt x="2012" y="2938"/>
                </a:lnTo>
                <a:lnTo>
                  <a:pt x="2013" y="2936"/>
                </a:lnTo>
                <a:lnTo>
                  <a:pt x="2015" y="2933"/>
                </a:lnTo>
                <a:lnTo>
                  <a:pt x="2015" y="2931"/>
                </a:lnTo>
                <a:lnTo>
                  <a:pt x="2015" y="2929"/>
                </a:lnTo>
                <a:lnTo>
                  <a:pt x="2014" y="2927"/>
                </a:lnTo>
                <a:lnTo>
                  <a:pt x="2012" y="2924"/>
                </a:lnTo>
                <a:lnTo>
                  <a:pt x="2007" y="2919"/>
                </a:lnTo>
                <a:lnTo>
                  <a:pt x="2002" y="2914"/>
                </a:lnTo>
                <a:lnTo>
                  <a:pt x="1998" y="2909"/>
                </a:lnTo>
                <a:lnTo>
                  <a:pt x="1993" y="2899"/>
                </a:lnTo>
                <a:lnTo>
                  <a:pt x="1990" y="2892"/>
                </a:lnTo>
                <a:lnTo>
                  <a:pt x="1990" y="2890"/>
                </a:lnTo>
                <a:lnTo>
                  <a:pt x="1990" y="2889"/>
                </a:lnTo>
                <a:lnTo>
                  <a:pt x="1991" y="2889"/>
                </a:lnTo>
                <a:lnTo>
                  <a:pt x="1992" y="2888"/>
                </a:lnTo>
                <a:lnTo>
                  <a:pt x="1993" y="2886"/>
                </a:lnTo>
                <a:lnTo>
                  <a:pt x="1993" y="2884"/>
                </a:lnTo>
                <a:lnTo>
                  <a:pt x="1993" y="2879"/>
                </a:lnTo>
                <a:lnTo>
                  <a:pt x="1992" y="2875"/>
                </a:lnTo>
                <a:lnTo>
                  <a:pt x="1995" y="2869"/>
                </a:lnTo>
                <a:lnTo>
                  <a:pt x="1994" y="2869"/>
                </a:lnTo>
                <a:lnTo>
                  <a:pt x="1994" y="2867"/>
                </a:lnTo>
                <a:lnTo>
                  <a:pt x="1995" y="2866"/>
                </a:lnTo>
                <a:lnTo>
                  <a:pt x="1995" y="2865"/>
                </a:lnTo>
                <a:lnTo>
                  <a:pt x="1998" y="2861"/>
                </a:lnTo>
                <a:lnTo>
                  <a:pt x="1999" y="2863"/>
                </a:lnTo>
                <a:lnTo>
                  <a:pt x="2001" y="2868"/>
                </a:lnTo>
                <a:lnTo>
                  <a:pt x="2001" y="2870"/>
                </a:lnTo>
                <a:lnTo>
                  <a:pt x="2001" y="2872"/>
                </a:lnTo>
                <a:lnTo>
                  <a:pt x="2000" y="2873"/>
                </a:lnTo>
                <a:lnTo>
                  <a:pt x="1998" y="2872"/>
                </a:lnTo>
                <a:lnTo>
                  <a:pt x="1999" y="2888"/>
                </a:lnTo>
                <a:lnTo>
                  <a:pt x="2001" y="2900"/>
                </a:lnTo>
                <a:lnTo>
                  <a:pt x="2004" y="2901"/>
                </a:lnTo>
                <a:lnTo>
                  <a:pt x="2008" y="2902"/>
                </a:lnTo>
                <a:lnTo>
                  <a:pt x="2011" y="2902"/>
                </a:lnTo>
                <a:lnTo>
                  <a:pt x="2013" y="2902"/>
                </a:lnTo>
                <a:lnTo>
                  <a:pt x="2015" y="2903"/>
                </a:lnTo>
                <a:lnTo>
                  <a:pt x="2016" y="2905"/>
                </a:lnTo>
                <a:lnTo>
                  <a:pt x="2018" y="2907"/>
                </a:lnTo>
                <a:lnTo>
                  <a:pt x="2019" y="2910"/>
                </a:lnTo>
                <a:lnTo>
                  <a:pt x="2021" y="2912"/>
                </a:lnTo>
                <a:lnTo>
                  <a:pt x="2025" y="2914"/>
                </a:lnTo>
                <a:lnTo>
                  <a:pt x="2029" y="2915"/>
                </a:lnTo>
                <a:lnTo>
                  <a:pt x="2032" y="2916"/>
                </a:lnTo>
                <a:lnTo>
                  <a:pt x="2035" y="2916"/>
                </a:lnTo>
                <a:lnTo>
                  <a:pt x="2041" y="2914"/>
                </a:lnTo>
                <a:lnTo>
                  <a:pt x="2049" y="2912"/>
                </a:lnTo>
                <a:lnTo>
                  <a:pt x="2055" y="2914"/>
                </a:lnTo>
                <a:lnTo>
                  <a:pt x="2061" y="2915"/>
                </a:lnTo>
                <a:lnTo>
                  <a:pt x="2063" y="2915"/>
                </a:lnTo>
                <a:lnTo>
                  <a:pt x="2066" y="2915"/>
                </a:lnTo>
                <a:lnTo>
                  <a:pt x="2068" y="2913"/>
                </a:lnTo>
                <a:lnTo>
                  <a:pt x="2071" y="2911"/>
                </a:lnTo>
                <a:lnTo>
                  <a:pt x="2078" y="2903"/>
                </a:lnTo>
                <a:lnTo>
                  <a:pt x="2086" y="2892"/>
                </a:lnTo>
                <a:lnTo>
                  <a:pt x="2093" y="2881"/>
                </a:lnTo>
                <a:close/>
                <a:moveTo>
                  <a:pt x="1759" y="1684"/>
                </a:moveTo>
                <a:lnTo>
                  <a:pt x="1760" y="1687"/>
                </a:lnTo>
                <a:lnTo>
                  <a:pt x="1761" y="1689"/>
                </a:lnTo>
                <a:lnTo>
                  <a:pt x="1761" y="1690"/>
                </a:lnTo>
                <a:lnTo>
                  <a:pt x="1762" y="1691"/>
                </a:lnTo>
                <a:lnTo>
                  <a:pt x="1765" y="1692"/>
                </a:lnTo>
                <a:lnTo>
                  <a:pt x="1765" y="1690"/>
                </a:lnTo>
                <a:lnTo>
                  <a:pt x="1767" y="1689"/>
                </a:lnTo>
                <a:lnTo>
                  <a:pt x="1770" y="1687"/>
                </a:lnTo>
                <a:lnTo>
                  <a:pt x="1768" y="1681"/>
                </a:lnTo>
                <a:lnTo>
                  <a:pt x="1767" y="1679"/>
                </a:lnTo>
                <a:lnTo>
                  <a:pt x="1767" y="1676"/>
                </a:lnTo>
                <a:lnTo>
                  <a:pt x="1779" y="1681"/>
                </a:lnTo>
                <a:lnTo>
                  <a:pt x="1782" y="1683"/>
                </a:lnTo>
                <a:lnTo>
                  <a:pt x="1784" y="1684"/>
                </a:lnTo>
                <a:lnTo>
                  <a:pt x="1787" y="1684"/>
                </a:lnTo>
                <a:lnTo>
                  <a:pt x="1788" y="1683"/>
                </a:lnTo>
                <a:lnTo>
                  <a:pt x="1790" y="1680"/>
                </a:lnTo>
                <a:lnTo>
                  <a:pt x="1793" y="1676"/>
                </a:lnTo>
                <a:lnTo>
                  <a:pt x="1810" y="1676"/>
                </a:lnTo>
                <a:lnTo>
                  <a:pt x="1809" y="1676"/>
                </a:lnTo>
                <a:lnTo>
                  <a:pt x="1812" y="1677"/>
                </a:lnTo>
                <a:lnTo>
                  <a:pt x="1818" y="1678"/>
                </a:lnTo>
                <a:lnTo>
                  <a:pt x="1816" y="1673"/>
                </a:lnTo>
                <a:lnTo>
                  <a:pt x="1815" y="1669"/>
                </a:lnTo>
                <a:lnTo>
                  <a:pt x="1813" y="1665"/>
                </a:lnTo>
                <a:lnTo>
                  <a:pt x="1812" y="1663"/>
                </a:lnTo>
                <a:lnTo>
                  <a:pt x="1810" y="1662"/>
                </a:lnTo>
                <a:lnTo>
                  <a:pt x="1808" y="1662"/>
                </a:lnTo>
                <a:lnTo>
                  <a:pt x="1804" y="1662"/>
                </a:lnTo>
                <a:lnTo>
                  <a:pt x="1800" y="1662"/>
                </a:lnTo>
                <a:lnTo>
                  <a:pt x="1798" y="1662"/>
                </a:lnTo>
                <a:lnTo>
                  <a:pt x="1796" y="1662"/>
                </a:lnTo>
                <a:lnTo>
                  <a:pt x="1793" y="1660"/>
                </a:lnTo>
                <a:lnTo>
                  <a:pt x="1791" y="1659"/>
                </a:lnTo>
                <a:lnTo>
                  <a:pt x="1786" y="1654"/>
                </a:lnTo>
                <a:lnTo>
                  <a:pt x="1781" y="1650"/>
                </a:lnTo>
                <a:lnTo>
                  <a:pt x="1778" y="1648"/>
                </a:lnTo>
                <a:lnTo>
                  <a:pt x="1776" y="1647"/>
                </a:lnTo>
                <a:lnTo>
                  <a:pt x="1770" y="1647"/>
                </a:lnTo>
                <a:lnTo>
                  <a:pt x="1764" y="1647"/>
                </a:lnTo>
                <a:lnTo>
                  <a:pt x="1758" y="1647"/>
                </a:lnTo>
                <a:lnTo>
                  <a:pt x="1752" y="1647"/>
                </a:lnTo>
                <a:lnTo>
                  <a:pt x="1742" y="1648"/>
                </a:lnTo>
                <a:lnTo>
                  <a:pt x="1736" y="1648"/>
                </a:lnTo>
                <a:lnTo>
                  <a:pt x="1731" y="1647"/>
                </a:lnTo>
                <a:lnTo>
                  <a:pt x="1734" y="1649"/>
                </a:lnTo>
                <a:lnTo>
                  <a:pt x="1739" y="1650"/>
                </a:lnTo>
                <a:lnTo>
                  <a:pt x="1737" y="1655"/>
                </a:lnTo>
                <a:lnTo>
                  <a:pt x="1737" y="1657"/>
                </a:lnTo>
                <a:lnTo>
                  <a:pt x="1737" y="1659"/>
                </a:lnTo>
                <a:lnTo>
                  <a:pt x="1738" y="1662"/>
                </a:lnTo>
                <a:lnTo>
                  <a:pt x="1739" y="1664"/>
                </a:lnTo>
                <a:lnTo>
                  <a:pt x="1739" y="1667"/>
                </a:lnTo>
                <a:lnTo>
                  <a:pt x="1742" y="1667"/>
                </a:lnTo>
                <a:lnTo>
                  <a:pt x="1743" y="1668"/>
                </a:lnTo>
                <a:lnTo>
                  <a:pt x="1744" y="1670"/>
                </a:lnTo>
                <a:lnTo>
                  <a:pt x="1744" y="1672"/>
                </a:lnTo>
                <a:lnTo>
                  <a:pt x="1743" y="1676"/>
                </a:lnTo>
                <a:lnTo>
                  <a:pt x="1742" y="1678"/>
                </a:lnTo>
                <a:lnTo>
                  <a:pt x="1722" y="1676"/>
                </a:lnTo>
                <a:lnTo>
                  <a:pt x="1718" y="1675"/>
                </a:lnTo>
                <a:lnTo>
                  <a:pt x="1715" y="1673"/>
                </a:lnTo>
                <a:lnTo>
                  <a:pt x="1708" y="1670"/>
                </a:lnTo>
                <a:lnTo>
                  <a:pt x="1706" y="1681"/>
                </a:lnTo>
                <a:lnTo>
                  <a:pt x="1710" y="1683"/>
                </a:lnTo>
                <a:lnTo>
                  <a:pt x="1712" y="1684"/>
                </a:lnTo>
                <a:lnTo>
                  <a:pt x="1711" y="1684"/>
                </a:lnTo>
                <a:lnTo>
                  <a:pt x="1759" y="1684"/>
                </a:lnTo>
                <a:close/>
                <a:moveTo>
                  <a:pt x="3045" y="1071"/>
                </a:moveTo>
                <a:lnTo>
                  <a:pt x="3037" y="1071"/>
                </a:lnTo>
                <a:lnTo>
                  <a:pt x="3030" y="1071"/>
                </a:lnTo>
                <a:lnTo>
                  <a:pt x="3022" y="1070"/>
                </a:lnTo>
                <a:lnTo>
                  <a:pt x="3014" y="1069"/>
                </a:lnTo>
                <a:lnTo>
                  <a:pt x="2997" y="1067"/>
                </a:lnTo>
                <a:lnTo>
                  <a:pt x="2981" y="1065"/>
                </a:lnTo>
                <a:lnTo>
                  <a:pt x="2971" y="1065"/>
                </a:lnTo>
                <a:lnTo>
                  <a:pt x="2961" y="1066"/>
                </a:lnTo>
                <a:lnTo>
                  <a:pt x="2956" y="1066"/>
                </a:lnTo>
                <a:lnTo>
                  <a:pt x="2951" y="1066"/>
                </a:lnTo>
                <a:lnTo>
                  <a:pt x="2946" y="1066"/>
                </a:lnTo>
                <a:lnTo>
                  <a:pt x="2941" y="1065"/>
                </a:lnTo>
                <a:lnTo>
                  <a:pt x="2938" y="1062"/>
                </a:lnTo>
                <a:lnTo>
                  <a:pt x="2935" y="1060"/>
                </a:lnTo>
                <a:lnTo>
                  <a:pt x="2933" y="1059"/>
                </a:lnTo>
                <a:lnTo>
                  <a:pt x="2930" y="1060"/>
                </a:lnTo>
                <a:lnTo>
                  <a:pt x="2928" y="1061"/>
                </a:lnTo>
                <a:lnTo>
                  <a:pt x="2925" y="1063"/>
                </a:lnTo>
                <a:lnTo>
                  <a:pt x="2923" y="1065"/>
                </a:lnTo>
                <a:lnTo>
                  <a:pt x="2920" y="1069"/>
                </a:lnTo>
                <a:lnTo>
                  <a:pt x="2919" y="1071"/>
                </a:lnTo>
                <a:lnTo>
                  <a:pt x="2917" y="1071"/>
                </a:lnTo>
                <a:lnTo>
                  <a:pt x="2915" y="1071"/>
                </a:lnTo>
                <a:lnTo>
                  <a:pt x="2912" y="1071"/>
                </a:lnTo>
                <a:lnTo>
                  <a:pt x="2908" y="1070"/>
                </a:lnTo>
                <a:lnTo>
                  <a:pt x="2905" y="1071"/>
                </a:lnTo>
                <a:lnTo>
                  <a:pt x="2903" y="1072"/>
                </a:lnTo>
                <a:lnTo>
                  <a:pt x="2900" y="1075"/>
                </a:lnTo>
                <a:lnTo>
                  <a:pt x="2898" y="1077"/>
                </a:lnTo>
                <a:lnTo>
                  <a:pt x="2897" y="1078"/>
                </a:lnTo>
                <a:lnTo>
                  <a:pt x="2896" y="1079"/>
                </a:lnTo>
                <a:lnTo>
                  <a:pt x="2900" y="1086"/>
                </a:lnTo>
                <a:lnTo>
                  <a:pt x="2902" y="1090"/>
                </a:lnTo>
                <a:lnTo>
                  <a:pt x="2904" y="1095"/>
                </a:lnTo>
                <a:lnTo>
                  <a:pt x="2904" y="1099"/>
                </a:lnTo>
                <a:lnTo>
                  <a:pt x="2905" y="1103"/>
                </a:lnTo>
                <a:lnTo>
                  <a:pt x="2905" y="1108"/>
                </a:lnTo>
                <a:lnTo>
                  <a:pt x="2907" y="1115"/>
                </a:lnTo>
                <a:lnTo>
                  <a:pt x="2909" y="1124"/>
                </a:lnTo>
                <a:lnTo>
                  <a:pt x="2910" y="1129"/>
                </a:lnTo>
                <a:lnTo>
                  <a:pt x="2911" y="1134"/>
                </a:lnTo>
                <a:lnTo>
                  <a:pt x="2911" y="1139"/>
                </a:lnTo>
                <a:lnTo>
                  <a:pt x="2910" y="1144"/>
                </a:lnTo>
                <a:lnTo>
                  <a:pt x="2905" y="1147"/>
                </a:lnTo>
                <a:lnTo>
                  <a:pt x="2903" y="1153"/>
                </a:lnTo>
                <a:lnTo>
                  <a:pt x="2901" y="1159"/>
                </a:lnTo>
                <a:lnTo>
                  <a:pt x="2899" y="1169"/>
                </a:lnTo>
                <a:lnTo>
                  <a:pt x="2896" y="1169"/>
                </a:lnTo>
                <a:lnTo>
                  <a:pt x="2896" y="1173"/>
                </a:lnTo>
                <a:lnTo>
                  <a:pt x="2896" y="1178"/>
                </a:lnTo>
                <a:lnTo>
                  <a:pt x="2896" y="1186"/>
                </a:lnTo>
                <a:lnTo>
                  <a:pt x="2899" y="1184"/>
                </a:lnTo>
                <a:lnTo>
                  <a:pt x="2901" y="1183"/>
                </a:lnTo>
                <a:lnTo>
                  <a:pt x="2902" y="1183"/>
                </a:lnTo>
                <a:lnTo>
                  <a:pt x="2902" y="1185"/>
                </a:lnTo>
                <a:lnTo>
                  <a:pt x="2902" y="1187"/>
                </a:lnTo>
                <a:lnTo>
                  <a:pt x="2901" y="1189"/>
                </a:lnTo>
                <a:lnTo>
                  <a:pt x="2899" y="1191"/>
                </a:lnTo>
                <a:lnTo>
                  <a:pt x="2899" y="1192"/>
                </a:lnTo>
                <a:lnTo>
                  <a:pt x="2899" y="1195"/>
                </a:lnTo>
                <a:lnTo>
                  <a:pt x="2905" y="1200"/>
                </a:lnTo>
                <a:lnTo>
                  <a:pt x="2905" y="1204"/>
                </a:lnTo>
                <a:lnTo>
                  <a:pt x="2906" y="1207"/>
                </a:lnTo>
                <a:lnTo>
                  <a:pt x="2905" y="1214"/>
                </a:lnTo>
                <a:lnTo>
                  <a:pt x="2903" y="1221"/>
                </a:lnTo>
                <a:lnTo>
                  <a:pt x="2902" y="1228"/>
                </a:lnTo>
                <a:lnTo>
                  <a:pt x="2911" y="1229"/>
                </a:lnTo>
                <a:lnTo>
                  <a:pt x="2921" y="1229"/>
                </a:lnTo>
                <a:lnTo>
                  <a:pt x="2931" y="1228"/>
                </a:lnTo>
                <a:lnTo>
                  <a:pt x="2936" y="1227"/>
                </a:lnTo>
                <a:lnTo>
                  <a:pt x="2941" y="1225"/>
                </a:lnTo>
                <a:lnTo>
                  <a:pt x="2950" y="1238"/>
                </a:lnTo>
                <a:lnTo>
                  <a:pt x="2958" y="1251"/>
                </a:lnTo>
                <a:lnTo>
                  <a:pt x="2965" y="1249"/>
                </a:lnTo>
                <a:lnTo>
                  <a:pt x="2971" y="1248"/>
                </a:lnTo>
                <a:lnTo>
                  <a:pt x="2977" y="1247"/>
                </a:lnTo>
                <a:lnTo>
                  <a:pt x="2980" y="1246"/>
                </a:lnTo>
                <a:lnTo>
                  <a:pt x="2984" y="1245"/>
                </a:lnTo>
                <a:lnTo>
                  <a:pt x="2986" y="1240"/>
                </a:lnTo>
                <a:lnTo>
                  <a:pt x="2989" y="1239"/>
                </a:lnTo>
                <a:lnTo>
                  <a:pt x="2991" y="1239"/>
                </a:lnTo>
                <a:lnTo>
                  <a:pt x="2995" y="1239"/>
                </a:lnTo>
                <a:lnTo>
                  <a:pt x="3004" y="1241"/>
                </a:lnTo>
                <a:lnTo>
                  <a:pt x="3008" y="1242"/>
                </a:lnTo>
                <a:lnTo>
                  <a:pt x="3013" y="1243"/>
                </a:lnTo>
                <a:lnTo>
                  <a:pt x="3017" y="1242"/>
                </a:lnTo>
                <a:lnTo>
                  <a:pt x="3023" y="1240"/>
                </a:lnTo>
                <a:lnTo>
                  <a:pt x="3023" y="1237"/>
                </a:lnTo>
                <a:lnTo>
                  <a:pt x="3025" y="1235"/>
                </a:lnTo>
                <a:lnTo>
                  <a:pt x="3026" y="1233"/>
                </a:lnTo>
                <a:lnTo>
                  <a:pt x="3029" y="1229"/>
                </a:lnTo>
                <a:lnTo>
                  <a:pt x="3031" y="1224"/>
                </a:lnTo>
                <a:lnTo>
                  <a:pt x="3033" y="1221"/>
                </a:lnTo>
                <a:lnTo>
                  <a:pt x="3034" y="1220"/>
                </a:lnTo>
                <a:lnTo>
                  <a:pt x="3039" y="1217"/>
                </a:lnTo>
                <a:lnTo>
                  <a:pt x="3044" y="1216"/>
                </a:lnTo>
                <a:lnTo>
                  <a:pt x="3050" y="1214"/>
                </a:lnTo>
                <a:lnTo>
                  <a:pt x="3052" y="1213"/>
                </a:lnTo>
                <a:lnTo>
                  <a:pt x="3054" y="1211"/>
                </a:lnTo>
                <a:lnTo>
                  <a:pt x="3054" y="1210"/>
                </a:lnTo>
                <a:lnTo>
                  <a:pt x="3054" y="1209"/>
                </a:lnTo>
                <a:lnTo>
                  <a:pt x="3054" y="1206"/>
                </a:lnTo>
                <a:lnTo>
                  <a:pt x="3054" y="1203"/>
                </a:lnTo>
                <a:lnTo>
                  <a:pt x="3054" y="1200"/>
                </a:lnTo>
                <a:lnTo>
                  <a:pt x="3056" y="1197"/>
                </a:lnTo>
                <a:lnTo>
                  <a:pt x="3060" y="1193"/>
                </a:lnTo>
                <a:lnTo>
                  <a:pt x="3068" y="1186"/>
                </a:lnTo>
                <a:lnTo>
                  <a:pt x="3071" y="1183"/>
                </a:lnTo>
                <a:lnTo>
                  <a:pt x="3071" y="1180"/>
                </a:lnTo>
                <a:lnTo>
                  <a:pt x="3070" y="1178"/>
                </a:lnTo>
                <a:lnTo>
                  <a:pt x="3067" y="1175"/>
                </a:lnTo>
                <a:lnTo>
                  <a:pt x="3066" y="1173"/>
                </a:lnTo>
                <a:lnTo>
                  <a:pt x="3065" y="1170"/>
                </a:lnTo>
                <a:lnTo>
                  <a:pt x="3065" y="1167"/>
                </a:lnTo>
                <a:lnTo>
                  <a:pt x="3065" y="1164"/>
                </a:lnTo>
                <a:lnTo>
                  <a:pt x="3066" y="1162"/>
                </a:lnTo>
                <a:lnTo>
                  <a:pt x="3069" y="1161"/>
                </a:lnTo>
                <a:lnTo>
                  <a:pt x="3072" y="1159"/>
                </a:lnTo>
                <a:lnTo>
                  <a:pt x="3074" y="1158"/>
                </a:lnTo>
                <a:lnTo>
                  <a:pt x="3079" y="1149"/>
                </a:lnTo>
                <a:lnTo>
                  <a:pt x="3085" y="1140"/>
                </a:lnTo>
                <a:lnTo>
                  <a:pt x="3088" y="1135"/>
                </a:lnTo>
                <a:lnTo>
                  <a:pt x="3091" y="1131"/>
                </a:lnTo>
                <a:lnTo>
                  <a:pt x="3095" y="1127"/>
                </a:lnTo>
                <a:lnTo>
                  <a:pt x="3099" y="1124"/>
                </a:lnTo>
                <a:lnTo>
                  <a:pt x="3105" y="1121"/>
                </a:lnTo>
                <a:lnTo>
                  <a:pt x="3114" y="1118"/>
                </a:lnTo>
                <a:lnTo>
                  <a:pt x="3122" y="1114"/>
                </a:lnTo>
                <a:lnTo>
                  <a:pt x="3125" y="1112"/>
                </a:lnTo>
                <a:lnTo>
                  <a:pt x="3127" y="1110"/>
                </a:lnTo>
                <a:lnTo>
                  <a:pt x="3128" y="1106"/>
                </a:lnTo>
                <a:lnTo>
                  <a:pt x="3128" y="1101"/>
                </a:lnTo>
                <a:lnTo>
                  <a:pt x="3127" y="1090"/>
                </a:lnTo>
                <a:lnTo>
                  <a:pt x="3126" y="1087"/>
                </a:lnTo>
                <a:lnTo>
                  <a:pt x="3126" y="1084"/>
                </a:lnTo>
                <a:lnTo>
                  <a:pt x="3126" y="1082"/>
                </a:lnTo>
                <a:lnTo>
                  <a:pt x="3127" y="1079"/>
                </a:lnTo>
                <a:lnTo>
                  <a:pt x="3128" y="1077"/>
                </a:lnTo>
                <a:lnTo>
                  <a:pt x="3131" y="1075"/>
                </a:lnTo>
                <a:lnTo>
                  <a:pt x="3134" y="1073"/>
                </a:lnTo>
                <a:lnTo>
                  <a:pt x="3135" y="1071"/>
                </a:lnTo>
                <a:lnTo>
                  <a:pt x="3139" y="1070"/>
                </a:lnTo>
                <a:lnTo>
                  <a:pt x="3142" y="1069"/>
                </a:lnTo>
                <a:lnTo>
                  <a:pt x="3145" y="1068"/>
                </a:lnTo>
                <a:lnTo>
                  <a:pt x="3149" y="1068"/>
                </a:lnTo>
                <a:lnTo>
                  <a:pt x="3152" y="1068"/>
                </a:lnTo>
                <a:lnTo>
                  <a:pt x="3154" y="1069"/>
                </a:lnTo>
                <a:lnTo>
                  <a:pt x="3158" y="1071"/>
                </a:lnTo>
                <a:lnTo>
                  <a:pt x="3166" y="1075"/>
                </a:lnTo>
                <a:lnTo>
                  <a:pt x="3171" y="1078"/>
                </a:lnTo>
                <a:lnTo>
                  <a:pt x="3173" y="1079"/>
                </a:lnTo>
                <a:lnTo>
                  <a:pt x="3175" y="1079"/>
                </a:lnTo>
                <a:lnTo>
                  <a:pt x="3178" y="1080"/>
                </a:lnTo>
                <a:lnTo>
                  <a:pt x="3180" y="1080"/>
                </a:lnTo>
                <a:lnTo>
                  <a:pt x="3186" y="1079"/>
                </a:lnTo>
                <a:lnTo>
                  <a:pt x="3188" y="1078"/>
                </a:lnTo>
                <a:lnTo>
                  <a:pt x="3189" y="1076"/>
                </a:lnTo>
                <a:lnTo>
                  <a:pt x="3193" y="1071"/>
                </a:lnTo>
                <a:lnTo>
                  <a:pt x="3195" y="1067"/>
                </a:lnTo>
                <a:lnTo>
                  <a:pt x="3196" y="1066"/>
                </a:lnTo>
                <a:lnTo>
                  <a:pt x="3197" y="1065"/>
                </a:lnTo>
                <a:lnTo>
                  <a:pt x="3199" y="1064"/>
                </a:lnTo>
                <a:lnTo>
                  <a:pt x="3201" y="1064"/>
                </a:lnTo>
                <a:lnTo>
                  <a:pt x="3206" y="1064"/>
                </a:lnTo>
                <a:lnTo>
                  <a:pt x="3210" y="1064"/>
                </a:lnTo>
                <a:lnTo>
                  <a:pt x="3214" y="1062"/>
                </a:lnTo>
                <a:lnTo>
                  <a:pt x="3216" y="1061"/>
                </a:lnTo>
                <a:lnTo>
                  <a:pt x="3217" y="1059"/>
                </a:lnTo>
                <a:lnTo>
                  <a:pt x="3218" y="1055"/>
                </a:lnTo>
                <a:lnTo>
                  <a:pt x="3219" y="1053"/>
                </a:lnTo>
                <a:lnTo>
                  <a:pt x="3220" y="1051"/>
                </a:lnTo>
                <a:lnTo>
                  <a:pt x="3221" y="1049"/>
                </a:lnTo>
                <a:lnTo>
                  <a:pt x="3223" y="1048"/>
                </a:lnTo>
                <a:lnTo>
                  <a:pt x="3223" y="1045"/>
                </a:lnTo>
                <a:lnTo>
                  <a:pt x="3225" y="1045"/>
                </a:lnTo>
                <a:lnTo>
                  <a:pt x="3228" y="1046"/>
                </a:lnTo>
                <a:lnTo>
                  <a:pt x="3231" y="1046"/>
                </a:lnTo>
                <a:lnTo>
                  <a:pt x="3233" y="1046"/>
                </a:lnTo>
                <a:lnTo>
                  <a:pt x="3234" y="1045"/>
                </a:lnTo>
                <a:lnTo>
                  <a:pt x="3239" y="1049"/>
                </a:lnTo>
                <a:lnTo>
                  <a:pt x="3243" y="1052"/>
                </a:lnTo>
                <a:lnTo>
                  <a:pt x="3247" y="1056"/>
                </a:lnTo>
                <a:lnTo>
                  <a:pt x="3250" y="1059"/>
                </a:lnTo>
                <a:lnTo>
                  <a:pt x="3253" y="1063"/>
                </a:lnTo>
                <a:lnTo>
                  <a:pt x="3255" y="1067"/>
                </a:lnTo>
                <a:lnTo>
                  <a:pt x="3259" y="1076"/>
                </a:lnTo>
                <a:lnTo>
                  <a:pt x="3263" y="1085"/>
                </a:lnTo>
                <a:lnTo>
                  <a:pt x="3267" y="1094"/>
                </a:lnTo>
                <a:lnTo>
                  <a:pt x="3272" y="1102"/>
                </a:lnTo>
                <a:lnTo>
                  <a:pt x="3275" y="1106"/>
                </a:lnTo>
                <a:lnTo>
                  <a:pt x="3279" y="1110"/>
                </a:lnTo>
                <a:lnTo>
                  <a:pt x="3284" y="1110"/>
                </a:lnTo>
                <a:lnTo>
                  <a:pt x="3294" y="1121"/>
                </a:lnTo>
                <a:lnTo>
                  <a:pt x="3302" y="1128"/>
                </a:lnTo>
                <a:lnTo>
                  <a:pt x="3305" y="1131"/>
                </a:lnTo>
                <a:lnTo>
                  <a:pt x="3307" y="1133"/>
                </a:lnTo>
                <a:lnTo>
                  <a:pt x="3313" y="1135"/>
                </a:lnTo>
                <a:lnTo>
                  <a:pt x="3319" y="1136"/>
                </a:lnTo>
                <a:lnTo>
                  <a:pt x="3324" y="1138"/>
                </a:lnTo>
                <a:lnTo>
                  <a:pt x="3327" y="1139"/>
                </a:lnTo>
                <a:lnTo>
                  <a:pt x="3329" y="1141"/>
                </a:lnTo>
                <a:lnTo>
                  <a:pt x="3329" y="1147"/>
                </a:lnTo>
                <a:lnTo>
                  <a:pt x="3335" y="1147"/>
                </a:lnTo>
                <a:lnTo>
                  <a:pt x="3337" y="1148"/>
                </a:lnTo>
                <a:lnTo>
                  <a:pt x="3337" y="1149"/>
                </a:lnTo>
                <a:lnTo>
                  <a:pt x="3338" y="1150"/>
                </a:lnTo>
                <a:lnTo>
                  <a:pt x="3338" y="1151"/>
                </a:lnTo>
                <a:lnTo>
                  <a:pt x="3338" y="1154"/>
                </a:lnTo>
                <a:lnTo>
                  <a:pt x="3337" y="1156"/>
                </a:lnTo>
                <a:lnTo>
                  <a:pt x="3338" y="1158"/>
                </a:lnTo>
                <a:lnTo>
                  <a:pt x="3340" y="1159"/>
                </a:lnTo>
                <a:lnTo>
                  <a:pt x="3342" y="1160"/>
                </a:lnTo>
                <a:lnTo>
                  <a:pt x="3347" y="1162"/>
                </a:lnTo>
                <a:lnTo>
                  <a:pt x="3351" y="1163"/>
                </a:lnTo>
                <a:lnTo>
                  <a:pt x="3353" y="1165"/>
                </a:lnTo>
                <a:lnTo>
                  <a:pt x="3355" y="1166"/>
                </a:lnTo>
                <a:lnTo>
                  <a:pt x="3356" y="1169"/>
                </a:lnTo>
                <a:lnTo>
                  <a:pt x="3357" y="1173"/>
                </a:lnTo>
                <a:lnTo>
                  <a:pt x="3358" y="1184"/>
                </a:lnTo>
                <a:lnTo>
                  <a:pt x="3358" y="1189"/>
                </a:lnTo>
                <a:lnTo>
                  <a:pt x="3358" y="1193"/>
                </a:lnTo>
                <a:lnTo>
                  <a:pt x="3357" y="1194"/>
                </a:lnTo>
                <a:lnTo>
                  <a:pt x="3357" y="1195"/>
                </a:lnTo>
                <a:lnTo>
                  <a:pt x="3356" y="1195"/>
                </a:lnTo>
                <a:lnTo>
                  <a:pt x="3355" y="1195"/>
                </a:lnTo>
                <a:lnTo>
                  <a:pt x="3354" y="1197"/>
                </a:lnTo>
                <a:lnTo>
                  <a:pt x="3353" y="1199"/>
                </a:lnTo>
                <a:lnTo>
                  <a:pt x="3353" y="1203"/>
                </a:lnTo>
                <a:lnTo>
                  <a:pt x="3352" y="1211"/>
                </a:lnTo>
                <a:lnTo>
                  <a:pt x="3345" y="1212"/>
                </a:lnTo>
                <a:lnTo>
                  <a:pt x="3338" y="1213"/>
                </a:lnTo>
                <a:lnTo>
                  <a:pt x="3330" y="1213"/>
                </a:lnTo>
                <a:lnTo>
                  <a:pt x="3322" y="1213"/>
                </a:lnTo>
                <a:lnTo>
                  <a:pt x="3307" y="1212"/>
                </a:lnTo>
                <a:lnTo>
                  <a:pt x="3296" y="1211"/>
                </a:lnTo>
                <a:lnTo>
                  <a:pt x="3296" y="1212"/>
                </a:lnTo>
                <a:lnTo>
                  <a:pt x="3297" y="1213"/>
                </a:lnTo>
                <a:lnTo>
                  <a:pt x="3297" y="1216"/>
                </a:lnTo>
                <a:lnTo>
                  <a:pt x="3298" y="1218"/>
                </a:lnTo>
                <a:lnTo>
                  <a:pt x="3298" y="1219"/>
                </a:lnTo>
                <a:lnTo>
                  <a:pt x="3299" y="1220"/>
                </a:lnTo>
                <a:lnTo>
                  <a:pt x="3303" y="1223"/>
                </a:lnTo>
                <a:lnTo>
                  <a:pt x="3308" y="1226"/>
                </a:lnTo>
                <a:lnTo>
                  <a:pt x="3319" y="1232"/>
                </a:lnTo>
                <a:lnTo>
                  <a:pt x="3341" y="1242"/>
                </a:lnTo>
                <a:lnTo>
                  <a:pt x="3342" y="1235"/>
                </a:lnTo>
                <a:lnTo>
                  <a:pt x="3344" y="1226"/>
                </a:lnTo>
                <a:lnTo>
                  <a:pt x="3344" y="1219"/>
                </a:lnTo>
                <a:lnTo>
                  <a:pt x="3344" y="1218"/>
                </a:lnTo>
                <a:lnTo>
                  <a:pt x="3344" y="1220"/>
                </a:lnTo>
                <a:lnTo>
                  <a:pt x="3344" y="1214"/>
                </a:lnTo>
                <a:lnTo>
                  <a:pt x="3345" y="1214"/>
                </a:lnTo>
                <a:lnTo>
                  <a:pt x="3347" y="1214"/>
                </a:lnTo>
                <a:lnTo>
                  <a:pt x="3352" y="1214"/>
                </a:lnTo>
                <a:lnTo>
                  <a:pt x="3360" y="1217"/>
                </a:lnTo>
                <a:lnTo>
                  <a:pt x="3371" y="1198"/>
                </a:lnTo>
                <a:lnTo>
                  <a:pt x="3374" y="1193"/>
                </a:lnTo>
                <a:lnTo>
                  <a:pt x="3376" y="1187"/>
                </a:lnTo>
                <a:lnTo>
                  <a:pt x="3378" y="1182"/>
                </a:lnTo>
                <a:lnTo>
                  <a:pt x="3378" y="1180"/>
                </a:lnTo>
                <a:lnTo>
                  <a:pt x="3377" y="1178"/>
                </a:lnTo>
                <a:lnTo>
                  <a:pt x="3376" y="1176"/>
                </a:lnTo>
                <a:lnTo>
                  <a:pt x="3373" y="1174"/>
                </a:lnTo>
                <a:lnTo>
                  <a:pt x="3370" y="1171"/>
                </a:lnTo>
                <a:lnTo>
                  <a:pt x="3369" y="1169"/>
                </a:lnTo>
                <a:lnTo>
                  <a:pt x="3368" y="1164"/>
                </a:lnTo>
                <a:lnTo>
                  <a:pt x="3369" y="1161"/>
                </a:lnTo>
                <a:lnTo>
                  <a:pt x="3370" y="1158"/>
                </a:lnTo>
                <a:lnTo>
                  <a:pt x="3371" y="1155"/>
                </a:lnTo>
                <a:lnTo>
                  <a:pt x="3373" y="1152"/>
                </a:lnTo>
                <a:lnTo>
                  <a:pt x="3374" y="1151"/>
                </a:lnTo>
                <a:lnTo>
                  <a:pt x="3376" y="1151"/>
                </a:lnTo>
                <a:lnTo>
                  <a:pt x="3379" y="1151"/>
                </a:lnTo>
                <a:lnTo>
                  <a:pt x="3382" y="1152"/>
                </a:lnTo>
                <a:lnTo>
                  <a:pt x="3386" y="1154"/>
                </a:lnTo>
                <a:lnTo>
                  <a:pt x="3394" y="1158"/>
                </a:lnTo>
                <a:lnTo>
                  <a:pt x="3394" y="1164"/>
                </a:lnTo>
                <a:lnTo>
                  <a:pt x="3396" y="1164"/>
                </a:lnTo>
                <a:lnTo>
                  <a:pt x="3398" y="1164"/>
                </a:lnTo>
                <a:lnTo>
                  <a:pt x="3398" y="1163"/>
                </a:lnTo>
                <a:lnTo>
                  <a:pt x="3399" y="1162"/>
                </a:lnTo>
                <a:lnTo>
                  <a:pt x="3399" y="1159"/>
                </a:lnTo>
                <a:lnTo>
                  <a:pt x="3398" y="1155"/>
                </a:lnTo>
                <a:lnTo>
                  <a:pt x="3394" y="1148"/>
                </a:lnTo>
                <a:lnTo>
                  <a:pt x="3391" y="1144"/>
                </a:lnTo>
                <a:lnTo>
                  <a:pt x="3388" y="1141"/>
                </a:lnTo>
                <a:lnTo>
                  <a:pt x="3385" y="1138"/>
                </a:lnTo>
                <a:lnTo>
                  <a:pt x="3377" y="1133"/>
                </a:lnTo>
                <a:lnTo>
                  <a:pt x="3376" y="1132"/>
                </a:lnTo>
                <a:lnTo>
                  <a:pt x="3373" y="1132"/>
                </a:lnTo>
                <a:lnTo>
                  <a:pt x="3369" y="1133"/>
                </a:lnTo>
                <a:lnTo>
                  <a:pt x="3367" y="1130"/>
                </a:lnTo>
                <a:lnTo>
                  <a:pt x="3365" y="1128"/>
                </a:lnTo>
                <a:lnTo>
                  <a:pt x="3360" y="1124"/>
                </a:lnTo>
                <a:lnTo>
                  <a:pt x="3362" y="1123"/>
                </a:lnTo>
                <a:lnTo>
                  <a:pt x="3362" y="1122"/>
                </a:lnTo>
                <a:lnTo>
                  <a:pt x="3362" y="1118"/>
                </a:lnTo>
                <a:lnTo>
                  <a:pt x="3360" y="1113"/>
                </a:lnTo>
                <a:lnTo>
                  <a:pt x="3347" y="1111"/>
                </a:lnTo>
                <a:lnTo>
                  <a:pt x="3342" y="1110"/>
                </a:lnTo>
                <a:lnTo>
                  <a:pt x="3338" y="1109"/>
                </a:lnTo>
                <a:lnTo>
                  <a:pt x="3334" y="1107"/>
                </a:lnTo>
                <a:lnTo>
                  <a:pt x="3330" y="1104"/>
                </a:lnTo>
                <a:lnTo>
                  <a:pt x="3327" y="1100"/>
                </a:lnTo>
                <a:lnTo>
                  <a:pt x="3324" y="1096"/>
                </a:lnTo>
                <a:lnTo>
                  <a:pt x="3323" y="1094"/>
                </a:lnTo>
                <a:lnTo>
                  <a:pt x="3322" y="1091"/>
                </a:lnTo>
                <a:lnTo>
                  <a:pt x="3321" y="1087"/>
                </a:lnTo>
                <a:lnTo>
                  <a:pt x="3320" y="1082"/>
                </a:lnTo>
                <a:lnTo>
                  <a:pt x="3319" y="1079"/>
                </a:lnTo>
                <a:lnTo>
                  <a:pt x="3318" y="1076"/>
                </a:lnTo>
                <a:lnTo>
                  <a:pt x="3316" y="1073"/>
                </a:lnTo>
                <a:lnTo>
                  <a:pt x="3313" y="1070"/>
                </a:lnTo>
                <a:lnTo>
                  <a:pt x="3309" y="1067"/>
                </a:lnTo>
                <a:lnTo>
                  <a:pt x="3304" y="1064"/>
                </a:lnTo>
                <a:lnTo>
                  <a:pt x="3295" y="1058"/>
                </a:lnTo>
                <a:lnTo>
                  <a:pt x="3287" y="1054"/>
                </a:lnTo>
                <a:lnTo>
                  <a:pt x="3288" y="1051"/>
                </a:lnTo>
                <a:lnTo>
                  <a:pt x="3287" y="1048"/>
                </a:lnTo>
                <a:lnTo>
                  <a:pt x="3287" y="1045"/>
                </a:lnTo>
                <a:lnTo>
                  <a:pt x="3287" y="1043"/>
                </a:lnTo>
                <a:lnTo>
                  <a:pt x="3289" y="1040"/>
                </a:lnTo>
                <a:lnTo>
                  <a:pt x="3291" y="1036"/>
                </a:lnTo>
                <a:lnTo>
                  <a:pt x="3296" y="1029"/>
                </a:lnTo>
                <a:lnTo>
                  <a:pt x="3293" y="1026"/>
                </a:lnTo>
                <a:lnTo>
                  <a:pt x="3291" y="1025"/>
                </a:lnTo>
                <a:lnTo>
                  <a:pt x="3290" y="1026"/>
                </a:lnTo>
                <a:lnTo>
                  <a:pt x="3290" y="1020"/>
                </a:lnTo>
                <a:lnTo>
                  <a:pt x="3297" y="1018"/>
                </a:lnTo>
                <a:lnTo>
                  <a:pt x="3303" y="1017"/>
                </a:lnTo>
                <a:lnTo>
                  <a:pt x="3309" y="1016"/>
                </a:lnTo>
                <a:lnTo>
                  <a:pt x="3315" y="1014"/>
                </a:lnTo>
                <a:lnTo>
                  <a:pt x="3314" y="1016"/>
                </a:lnTo>
                <a:lnTo>
                  <a:pt x="3313" y="1019"/>
                </a:lnTo>
                <a:lnTo>
                  <a:pt x="3312" y="1022"/>
                </a:lnTo>
                <a:lnTo>
                  <a:pt x="3313" y="1024"/>
                </a:lnTo>
                <a:lnTo>
                  <a:pt x="3314" y="1026"/>
                </a:lnTo>
                <a:lnTo>
                  <a:pt x="3315" y="1028"/>
                </a:lnTo>
                <a:lnTo>
                  <a:pt x="3314" y="1031"/>
                </a:lnTo>
                <a:lnTo>
                  <a:pt x="3314" y="1033"/>
                </a:lnTo>
                <a:lnTo>
                  <a:pt x="3313" y="1036"/>
                </a:lnTo>
                <a:lnTo>
                  <a:pt x="3313" y="1038"/>
                </a:lnTo>
                <a:lnTo>
                  <a:pt x="3314" y="1040"/>
                </a:lnTo>
                <a:lnTo>
                  <a:pt x="3315" y="1043"/>
                </a:lnTo>
                <a:lnTo>
                  <a:pt x="3317" y="1042"/>
                </a:lnTo>
                <a:lnTo>
                  <a:pt x="3321" y="1041"/>
                </a:lnTo>
                <a:lnTo>
                  <a:pt x="3322" y="1040"/>
                </a:lnTo>
                <a:lnTo>
                  <a:pt x="3323" y="1040"/>
                </a:lnTo>
                <a:lnTo>
                  <a:pt x="3323" y="1039"/>
                </a:lnTo>
                <a:lnTo>
                  <a:pt x="3323" y="1038"/>
                </a:lnTo>
                <a:lnTo>
                  <a:pt x="3321" y="1037"/>
                </a:lnTo>
                <a:lnTo>
                  <a:pt x="3322" y="1036"/>
                </a:lnTo>
                <a:lnTo>
                  <a:pt x="3324" y="1035"/>
                </a:lnTo>
                <a:lnTo>
                  <a:pt x="3327" y="1035"/>
                </a:lnTo>
                <a:lnTo>
                  <a:pt x="3329" y="1034"/>
                </a:lnTo>
                <a:lnTo>
                  <a:pt x="3331" y="1027"/>
                </a:lnTo>
                <a:lnTo>
                  <a:pt x="3332" y="1023"/>
                </a:lnTo>
                <a:lnTo>
                  <a:pt x="3333" y="1024"/>
                </a:lnTo>
                <a:lnTo>
                  <a:pt x="3333" y="1025"/>
                </a:lnTo>
                <a:lnTo>
                  <a:pt x="3334" y="1026"/>
                </a:lnTo>
                <a:lnTo>
                  <a:pt x="3338" y="1029"/>
                </a:lnTo>
                <a:lnTo>
                  <a:pt x="3335" y="1037"/>
                </a:lnTo>
                <a:lnTo>
                  <a:pt x="3335" y="1041"/>
                </a:lnTo>
                <a:lnTo>
                  <a:pt x="3335" y="1043"/>
                </a:lnTo>
                <a:lnTo>
                  <a:pt x="3335" y="1045"/>
                </a:lnTo>
                <a:lnTo>
                  <a:pt x="3346" y="1054"/>
                </a:lnTo>
                <a:lnTo>
                  <a:pt x="3346" y="1056"/>
                </a:lnTo>
                <a:lnTo>
                  <a:pt x="3346" y="1057"/>
                </a:lnTo>
                <a:lnTo>
                  <a:pt x="3345" y="1059"/>
                </a:lnTo>
                <a:lnTo>
                  <a:pt x="3343" y="1061"/>
                </a:lnTo>
                <a:lnTo>
                  <a:pt x="3344" y="1062"/>
                </a:lnTo>
                <a:lnTo>
                  <a:pt x="3360" y="1074"/>
                </a:lnTo>
                <a:lnTo>
                  <a:pt x="3363" y="1074"/>
                </a:lnTo>
                <a:lnTo>
                  <a:pt x="3366" y="1073"/>
                </a:lnTo>
                <a:lnTo>
                  <a:pt x="3369" y="1073"/>
                </a:lnTo>
                <a:lnTo>
                  <a:pt x="3372" y="1074"/>
                </a:lnTo>
                <a:lnTo>
                  <a:pt x="3375" y="1076"/>
                </a:lnTo>
                <a:lnTo>
                  <a:pt x="3377" y="1080"/>
                </a:lnTo>
                <a:lnTo>
                  <a:pt x="3380" y="1085"/>
                </a:lnTo>
                <a:lnTo>
                  <a:pt x="3383" y="1088"/>
                </a:lnTo>
                <a:lnTo>
                  <a:pt x="3387" y="1089"/>
                </a:lnTo>
                <a:lnTo>
                  <a:pt x="3392" y="1090"/>
                </a:lnTo>
                <a:lnTo>
                  <a:pt x="3396" y="1091"/>
                </a:lnTo>
                <a:lnTo>
                  <a:pt x="3398" y="1092"/>
                </a:lnTo>
                <a:lnTo>
                  <a:pt x="3400" y="1093"/>
                </a:lnTo>
                <a:lnTo>
                  <a:pt x="3401" y="1095"/>
                </a:lnTo>
                <a:lnTo>
                  <a:pt x="3401" y="1097"/>
                </a:lnTo>
                <a:lnTo>
                  <a:pt x="3402" y="1100"/>
                </a:lnTo>
                <a:lnTo>
                  <a:pt x="3402" y="1101"/>
                </a:lnTo>
                <a:lnTo>
                  <a:pt x="3403" y="1102"/>
                </a:lnTo>
                <a:lnTo>
                  <a:pt x="3420" y="1109"/>
                </a:lnTo>
                <a:lnTo>
                  <a:pt x="3422" y="1112"/>
                </a:lnTo>
                <a:lnTo>
                  <a:pt x="3423" y="1114"/>
                </a:lnTo>
                <a:lnTo>
                  <a:pt x="3423" y="1115"/>
                </a:lnTo>
                <a:lnTo>
                  <a:pt x="3424" y="1116"/>
                </a:lnTo>
                <a:lnTo>
                  <a:pt x="3424" y="1119"/>
                </a:lnTo>
                <a:lnTo>
                  <a:pt x="3424" y="1122"/>
                </a:lnTo>
                <a:lnTo>
                  <a:pt x="3424" y="1124"/>
                </a:lnTo>
                <a:lnTo>
                  <a:pt x="3423" y="1129"/>
                </a:lnTo>
                <a:lnTo>
                  <a:pt x="3420" y="1140"/>
                </a:lnTo>
                <a:lnTo>
                  <a:pt x="3419" y="1145"/>
                </a:lnTo>
                <a:lnTo>
                  <a:pt x="3420" y="1150"/>
                </a:lnTo>
                <a:lnTo>
                  <a:pt x="3437" y="1173"/>
                </a:lnTo>
                <a:lnTo>
                  <a:pt x="3448" y="1186"/>
                </a:lnTo>
                <a:lnTo>
                  <a:pt x="3448" y="1189"/>
                </a:lnTo>
                <a:lnTo>
                  <a:pt x="3450" y="1189"/>
                </a:lnTo>
                <a:lnTo>
                  <a:pt x="3452" y="1189"/>
                </a:lnTo>
                <a:lnTo>
                  <a:pt x="3454" y="1188"/>
                </a:lnTo>
                <a:lnTo>
                  <a:pt x="3456" y="1189"/>
                </a:lnTo>
                <a:lnTo>
                  <a:pt x="3456" y="1190"/>
                </a:lnTo>
                <a:lnTo>
                  <a:pt x="3456" y="1192"/>
                </a:lnTo>
                <a:lnTo>
                  <a:pt x="3456" y="1193"/>
                </a:lnTo>
                <a:lnTo>
                  <a:pt x="3453" y="1192"/>
                </a:lnTo>
                <a:lnTo>
                  <a:pt x="3454" y="1201"/>
                </a:lnTo>
                <a:lnTo>
                  <a:pt x="3453" y="1209"/>
                </a:lnTo>
                <a:lnTo>
                  <a:pt x="3455" y="1208"/>
                </a:lnTo>
                <a:lnTo>
                  <a:pt x="3457" y="1206"/>
                </a:lnTo>
                <a:lnTo>
                  <a:pt x="3458" y="1204"/>
                </a:lnTo>
                <a:lnTo>
                  <a:pt x="3459" y="1203"/>
                </a:lnTo>
                <a:lnTo>
                  <a:pt x="3464" y="1202"/>
                </a:lnTo>
                <a:lnTo>
                  <a:pt x="3468" y="1202"/>
                </a:lnTo>
                <a:lnTo>
                  <a:pt x="3472" y="1204"/>
                </a:lnTo>
                <a:lnTo>
                  <a:pt x="3476" y="1206"/>
                </a:lnTo>
                <a:lnTo>
                  <a:pt x="3482" y="1211"/>
                </a:lnTo>
                <a:lnTo>
                  <a:pt x="3485" y="1213"/>
                </a:lnTo>
                <a:lnTo>
                  <a:pt x="3487" y="1214"/>
                </a:lnTo>
                <a:lnTo>
                  <a:pt x="3482" y="1213"/>
                </a:lnTo>
                <a:lnTo>
                  <a:pt x="3478" y="1212"/>
                </a:lnTo>
                <a:lnTo>
                  <a:pt x="3475" y="1211"/>
                </a:lnTo>
                <a:lnTo>
                  <a:pt x="3472" y="1211"/>
                </a:lnTo>
                <a:lnTo>
                  <a:pt x="3467" y="1212"/>
                </a:lnTo>
                <a:lnTo>
                  <a:pt x="3459" y="1211"/>
                </a:lnTo>
                <a:lnTo>
                  <a:pt x="3462" y="1225"/>
                </a:lnTo>
                <a:lnTo>
                  <a:pt x="3464" y="1230"/>
                </a:lnTo>
                <a:lnTo>
                  <a:pt x="3464" y="1233"/>
                </a:lnTo>
                <a:lnTo>
                  <a:pt x="3465" y="1237"/>
                </a:lnTo>
                <a:lnTo>
                  <a:pt x="3475" y="1237"/>
                </a:lnTo>
                <a:lnTo>
                  <a:pt x="3487" y="1237"/>
                </a:lnTo>
                <a:lnTo>
                  <a:pt x="3485" y="1233"/>
                </a:lnTo>
                <a:lnTo>
                  <a:pt x="3483" y="1230"/>
                </a:lnTo>
                <a:lnTo>
                  <a:pt x="3484" y="1229"/>
                </a:lnTo>
                <a:lnTo>
                  <a:pt x="3484" y="1228"/>
                </a:lnTo>
                <a:lnTo>
                  <a:pt x="3486" y="1228"/>
                </a:lnTo>
                <a:lnTo>
                  <a:pt x="3487" y="1228"/>
                </a:lnTo>
                <a:lnTo>
                  <a:pt x="3491" y="1228"/>
                </a:lnTo>
                <a:lnTo>
                  <a:pt x="3495" y="1229"/>
                </a:lnTo>
                <a:lnTo>
                  <a:pt x="3497" y="1229"/>
                </a:lnTo>
                <a:lnTo>
                  <a:pt x="3498" y="1228"/>
                </a:lnTo>
                <a:lnTo>
                  <a:pt x="3495" y="1220"/>
                </a:lnTo>
                <a:lnTo>
                  <a:pt x="3494" y="1220"/>
                </a:lnTo>
                <a:lnTo>
                  <a:pt x="3491" y="1219"/>
                </a:lnTo>
                <a:lnTo>
                  <a:pt x="3490" y="1219"/>
                </a:lnTo>
                <a:lnTo>
                  <a:pt x="3491" y="1218"/>
                </a:lnTo>
                <a:lnTo>
                  <a:pt x="3493" y="1217"/>
                </a:lnTo>
                <a:lnTo>
                  <a:pt x="3496" y="1216"/>
                </a:lnTo>
                <a:lnTo>
                  <a:pt x="3498" y="1215"/>
                </a:lnTo>
                <a:lnTo>
                  <a:pt x="3501" y="1216"/>
                </a:lnTo>
                <a:lnTo>
                  <a:pt x="3504" y="1218"/>
                </a:lnTo>
                <a:lnTo>
                  <a:pt x="3506" y="1219"/>
                </a:lnTo>
                <a:lnTo>
                  <a:pt x="3510" y="1220"/>
                </a:lnTo>
                <a:lnTo>
                  <a:pt x="3510" y="1209"/>
                </a:lnTo>
                <a:lnTo>
                  <a:pt x="3504" y="1206"/>
                </a:lnTo>
                <a:lnTo>
                  <a:pt x="3506" y="1206"/>
                </a:lnTo>
                <a:lnTo>
                  <a:pt x="3509" y="1206"/>
                </a:lnTo>
                <a:lnTo>
                  <a:pt x="3512" y="1205"/>
                </a:lnTo>
                <a:lnTo>
                  <a:pt x="3515" y="1206"/>
                </a:lnTo>
                <a:lnTo>
                  <a:pt x="3517" y="1208"/>
                </a:lnTo>
                <a:lnTo>
                  <a:pt x="3520" y="1213"/>
                </a:lnTo>
                <a:lnTo>
                  <a:pt x="3521" y="1215"/>
                </a:lnTo>
                <a:lnTo>
                  <a:pt x="3521" y="1214"/>
                </a:lnTo>
                <a:lnTo>
                  <a:pt x="3521" y="1211"/>
                </a:lnTo>
                <a:lnTo>
                  <a:pt x="3520" y="1205"/>
                </a:lnTo>
                <a:lnTo>
                  <a:pt x="3519" y="1203"/>
                </a:lnTo>
                <a:lnTo>
                  <a:pt x="3518" y="1200"/>
                </a:lnTo>
                <a:lnTo>
                  <a:pt x="3516" y="1199"/>
                </a:lnTo>
                <a:lnTo>
                  <a:pt x="3513" y="1198"/>
                </a:lnTo>
                <a:lnTo>
                  <a:pt x="3509" y="1198"/>
                </a:lnTo>
                <a:lnTo>
                  <a:pt x="3507" y="1197"/>
                </a:lnTo>
                <a:lnTo>
                  <a:pt x="3505" y="1195"/>
                </a:lnTo>
                <a:lnTo>
                  <a:pt x="3503" y="1191"/>
                </a:lnTo>
                <a:lnTo>
                  <a:pt x="3500" y="1188"/>
                </a:lnTo>
                <a:lnTo>
                  <a:pt x="3499" y="1187"/>
                </a:lnTo>
                <a:lnTo>
                  <a:pt x="3498" y="1186"/>
                </a:lnTo>
                <a:lnTo>
                  <a:pt x="3496" y="1186"/>
                </a:lnTo>
                <a:lnTo>
                  <a:pt x="3495" y="1186"/>
                </a:lnTo>
                <a:lnTo>
                  <a:pt x="3494" y="1187"/>
                </a:lnTo>
                <a:lnTo>
                  <a:pt x="3493" y="1187"/>
                </a:lnTo>
                <a:lnTo>
                  <a:pt x="3492" y="1189"/>
                </a:lnTo>
                <a:lnTo>
                  <a:pt x="3491" y="1189"/>
                </a:lnTo>
                <a:lnTo>
                  <a:pt x="3490" y="1189"/>
                </a:lnTo>
                <a:lnTo>
                  <a:pt x="3489" y="1188"/>
                </a:lnTo>
                <a:lnTo>
                  <a:pt x="3489" y="1186"/>
                </a:lnTo>
                <a:lnTo>
                  <a:pt x="3489" y="1185"/>
                </a:lnTo>
                <a:lnTo>
                  <a:pt x="3487" y="1183"/>
                </a:lnTo>
                <a:lnTo>
                  <a:pt x="3487" y="1178"/>
                </a:lnTo>
                <a:lnTo>
                  <a:pt x="3492" y="1178"/>
                </a:lnTo>
                <a:lnTo>
                  <a:pt x="3493" y="1178"/>
                </a:lnTo>
                <a:lnTo>
                  <a:pt x="3494" y="1178"/>
                </a:lnTo>
                <a:lnTo>
                  <a:pt x="3494" y="1177"/>
                </a:lnTo>
                <a:lnTo>
                  <a:pt x="3494" y="1176"/>
                </a:lnTo>
                <a:lnTo>
                  <a:pt x="3493" y="1173"/>
                </a:lnTo>
                <a:lnTo>
                  <a:pt x="3491" y="1170"/>
                </a:lnTo>
                <a:lnTo>
                  <a:pt x="3489" y="1167"/>
                </a:lnTo>
                <a:lnTo>
                  <a:pt x="3484" y="1161"/>
                </a:lnTo>
                <a:lnTo>
                  <a:pt x="3481" y="1155"/>
                </a:lnTo>
                <a:lnTo>
                  <a:pt x="3488" y="1145"/>
                </a:lnTo>
                <a:lnTo>
                  <a:pt x="3490" y="1143"/>
                </a:lnTo>
                <a:lnTo>
                  <a:pt x="3491" y="1142"/>
                </a:lnTo>
                <a:lnTo>
                  <a:pt x="3491" y="1144"/>
                </a:lnTo>
                <a:lnTo>
                  <a:pt x="3490" y="1150"/>
                </a:lnTo>
                <a:lnTo>
                  <a:pt x="3492" y="1150"/>
                </a:lnTo>
                <a:lnTo>
                  <a:pt x="3493" y="1151"/>
                </a:lnTo>
                <a:lnTo>
                  <a:pt x="3494" y="1152"/>
                </a:lnTo>
                <a:lnTo>
                  <a:pt x="3494" y="1155"/>
                </a:lnTo>
                <a:lnTo>
                  <a:pt x="3495" y="1158"/>
                </a:lnTo>
                <a:lnTo>
                  <a:pt x="3498" y="1157"/>
                </a:lnTo>
                <a:lnTo>
                  <a:pt x="3498" y="1156"/>
                </a:lnTo>
                <a:lnTo>
                  <a:pt x="3498" y="1155"/>
                </a:lnTo>
                <a:lnTo>
                  <a:pt x="3498" y="1152"/>
                </a:lnTo>
                <a:lnTo>
                  <a:pt x="3508" y="1151"/>
                </a:lnTo>
                <a:lnTo>
                  <a:pt x="3511" y="1151"/>
                </a:lnTo>
                <a:lnTo>
                  <a:pt x="3513" y="1150"/>
                </a:lnTo>
                <a:lnTo>
                  <a:pt x="3513" y="1148"/>
                </a:lnTo>
                <a:lnTo>
                  <a:pt x="3512" y="1146"/>
                </a:lnTo>
                <a:lnTo>
                  <a:pt x="3504" y="1135"/>
                </a:lnTo>
                <a:lnTo>
                  <a:pt x="3517" y="1136"/>
                </a:lnTo>
                <a:lnTo>
                  <a:pt x="3526" y="1137"/>
                </a:lnTo>
                <a:lnTo>
                  <a:pt x="3535" y="1136"/>
                </a:lnTo>
                <a:lnTo>
                  <a:pt x="3546" y="1135"/>
                </a:lnTo>
                <a:lnTo>
                  <a:pt x="3547" y="1140"/>
                </a:lnTo>
                <a:lnTo>
                  <a:pt x="3549" y="1144"/>
                </a:lnTo>
                <a:lnTo>
                  <a:pt x="3549" y="1147"/>
                </a:lnTo>
                <a:lnTo>
                  <a:pt x="3550" y="1151"/>
                </a:lnTo>
                <a:lnTo>
                  <a:pt x="3552" y="1153"/>
                </a:lnTo>
                <a:lnTo>
                  <a:pt x="3554" y="1152"/>
                </a:lnTo>
                <a:lnTo>
                  <a:pt x="3557" y="1150"/>
                </a:lnTo>
                <a:lnTo>
                  <a:pt x="3563" y="1147"/>
                </a:lnTo>
                <a:lnTo>
                  <a:pt x="3560" y="1150"/>
                </a:lnTo>
                <a:lnTo>
                  <a:pt x="3557" y="1154"/>
                </a:lnTo>
                <a:lnTo>
                  <a:pt x="3552" y="1161"/>
                </a:lnTo>
                <a:lnTo>
                  <a:pt x="3550" y="1160"/>
                </a:lnTo>
                <a:lnTo>
                  <a:pt x="3549" y="1161"/>
                </a:lnTo>
                <a:lnTo>
                  <a:pt x="3549" y="1162"/>
                </a:lnTo>
                <a:lnTo>
                  <a:pt x="3549" y="1164"/>
                </a:lnTo>
                <a:lnTo>
                  <a:pt x="3549" y="1169"/>
                </a:lnTo>
                <a:lnTo>
                  <a:pt x="3549" y="1172"/>
                </a:lnTo>
                <a:lnTo>
                  <a:pt x="3555" y="1173"/>
                </a:lnTo>
                <a:lnTo>
                  <a:pt x="3558" y="1174"/>
                </a:lnTo>
                <a:lnTo>
                  <a:pt x="3560" y="1175"/>
                </a:lnTo>
                <a:lnTo>
                  <a:pt x="3561" y="1178"/>
                </a:lnTo>
                <a:lnTo>
                  <a:pt x="3562" y="1181"/>
                </a:lnTo>
                <a:lnTo>
                  <a:pt x="3561" y="1183"/>
                </a:lnTo>
                <a:lnTo>
                  <a:pt x="3561" y="1185"/>
                </a:lnTo>
                <a:lnTo>
                  <a:pt x="3560" y="1190"/>
                </a:lnTo>
                <a:lnTo>
                  <a:pt x="3560" y="1192"/>
                </a:lnTo>
                <a:lnTo>
                  <a:pt x="3560" y="1195"/>
                </a:lnTo>
                <a:lnTo>
                  <a:pt x="3563" y="1197"/>
                </a:lnTo>
                <a:lnTo>
                  <a:pt x="3565" y="1198"/>
                </a:lnTo>
                <a:lnTo>
                  <a:pt x="3565" y="1199"/>
                </a:lnTo>
                <a:lnTo>
                  <a:pt x="3566" y="1200"/>
                </a:lnTo>
                <a:lnTo>
                  <a:pt x="3561" y="1201"/>
                </a:lnTo>
                <a:lnTo>
                  <a:pt x="3558" y="1201"/>
                </a:lnTo>
                <a:lnTo>
                  <a:pt x="3552" y="1203"/>
                </a:lnTo>
                <a:lnTo>
                  <a:pt x="3553" y="1204"/>
                </a:lnTo>
                <a:lnTo>
                  <a:pt x="3553" y="1205"/>
                </a:lnTo>
                <a:lnTo>
                  <a:pt x="3554" y="1208"/>
                </a:lnTo>
                <a:lnTo>
                  <a:pt x="3555" y="1211"/>
                </a:lnTo>
                <a:lnTo>
                  <a:pt x="3556" y="1211"/>
                </a:lnTo>
                <a:lnTo>
                  <a:pt x="3558" y="1210"/>
                </a:lnTo>
                <a:lnTo>
                  <a:pt x="3563" y="1209"/>
                </a:lnTo>
                <a:lnTo>
                  <a:pt x="3564" y="1216"/>
                </a:lnTo>
                <a:lnTo>
                  <a:pt x="3565" y="1222"/>
                </a:lnTo>
                <a:lnTo>
                  <a:pt x="3566" y="1234"/>
                </a:lnTo>
                <a:lnTo>
                  <a:pt x="3567" y="1234"/>
                </a:lnTo>
                <a:lnTo>
                  <a:pt x="3569" y="1234"/>
                </a:lnTo>
                <a:lnTo>
                  <a:pt x="3573" y="1234"/>
                </a:lnTo>
                <a:lnTo>
                  <a:pt x="3577" y="1233"/>
                </a:lnTo>
                <a:lnTo>
                  <a:pt x="3578" y="1233"/>
                </a:lnTo>
                <a:lnTo>
                  <a:pt x="3580" y="1234"/>
                </a:lnTo>
                <a:lnTo>
                  <a:pt x="3580" y="1242"/>
                </a:lnTo>
                <a:lnTo>
                  <a:pt x="3581" y="1243"/>
                </a:lnTo>
                <a:lnTo>
                  <a:pt x="3583" y="1243"/>
                </a:lnTo>
                <a:lnTo>
                  <a:pt x="3585" y="1242"/>
                </a:lnTo>
                <a:lnTo>
                  <a:pt x="3591" y="1240"/>
                </a:lnTo>
                <a:lnTo>
                  <a:pt x="3600" y="1251"/>
                </a:lnTo>
                <a:lnTo>
                  <a:pt x="3605" y="1257"/>
                </a:lnTo>
                <a:lnTo>
                  <a:pt x="3611" y="1262"/>
                </a:lnTo>
                <a:lnTo>
                  <a:pt x="3612" y="1261"/>
                </a:lnTo>
                <a:lnTo>
                  <a:pt x="3614" y="1261"/>
                </a:lnTo>
                <a:lnTo>
                  <a:pt x="3616" y="1261"/>
                </a:lnTo>
                <a:lnTo>
                  <a:pt x="3619" y="1260"/>
                </a:lnTo>
                <a:lnTo>
                  <a:pt x="3620" y="1260"/>
                </a:lnTo>
                <a:lnTo>
                  <a:pt x="3622" y="1259"/>
                </a:lnTo>
                <a:lnTo>
                  <a:pt x="3624" y="1258"/>
                </a:lnTo>
                <a:lnTo>
                  <a:pt x="3625" y="1256"/>
                </a:lnTo>
                <a:lnTo>
                  <a:pt x="3627" y="1252"/>
                </a:lnTo>
                <a:lnTo>
                  <a:pt x="3629" y="1249"/>
                </a:lnTo>
                <a:lnTo>
                  <a:pt x="3631" y="1246"/>
                </a:lnTo>
                <a:lnTo>
                  <a:pt x="3632" y="1244"/>
                </a:lnTo>
                <a:lnTo>
                  <a:pt x="3633" y="1244"/>
                </a:lnTo>
                <a:lnTo>
                  <a:pt x="3635" y="1243"/>
                </a:lnTo>
                <a:lnTo>
                  <a:pt x="3638" y="1244"/>
                </a:lnTo>
                <a:lnTo>
                  <a:pt x="3640" y="1244"/>
                </a:lnTo>
                <a:lnTo>
                  <a:pt x="3644" y="1246"/>
                </a:lnTo>
                <a:lnTo>
                  <a:pt x="3653" y="1251"/>
                </a:lnTo>
                <a:lnTo>
                  <a:pt x="3659" y="1257"/>
                </a:lnTo>
                <a:lnTo>
                  <a:pt x="3662" y="1260"/>
                </a:lnTo>
                <a:lnTo>
                  <a:pt x="3663" y="1261"/>
                </a:lnTo>
                <a:lnTo>
                  <a:pt x="3664" y="1262"/>
                </a:lnTo>
                <a:lnTo>
                  <a:pt x="3668" y="1262"/>
                </a:lnTo>
                <a:lnTo>
                  <a:pt x="3671" y="1262"/>
                </a:lnTo>
                <a:lnTo>
                  <a:pt x="3677" y="1261"/>
                </a:lnTo>
                <a:lnTo>
                  <a:pt x="3683" y="1259"/>
                </a:lnTo>
                <a:lnTo>
                  <a:pt x="3688" y="1255"/>
                </a:lnTo>
                <a:lnTo>
                  <a:pt x="3692" y="1252"/>
                </a:lnTo>
                <a:lnTo>
                  <a:pt x="3696" y="1249"/>
                </a:lnTo>
                <a:lnTo>
                  <a:pt x="3699" y="1246"/>
                </a:lnTo>
                <a:lnTo>
                  <a:pt x="3701" y="1245"/>
                </a:lnTo>
                <a:lnTo>
                  <a:pt x="3702" y="1245"/>
                </a:lnTo>
                <a:lnTo>
                  <a:pt x="3703" y="1246"/>
                </a:lnTo>
                <a:lnTo>
                  <a:pt x="3705" y="1247"/>
                </a:lnTo>
                <a:lnTo>
                  <a:pt x="3708" y="1248"/>
                </a:lnTo>
                <a:lnTo>
                  <a:pt x="3710" y="1249"/>
                </a:lnTo>
                <a:lnTo>
                  <a:pt x="3712" y="1248"/>
                </a:lnTo>
                <a:lnTo>
                  <a:pt x="3713" y="1247"/>
                </a:lnTo>
                <a:lnTo>
                  <a:pt x="3714" y="1246"/>
                </a:lnTo>
                <a:lnTo>
                  <a:pt x="3716" y="1243"/>
                </a:lnTo>
                <a:lnTo>
                  <a:pt x="3718" y="1239"/>
                </a:lnTo>
                <a:lnTo>
                  <a:pt x="3720" y="1237"/>
                </a:lnTo>
                <a:lnTo>
                  <a:pt x="3720" y="1238"/>
                </a:lnTo>
                <a:lnTo>
                  <a:pt x="3721" y="1239"/>
                </a:lnTo>
                <a:lnTo>
                  <a:pt x="3722" y="1242"/>
                </a:lnTo>
                <a:lnTo>
                  <a:pt x="3723" y="1246"/>
                </a:lnTo>
                <a:lnTo>
                  <a:pt x="3723" y="1251"/>
                </a:lnTo>
                <a:lnTo>
                  <a:pt x="3718" y="1254"/>
                </a:lnTo>
                <a:lnTo>
                  <a:pt x="3719" y="1261"/>
                </a:lnTo>
                <a:lnTo>
                  <a:pt x="3721" y="1267"/>
                </a:lnTo>
                <a:lnTo>
                  <a:pt x="3722" y="1272"/>
                </a:lnTo>
                <a:lnTo>
                  <a:pt x="3723" y="1279"/>
                </a:lnTo>
                <a:lnTo>
                  <a:pt x="3723" y="1281"/>
                </a:lnTo>
                <a:lnTo>
                  <a:pt x="3723" y="1284"/>
                </a:lnTo>
                <a:lnTo>
                  <a:pt x="3722" y="1287"/>
                </a:lnTo>
                <a:lnTo>
                  <a:pt x="3721" y="1290"/>
                </a:lnTo>
                <a:lnTo>
                  <a:pt x="3720" y="1292"/>
                </a:lnTo>
                <a:lnTo>
                  <a:pt x="3720" y="1293"/>
                </a:lnTo>
                <a:lnTo>
                  <a:pt x="3723" y="1294"/>
                </a:lnTo>
                <a:lnTo>
                  <a:pt x="3725" y="1295"/>
                </a:lnTo>
                <a:lnTo>
                  <a:pt x="3726" y="1297"/>
                </a:lnTo>
                <a:lnTo>
                  <a:pt x="3726" y="1301"/>
                </a:lnTo>
                <a:lnTo>
                  <a:pt x="3725" y="1306"/>
                </a:lnTo>
                <a:lnTo>
                  <a:pt x="3723" y="1310"/>
                </a:lnTo>
                <a:lnTo>
                  <a:pt x="3720" y="1315"/>
                </a:lnTo>
                <a:lnTo>
                  <a:pt x="3715" y="1323"/>
                </a:lnTo>
                <a:lnTo>
                  <a:pt x="3712" y="1330"/>
                </a:lnTo>
                <a:lnTo>
                  <a:pt x="3711" y="1332"/>
                </a:lnTo>
                <a:lnTo>
                  <a:pt x="3712" y="1333"/>
                </a:lnTo>
                <a:lnTo>
                  <a:pt x="3712" y="1334"/>
                </a:lnTo>
                <a:lnTo>
                  <a:pt x="3713" y="1335"/>
                </a:lnTo>
                <a:lnTo>
                  <a:pt x="3714" y="1336"/>
                </a:lnTo>
                <a:lnTo>
                  <a:pt x="3715" y="1336"/>
                </a:lnTo>
                <a:lnTo>
                  <a:pt x="3715" y="1338"/>
                </a:lnTo>
                <a:lnTo>
                  <a:pt x="3711" y="1342"/>
                </a:lnTo>
                <a:lnTo>
                  <a:pt x="3708" y="1345"/>
                </a:lnTo>
                <a:lnTo>
                  <a:pt x="3706" y="1346"/>
                </a:lnTo>
                <a:lnTo>
                  <a:pt x="3706" y="1349"/>
                </a:lnTo>
                <a:lnTo>
                  <a:pt x="3707" y="1352"/>
                </a:lnTo>
                <a:lnTo>
                  <a:pt x="3707" y="1355"/>
                </a:lnTo>
                <a:lnTo>
                  <a:pt x="3706" y="1358"/>
                </a:lnTo>
                <a:lnTo>
                  <a:pt x="3704" y="1360"/>
                </a:lnTo>
                <a:lnTo>
                  <a:pt x="3702" y="1361"/>
                </a:lnTo>
                <a:lnTo>
                  <a:pt x="3700" y="1363"/>
                </a:lnTo>
                <a:lnTo>
                  <a:pt x="3697" y="1363"/>
                </a:lnTo>
                <a:lnTo>
                  <a:pt x="3690" y="1364"/>
                </a:lnTo>
                <a:lnTo>
                  <a:pt x="3683" y="1364"/>
                </a:lnTo>
                <a:lnTo>
                  <a:pt x="3676" y="1363"/>
                </a:lnTo>
                <a:lnTo>
                  <a:pt x="3670" y="1363"/>
                </a:lnTo>
                <a:lnTo>
                  <a:pt x="3665" y="1366"/>
                </a:lnTo>
                <a:lnTo>
                  <a:pt x="3661" y="1368"/>
                </a:lnTo>
                <a:lnTo>
                  <a:pt x="3659" y="1369"/>
                </a:lnTo>
                <a:lnTo>
                  <a:pt x="3658" y="1369"/>
                </a:lnTo>
                <a:lnTo>
                  <a:pt x="3657" y="1368"/>
                </a:lnTo>
                <a:lnTo>
                  <a:pt x="3655" y="1365"/>
                </a:lnTo>
                <a:lnTo>
                  <a:pt x="3653" y="1361"/>
                </a:lnTo>
                <a:lnTo>
                  <a:pt x="3651" y="1360"/>
                </a:lnTo>
                <a:lnTo>
                  <a:pt x="3649" y="1361"/>
                </a:lnTo>
                <a:lnTo>
                  <a:pt x="3646" y="1361"/>
                </a:lnTo>
                <a:lnTo>
                  <a:pt x="3645" y="1361"/>
                </a:lnTo>
                <a:lnTo>
                  <a:pt x="3646" y="1361"/>
                </a:lnTo>
                <a:lnTo>
                  <a:pt x="3646" y="1364"/>
                </a:lnTo>
                <a:lnTo>
                  <a:pt x="3647" y="1369"/>
                </a:lnTo>
                <a:lnTo>
                  <a:pt x="3644" y="1368"/>
                </a:lnTo>
                <a:lnTo>
                  <a:pt x="3643" y="1367"/>
                </a:lnTo>
                <a:lnTo>
                  <a:pt x="3643" y="1366"/>
                </a:lnTo>
                <a:lnTo>
                  <a:pt x="3642" y="1364"/>
                </a:lnTo>
                <a:lnTo>
                  <a:pt x="3642" y="1363"/>
                </a:lnTo>
                <a:lnTo>
                  <a:pt x="3640" y="1363"/>
                </a:lnTo>
                <a:lnTo>
                  <a:pt x="3637" y="1364"/>
                </a:lnTo>
                <a:lnTo>
                  <a:pt x="3631" y="1366"/>
                </a:lnTo>
                <a:lnTo>
                  <a:pt x="3626" y="1370"/>
                </a:lnTo>
                <a:lnTo>
                  <a:pt x="3622" y="1372"/>
                </a:lnTo>
                <a:lnTo>
                  <a:pt x="3605" y="1369"/>
                </a:lnTo>
                <a:lnTo>
                  <a:pt x="3602" y="1369"/>
                </a:lnTo>
                <a:lnTo>
                  <a:pt x="3594" y="1369"/>
                </a:lnTo>
                <a:lnTo>
                  <a:pt x="3594" y="1372"/>
                </a:lnTo>
                <a:lnTo>
                  <a:pt x="3591" y="1370"/>
                </a:lnTo>
                <a:lnTo>
                  <a:pt x="3588" y="1367"/>
                </a:lnTo>
                <a:lnTo>
                  <a:pt x="3587" y="1366"/>
                </a:lnTo>
                <a:lnTo>
                  <a:pt x="3586" y="1366"/>
                </a:lnTo>
                <a:lnTo>
                  <a:pt x="3584" y="1366"/>
                </a:lnTo>
                <a:lnTo>
                  <a:pt x="3583" y="1366"/>
                </a:lnTo>
                <a:lnTo>
                  <a:pt x="3582" y="1368"/>
                </a:lnTo>
                <a:lnTo>
                  <a:pt x="3582" y="1370"/>
                </a:lnTo>
                <a:lnTo>
                  <a:pt x="3583" y="1373"/>
                </a:lnTo>
                <a:lnTo>
                  <a:pt x="3583" y="1375"/>
                </a:lnTo>
                <a:lnTo>
                  <a:pt x="3569" y="1383"/>
                </a:lnTo>
                <a:lnTo>
                  <a:pt x="3563" y="1380"/>
                </a:lnTo>
                <a:lnTo>
                  <a:pt x="3557" y="1375"/>
                </a:lnTo>
                <a:lnTo>
                  <a:pt x="3551" y="1371"/>
                </a:lnTo>
                <a:lnTo>
                  <a:pt x="3548" y="1370"/>
                </a:lnTo>
                <a:lnTo>
                  <a:pt x="3546" y="1369"/>
                </a:lnTo>
                <a:lnTo>
                  <a:pt x="3543" y="1369"/>
                </a:lnTo>
                <a:lnTo>
                  <a:pt x="3541" y="1369"/>
                </a:lnTo>
                <a:lnTo>
                  <a:pt x="3539" y="1370"/>
                </a:lnTo>
                <a:lnTo>
                  <a:pt x="3537" y="1370"/>
                </a:lnTo>
                <a:lnTo>
                  <a:pt x="3533" y="1372"/>
                </a:lnTo>
                <a:lnTo>
                  <a:pt x="3531" y="1372"/>
                </a:lnTo>
                <a:lnTo>
                  <a:pt x="3529" y="1372"/>
                </a:lnTo>
                <a:lnTo>
                  <a:pt x="3529" y="1369"/>
                </a:lnTo>
                <a:lnTo>
                  <a:pt x="3518" y="1362"/>
                </a:lnTo>
                <a:lnTo>
                  <a:pt x="3507" y="1355"/>
                </a:lnTo>
                <a:lnTo>
                  <a:pt x="3504" y="1355"/>
                </a:lnTo>
                <a:lnTo>
                  <a:pt x="3502" y="1355"/>
                </a:lnTo>
                <a:lnTo>
                  <a:pt x="3497" y="1355"/>
                </a:lnTo>
                <a:lnTo>
                  <a:pt x="3491" y="1356"/>
                </a:lnTo>
                <a:lnTo>
                  <a:pt x="3489" y="1356"/>
                </a:lnTo>
                <a:lnTo>
                  <a:pt x="3487" y="1355"/>
                </a:lnTo>
                <a:lnTo>
                  <a:pt x="3484" y="1344"/>
                </a:lnTo>
                <a:lnTo>
                  <a:pt x="3468" y="1339"/>
                </a:lnTo>
                <a:lnTo>
                  <a:pt x="3456" y="1335"/>
                </a:lnTo>
                <a:lnTo>
                  <a:pt x="3454" y="1335"/>
                </a:lnTo>
                <a:lnTo>
                  <a:pt x="3452" y="1336"/>
                </a:lnTo>
                <a:lnTo>
                  <a:pt x="3447" y="1338"/>
                </a:lnTo>
                <a:lnTo>
                  <a:pt x="3443" y="1341"/>
                </a:lnTo>
                <a:lnTo>
                  <a:pt x="3439" y="1345"/>
                </a:lnTo>
                <a:lnTo>
                  <a:pt x="3431" y="1353"/>
                </a:lnTo>
                <a:lnTo>
                  <a:pt x="3425" y="1361"/>
                </a:lnTo>
                <a:lnTo>
                  <a:pt x="3427" y="1363"/>
                </a:lnTo>
                <a:lnTo>
                  <a:pt x="3430" y="1365"/>
                </a:lnTo>
                <a:lnTo>
                  <a:pt x="3432" y="1367"/>
                </a:lnTo>
                <a:lnTo>
                  <a:pt x="3434" y="1369"/>
                </a:lnTo>
                <a:lnTo>
                  <a:pt x="3434" y="1372"/>
                </a:lnTo>
                <a:lnTo>
                  <a:pt x="3433" y="1375"/>
                </a:lnTo>
                <a:lnTo>
                  <a:pt x="3433" y="1378"/>
                </a:lnTo>
                <a:lnTo>
                  <a:pt x="3433" y="1379"/>
                </a:lnTo>
                <a:lnTo>
                  <a:pt x="3434" y="1380"/>
                </a:lnTo>
                <a:lnTo>
                  <a:pt x="3429" y="1385"/>
                </a:lnTo>
                <a:lnTo>
                  <a:pt x="3424" y="1389"/>
                </a:lnTo>
                <a:lnTo>
                  <a:pt x="3414" y="1397"/>
                </a:lnTo>
                <a:lnTo>
                  <a:pt x="3412" y="1396"/>
                </a:lnTo>
                <a:lnTo>
                  <a:pt x="3409" y="1393"/>
                </a:lnTo>
                <a:lnTo>
                  <a:pt x="3407" y="1390"/>
                </a:lnTo>
                <a:lnTo>
                  <a:pt x="3405" y="1389"/>
                </a:lnTo>
                <a:lnTo>
                  <a:pt x="3399" y="1386"/>
                </a:lnTo>
                <a:lnTo>
                  <a:pt x="3393" y="1385"/>
                </a:lnTo>
                <a:lnTo>
                  <a:pt x="3381" y="1382"/>
                </a:lnTo>
                <a:lnTo>
                  <a:pt x="3374" y="1381"/>
                </a:lnTo>
                <a:lnTo>
                  <a:pt x="3369" y="1380"/>
                </a:lnTo>
                <a:lnTo>
                  <a:pt x="3363" y="1377"/>
                </a:lnTo>
                <a:lnTo>
                  <a:pt x="3358" y="1375"/>
                </a:lnTo>
                <a:lnTo>
                  <a:pt x="3354" y="1372"/>
                </a:lnTo>
                <a:lnTo>
                  <a:pt x="3351" y="1368"/>
                </a:lnTo>
                <a:lnTo>
                  <a:pt x="3345" y="1360"/>
                </a:lnTo>
                <a:lnTo>
                  <a:pt x="3342" y="1356"/>
                </a:lnTo>
                <a:lnTo>
                  <a:pt x="3339" y="1352"/>
                </a:lnTo>
                <a:lnTo>
                  <a:pt x="3336" y="1349"/>
                </a:lnTo>
                <a:lnTo>
                  <a:pt x="3332" y="1346"/>
                </a:lnTo>
                <a:lnTo>
                  <a:pt x="3328" y="1345"/>
                </a:lnTo>
                <a:lnTo>
                  <a:pt x="3323" y="1344"/>
                </a:lnTo>
                <a:lnTo>
                  <a:pt x="3314" y="1343"/>
                </a:lnTo>
                <a:lnTo>
                  <a:pt x="3303" y="1343"/>
                </a:lnTo>
                <a:lnTo>
                  <a:pt x="3297" y="1343"/>
                </a:lnTo>
                <a:lnTo>
                  <a:pt x="3290" y="1341"/>
                </a:lnTo>
                <a:lnTo>
                  <a:pt x="3290" y="1335"/>
                </a:lnTo>
                <a:lnTo>
                  <a:pt x="3287" y="1334"/>
                </a:lnTo>
                <a:lnTo>
                  <a:pt x="3283" y="1334"/>
                </a:lnTo>
                <a:lnTo>
                  <a:pt x="3279" y="1334"/>
                </a:lnTo>
                <a:lnTo>
                  <a:pt x="3278" y="1333"/>
                </a:lnTo>
                <a:lnTo>
                  <a:pt x="3276" y="1332"/>
                </a:lnTo>
                <a:lnTo>
                  <a:pt x="3275" y="1332"/>
                </a:lnTo>
                <a:lnTo>
                  <a:pt x="3275" y="1330"/>
                </a:lnTo>
                <a:lnTo>
                  <a:pt x="3275" y="1327"/>
                </a:lnTo>
                <a:lnTo>
                  <a:pt x="3274" y="1323"/>
                </a:lnTo>
                <a:lnTo>
                  <a:pt x="3273" y="1321"/>
                </a:lnTo>
                <a:lnTo>
                  <a:pt x="3272" y="1321"/>
                </a:lnTo>
                <a:lnTo>
                  <a:pt x="3270" y="1322"/>
                </a:lnTo>
                <a:lnTo>
                  <a:pt x="3268" y="1324"/>
                </a:lnTo>
                <a:lnTo>
                  <a:pt x="3264" y="1319"/>
                </a:lnTo>
                <a:lnTo>
                  <a:pt x="3261" y="1317"/>
                </a:lnTo>
                <a:lnTo>
                  <a:pt x="3259" y="1315"/>
                </a:lnTo>
                <a:lnTo>
                  <a:pt x="3259" y="1312"/>
                </a:lnTo>
                <a:lnTo>
                  <a:pt x="3258" y="1309"/>
                </a:lnTo>
                <a:lnTo>
                  <a:pt x="3257" y="1306"/>
                </a:lnTo>
                <a:lnTo>
                  <a:pt x="3256" y="1305"/>
                </a:lnTo>
                <a:lnTo>
                  <a:pt x="3256" y="1304"/>
                </a:lnTo>
                <a:lnTo>
                  <a:pt x="3257" y="1304"/>
                </a:lnTo>
                <a:lnTo>
                  <a:pt x="3258" y="1303"/>
                </a:lnTo>
                <a:lnTo>
                  <a:pt x="3260" y="1301"/>
                </a:lnTo>
                <a:lnTo>
                  <a:pt x="3263" y="1300"/>
                </a:lnTo>
                <a:lnTo>
                  <a:pt x="3265" y="1299"/>
                </a:lnTo>
                <a:lnTo>
                  <a:pt x="3266" y="1297"/>
                </a:lnTo>
                <a:lnTo>
                  <a:pt x="3266" y="1293"/>
                </a:lnTo>
                <a:lnTo>
                  <a:pt x="3268" y="1283"/>
                </a:lnTo>
                <a:lnTo>
                  <a:pt x="3270" y="1270"/>
                </a:lnTo>
                <a:lnTo>
                  <a:pt x="3269" y="1270"/>
                </a:lnTo>
                <a:lnTo>
                  <a:pt x="3266" y="1271"/>
                </a:lnTo>
                <a:lnTo>
                  <a:pt x="3264" y="1271"/>
                </a:lnTo>
                <a:lnTo>
                  <a:pt x="3262" y="1270"/>
                </a:lnTo>
                <a:lnTo>
                  <a:pt x="3261" y="1268"/>
                </a:lnTo>
                <a:lnTo>
                  <a:pt x="3262" y="1265"/>
                </a:lnTo>
                <a:lnTo>
                  <a:pt x="3262" y="1262"/>
                </a:lnTo>
                <a:lnTo>
                  <a:pt x="3262" y="1259"/>
                </a:lnTo>
                <a:lnTo>
                  <a:pt x="3269" y="1248"/>
                </a:lnTo>
                <a:lnTo>
                  <a:pt x="3276" y="1237"/>
                </a:lnTo>
                <a:lnTo>
                  <a:pt x="3270" y="1237"/>
                </a:lnTo>
                <a:lnTo>
                  <a:pt x="3267" y="1239"/>
                </a:lnTo>
                <a:lnTo>
                  <a:pt x="3263" y="1240"/>
                </a:lnTo>
                <a:lnTo>
                  <a:pt x="3261" y="1240"/>
                </a:lnTo>
                <a:lnTo>
                  <a:pt x="3259" y="1240"/>
                </a:lnTo>
                <a:lnTo>
                  <a:pt x="3259" y="1231"/>
                </a:lnTo>
                <a:lnTo>
                  <a:pt x="3251" y="1228"/>
                </a:lnTo>
                <a:lnTo>
                  <a:pt x="3249" y="1228"/>
                </a:lnTo>
                <a:lnTo>
                  <a:pt x="3246" y="1229"/>
                </a:lnTo>
                <a:lnTo>
                  <a:pt x="3241" y="1232"/>
                </a:lnTo>
                <a:lnTo>
                  <a:pt x="3235" y="1235"/>
                </a:lnTo>
                <a:lnTo>
                  <a:pt x="3231" y="1237"/>
                </a:lnTo>
                <a:lnTo>
                  <a:pt x="3228" y="1237"/>
                </a:lnTo>
                <a:lnTo>
                  <a:pt x="3226" y="1237"/>
                </a:lnTo>
                <a:lnTo>
                  <a:pt x="3221" y="1237"/>
                </a:lnTo>
                <a:lnTo>
                  <a:pt x="3217" y="1235"/>
                </a:lnTo>
                <a:lnTo>
                  <a:pt x="3213" y="1234"/>
                </a:lnTo>
                <a:lnTo>
                  <a:pt x="3208" y="1232"/>
                </a:lnTo>
                <a:lnTo>
                  <a:pt x="3203" y="1231"/>
                </a:lnTo>
                <a:lnTo>
                  <a:pt x="3200" y="1237"/>
                </a:lnTo>
                <a:lnTo>
                  <a:pt x="3199" y="1240"/>
                </a:lnTo>
                <a:lnTo>
                  <a:pt x="3197" y="1242"/>
                </a:lnTo>
                <a:lnTo>
                  <a:pt x="3195" y="1240"/>
                </a:lnTo>
                <a:lnTo>
                  <a:pt x="3193" y="1237"/>
                </a:lnTo>
                <a:lnTo>
                  <a:pt x="3189" y="1231"/>
                </a:lnTo>
                <a:lnTo>
                  <a:pt x="3184" y="1233"/>
                </a:lnTo>
                <a:lnTo>
                  <a:pt x="3179" y="1233"/>
                </a:lnTo>
                <a:lnTo>
                  <a:pt x="3171" y="1234"/>
                </a:lnTo>
                <a:lnTo>
                  <a:pt x="3152" y="1234"/>
                </a:lnTo>
                <a:lnTo>
                  <a:pt x="3149" y="1234"/>
                </a:lnTo>
                <a:lnTo>
                  <a:pt x="3146" y="1235"/>
                </a:lnTo>
                <a:lnTo>
                  <a:pt x="3137" y="1238"/>
                </a:lnTo>
                <a:lnTo>
                  <a:pt x="3129" y="1241"/>
                </a:lnTo>
                <a:lnTo>
                  <a:pt x="3124" y="1242"/>
                </a:lnTo>
                <a:lnTo>
                  <a:pt x="3119" y="1242"/>
                </a:lnTo>
                <a:lnTo>
                  <a:pt x="3113" y="1240"/>
                </a:lnTo>
                <a:lnTo>
                  <a:pt x="3110" y="1240"/>
                </a:lnTo>
                <a:lnTo>
                  <a:pt x="3106" y="1239"/>
                </a:lnTo>
                <a:lnTo>
                  <a:pt x="3102" y="1239"/>
                </a:lnTo>
                <a:lnTo>
                  <a:pt x="3099" y="1240"/>
                </a:lnTo>
                <a:lnTo>
                  <a:pt x="3095" y="1242"/>
                </a:lnTo>
                <a:lnTo>
                  <a:pt x="3091" y="1245"/>
                </a:lnTo>
                <a:lnTo>
                  <a:pt x="3088" y="1249"/>
                </a:lnTo>
                <a:lnTo>
                  <a:pt x="3085" y="1251"/>
                </a:lnTo>
                <a:lnTo>
                  <a:pt x="3082" y="1251"/>
                </a:lnTo>
                <a:lnTo>
                  <a:pt x="3079" y="1251"/>
                </a:lnTo>
                <a:lnTo>
                  <a:pt x="3076" y="1250"/>
                </a:lnTo>
                <a:lnTo>
                  <a:pt x="3075" y="1250"/>
                </a:lnTo>
                <a:lnTo>
                  <a:pt x="3074" y="1251"/>
                </a:lnTo>
                <a:lnTo>
                  <a:pt x="3072" y="1252"/>
                </a:lnTo>
                <a:lnTo>
                  <a:pt x="3071" y="1255"/>
                </a:lnTo>
                <a:lnTo>
                  <a:pt x="3069" y="1258"/>
                </a:lnTo>
                <a:lnTo>
                  <a:pt x="3068" y="1259"/>
                </a:lnTo>
                <a:lnTo>
                  <a:pt x="3065" y="1260"/>
                </a:lnTo>
                <a:lnTo>
                  <a:pt x="3063" y="1260"/>
                </a:lnTo>
                <a:lnTo>
                  <a:pt x="3058" y="1260"/>
                </a:lnTo>
                <a:lnTo>
                  <a:pt x="3053" y="1261"/>
                </a:lnTo>
                <a:lnTo>
                  <a:pt x="3051" y="1261"/>
                </a:lnTo>
                <a:lnTo>
                  <a:pt x="3048" y="1262"/>
                </a:lnTo>
                <a:lnTo>
                  <a:pt x="3046" y="1264"/>
                </a:lnTo>
                <a:lnTo>
                  <a:pt x="3044" y="1266"/>
                </a:lnTo>
                <a:lnTo>
                  <a:pt x="3040" y="1271"/>
                </a:lnTo>
                <a:lnTo>
                  <a:pt x="3035" y="1276"/>
                </a:lnTo>
                <a:lnTo>
                  <a:pt x="3032" y="1278"/>
                </a:lnTo>
                <a:lnTo>
                  <a:pt x="3029" y="1279"/>
                </a:lnTo>
                <a:lnTo>
                  <a:pt x="3026" y="1279"/>
                </a:lnTo>
                <a:lnTo>
                  <a:pt x="3024" y="1278"/>
                </a:lnTo>
                <a:lnTo>
                  <a:pt x="3022" y="1277"/>
                </a:lnTo>
                <a:lnTo>
                  <a:pt x="3020" y="1275"/>
                </a:lnTo>
                <a:lnTo>
                  <a:pt x="3018" y="1272"/>
                </a:lnTo>
                <a:lnTo>
                  <a:pt x="3017" y="1270"/>
                </a:lnTo>
                <a:lnTo>
                  <a:pt x="3016" y="1271"/>
                </a:lnTo>
                <a:lnTo>
                  <a:pt x="3015" y="1271"/>
                </a:lnTo>
                <a:lnTo>
                  <a:pt x="3014" y="1273"/>
                </a:lnTo>
                <a:lnTo>
                  <a:pt x="3013" y="1275"/>
                </a:lnTo>
                <a:lnTo>
                  <a:pt x="3012" y="1276"/>
                </a:lnTo>
                <a:lnTo>
                  <a:pt x="3004" y="1278"/>
                </a:lnTo>
                <a:lnTo>
                  <a:pt x="2996" y="1278"/>
                </a:lnTo>
                <a:lnTo>
                  <a:pt x="2988" y="1278"/>
                </a:lnTo>
                <a:lnTo>
                  <a:pt x="2981" y="1279"/>
                </a:lnTo>
                <a:lnTo>
                  <a:pt x="2969" y="1262"/>
                </a:lnTo>
                <a:lnTo>
                  <a:pt x="2958" y="1265"/>
                </a:lnTo>
                <a:lnTo>
                  <a:pt x="2956" y="1271"/>
                </a:lnTo>
                <a:lnTo>
                  <a:pt x="2954" y="1277"/>
                </a:lnTo>
                <a:lnTo>
                  <a:pt x="2951" y="1288"/>
                </a:lnTo>
                <a:lnTo>
                  <a:pt x="2950" y="1294"/>
                </a:lnTo>
                <a:lnTo>
                  <a:pt x="2948" y="1299"/>
                </a:lnTo>
                <a:lnTo>
                  <a:pt x="2945" y="1304"/>
                </a:lnTo>
                <a:lnTo>
                  <a:pt x="2941" y="1310"/>
                </a:lnTo>
                <a:lnTo>
                  <a:pt x="2938" y="1313"/>
                </a:lnTo>
                <a:lnTo>
                  <a:pt x="2932" y="1318"/>
                </a:lnTo>
                <a:lnTo>
                  <a:pt x="2926" y="1322"/>
                </a:lnTo>
                <a:lnTo>
                  <a:pt x="2922" y="1324"/>
                </a:lnTo>
                <a:lnTo>
                  <a:pt x="2919" y="1324"/>
                </a:lnTo>
                <a:lnTo>
                  <a:pt x="2916" y="1324"/>
                </a:lnTo>
                <a:lnTo>
                  <a:pt x="2913" y="1323"/>
                </a:lnTo>
                <a:lnTo>
                  <a:pt x="2910" y="1324"/>
                </a:lnTo>
                <a:lnTo>
                  <a:pt x="2909" y="1325"/>
                </a:lnTo>
                <a:lnTo>
                  <a:pt x="2906" y="1328"/>
                </a:lnTo>
                <a:lnTo>
                  <a:pt x="2901" y="1335"/>
                </a:lnTo>
                <a:lnTo>
                  <a:pt x="2896" y="1341"/>
                </a:lnTo>
                <a:lnTo>
                  <a:pt x="2894" y="1346"/>
                </a:lnTo>
                <a:lnTo>
                  <a:pt x="2893" y="1348"/>
                </a:lnTo>
                <a:lnTo>
                  <a:pt x="2895" y="1350"/>
                </a:lnTo>
                <a:lnTo>
                  <a:pt x="2896" y="1352"/>
                </a:lnTo>
                <a:lnTo>
                  <a:pt x="2896" y="1353"/>
                </a:lnTo>
                <a:lnTo>
                  <a:pt x="2896" y="1355"/>
                </a:lnTo>
                <a:lnTo>
                  <a:pt x="2896" y="1357"/>
                </a:lnTo>
                <a:lnTo>
                  <a:pt x="2894" y="1359"/>
                </a:lnTo>
                <a:lnTo>
                  <a:pt x="2891" y="1364"/>
                </a:lnTo>
                <a:lnTo>
                  <a:pt x="2887" y="1369"/>
                </a:lnTo>
                <a:lnTo>
                  <a:pt x="2886" y="1372"/>
                </a:lnTo>
                <a:lnTo>
                  <a:pt x="2885" y="1375"/>
                </a:lnTo>
                <a:lnTo>
                  <a:pt x="2885" y="1377"/>
                </a:lnTo>
                <a:lnTo>
                  <a:pt x="2886" y="1380"/>
                </a:lnTo>
                <a:lnTo>
                  <a:pt x="2887" y="1384"/>
                </a:lnTo>
                <a:lnTo>
                  <a:pt x="2889" y="1388"/>
                </a:lnTo>
                <a:lnTo>
                  <a:pt x="2891" y="1391"/>
                </a:lnTo>
                <a:lnTo>
                  <a:pt x="2891" y="1398"/>
                </a:lnTo>
                <a:lnTo>
                  <a:pt x="2891" y="1405"/>
                </a:lnTo>
                <a:lnTo>
                  <a:pt x="2890" y="1412"/>
                </a:lnTo>
                <a:lnTo>
                  <a:pt x="2888" y="1418"/>
                </a:lnTo>
                <a:lnTo>
                  <a:pt x="2885" y="1423"/>
                </a:lnTo>
                <a:lnTo>
                  <a:pt x="2883" y="1428"/>
                </a:lnTo>
                <a:lnTo>
                  <a:pt x="2877" y="1436"/>
                </a:lnTo>
                <a:lnTo>
                  <a:pt x="2873" y="1440"/>
                </a:lnTo>
                <a:lnTo>
                  <a:pt x="2870" y="1443"/>
                </a:lnTo>
                <a:lnTo>
                  <a:pt x="2862" y="1448"/>
                </a:lnTo>
                <a:lnTo>
                  <a:pt x="2853" y="1453"/>
                </a:lnTo>
                <a:lnTo>
                  <a:pt x="2849" y="1456"/>
                </a:lnTo>
                <a:lnTo>
                  <a:pt x="2846" y="1459"/>
                </a:lnTo>
                <a:lnTo>
                  <a:pt x="2845" y="1460"/>
                </a:lnTo>
                <a:lnTo>
                  <a:pt x="2844" y="1461"/>
                </a:lnTo>
                <a:lnTo>
                  <a:pt x="2844" y="1462"/>
                </a:lnTo>
                <a:lnTo>
                  <a:pt x="2843" y="1463"/>
                </a:lnTo>
                <a:lnTo>
                  <a:pt x="2840" y="1470"/>
                </a:lnTo>
                <a:lnTo>
                  <a:pt x="2836" y="1471"/>
                </a:lnTo>
                <a:lnTo>
                  <a:pt x="2832" y="1471"/>
                </a:lnTo>
                <a:lnTo>
                  <a:pt x="2829" y="1471"/>
                </a:lnTo>
                <a:lnTo>
                  <a:pt x="2828" y="1472"/>
                </a:lnTo>
                <a:lnTo>
                  <a:pt x="2826" y="1473"/>
                </a:lnTo>
                <a:lnTo>
                  <a:pt x="2825" y="1475"/>
                </a:lnTo>
                <a:lnTo>
                  <a:pt x="2824" y="1477"/>
                </a:lnTo>
                <a:lnTo>
                  <a:pt x="2823" y="1481"/>
                </a:lnTo>
                <a:lnTo>
                  <a:pt x="2822" y="1486"/>
                </a:lnTo>
                <a:lnTo>
                  <a:pt x="2821" y="1488"/>
                </a:lnTo>
                <a:lnTo>
                  <a:pt x="2820" y="1490"/>
                </a:lnTo>
                <a:lnTo>
                  <a:pt x="2817" y="1493"/>
                </a:lnTo>
                <a:lnTo>
                  <a:pt x="2813" y="1495"/>
                </a:lnTo>
                <a:lnTo>
                  <a:pt x="2809" y="1498"/>
                </a:lnTo>
                <a:lnTo>
                  <a:pt x="2807" y="1500"/>
                </a:lnTo>
                <a:lnTo>
                  <a:pt x="2806" y="1501"/>
                </a:lnTo>
                <a:lnTo>
                  <a:pt x="2804" y="1506"/>
                </a:lnTo>
                <a:lnTo>
                  <a:pt x="2802" y="1511"/>
                </a:lnTo>
                <a:lnTo>
                  <a:pt x="2799" y="1522"/>
                </a:lnTo>
                <a:lnTo>
                  <a:pt x="2796" y="1533"/>
                </a:lnTo>
                <a:lnTo>
                  <a:pt x="2795" y="1538"/>
                </a:lnTo>
                <a:lnTo>
                  <a:pt x="2792" y="1543"/>
                </a:lnTo>
                <a:lnTo>
                  <a:pt x="2789" y="1547"/>
                </a:lnTo>
                <a:lnTo>
                  <a:pt x="2785" y="1550"/>
                </a:lnTo>
                <a:lnTo>
                  <a:pt x="2781" y="1554"/>
                </a:lnTo>
                <a:lnTo>
                  <a:pt x="2780" y="1555"/>
                </a:lnTo>
                <a:lnTo>
                  <a:pt x="2778" y="1557"/>
                </a:lnTo>
                <a:lnTo>
                  <a:pt x="2776" y="1562"/>
                </a:lnTo>
                <a:lnTo>
                  <a:pt x="2775" y="1566"/>
                </a:lnTo>
                <a:lnTo>
                  <a:pt x="2773" y="1575"/>
                </a:lnTo>
                <a:lnTo>
                  <a:pt x="2771" y="1583"/>
                </a:lnTo>
                <a:lnTo>
                  <a:pt x="2769" y="1587"/>
                </a:lnTo>
                <a:lnTo>
                  <a:pt x="2767" y="1591"/>
                </a:lnTo>
                <a:lnTo>
                  <a:pt x="2765" y="1593"/>
                </a:lnTo>
                <a:lnTo>
                  <a:pt x="2763" y="1594"/>
                </a:lnTo>
                <a:lnTo>
                  <a:pt x="2760" y="1595"/>
                </a:lnTo>
                <a:lnTo>
                  <a:pt x="2759" y="1597"/>
                </a:lnTo>
                <a:lnTo>
                  <a:pt x="2757" y="1603"/>
                </a:lnTo>
                <a:lnTo>
                  <a:pt x="2756" y="1608"/>
                </a:lnTo>
                <a:lnTo>
                  <a:pt x="2756" y="1612"/>
                </a:lnTo>
                <a:lnTo>
                  <a:pt x="2756" y="1613"/>
                </a:lnTo>
                <a:lnTo>
                  <a:pt x="2756" y="1615"/>
                </a:lnTo>
                <a:lnTo>
                  <a:pt x="2757" y="1618"/>
                </a:lnTo>
                <a:lnTo>
                  <a:pt x="2759" y="1620"/>
                </a:lnTo>
                <a:lnTo>
                  <a:pt x="2762" y="1623"/>
                </a:lnTo>
                <a:lnTo>
                  <a:pt x="2765" y="1627"/>
                </a:lnTo>
                <a:lnTo>
                  <a:pt x="2766" y="1629"/>
                </a:lnTo>
                <a:lnTo>
                  <a:pt x="2767" y="1631"/>
                </a:lnTo>
                <a:lnTo>
                  <a:pt x="2767" y="1636"/>
                </a:lnTo>
                <a:lnTo>
                  <a:pt x="2766" y="1645"/>
                </a:lnTo>
                <a:lnTo>
                  <a:pt x="2765" y="1653"/>
                </a:lnTo>
                <a:lnTo>
                  <a:pt x="2764" y="1656"/>
                </a:lnTo>
                <a:lnTo>
                  <a:pt x="2766" y="1664"/>
                </a:lnTo>
                <a:lnTo>
                  <a:pt x="2768" y="1671"/>
                </a:lnTo>
                <a:lnTo>
                  <a:pt x="2770" y="1686"/>
                </a:lnTo>
                <a:lnTo>
                  <a:pt x="2771" y="1694"/>
                </a:lnTo>
                <a:lnTo>
                  <a:pt x="2771" y="1701"/>
                </a:lnTo>
                <a:lnTo>
                  <a:pt x="2770" y="1709"/>
                </a:lnTo>
                <a:lnTo>
                  <a:pt x="2769" y="1718"/>
                </a:lnTo>
                <a:lnTo>
                  <a:pt x="2767" y="1726"/>
                </a:lnTo>
                <a:lnTo>
                  <a:pt x="2761" y="1726"/>
                </a:lnTo>
                <a:lnTo>
                  <a:pt x="2761" y="1734"/>
                </a:lnTo>
                <a:lnTo>
                  <a:pt x="2761" y="1742"/>
                </a:lnTo>
                <a:lnTo>
                  <a:pt x="2760" y="1748"/>
                </a:lnTo>
                <a:lnTo>
                  <a:pt x="2760" y="1751"/>
                </a:lnTo>
                <a:lnTo>
                  <a:pt x="2759" y="1754"/>
                </a:lnTo>
                <a:lnTo>
                  <a:pt x="2756" y="1757"/>
                </a:lnTo>
                <a:lnTo>
                  <a:pt x="2753" y="1760"/>
                </a:lnTo>
                <a:lnTo>
                  <a:pt x="2749" y="1763"/>
                </a:lnTo>
                <a:lnTo>
                  <a:pt x="2748" y="1765"/>
                </a:lnTo>
                <a:lnTo>
                  <a:pt x="2747" y="1766"/>
                </a:lnTo>
                <a:lnTo>
                  <a:pt x="2747" y="1768"/>
                </a:lnTo>
                <a:lnTo>
                  <a:pt x="2748" y="1770"/>
                </a:lnTo>
                <a:lnTo>
                  <a:pt x="2750" y="1776"/>
                </a:lnTo>
                <a:lnTo>
                  <a:pt x="2757" y="1788"/>
                </a:lnTo>
                <a:lnTo>
                  <a:pt x="2760" y="1795"/>
                </a:lnTo>
                <a:lnTo>
                  <a:pt x="2761" y="1800"/>
                </a:lnTo>
                <a:lnTo>
                  <a:pt x="2760" y="1801"/>
                </a:lnTo>
                <a:lnTo>
                  <a:pt x="2759" y="1802"/>
                </a:lnTo>
                <a:lnTo>
                  <a:pt x="2758" y="1803"/>
                </a:lnTo>
                <a:lnTo>
                  <a:pt x="2758" y="1804"/>
                </a:lnTo>
                <a:lnTo>
                  <a:pt x="2758" y="1807"/>
                </a:lnTo>
                <a:lnTo>
                  <a:pt x="2759" y="1810"/>
                </a:lnTo>
                <a:lnTo>
                  <a:pt x="2762" y="1816"/>
                </a:lnTo>
                <a:lnTo>
                  <a:pt x="2764" y="1819"/>
                </a:lnTo>
                <a:lnTo>
                  <a:pt x="2764" y="1825"/>
                </a:lnTo>
                <a:lnTo>
                  <a:pt x="2765" y="1826"/>
                </a:lnTo>
                <a:lnTo>
                  <a:pt x="2767" y="1827"/>
                </a:lnTo>
                <a:lnTo>
                  <a:pt x="2771" y="1828"/>
                </a:lnTo>
                <a:lnTo>
                  <a:pt x="2775" y="1829"/>
                </a:lnTo>
                <a:lnTo>
                  <a:pt x="2778" y="1830"/>
                </a:lnTo>
                <a:lnTo>
                  <a:pt x="2779" y="1832"/>
                </a:lnTo>
                <a:lnTo>
                  <a:pt x="2779" y="1833"/>
                </a:lnTo>
                <a:lnTo>
                  <a:pt x="2780" y="1837"/>
                </a:lnTo>
                <a:lnTo>
                  <a:pt x="2780" y="1841"/>
                </a:lnTo>
                <a:lnTo>
                  <a:pt x="2781" y="1844"/>
                </a:lnTo>
                <a:lnTo>
                  <a:pt x="2787" y="1844"/>
                </a:lnTo>
                <a:lnTo>
                  <a:pt x="2789" y="1845"/>
                </a:lnTo>
                <a:lnTo>
                  <a:pt x="2790" y="1845"/>
                </a:lnTo>
                <a:lnTo>
                  <a:pt x="2790" y="1844"/>
                </a:lnTo>
                <a:lnTo>
                  <a:pt x="2791" y="1847"/>
                </a:lnTo>
                <a:lnTo>
                  <a:pt x="2792" y="1848"/>
                </a:lnTo>
                <a:lnTo>
                  <a:pt x="2793" y="1851"/>
                </a:lnTo>
                <a:lnTo>
                  <a:pt x="2796" y="1858"/>
                </a:lnTo>
                <a:lnTo>
                  <a:pt x="2801" y="1870"/>
                </a:lnTo>
                <a:lnTo>
                  <a:pt x="2809" y="1870"/>
                </a:lnTo>
                <a:lnTo>
                  <a:pt x="2809" y="1872"/>
                </a:lnTo>
                <a:lnTo>
                  <a:pt x="2807" y="1875"/>
                </a:lnTo>
                <a:lnTo>
                  <a:pt x="2806" y="1879"/>
                </a:lnTo>
                <a:lnTo>
                  <a:pt x="2806" y="1884"/>
                </a:lnTo>
                <a:lnTo>
                  <a:pt x="2807" y="1885"/>
                </a:lnTo>
                <a:lnTo>
                  <a:pt x="2808" y="1887"/>
                </a:lnTo>
                <a:lnTo>
                  <a:pt x="2812" y="1890"/>
                </a:lnTo>
                <a:lnTo>
                  <a:pt x="2818" y="1892"/>
                </a:lnTo>
                <a:lnTo>
                  <a:pt x="2819" y="1897"/>
                </a:lnTo>
                <a:lnTo>
                  <a:pt x="2820" y="1902"/>
                </a:lnTo>
                <a:lnTo>
                  <a:pt x="2821" y="1912"/>
                </a:lnTo>
                <a:lnTo>
                  <a:pt x="2822" y="1916"/>
                </a:lnTo>
                <a:lnTo>
                  <a:pt x="2823" y="1920"/>
                </a:lnTo>
                <a:lnTo>
                  <a:pt x="2824" y="1922"/>
                </a:lnTo>
                <a:lnTo>
                  <a:pt x="2825" y="1924"/>
                </a:lnTo>
                <a:lnTo>
                  <a:pt x="2829" y="1926"/>
                </a:lnTo>
                <a:lnTo>
                  <a:pt x="2830" y="1927"/>
                </a:lnTo>
                <a:lnTo>
                  <a:pt x="2828" y="1928"/>
                </a:lnTo>
                <a:lnTo>
                  <a:pt x="2826" y="1929"/>
                </a:lnTo>
                <a:lnTo>
                  <a:pt x="2826" y="1930"/>
                </a:lnTo>
                <a:lnTo>
                  <a:pt x="2826" y="1932"/>
                </a:lnTo>
                <a:lnTo>
                  <a:pt x="2827" y="1933"/>
                </a:lnTo>
                <a:lnTo>
                  <a:pt x="2828" y="1933"/>
                </a:lnTo>
                <a:lnTo>
                  <a:pt x="2828" y="1932"/>
                </a:lnTo>
                <a:lnTo>
                  <a:pt x="2829" y="1930"/>
                </a:lnTo>
                <a:lnTo>
                  <a:pt x="2829" y="1929"/>
                </a:lnTo>
                <a:lnTo>
                  <a:pt x="2835" y="1938"/>
                </a:lnTo>
                <a:lnTo>
                  <a:pt x="2839" y="1943"/>
                </a:lnTo>
                <a:lnTo>
                  <a:pt x="2841" y="1945"/>
                </a:lnTo>
                <a:lnTo>
                  <a:pt x="2843" y="1946"/>
                </a:lnTo>
                <a:lnTo>
                  <a:pt x="2845" y="1946"/>
                </a:lnTo>
                <a:lnTo>
                  <a:pt x="2847" y="1945"/>
                </a:lnTo>
                <a:lnTo>
                  <a:pt x="2850" y="1945"/>
                </a:lnTo>
                <a:lnTo>
                  <a:pt x="2851" y="1946"/>
                </a:lnTo>
                <a:lnTo>
                  <a:pt x="2853" y="1948"/>
                </a:lnTo>
                <a:lnTo>
                  <a:pt x="2854" y="1951"/>
                </a:lnTo>
                <a:lnTo>
                  <a:pt x="2855" y="1954"/>
                </a:lnTo>
                <a:lnTo>
                  <a:pt x="2857" y="1957"/>
                </a:lnTo>
                <a:lnTo>
                  <a:pt x="2859" y="1959"/>
                </a:lnTo>
                <a:lnTo>
                  <a:pt x="2862" y="1961"/>
                </a:lnTo>
                <a:lnTo>
                  <a:pt x="2865" y="1963"/>
                </a:lnTo>
                <a:lnTo>
                  <a:pt x="2868" y="1964"/>
                </a:lnTo>
                <a:lnTo>
                  <a:pt x="2874" y="1967"/>
                </a:lnTo>
                <a:lnTo>
                  <a:pt x="2877" y="1969"/>
                </a:lnTo>
                <a:lnTo>
                  <a:pt x="2879" y="1971"/>
                </a:lnTo>
                <a:lnTo>
                  <a:pt x="2884" y="1975"/>
                </a:lnTo>
                <a:lnTo>
                  <a:pt x="2889" y="1981"/>
                </a:lnTo>
                <a:lnTo>
                  <a:pt x="2894" y="1987"/>
                </a:lnTo>
                <a:lnTo>
                  <a:pt x="2899" y="1993"/>
                </a:lnTo>
                <a:lnTo>
                  <a:pt x="2902" y="1996"/>
                </a:lnTo>
                <a:lnTo>
                  <a:pt x="2905" y="1999"/>
                </a:lnTo>
                <a:lnTo>
                  <a:pt x="2909" y="2001"/>
                </a:lnTo>
                <a:lnTo>
                  <a:pt x="2913" y="2003"/>
                </a:lnTo>
                <a:lnTo>
                  <a:pt x="2916" y="2004"/>
                </a:lnTo>
                <a:lnTo>
                  <a:pt x="2921" y="2005"/>
                </a:lnTo>
                <a:lnTo>
                  <a:pt x="2925" y="2005"/>
                </a:lnTo>
                <a:lnTo>
                  <a:pt x="2930" y="2005"/>
                </a:lnTo>
                <a:lnTo>
                  <a:pt x="2932" y="2004"/>
                </a:lnTo>
                <a:lnTo>
                  <a:pt x="2933" y="2004"/>
                </a:lnTo>
                <a:lnTo>
                  <a:pt x="2937" y="2001"/>
                </a:lnTo>
                <a:lnTo>
                  <a:pt x="2944" y="1995"/>
                </a:lnTo>
                <a:lnTo>
                  <a:pt x="2950" y="1989"/>
                </a:lnTo>
                <a:lnTo>
                  <a:pt x="2953" y="1986"/>
                </a:lnTo>
                <a:lnTo>
                  <a:pt x="2955" y="1985"/>
                </a:lnTo>
                <a:lnTo>
                  <a:pt x="2962" y="1984"/>
                </a:lnTo>
                <a:lnTo>
                  <a:pt x="2968" y="1983"/>
                </a:lnTo>
                <a:lnTo>
                  <a:pt x="2974" y="1984"/>
                </a:lnTo>
                <a:lnTo>
                  <a:pt x="2979" y="1986"/>
                </a:lnTo>
                <a:lnTo>
                  <a:pt x="2983" y="1987"/>
                </a:lnTo>
                <a:lnTo>
                  <a:pt x="2988" y="1989"/>
                </a:lnTo>
                <a:lnTo>
                  <a:pt x="2993" y="1991"/>
                </a:lnTo>
                <a:lnTo>
                  <a:pt x="2997" y="1993"/>
                </a:lnTo>
                <a:lnTo>
                  <a:pt x="3003" y="1994"/>
                </a:lnTo>
                <a:lnTo>
                  <a:pt x="3006" y="1994"/>
                </a:lnTo>
                <a:lnTo>
                  <a:pt x="3009" y="1994"/>
                </a:lnTo>
                <a:lnTo>
                  <a:pt x="3011" y="1992"/>
                </a:lnTo>
                <a:lnTo>
                  <a:pt x="3016" y="1989"/>
                </a:lnTo>
                <a:lnTo>
                  <a:pt x="3020" y="1987"/>
                </a:lnTo>
                <a:lnTo>
                  <a:pt x="3023" y="1985"/>
                </a:lnTo>
                <a:lnTo>
                  <a:pt x="3026" y="1985"/>
                </a:lnTo>
                <a:lnTo>
                  <a:pt x="3029" y="1985"/>
                </a:lnTo>
                <a:lnTo>
                  <a:pt x="3032" y="1985"/>
                </a:lnTo>
                <a:lnTo>
                  <a:pt x="3033" y="1985"/>
                </a:lnTo>
                <a:lnTo>
                  <a:pt x="3034" y="1985"/>
                </a:lnTo>
                <a:lnTo>
                  <a:pt x="3038" y="1981"/>
                </a:lnTo>
                <a:lnTo>
                  <a:pt x="3041" y="1978"/>
                </a:lnTo>
                <a:lnTo>
                  <a:pt x="3043" y="1977"/>
                </a:lnTo>
                <a:lnTo>
                  <a:pt x="3047" y="1976"/>
                </a:lnTo>
                <a:lnTo>
                  <a:pt x="3052" y="1975"/>
                </a:lnTo>
                <a:lnTo>
                  <a:pt x="3060" y="1976"/>
                </a:lnTo>
                <a:lnTo>
                  <a:pt x="3068" y="1976"/>
                </a:lnTo>
                <a:lnTo>
                  <a:pt x="3072" y="1975"/>
                </a:lnTo>
                <a:lnTo>
                  <a:pt x="3076" y="1974"/>
                </a:lnTo>
                <a:lnTo>
                  <a:pt x="3077" y="1972"/>
                </a:lnTo>
                <a:lnTo>
                  <a:pt x="3079" y="1968"/>
                </a:lnTo>
                <a:lnTo>
                  <a:pt x="3080" y="1966"/>
                </a:lnTo>
                <a:lnTo>
                  <a:pt x="3081" y="1964"/>
                </a:lnTo>
                <a:lnTo>
                  <a:pt x="3083" y="1963"/>
                </a:lnTo>
                <a:lnTo>
                  <a:pt x="3084" y="1963"/>
                </a:lnTo>
                <a:lnTo>
                  <a:pt x="3085" y="1963"/>
                </a:lnTo>
                <a:lnTo>
                  <a:pt x="3086" y="1963"/>
                </a:lnTo>
                <a:lnTo>
                  <a:pt x="3087" y="1963"/>
                </a:lnTo>
                <a:lnTo>
                  <a:pt x="3087" y="1964"/>
                </a:lnTo>
                <a:lnTo>
                  <a:pt x="3087" y="1965"/>
                </a:lnTo>
                <a:lnTo>
                  <a:pt x="3087" y="1967"/>
                </a:lnTo>
                <a:lnTo>
                  <a:pt x="3086" y="1969"/>
                </a:lnTo>
                <a:lnTo>
                  <a:pt x="3086" y="1971"/>
                </a:lnTo>
                <a:lnTo>
                  <a:pt x="3086" y="1972"/>
                </a:lnTo>
                <a:lnTo>
                  <a:pt x="3087" y="1972"/>
                </a:lnTo>
                <a:lnTo>
                  <a:pt x="3090" y="1971"/>
                </a:lnTo>
                <a:lnTo>
                  <a:pt x="3092" y="1970"/>
                </a:lnTo>
                <a:lnTo>
                  <a:pt x="3093" y="1968"/>
                </a:lnTo>
                <a:lnTo>
                  <a:pt x="3096" y="1964"/>
                </a:lnTo>
                <a:lnTo>
                  <a:pt x="3099" y="1960"/>
                </a:lnTo>
                <a:lnTo>
                  <a:pt x="3100" y="1958"/>
                </a:lnTo>
                <a:lnTo>
                  <a:pt x="3102" y="1957"/>
                </a:lnTo>
                <a:lnTo>
                  <a:pt x="3104" y="1956"/>
                </a:lnTo>
                <a:lnTo>
                  <a:pt x="3108" y="1955"/>
                </a:lnTo>
                <a:lnTo>
                  <a:pt x="3116" y="1953"/>
                </a:lnTo>
                <a:lnTo>
                  <a:pt x="3124" y="1952"/>
                </a:lnTo>
                <a:lnTo>
                  <a:pt x="3131" y="1952"/>
                </a:lnTo>
                <a:lnTo>
                  <a:pt x="3138" y="1953"/>
                </a:lnTo>
                <a:lnTo>
                  <a:pt x="3141" y="1953"/>
                </a:lnTo>
                <a:lnTo>
                  <a:pt x="3144" y="1954"/>
                </a:lnTo>
                <a:lnTo>
                  <a:pt x="3149" y="1957"/>
                </a:lnTo>
                <a:lnTo>
                  <a:pt x="3156" y="1963"/>
                </a:lnTo>
                <a:lnTo>
                  <a:pt x="3163" y="1969"/>
                </a:lnTo>
                <a:lnTo>
                  <a:pt x="3165" y="1972"/>
                </a:lnTo>
                <a:lnTo>
                  <a:pt x="3166" y="1974"/>
                </a:lnTo>
                <a:lnTo>
                  <a:pt x="3167" y="1977"/>
                </a:lnTo>
                <a:lnTo>
                  <a:pt x="3167" y="1979"/>
                </a:lnTo>
                <a:lnTo>
                  <a:pt x="3166" y="1981"/>
                </a:lnTo>
                <a:lnTo>
                  <a:pt x="3165" y="1982"/>
                </a:lnTo>
                <a:lnTo>
                  <a:pt x="3164" y="1984"/>
                </a:lnTo>
                <a:lnTo>
                  <a:pt x="3163" y="1986"/>
                </a:lnTo>
                <a:lnTo>
                  <a:pt x="3163" y="1988"/>
                </a:lnTo>
                <a:lnTo>
                  <a:pt x="3164" y="1991"/>
                </a:lnTo>
                <a:lnTo>
                  <a:pt x="3165" y="1994"/>
                </a:lnTo>
                <a:lnTo>
                  <a:pt x="3169" y="1998"/>
                </a:lnTo>
                <a:lnTo>
                  <a:pt x="3172" y="2002"/>
                </a:lnTo>
                <a:lnTo>
                  <a:pt x="3175" y="2005"/>
                </a:lnTo>
                <a:lnTo>
                  <a:pt x="3189" y="2002"/>
                </a:lnTo>
                <a:lnTo>
                  <a:pt x="3203" y="1999"/>
                </a:lnTo>
                <a:lnTo>
                  <a:pt x="3203" y="1994"/>
                </a:lnTo>
                <a:lnTo>
                  <a:pt x="3206" y="1993"/>
                </a:lnTo>
                <a:lnTo>
                  <a:pt x="3208" y="1994"/>
                </a:lnTo>
                <a:lnTo>
                  <a:pt x="3209" y="1994"/>
                </a:lnTo>
                <a:lnTo>
                  <a:pt x="3210" y="1996"/>
                </a:lnTo>
                <a:lnTo>
                  <a:pt x="3211" y="1998"/>
                </a:lnTo>
                <a:lnTo>
                  <a:pt x="3211" y="1999"/>
                </a:lnTo>
                <a:lnTo>
                  <a:pt x="3213" y="1998"/>
                </a:lnTo>
                <a:lnTo>
                  <a:pt x="3215" y="1997"/>
                </a:lnTo>
                <a:lnTo>
                  <a:pt x="3217" y="1994"/>
                </a:lnTo>
                <a:lnTo>
                  <a:pt x="3218" y="1995"/>
                </a:lnTo>
                <a:lnTo>
                  <a:pt x="3219" y="1997"/>
                </a:lnTo>
                <a:lnTo>
                  <a:pt x="3219" y="1998"/>
                </a:lnTo>
                <a:lnTo>
                  <a:pt x="3220" y="1999"/>
                </a:lnTo>
                <a:lnTo>
                  <a:pt x="3221" y="1999"/>
                </a:lnTo>
                <a:lnTo>
                  <a:pt x="3223" y="1999"/>
                </a:lnTo>
                <a:lnTo>
                  <a:pt x="3223" y="1998"/>
                </a:lnTo>
                <a:lnTo>
                  <a:pt x="3223" y="1995"/>
                </a:lnTo>
                <a:lnTo>
                  <a:pt x="3224" y="1993"/>
                </a:lnTo>
                <a:lnTo>
                  <a:pt x="3225" y="1993"/>
                </a:lnTo>
                <a:lnTo>
                  <a:pt x="3226" y="1993"/>
                </a:lnTo>
                <a:lnTo>
                  <a:pt x="3228" y="1994"/>
                </a:lnTo>
                <a:lnTo>
                  <a:pt x="3225" y="2005"/>
                </a:lnTo>
                <a:lnTo>
                  <a:pt x="3228" y="2006"/>
                </a:lnTo>
                <a:lnTo>
                  <a:pt x="3231" y="2006"/>
                </a:lnTo>
                <a:lnTo>
                  <a:pt x="3234" y="2006"/>
                </a:lnTo>
                <a:lnTo>
                  <a:pt x="3237" y="2008"/>
                </a:lnTo>
                <a:lnTo>
                  <a:pt x="3237" y="2010"/>
                </a:lnTo>
                <a:lnTo>
                  <a:pt x="3237" y="2012"/>
                </a:lnTo>
                <a:lnTo>
                  <a:pt x="3238" y="2014"/>
                </a:lnTo>
                <a:lnTo>
                  <a:pt x="3241" y="2018"/>
                </a:lnTo>
                <a:lnTo>
                  <a:pt x="3243" y="2021"/>
                </a:lnTo>
                <a:lnTo>
                  <a:pt x="3245" y="2024"/>
                </a:lnTo>
                <a:lnTo>
                  <a:pt x="3245" y="2029"/>
                </a:lnTo>
                <a:lnTo>
                  <a:pt x="3245" y="2034"/>
                </a:lnTo>
                <a:lnTo>
                  <a:pt x="3244" y="2039"/>
                </a:lnTo>
                <a:lnTo>
                  <a:pt x="3244" y="2040"/>
                </a:lnTo>
                <a:lnTo>
                  <a:pt x="3243" y="2050"/>
                </a:lnTo>
                <a:lnTo>
                  <a:pt x="3242" y="2055"/>
                </a:lnTo>
                <a:lnTo>
                  <a:pt x="3242" y="2059"/>
                </a:lnTo>
                <a:lnTo>
                  <a:pt x="3241" y="2061"/>
                </a:lnTo>
                <a:lnTo>
                  <a:pt x="3239" y="2064"/>
                </a:lnTo>
                <a:lnTo>
                  <a:pt x="3236" y="2068"/>
                </a:lnTo>
                <a:lnTo>
                  <a:pt x="3234" y="2072"/>
                </a:lnTo>
                <a:lnTo>
                  <a:pt x="3235" y="2075"/>
                </a:lnTo>
                <a:lnTo>
                  <a:pt x="3238" y="2080"/>
                </a:lnTo>
                <a:lnTo>
                  <a:pt x="3240" y="2085"/>
                </a:lnTo>
                <a:lnTo>
                  <a:pt x="3241" y="2088"/>
                </a:lnTo>
                <a:lnTo>
                  <a:pt x="3239" y="2089"/>
                </a:lnTo>
                <a:lnTo>
                  <a:pt x="3238" y="2090"/>
                </a:lnTo>
                <a:lnTo>
                  <a:pt x="3237" y="2091"/>
                </a:lnTo>
                <a:lnTo>
                  <a:pt x="3235" y="2095"/>
                </a:lnTo>
                <a:lnTo>
                  <a:pt x="3232" y="2106"/>
                </a:lnTo>
                <a:lnTo>
                  <a:pt x="3229" y="2118"/>
                </a:lnTo>
                <a:lnTo>
                  <a:pt x="3225" y="2129"/>
                </a:lnTo>
                <a:lnTo>
                  <a:pt x="3230" y="2131"/>
                </a:lnTo>
                <a:lnTo>
                  <a:pt x="3232" y="2133"/>
                </a:lnTo>
                <a:lnTo>
                  <a:pt x="3235" y="2136"/>
                </a:lnTo>
                <a:lnTo>
                  <a:pt x="3236" y="2138"/>
                </a:lnTo>
                <a:lnTo>
                  <a:pt x="3236" y="2140"/>
                </a:lnTo>
                <a:lnTo>
                  <a:pt x="3236" y="2141"/>
                </a:lnTo>
                <a:lnTo>
                  <a:pt x="3235" y="2143"/>
                </a:lnTo>
                <a:lnTo>
                  <a:pt x="3231" y="2145"/>
                </a:lnTo>
                <a:lnTo>
                  <a:pt x="3238" y="2151"/>
                </a:lnTo>
                <a:lnTo>
                  <a:pt x="3248" y="2158"/>
                </a:lnTo>
                <a:lnTo>
                  <a:pt x="3256" y="2165"/>
                </a:lnTo>
                <a:lnTo>
                  <a:pt x="3260" y="2168"/>
                </a:lnTo>
                <a:lnTo>
                  <a:pt x="3262" y="2171"/>
                </a:lnTo>
                <a:lnTo>
                  <a:pt x="3259" y="2179"/>
                </a:lnTo>
                <a:lnTo>
                  <a:pt x="3263" y="2182"/>
                </a:lnTo>
                <a:lnTo>
                  <a:pt x="3268" y="2186"/>
                </a:lnTo>
                <a:lnTo>
                  <a:pt x="3273" y="2190"/>
                </a:lnTo>
                <a:lnTo>
                  <a:pt x="3275" y="2191"/>
                </a:lnTo>
                <a:lnTo>
                  <a:pt x="3276" y="2193"/>
                </a:lnTo>
                <a:lnTo>
                  <a:pt x="3277" y="2196"/>
                </a:lnTo>
                <a:lnTo>
                  <a:pt x="3277" y="2198"/>
                </a:lnTo>
                <a:lnTo>
                  <a:pt x="3278" y="2199"/>
                </a:lnTo>
                <a:lnTo>
                  <a:pt x="3279" y="2200"/>
                </a:lnTo>
                <a:lnTo>
                  <a:pt x="3284" y="2210"/>
                </a:lnTo>
                <a:lnTo>
                  <a:pt x="3285" y="2212"/>
                </a:lnTo>
                <a:lnTo>
                  <a:pt x="3285" y="2213"/>
                </a:lnTo>
                <a:lnTo>
                  <a:pt x="3284" y="2215"/>
                </a:lnTo>
                <a:lnTo>
                  <a:pt x="3283" y="2216"/>
                </a:lnTo>
                <a:lnTo>
                  <a:pt x="3282" y="2217"/>
                </a:lnTo>
                <a:lnTo>
                  <a:pt x="3281" y="2218"/>
                </a:lnTo>
                <a:lnTo>
                  <a:pt x="3282" y="2219"/>
                </a:lnTo>
                <a:lnTo>
                  <a:pt x="3283" y="2221"/>
                </a:lnTo>
                <a:lnTo>
                  <a:pt x="3285" y="2223"/>
                </a:lnTo>
                <a:lnTo>
                  <a:pt x="3287" y="2228"/>
                </a:lnTo>
                <a:lnTo>
                  <a:pt x="3289" y="2233"/>
                </a:lnTo>
                <a:lnTo>
                  <a:pt x="3290" y="2239"/>
                </a:lnTo>
                <a:lnTo>
                  <a:pt x="3293" y="2250"/>
                </a:lnTo>
                <a:lnTo>
                  <a:pt x="3294" y="2251"/>
                </a:lnTo>
                <a:lnTo>
                  <a:pt x="3297" y="2254"/>
                </a:lnTo>
                <a:lnTo>
                  <a:pt x="3301" y="2258"/>
                </a:lnTo>
                <a:lnTo>
                  <a:pt x="3303" y="2262"/>
                </a:lnTo>
                <a:lnTo>
                  <a:pt x="3304" y="2266"/>
                </a:lnTo>
                <a:lnTo>
                  <a:pt x="3304" y="2269"/>
                </a:lnTo>
                <a:lnTo>
                  <a:pt x="3304" y="2272"/>
                </a:lnTo>
                <a:lnTo>
                  <a:pt x="3304" y="2277"/>
                </a:lnTo>
                <a:lnTo>
                  <a:pt x="3304" y="2283"/>
                </a:lnTo>
                <a:lnTo>
                  <a:pt x="3310" y="2289"/>
                </a:lnTo>
                <a:lnTo>
                  <a:pt x="3310" y="2294"/>
                </a:lnTo>
                <a:lnTo>
                  <a:pt x="3309" y="2299"/>
                </a:lnTo>
                <a:lnTo>
                  <a:pt x="3306" y="2310"/>
                </a:lnTo>
                <a:lnTo>
                  <a:pt x="3304" y="2320"/>
                </a:lnTo>
                <a:lnTo>
                  <a:pt x="3304" y="2324"/>
                </a:lnTo>
                <a:lnTo>
                  <a:pt x="3304" y="2326"/>
                </a:lnTo>
                <a:lnTo>
                  <a:pt x="3304" y="2328"/>
                </a:lnTo>
                <a:lnTo>
                  <a:pt x="3307" y="2330"/>
                </a:lnTo>
                <a:lnTo>
                  <a:pt x="3309" y="2330"/>
                </a:lnTo>
                <a:lnTo>
                  <a:pt x="3310" y="2331"/>
                </a:lnTo>
                <a:lnTo>
                  <a:pt x="3313" y="2342"/>
                </a:lnTo>
                <a:lnTo>
                  <a:pt x="3314" y="2347"/>
                </a:lnTo>
                <a:lnTo>
                  <a:pt x="3315" y="2353"/>
                </a:lnTo>
                <a:lnTo>
                  <a:pt x="3315" y="2365"/>
                </a:lnTo>
                <a:lnTo>
                  <a:pt x="3314" y="2371"/>
                </a:lnTo>
                <a:lnTo>
                  <a:pt x="3313" y="2373"/>
                </a:lnTo>
                <a:lnTo>
                  <a:pt x="3313" y="2376"/>
                </a:lnTo>
                <a:lnTo>
                  <a:pt x="3310" y="2380"/>
                </a:lnTo>
                <a:lnTo>
                  <a:pt x="3307" y="2384"/>
                </a:lnTo>
                <a:lnTo>
                  <a:pt x="3303" y="2387"/>
                </a:lnTo>
                <a:lnTo>
                  <a:pt x="3302" y="2389"/>
                </a:lnTo>
                <a:lnTo>
                  <a:pt x="3301" y="2390"/>
                </a:lnTo>
                <a:lnTo>
                  <a:pt x="3301" y="2392"/>
                </a:lnTo>
                <a:lnTo>
                  <a:pt x="3302" y="2394"/>
                </a:lnTo>
                <a:lnTo>
                  <a:pt x="3302" y="2397"/>
                </a:lnTo>
                <a:lnTo>
                  <a:pt x="3302" y="2398"/>
                </a:lnTo>
                <a:lnTo>
                  <a:pt x="3301" y="2399"/>
                </a:lnTo>
                <a:lnTo>
                  <a:pt x="3300" y="2400"/>
                </a:lnTo>
                <a:lnTo>
                  <a:pt x="3297" y="2400"/>
                </a:lnTo>
                <a:lnTo>
                  <a:pt x="3294" y="2401"/>
                </a:lnTo>
                <a:lnTo>
                  <a:pt x="3293" y="2401"/>
                </a:lnTo>
                <a:lnTo>
                  <a:pt x="3291" y="2406"/>
                </a:lnTo>
                <a:lnTo>
                  <a:pt x="3290" y="2410"/>
                </a:lnTo>
                <a:lnTo>
                  <a:pt x="3290" y="2414"/>
                </a:lnTo>
                <a:lnTo>
                  <a:pt x="3290" y="2417"/>
                </a:lnTo>
                <a:lnTo>
                  <a:pt x="3291" y="2424"/>
                </a:lnTo>
                <a:lnTo>
                  <a:pt x="3291" y="2428"/>
                </a:lnTo>
                <a:lnTo>
                  <a:pt x="3290" y="2432"/>
                </a:lnTo>
                <a:lnTo>
                  <a:pt x="3288" y="2437"/>
                </a:lnTo>
                <a:lnTo>
                  <a:pt x="3283" y="2443"/>
                </a:lnTo>
                <a:lnTo>
                  <a:pt x="3278" y="2450"/>
                </a:lnTo>
                <a:lnTo>
                  <a:pt x="3277" y="2453"/>
                </a:lnTo>
                <a:lnTo>
                  <a:pt x="3276" y="2455"/>
                </a:lnTo>
                <a:lnTo>
                  <a:pt x="3276" y="2461"/>
                </a:lnTo>
                <a:lnTo>
                  <a:pt x="3275" y="2469"/>
                </a:lnTo>
                <a:lnTo>
                  <a:pt x="3276" y="2492"/>
                </a:lnTo>
                <a:lnTo>
                  <a:pt x="3277" y="2510"/>
                </a:lnTo>
                <a:lnTo>
                  <a:pt x="3278" y="2516"/>
                </a:lnTo>
                <a:lnTo>
                  <a:pt x="3279" y="2520"/>
                </a:lnTo>
                <a:lnTo>
                  <a:pt x="3284" y="2520"/>
                </a:lnTo>
                <a:lnTo>
                  <a:pt x="3301" y="2539"/>
                </a:lnTo>
                <a:lnTo>
                  <a:pt x="3303" y="2543"/>
                </a:lnTo>
                <a:lnTo>
                  <a:pt x="3303" y="2547"/>
                </a:lnTo>
                <a:lnTo>
                  <a:pt x="3303" y="2555"/>
                </a:lnTo>
                <a:lnTo>
                  <a:pt x="3303" y="2563"/>
                </a:lnTo>
                <a:lnTo>
                  <a:pt x="3303" y="2566"/>
                </a:lnTo>
                <a:lnTo>
                  <a:pt x="3304" y="2570"/>
                </a:lnTo>
                <a:lnTo>
                  <a:pt x="3305" y="2573"/>
                </a:lnTo>
                <a:lnTo>
                  <a:pt x="3307" y="2575"/>
                </a:lnTo>
                <a:lnTo>
                  <a:pt x="3311" y="2579"/>
                </a:lnTo>
                <a:lnTo>
                  <a:pt x="3316" y="2583"/>
                </a:lnTo>
                <a:lnTo>
                  <a:pt x="3317" y="2585"/>
                </a:lnTo>
                <a:lnTo>
                  <a:pt x="3318" y="2587"/>
                </a:lnTo>
                <a:lnTo>
                  <a:pt x="3319" y="2589"/>
                </a:lnTo>
                <a:lnTo>
                  <a:pt x="3319" y="2591"/>
                </a:lnTo>
                <a:lnTo>
                  <a:pt x="3318" y="2594"/>
                </a:lnTo>
                <a:lnTo>
                  <a:pt x="3318" y="2598"/>
                </a:lnTo>
                <a:lnTo>
                  <a:pt x="3318" y="2602"/>
                </a:lnTo>
                <a:lnTo>
                  <a:pt x="3319" y="2603"/>
                </a:lnTo>
                <a:lnTo>
                  <a:pt x="3320" y="2605"/>
                </a:lnTo>
                <a:lnTo>
                  <a:pt x="3324" y="2607"/>
                </a:lnTo>
                <a:lnTo>
                  <a:pt x="3328" y="2610"/>
                </a:lnTo>
                <a:lnTo>
                  <a:pt x="3329" y="2612"/>
                </a:lnTo>
                <a:lnTo>
                  <a:pt x="3329" y="2613"/>
                </a:lnTo>
                <a:lnTo>
                  <a:pt x="3330" y="2617"/>
                </a:lnTo>
                <a:lnTo>
                  <a:pt x="3330" y="2622"/>
                </a:lnTo>
                <a:lnTo>
                  <a:pt x="3329" y="2631"/>
                </a:lnTo>
                <a:lnTo>
                  <a:pt x="3327" y="2640"/>
                </a:lnTo>
                <a:lnTo>
                  <a:pt x="3327" y="2644"/>
                </a:lnTo>
                <a:lnTo>
                  <a:pt x="3327" y="2647"/>
                </a:lnTo>
                <a:lnTo>
                  <a:pt x="3327" y="2649"/>
                </a:lnTo>
                <a:lnTo>
                  <a:pt x="3328" y="2652"/>
                </a:lnTo>
                <a:lnTo>
                  <a:pt x="3331" y="2659"/>
                </a:lnTo>
                <a:lnTo>
                  <a:pt x="3335" y="2670"/>
                </a:lnTo>
                <a:lnTo>
                  <a:pt x="3336" y="2679"/>
                </a:lnTo>
                <a:lnTo>
                  <a:pt x="3336" y="2688"/>
                </a:lnTo>
                <a:lnTo>
                  <a:pt x="3336" y="2702"/>
                </a:lnTo>
                <a:lnTo>
                  <a:pt x="3336" y="2709"/>
                </a:lnTo>
                <a:lnTo>
                  <a:pt x="3337" y="2717"/>
                </a:lnTo>
                <a:lnTo>
                  <a:pt x="3338" y="2725"/>
                </a:lnTo>
                <a:lnTo>
                  <a:pt x="3341" y="2734"/>
                </a:lnTo>
                <a:lnTo>
                  <a:pt x="3342" y="2738"/>
                </a:lnTo>
                <a:lnTo>
                  <a:pt x="3346" y="2743"/>
                </a:lnTo>
                <a:lnTo>
                  <a:pt x="3349" y="2749"/>
                </a:lnTo>
                <a:lnTo>
                  <a:pt x="3352" y="2751"/>
                </a:lnTo>
                <a:lnTo>
                  <a:pt x="3354" y="2751"/>
                </a:lnTo>
                <a:lnTo>
                  <a:pt x="3356" y="2751"/>
                </a:lnTo>
                <a:lnTo>
                  <a:pt x="3359" y="2751"/>
                </a:lnTo>
                <a:lnTo>
                  <a:pt x="3360" y="2751"/>
                </a:lnTo>
                <a:lnTo>
                  <a:pt x="3362" y="2755"/>
                </a:lnTo>
                <a:lnTo>
                  <a:pt x="3362" y="2758"/>
                </a:lnTo>
                <a:lnTo>
                  <a:pt x="3362" y="2762"/>
                </a:lnTo>
                <a:lnTo>
                  <a:pt x="3363" y="2764"/>
                </a:lnTo>
                <a:lnTo>
                  <a:pt x="3363" y="2765"/>
                </a:lnTo>
                <a:lnTo>
                  <a:pt x="3364" y="2767"/>
                </a:lnTo>
                <a:lnTo>
                  <a:pt x="3365" y="2768"/>
                </a:lnTo>
                <a:lnTo>
                  <a:pt x="3369" y="2771"/>
                </a:lnTo>
                <a:lnTo>
                  <a:pt x="3372" y="2774"/>
                </a:lnTo>
                <a:lnTo>
                  <a:pt x="3374" y="2777"/>
                </a:lnTo>
                <a:lnTo>
                  <a:pt x="3375" y="2781"/>
                </a:lnTo>
                <a:lnTo>
                  <a:pt x="3375" y="2788"/>
                </a:lnTo>
                <a:lnTo>
                  <a:pt x="3375" y="2797"/>
                </a:lnTo>
                <a:lnTo>
                  <a:pt x="3376" y="2801"/>
                </a:lnTo>
                <a:lnTo>
                  <a:pt x="3377" y="2805"/>
                </a:lnTo>
                <a:lnTo>
                  <a:pt x="3379" y="2807"/>
                </a:lnTo>
                <a:lnTo>
                  <a:pt x="3382" y="2808"/>
                </a:lnTo>
                <a:lnTo>
                  <a:pt x="3386" y="2810"/>
                </a:lnTo>
                <a:lnTo>
                  <a:pt x="3389" y="2817"/>
                </a:lnTo>
                <a:lnTo>
                  <a:pt x="3392" y="2828"/>
                </a:lnTo>
                <a:lnTo>
                  <a:pt x="3394" y="2838"/>
                </a:lnTo>
                <a:lnTo>
                  <a:pt x="3394" y="2843"/>
                </a:lnTo>
                <a:lnTo>
                  <a:pt x="3394" y="2847"/>
                </a:lnTo>
                <a:lnTo>
                  <a:pt x="3393" y="2851"/>
                </a:lnTo>
                <a:lnTo>
                  <a:pt x="3392" y="2853"/>
                </a:lnTo>
                <a:lnTo>
                  <a:pt x="3390" y="2855"/>
                </a:lnTo>
                <a:lnTo>
                  <a:pt x="3388" y="2856"/>
                </a:lnTo>
                <a:lnTo>
                  <a:pt x="3385" y="2859"/>
                </a:lnTo>
                <a:lnTo>
                  <a:pt x="3384" y="2861"/>
                </a:lnTo>
                <a:lnTo>
                  <a:pt x="3383" y="2864"/>
                </a:lnTo>
                <a:lnTo>
                  <a:pt x="3389" y="2867"/>
                </a:lnTo>
                <a:lnTo>
                  <a:pt x="3389" y="2881"/>
                </a:lnTo>
                <a:lnTo>
                  <a:pt x="3390" y="2886"/>
                </a:lnTo>
                <a:lnTo>
                  <a:pt x="3391" y="2891"/>
                </a:lnTo>
                <a:lnTo>
                  <a:pt x="3392" y="2895"/>
                </a:lnTo>
                <a:lnTo>
                  <a:pt x="3393" y="2897"/>
                </a:lnTo>
                <a:lnTo>
                  <a:pt x="3394" y="2898"/>
                </a:lnTo>
                <a:lnTo>
                  <a:pt x="3394" y="2900"/>
                </a:lnTo>
                <a:lnTo>
                  <a:pt x="3403" y="2895"/>
                </a:lnTo>
                <a:lnTo>
                  <a:pt x="3403" y="2900"/>
                </a:lnTo>
                <a:lnTo>
                  <a:pt x="3405" y="2901"/>
                </a:lnTo>
                <a:lnTo>
                  <a:pt x="3407" y="2901"/>
                </a:lnTo>
                <a:lnTo>
                  <a:pt x="3411" y="2900"/>
                </a:lnTo>
                <a:lnTo>
                  <a:pt x="3414" y="2906"/>
                </a:lnTo>
                <a:lnTo>
                  <a:pt x="3416" y="2906"/>
                </a:lnTo>
                <a:lnTo>
                  <a:pt x="3419" y="2906"/>
                </a:lnTo>
                <a:lnTo>
                  <a:pt x="3423" y="2906"/>
                </a:lnTo>
                <a:lnTo>
                  <a:pt x="3428" y="2904"/>
                </a:lnTo>
                <a:lnTo>
                  <a:pt x="3431" y="2902"/>
                </a:lnTo>
                <a:lnTo>
                  <a:pt x="3438" y="2897"/>
                </a:lnTo>
                <a:lnTo>
                  <a:pt x="3440" y="2896"/>
                </a:lnTo>
                <a:lnTo>
                  <a:pt x="3442" y="2895"/>
                </a:lnTo>
                <a:lnTo>
                  <a:pt x="3445" y="2894"/>
                </a:lnTo>
                <a:lnTo>
                  <a:pt x="3448" y="2895"/>
                </a:lnTo>
                <a:lnTo>
                  <a:pt x="3453" y="2896"/>
                </a:lnTo>
                <a:lnTo>
                  <a:pt x="3457" y="2897"/>
                </a:lnTo>
                <a:lnTo>
                  <a:pt x="3460" y="2898"/>
                </a:lnTo>
                <a:lnTo>
                  <a:pt x="3462" y="2898"/>
                </a:lnTo>
                <a:lnTo>
                  <a:pt x="3466" y="2893"/>
                </a:lnTo>
                <a:lnTo>
                  <a:pt x="3468" y="2891"/>
                </a:lnTo>
                <a:lnTo>
                  <a:pt x="3470" y="2889"/>
                </a:lnTo>
                <a:lnTo>
                  <a:pt x="3478" y="2888"/>
                </a:lnTo>
                <a:lnTo>
                  <a:pt x="3484" y="2887"/>
                </a:lnTo>
                <a:lnTo>
                  <a:pt x="3489" y="2888"/>
                </a:lnTo>
                <a:lnTo>
                  <a:pt x="3494" y="2889"/>
                </a:lnTo>
                <a:lnTo>
                  <a:pt x="3504" y="2891"/>
                </a:lnTo>
                <a:lnTo>
                  <a:pt x="3509" y="2892"/>
                </a:lnTo>
                <a:lnTo>
                  <a:pt x="3515" y="2892"/>
                </a:lnTo>
                <a:lnTo>
                  <a:pt x="3518" y="2886"/>
                </a:lnTo>
                <a:lnTo>
                  <a:pt x="3526" y="2887"/>
                </a:lnTo>
                <a:lnTo>
                  <a:pt x="3535" y="2886"/>
                </a:lnTo>
                <a:lnTo>
                  <a:pt x="3535" y="2881"/>
                </a:lnTo>
                <a:lnTo>
                  <a:pt x="3537" y="2880"/>
                </a:lnTo>
                <a:lnTo>
                  <a:pt x="3538" y="2880"/>
                </a:lnTo>
                <a:lnTo>
                  <a:pt x="3542" y="2881"/>
                </a:lnTo>
                <a:lnTo>
                  <a:pt x="3545" y="2881"/>
                </a:lnTo>
                <a:lnTo>
                  <a:pt x="3549" y="2881"/>
                </a:lnTo>
                <a:lnTo>
                  <a:pt x="3553" y="2879"/>
                </a:lnTo>
                <a:lnTo>
                  <a:pt x="3556" y="2878"/>
                </a:lnTo>
                <a:lnTo>
                  <a:pt x="3564" y="2872"/>
                </a:lnTo>
                <a:lnTo>
                  <a:pt x="3567" y="2869"/>
                </a:lnTo>
                <a:lnTo>
                  <a:pt x="3571" y="2865"/>
                </a:lnTo>
                <a:lnTo>
                  <a:pt x="3578" y="2858"/>
                </a:lnTo>
                <a:lnTo>
                  <a:pt x="3591" y="2841"/>
                </a:lnTo>
                <a:lnTo>
                  <a:pt x="3597" y="2834"/>
                </a:lnTo>
                <a:lnTo>
                  <a:pt x="3602" y="2827"/>
                </a:lnTo>
                <a:lnTo>
                  <a:pt x="3605" y="2824"/>
                </a:lnTo>
                <a:lnTo>
                  <a:pt x="3610" y="2822"/>
                </a:lnTo>
                <a:lnTo>
                  <a:pt x="3613" y="2819"/>
                </a:lnTo>
                <a:lnTo>
                  <a:pt x="3616" y="2816"/>
                </a:lnTo>
                <a:lnTo>
                  <a:pt x="3617" y="2815"/>
                </a:lnTo>
                <a:lnTo>
                  <a:pt x="3617" y="2814"/>
                </a:lnTo>
                <a:lnTo>
                  <a:pt x="3617" y="2812"/>
                </a:lnTo>
                <a:lnTo>
                  <a:pt x="3616" y="2810"/>
                </a:lnTo>
                <a:lnTo>
                  <a:pt x="3616" y="2808"/>
                </a:lnTo>
                <a:lnTo>
                  <a:pt x="3619" y="2808"/>
                </a:lnTo>
                <a:lnTo>
                  <a:pt x="3626" y="2792"/>
                </a:lnTo>
                <a:lnTo>
                  <a:pt x="3629" y="2783"/>
                </a:lnTo>
                <a:lnTo>
                  <a:pt x="3633" y="2777"/>
                </a:lnTo>
                <a:lnTo>
                  <a:pt x="3637" y="2774"/>
                </a:lnTo>
                <a:lnTo>
                  <a:pt x="3644" y="2770"/>
                </a:lnTo>
                <a:lnTo>
                  <a:pt x="3656" y="2763"/>
                </a:lnTo>
                <a:lnTo>
                  <a:pt x="3650" y="2757"/>
                </a:lnTo>
                <a:lnTo>
                  <a:pt x="3651" y="2755"/>
                </a:lnTo>
                <a:lnTo>
                  <a:pt x="3650" y="2753"/>
                </a:lnTo>
                <a:lnTo>
                  <a:pt x="3650" y="2749"/>
                </a:lnTo>
                <a:lnTo>
                  <a:pt x="3659" y="2749"/>
                </a:lnTo>
                <a:lnTo>
                  <a:pt x="3660" y="2735"/>
                </a:lnTo>
                <a:lnTo>
                  <a:pt x="3661" y="2713"/>
                </a:lnTo>
                <a:lnTo>
                  <a:pt x="3661" y="2706"/>
                </a:lnTo>
                <a:lnTo>
                  <a:pt x="3660" y="2705"/>
                </a:lnTo>
                <a:lnTo>
                  <a:pt x="3657" y="2703"/>
                </a:lnTo>
                <a:lnTo>
                  <a:pt x="3655" y="2700"/>
                </a:lnTo>
                <a:lnTo>
                  <a:pt x="3653" y="2698"/>
                </a:lnTo>
                <a:lnTo>
                  <a:pt x="3668" y="2687"/>
                </a:lnTo>
                <a:lnTo>
                  <a:pt x="3676" y="2682"/>
                </a:lnTo>
                <a:lnTo>
                  <a:pt x="3680" y="2680"/>
                </a:lnTo>
                <a:lnTo>
                  <a:pt x="3684" y="2678"/>
                </a:lnTo>
                <a:lnTo>
                  <a:pt x="3689" y="2677"/>
                </a:lnTo>
                <a:lnTo>
                  <a:pt x="3694" y="2676"/>
                </a:lnTo>
                <a:lnTo>
                  <a:pt x="3699" y="2675"/>
                </a:lnTo>
                <a:lnTo>
                  <a:pt x="3701" y="2674"/>
                </a:lnTo>
                <a:lnTo>
                  <a:pt x="3704" y="2673"/>
                </a:lnTo>
                <a:lnTo>
                  <a:pt x="3706" y="2670"/>
                </a:lnTo>
                <a:lnTo>
                  <a:pt x="3707" y="2666"/>
                </a:lnTo>
                <a:lnTo>
                  <a:pt x="3708" y="2661"/>
                </a:lnTo>
                <a:lnTo>
                  <a:pt x="3709" y="2656"/>
                </a:lnTo>
                <a:lnTo>
                  <a:pt x="3709" y="2649"/>
                </a:lnTo>
                <a:lnTo>
                  <a:pt x="3709" y="2642"/>
                </a:lnTo>
                <a:lnTo>
                  <a:pt x="3707" y="2628"/>
                </a:lnTo>
                <a:lnTo>
                  <a:pt x="3703" y="2598"/>
                </a:lnTo>
                <a:lnTo>
                  <a:pt x="3702" y="2587"/>
                </a:lnTo>
                <a:lnTo>
                  <a:pt x="3701" y="2579"/>
                </a:lnTo>
                <a:lnTo>
                  <a:pt x="3695" y="2579"/>
                </a:lnTo>
                <a:lnTo>
                  <a:pt x="3694" y="2572"/>
                </a:lnTo>
                <a:lnTo>
                  <a:pt x="3694" y="2567"/>
                </a:lnTo>
                <a:lnTo>
                  <a:pt x="3695" y="2559"/>
                </a:lnTo>
                <a:lnTo>
                  <a:pt x="3695" y="2553"/>
                </a:lnTo>
                <a:lnTo>
                  <a:pt x="3697" y="2552"/>
                </a:lnTo>
                <a:lnTo>
                  <a:pt x="3699" y="2552"/>
                </a:lnTo>
                <a:lnTo>
                  <a:pt x="3702" y="2552"/>
                </a:lnTo>
                <a:lnTo>
                  <a:pt x="3704" y="2551"/>
                </a:lnTo>
                <a:lnTo>
                  <a:pt x="3705" y="2548"/>
                </a:lnTo>
                <a:lnTo>
                  <a:pt x="3706" y="2543"/>
                </a:lnTo>
                <a:lnTo>
                  <a:pt x="3708" y="2539"/>
                </a:lnTo>
                <a:lnTo>
                  <a:pt x="3708" y="2537"/>
                </a:lnTo>
                <a:lnTo>
                  <a:pt x="3709" y="2537"/>
                </a:lnTo>
                <a:lnTo>
                  <a:pt x="3715" y="2537"/>
                </a:lnTo>
                <a:lnTo>
                  <a:pt x="3718" y="2525"/>
                </a:lnTo>
                <a:lnTo>
                  <a:pt x="3720" y="2514"/>
                </a:lnTo>
                <a:lnTo>
                  <a:pt x="3722" y="2513"/>
                </a:lnTo>
                <a:lnTo>
                  <a:pt x="3725" y="2512"/>
                </a:lnTo>
                <a:lnTo>
                  <a:pt x="3730" y="2512"/>
                </a:lnTo>
                <a:lnTo>
                  <a:pt x="3736" y="2512"/>
                </a:lnTo>
                <a:lnTo>
                  <a:pt x="3738" y="2512"/>
                </a:lnTo>
                <a:lnTo>
                  <a:pt x="3740" y="2511"/>
                </a:lnTo>
                <a:lnTo>
                  <a:pt x="3743" y="2509"/>
                </a:lnTo>
                <a:lnTo>
                  <a:pt x="3746" y="2506"/>
                </a:lnTo>
                <a:lnTo>
                  <a:pt x="3749" y="2502"/>
                </a:lnTo>
                <a:lnTo>
                  <a:pt x="3751" y="2500"/>
                </a:lnTo>
                <a:lnTo>
                  <a:pt x="3753" y="2499"/>
                </a:lnTo>
                <a:lnTo>
                  <a:pt x="3755" y="2499"/>
                </a:lnTo>
                <a:lnTo>
                  <a:pt x="3760" y="2499"/>
                </a:lnTo>
                <a:lnTo>
                  <a:pt x="3764" y="2498"/>
                </a:lnTo>
                <a:lnTo>
                  <a:pt x="3766" y="2498"/>
                </a:lnTo>
                <a:lnTo>
                  <a:pt x="3768" y="2497"/>
                </a:lnTo>
                <a:lnTo>
                  <a:pt x="3770" y="2496"/>
                </a:lnTo>
                <a:lnTo>
                  <a:pt x="3772" y="2495"/>
                </a:lnTo>
                <a:lnTo>
                  <a:pt x="3777" y="2490"/>
                </a:lnTo>
                <a:lnTo>
                  <a:pt x="3782" y="2484"/>
                </a:lnTo>
                <a:lnTo>
                  <a:pt x="3788" y="2477"/>
                </a:lnTo>
                <a:lnTo>
                  <a:pt x="3793" y="2470"/>
                </a:lnTo>
                <a:lnTo>
                  <a:pt x="3797" y="2463"/>
                </a:lnTo>
                <a:lnTo>
                  <a:pt x="3801" y="2457"/>
                </a:lnTo>
                <a:lnTo>
                  <a:pt x="3802" y="2452"/>
                </a:lnTo>
                <a:lnTo>
                  <a:pt x="3802" y="2450"/>
                </a:lnTo>
                <a:lnTo>
                  <a:pt x="3802" y="2448"/>
                </a:lnTo>
                <a:lnTo>
                  <a:pt x="3801" y="2443"/>
                </a:lnTo>
                <a:lnTo>
                  <a:pt x="3800" y="2438"/>
                </a:lnTo>
                <a:lnTo>
                  <a:pt x="3799" y="2435"/>
                </a:lnTo>
                <a:lnTo>
                  <a:pt x="3799" y="2432"/>
                </a:lnTo>
                <a:lnTo>
                  <a:pt x="3800" y="2428"/>
                </a:lnTo>
                <a:lnTo>
                  <a:pt x="3800" y="2424"/>
                </a:lnTo>
                <a:lnTo>
                  <a:pt x="3802" y="2415"/>
                </a:lnTo>
                <a:lnTo>
                  <a:pt x="3804" y="2407"/>
                </a:lnTo>
                <a:lnTo>
                  <a:pt x="3805" y="2401"/>
                </a:lnTo>
                <a:lnTo>
                  <a:pt x="3804" y="2394"/>
                </a:lnTo>
                <a:lnTo>
                  <a:pt x="3802" y="2383"/>
                </a:lnTo>
                <a:lnTo>
                  <a:pt x="3800" y="2372"/>
                </a:lnTo>
                <a:lnTo>
                  <a:pt x="3799" y="2365"/>
                </a:lnTo>
                <a:lnTo>
                  <a:pt x="3800" y="2358"/>
                </a:lnTo>
                <a:lnTo>
                  <a:pt x="3801" y="2352"/>
                </a:lnTo>
                <a:lnTo>
                  <a:pt x="3802" y="2345"/>
                </a:lnTo>
                <a:lnTo>
                  <a:pt x="3802" y="2342"/>
                </a:lnTo>
                <a:lnTo>
                  <a:pt x="3802" y="2340"/>
                </a:lnTo>
                <a:lnTo>
                  <a:pt x="3801" y="2337"/>
                </a:lnTo>
                <a:lnTo>
                  <a:pt x="3798" y="2334"/>
                </a:lnTo>
                <a:lnTo>
                  <a:pt x="3792" y="2329"/>
                </a:lnTo>
                <a:lnTo>
                  <a:pt x="3786" y="2324"/>
                </a:lnTo>
                <a:lnTo>
                  <a:pt x="3784" y="2321"/>
                </a:lnTo>
                <a:lnTo>
                  <a:pt x="3783" y="2319"/>
                </a:lnTo>
                <a:lnTo>
                  <a:pt x="3782" y="2317"/>
                </a:lnTo>
                <a:lnTo>
                  <a:pt x="3782" y="2299"/>
                </a:lnTo>
                <a:lnTo>
                  <a:pt x="3782" y="2286"/>
                </a:lnTo>
                <a:lnTo>
                  <a:pt x="3782" y="2278"/>
                </a:lnTo>
                <a:lnTo>
                  <a:pt x="3785" y="2272"/>
                </a:lnTo>
                <a:lnTo>
                  <a:pt x="3787" y="2269"/>
                </a:lnTo>
                <a:lnTo>
                  <a:pt x="3788" y="2266"/>
                </a:lnTo>
                <a:lnTo>
                  <a:pt x="3787" y="2264"/>
                </a:lnTo>
                <a:lnTo>
                  <a:pt x="3785" y="2262"/>
                </a:lnTo>
                <a:lnTo>
                  <a:pt x="3780" y="2257"/>
                </a:lnTo>
                <a:lnTo>
                  <a:pt x="3774" y="2252"/>
                </a:lnTo>
                <a:lnTo>
                  <a:pt x="3772" y="2249"/>
                </a:lnTo>
                <a:lnTo>
                  <a:pt x="3771" y="2247"/>
                </a:lnTo>
                <a:lnTo>
                  <a:pt x="3771" y="2244"/>
                </a:lnTo>
                <a:lnTo>
                  <a:pt x="3771" y="2241"/>
                </a:lnTo>
                <a:lnTo>
                  <a:pt x="3772" y="2235"/>
                </a:lnTo>
                <a:lnTo>
                  <a:pt x="3774" y="2229"/>
                </a:lnTo>
                <a:lnTo>
                  <a:pt x="3776" y="2224"/>
                </a:lnTo>
                <a:lnTo>
                  <a:pt x="3782" y="2213"/>
                </a:lnTo>
                <a:lnTo>
                  <a:pt x="3784" y="2209"/>
                </a:lnTo>
                <a:lnTo>
                  <a:pt x="3785" y="2205"/>
                </a:lnTo>
                <a:lnTo>
                  <a:pt x="3786" y="2202"/>
                </a:lnTo>
                <a:lnTo>
                  <a:pt x="3785" y="2199"/>
                </a:lnTo>
                <a:lnTo>
                  <a:pt x="3785" y="2193"/>
                </a:lnTo>
                <a:lnTo>
                  <a:pt x="3784" y="2187"/>
                </a:lnTo>
                <a:lnTo>
                  <a:pt x="3785" y="2185"/>
                </a:lnTo>
                <a:lnTo>
                  <a:pt x="3785" y="2182"/>
                </a:lnTo>
                <a:lnTo>
                  <a:pt x="3791" y="2182"/>
                </a:lnTo>
                <a:lnTo>
                  <a:pt x="3791" y="2179"/>
                </a:lnTo>
                <a:lnTo>
                  <a:pt x="3791" y="2177"/>
                </a:lnTo>
                <a:lnTo>
                  <a:pt x="3792" y="2175"/>
                </a:lnTo>
                <a:lnTo>
                  <a:pt x="3794" y="2172"/>
                </a:lnTo>
                <a:lnTo>
                  <a:pt x="3799" y="2165"/>
                </a:lnTo>
                <a:lnTo>
                  <a:pt x="3803" y="2165"/>
                </a:lnTo>
                <a:lnTo>
                  <a:pt x="3808" y="2165"/>
                </a:lnTo>
                <a:lnTo>
                  <a:pt x="3809" y="2162"/>
                </a:lnTo>
                <a:lnTo>
                  <a:pt x="3810" y="2158"/>
                </a:lnTo>
                <a:lnTo>
                  <a:pt x="3812" y="2154"/>
                </a:lnTo>
                <a:lnTo>
                  <a:pt x="3812" y="2152"/>
                </a:lnTo>
                <a:lnTo>
                  <a:pt x="3813" y="2151"/>
                </a:lnTo>
                <a:lnTo>
                  <a:pt x="3815" y="2150"/>
                </a:lnTo>
                <a:lnTo>
                  <a:pt x="3816" y="2150"/>
                </a:lnTo>
                <a:lnTo>
                  <a:pt x="3819" y="2150"/>
                </a:lnTo>
                <a:lnTo>
                  <a:pt x="3822" y="2150"/>
                </a:lnTo>
                <a:lnTo>
                  <a:pt x="3823" y="2149"/>
                </a:lnTo>
                <a:lnTo>
                  <a:pt x="3825" y="2148"/>
                </a:lnTo>
                <a:lnTo>
                  <a:pt x="3825" y="2147"/>
                </a:lnTo>
                <a:lnTo>
                  <a:pt x="3825" y="2146"/>
                </a:lnTo>
                <a:lnTo>
                  <a:pt x="3825" y="2143"/>
                </a:lnTo>
                <a:lnTo>
                  <a:pt x="3824" y="2140"/>
                </a:lnTo>
                <a:lnTo>
                  <a:pt x="3825" y="2137"/>
                </a:lnTo>
                <a:lnTo>
                  <a:pt x="3825" y="2136"/>
                </a:lnTo>
                <a:lnTo>
                  <a:pt x="3826" y="2135"/>
                </a:lnTo>
                <a:lnTo>
                  <a:pt x="3829" y="2132"/>
                </a:lnTo>
                <a:lnTo>
                  <a:pt x="3831" y="2130"/>
                </a:lnTo>
                <a:lnTo>
                  <a:pt x="3833" y="2129"/>
                </a:lnTo>
                <a:lnTo>
                  <a:pt x="3835" y="2124"/>
                </a:lnTo>
                <a:lnTo>
                  <a:pt x="3835" y="2120"/>
                </a:lnTo>
                <a:lnTo>
                  <a:pt x="3835" y="2115"/>
                </a:lnTo>
                <a:lnTo>
                  <a:pt x="3836" y="2111"/>
                </a:lnTo>
                <a:lnTo>
                  <a:pt x="3837" y="2109"/>
                </a:lnTo>
                <a:lnTo>
                  <a:pt x="3839" y="2106"/>
                </a:lnTo>
                <a:lnTo>
                  <a:pt x="3844" y="2106"/>
                </a:lnTo>
                <a:lnTo>
                  <a:pt x="3847" y="2102"/>
                </a:lnTo>
                <a:lnTo>
                  <a:pt x="3851" y="2094"/>
                </a:lnTo>
                <a:lnTo>
                  <a:pt x="3858" y="2081"/>
                </a:lnTo>
                <a:lnTo>
                  <a:pt x="3861" y="2080"/>
                </a:lnTo>
                <a:lnTo>
                  <a:pt x="3864" y="2079"/>
                </a:lnTo>
                <a:lnTo>
                  <a:pt x="3867" y="2079"/>
                </a:lnTo>
                <a:lnTo>
                  <a:pt x="3870" y="2078"/>
                </a:lnTo>
                <a:lnTo>
                  <a:pt x="3871" y="2077"/>
                </a:lnTo>
                <a:lnTo>
                  <a:pt x="3872" y="2075"/>
                </a:lnTo>
                <a:lnTo>
                  <a:pt x="3875" y="2071"/>
                </a:lnTo>
                <a:lnTo>
                  <a:pt x="3878" y="2066"/>
                </a:lnTo>
                <a:lnTo>
                  <a:pt x="3879" y="2065"/>
                </a:lnTo>
                <a:lnTo>
                  <a:pt x="3881" y="2064"/>
                </a:lnTo>
                <a:lnTo>
                  <a:pt x="3883" y="2064"/>
                </a:lnTo>
                <a:lnTo>
                  <a:pt x="3885" y="2064"/>
                </a:lnTo>
                <a:lnTo>
                  <a:pt x="3887" y="2064"/>
                </a:lnTo>
                <a:lnTo>
                  <a:pt x="3889" y="2064"/>
                </a:lnTo>
                <a:lnTo>
                  <a:pt x="3894" y="2060"/>
                </a:lnTo>
                <a:lnTo>
                  <a:pt x="3900" y="2055"/>
                </a:lnTo>
                <a:lnTo>
                  <a:pt x="3905" y="2049"/>
                </a:lnTo>
                <a:lnTo>
                  <a:pt x="3909" y="2044"/>
                </a:lnTo>
                <a:lnTo>
                  <a:pt x="3910" y="2042"/>
                </a:lnTo>
                <a:lnTo>
                  <a:pt x="3910" y="2038"/>
                </a:lnTo>
                <a:lnTo>
                  <a:pt x="3911" y="2035"/>
                </a:lnTo>
                <a:lnTo>
                  <a:pt x="3911" y="2034"/>
                </a:lnTo>
                <a:lnTo>
                  <a:pt x="3912" y="2033"/>
                </a:lnTo>
                <a:lnTo>
                  <a:pt x="3913" y="2032"/>
                </a:lnTo>
                <a:lnTo>
                  <a:pt x="3915" y="2031"/>
                </a:lnTo>
                <a:lnTo>
                  <a:pt x="3919" y="2030"/>
                </a:lnTo>
                <a:lnTo>
                  <a:pt x="3923" y="2030"/>
                </a:lnTo>
                <a:lnTo>
                  <a:pt x="3924" y="2029"/>
                </a:lnTo>
                <a:lnTo>
                  <a:pt x="3926" y="2027"/>
                </a:lnTo>
                <a:lnTo>
                  <a:pt x="3926" y="2026"/>
                </a:lnTo>
                <a:lnTo>
                  <a:pt x="3926" y="2025"/>
                </a:lnTo>
                <a:lnTo>
                  <a:pt x="3926" y="2022"/>
                </a:lnTo>
                <a:lnTo>
                  <a:pt x="3926" y="2019"/>
                </a:lnTo>
                <a:lnTo>
                  <a:pt x="3926" y="2016"/>
                </a:lnTo>
                <a:lnTo>
                  <a:pt x="3927" y="2015"/>
                </a:lnTo>
                <a:lnTo>
                  <a:pt x="3928" y="2014"/>
                </a:lnTo>
                <a:lnTo>
                  <a:pt x="3932" y="2012"/>
                </a:lnTo>
                <a:lnTo>
                  <a:pt x="3937" y="2010"/>
                </a:lnTo>
                <a:lnTo>
                  <a:pt x="3939" y="2009"/>
                </a:lnTo>
                <a:lnTo>
                  <a:pt x="3940" y="2008"/>
                </a:lnTo>
                <a:lnTo>
                  <a:pt x="3941" y="2004"/>
                </a:lnTo>
                <a:lnTo>
                  <a:pt x="3942" y="2001"/>
                </a:lnTo>
                <a:lnTo>
                  <a:pt x="3942" y="1997"/>
                </a:lnTo>
                <a:lnTo>
                  <a:pt x="3943" y="1994"/>
                </a:lnTo>
                <a:lnTo>
                  <a:pt x="3944" y="1992"/>
                </a:lnTo>
                <a:lnTo>
                  <a:pt x="3947" y="1989"/>
                </a:lnTo>
                <a:lnTo>
                  <a:pt x="3951" y="1985"/>
                </a:lnTo>
                <a:lnTo>
                  <a:pt x="3953" y="1981"/>
                </a:lnTo>
                <a:lnTo>
                  <a:pt x="3954" y="1977"/>
                </a:lnTo>
                <a:lnTo>
                  <a:pt x="3956" y="1970"/>
                </a:lnTo>
                <a:lnTo>
                  <a:pt x="3957" y="1962"/>
                </a:lnTo>
                <a:lnTo>
                  <a:pt x="3960" y="1954"/>
                </a:lnTo>
                <a:lnTo>
                  <a:pt x="3965" y="1954"/>
                </a:lnTo>
                <a:lnTo>
                  <a:pt x="3966" y="1952"/>
                </a:lnTo>
                <a:lnTo>
                  <a:pt x="3967" y="1950"/>
                </a:lnTo>
                <a:lnTo>
                  <a:pt x="3968" y="1945"/>
                </a:lnTo>
                <a:lnTo>
                  <a:pt x="3969" y="1936"/>
                </a:lnTo>
                <a:lnTo>
                  <a:pt x="3971" y="1927"/>
                </a:lnTo>
                <a:lnTo>
                  <a:pt x="3972" y="1922"/>
                </a:lnTo>
                <a:lnTo>
                  <a:pt x="3974" y="1918"/>
                </a:lnTo>
                <a:lnTo>
                  <a:pt x="3975" y="1914"/>
                </a:lnTo>
                <a:lnTo>
                  <a:pt x="3977" y="1911"/>
                </a:lnTo>
                <a:lnTo>
                  <a:pt x="3982" y="1904"/>
                </a:lnTo>
                <a:lnTo>
                  <a:pt x="3987" y="1898"/>
                </a:lnTo>
                <a:lnTo>
                  <a:pt x="3990" y="1892"/>
                </a:lnTo>
                <a:lnTo>
                  <a:pt x="3991" y="1890"/>
                </a:lnTo>
                <a:lnTo>
                  <a:pt x="3991" y="1887"/>
                </a:lnTo>
                <a:lnTo>
                  <a:pt x="3990" y="1884"/>
                </a:lnTo>
                <a:lnTo>
                  <a:pt x="3990" y="1881"/>
                </a:lnTo>
                <a:lnTo>
                  <a:pt x="3996" y="1878"/>
                </a:lnTo>
                <a:lnTo>
                  <a:pt x="3997" y="1876"/>
                </a:lnTo>
                <a:lnTo>
                  <a:pt x="3997" y="1874"/>
                </a:lnTo>
                <a:lnTo>
                  <a:pt x="3996" y="1870"/>
                </a:lnTo>
                <a:lnTo>
                  <a:pt x="3996" y="1865"/>
                </a:lnTo>
                <a:lnTo>
                  <a:pt x="3996" y="1861"/>
                </a:lnTo>
                <a:lnTo>
                  <a:pt x="4002" y="1856"/>
                </a:lnTo>
                <a:lnTo>
                  <a:pt x="4005" y="1828"/>
                </a:lnTo>
                <a:lnTo>
                  <a:pt x="4002" y="1819"/>
                </a:lnTo>
                <a:lnTo>
                  <a:pt x="3996" y="1819"/>
                </a:lnTo>
                <a:lnTo>
                  <a:pt x="3995" y="1820"/>
                </a:lnTo>
                <a:lnTo>
                  <a:pt x="3993" y="1821"/>
                </a:lnTo>
                <a:lnTo>
                  <a:pt x="3988" y="1825"/>
                </a:lnTo>
                <a:lnTo>
                  <a:pt x="3983" y="1828"/>
                </a:lnTo>
                <a:lnTo>
                  <a:pt x="3981" y="1830"/>
                </a:lnTo>
                <a:lnTo>
                  <a:pt x="3979" y="1830"/>
                </a:lnTo>
                <a:lnTo>
                  <a:pt x="3973" y="1831"/>
                </a:lnTo>
                <a:lnTo>
                  <a:pt x="3968" y="1832"/>
                </a:lnTo>
                <a:lnTo>
                  <a:pt x="3957" y="1832"/>
                </a:lnTo>
                <a:lnTo>
                  <a:pt x="3947" y="1833"/>
                </a:lnTo>
                <a:lnTo>
                  <a:pt x="3942" y="1834"/>
                </a:lnTo>
                <a:lnTo>
                  <a:pt x="3937" y="1836"/>
                </a:lnTo>
                <a:lnTo>
                  <a:pt x="3934" y="1838"/>
                </a:lnTo>
                <a:lnTo>
                  <a:pt x="3931" y="1842"/>
                </a:lnTo>
                <a:lnTo>
                  <a:pt x="3927" y="1845"/>
                </a:lnTo>
                <a:lnTo>
                  <a:pt x="3925" y="1847"/>
                </a:lnTo>
                <a:lnTo>
                  <a:pt x="3923" y="1847"/>
                </a:lnTo>
                <a:lnTo>
                  <a:pt x="3919" y="1847"/>
                </a:lnTo>
                <a:lnTo>
                  <a:pt x="3916" y="1847"/>
                </a:lnTo>
                <a:lnTo>
                  <a:pt x="3909" y="1845"/>
                </a:lnTo>
                <a:lnTo>
                  <a:pt x="3901" y="1844"/>
                </a:lnTo>
                <a:lnTo>
                  <a:pt x="3896" y="1844"/>
                </a:lnTo>
                <a:lnTo>
                  <a:pt x="3892" y="1844"/>
                </a:lnTo>
                <a:lnTo>
                  <a:pt x="3887" y="1847"/>
                </a:lnTo>
                <a:lnTo>
                  <a:pt x="3883" y="1849"/>
                </a:lnTo>
                <a:lnTo>
                  <a:pt x="3881" y="1850"/>
                </a:lnTo>
                <a:lnTo>
                  <a:pt x="3879" y="1849"/>
                </a:lnTo>
                <a:lnTo>
                  <a:pt x="3877" y="1848"/>
                </a:lnTo>
                <a:lnTo>
                  <a:pt x="3873" y="1844"/>
                </a:lnTo>
                <a:lnTo>
                  <a:pt x="3870" y="1839"/>
                </a:lnTo>
                <a:lnTo>
                  <a:pt x="3866" y="1834"/>
                </a:lnTo>
                <a:lnTo>
                  <a:pt x="3862" y="1826"/>
                </a:lnTo>
                <a:lnTo>
                  <a:pt x="3860" y="1823"/>
                </a:lnTo>
                <a:lnTo>
                  <a:pt x="3859" y="1822"/>
                </a:lnTo>
                <a:lnTo>
                  <a:pt x="3858" y="1822"/>
                </a:lnTo>
                <a:lnTo>
                  <a:pt x="3853" y="1822"/>
                </a:lnTo>
                <a:lnTo>
                  <a:pt x="3855" y="1819"/>
                </a:lnTo>
                <a:lnTo>
                  <a:pt x="3857" y="1816"/>
                </a:lnTo>
                <a:lnTo>
                  <a:pt x="3860" y="1813"/>
                </a:lnTo>
                <a:lnTo>
                  <a:pt x="3861" y="1811"/>
                </a:lnTo>
                <a:lnTo>
                  <a:pt x="3861" y="1808"/>
                </a:lnTo>
                <a:lnTo>
                  <a:pt x="3861" y="1805"/>
                </a:lnTo>
                <a:lnTo>
                  <a:pt x="3861" y="1802"/>
                </a:lnTo>
                <a:lnTo>
                  <a:pt x="3861" y="1801"/>
                </a:lnTo>
                <a:lnTo>
                  <a:pt x="3861" y="1799"/>
                </a:lnTo>
                <a:lnTo>
                  <a:pt x="3856" y="1796"/>
                </a:lnTo>
                <a:lnTo>
                  <a:pt x="3850" y="1793"/>
                </a:lnTo>
                <a:lnTo>
                  <a:pt x="3845" y="1790"/>
                </a:lnTo>
                <a:lnTo>
                  <a:pt x="3843" y="1788"/>
                </a:lnTo>
                <a:lnTo>
                  <a:pt x="3841" y="1785"/>
                </a:lnTo>
                <a:lnTo>
                  <a:pt x="3841" y="1783"/>
                </a:lnTo>
                <a:lnTo>
                  <a:pt x="3840" y="1781"/>
                </a:lnTo>
                <a:lnTo>
                  <a:pt x="3840" y="1778"/>
                </a:lnTo>
                <a:lnTo>
                  <a:pt x="3840" y="1774"/>
                </a:lnTo>
                <a:lnTo>
                  <a:pt x="3840" y="1773"/>
                </a:lnTo>
                <a:lnTo>
                  <a:pt x="3839" y="1771"/>
                </a:lnTo>
                <a:lnTo>
                  <a:pt x="3835" y="1770"/>
                </a:lnTo>
                <a:lnTo>
                  <a:pt x="3831" y="1769"/>
                </a:lnTo>
                <a:lnTo>
                  <a:pt x="3827" y="1768"/>
                </a:lnTo>
                <a:lnTo>
                  <a:pt x="3826" y="1767"/>
                </a:lnTo>
                <a:lnTo>
                  <a:pt x="3825" y="1766"/>
                </a:lnTo>
                <a:lnTo>
                  <a:pt x="3823" y="1764"/>
                </a:lnTo>
                <a:lnTo>
                  <a:pt x="3823" y="1762"/>
                </a:lnTo>
                <a:lnTo>
                  <a:pt x="3822" y="1757"/>
                </a:lnTo>
                <a:lnTo>
                  <a:pt x="3821" y="1752"/>
                </a:lnTo>
                <a:lnTo>
                  <a:pt x="3819" y="1749"/>
                </a:lnTo>
                <a:lnTo>
                  <a:pt x="3817" y="1748"/>
                </a:lnTo>
                <a:lnTo>
                  <a:pt x="3815" y="1748"/>
                </a:lnTo>
                <a:lnTo>
                  <a:pt x="3812" y="1749"/>
                </a:lnTo>
                <a:lnTo>
                  <a:pt x="3810" y="1749"/>
                </a:lnTo>
                <a:lnTo>
                  <a:pt x="3809" y="1748"/>
                </a:lnTo>
                <a:lnTo>
                  <a:pt x="3808" y="1746"/>
                </a:lnTo>
                <a:lnTo>
                  <a:pt x="3804" y="1741"/>
                </a:lnTo>
                <a:lnTo>
                  <a:pt x="3799" y="1732"/>
                </a:lnTo>
                <a:lnTo>
                  <a:pt x="3797" y="1734"/>
                </a:lnTo>
                <a:lnTo>
                  <a:pt x="3795" y="1735"/>
                </a:lnTo>
                <a:lnTo>
                  <a:pt x="3794" y="1735"/>
                </a:lnTo>
                <a:lnTo>
                  <a:pt x="3794" y="1732"/>
                </a:lnTo>
                <a:lnTo>
                  <a:pt x="3790" y="1731"/>
                </a:lnTo>
                <a:lnTo>
                  <a:pt x="3789" y="1730"/>
                </a:lnTo>
                <a:lnTo>
                  <a:pt x="3788" y="1729"/>
                </a:lnTo>
                <a:lnTo>
                  <a:pt x="3786" y="1723"/>
                </a:lnTo>
                <a:lnTo>
                  <a:pt x="3785" y="1716"/>
                </a:lnTo>
                <a:lnTo>
                  <a:pt x="3784" y="1700"/>
                </a:lnTo>
                <a:lnTo>
                  <a:pt x="3783" y="1685"/>
                </a:lnTo>
                <a:lnTo>
                  <a:pt x="3782" y="1678"/>
                </a:lnTo>
                <a:lnTo>
                  <a:pt x="3781" y="1675"/>
                </a:lnTo>
                <a:lnTo>
                  <a:pt x="3780" y="1673"/>
                </a:lnTo>
                <a:lnTo>
                  <a:pt x="3774" y="1673"/>
                </a:lnTo>
                <a:lnTo>
                  <a:pt x="3761" y="1659"/>
                </a:lnTo>
                <a:lnTo>
                  <a:pt x="3753" y="1650"/>
                </a:lnTo>
                <a:lnTo>
                  <a:pt x="3749" y="1645"/>
                </a:lnTo>
                <a:lnTo>
                  <a:pt x="3747" y="1638"/>
                </a:lnTo>
                <a:lnTo>
                  <a:pt x="3747" y="1631"/>
                </a:lnTo>
                <a:lnTo>
                  <a:pt x="3748" y="1625"/>
                </a:lnTo>
                <a:lnTo>
                  <a:pt x="3749" y="1619"/>
                </a:lnTo>
                <a:lnTo>
                  <a:pt x="3750" y="1607"/>
                </a:lnTo>
                <a:lnTo>
                  <a:pt x="3750" y="1601"/>
                </a:lnTo>
                <a:lnTo>
                  <a:pt x="3749" y="1598"/>
                </a:lnTo>
                <a:lnTo>
                  <a:pt x="3749" y="1594"/>
                </a:lnTo>
                <a:lnTo>
                  <a:pt x="3743" y="1591"/>
                </a:lnTo>
                <a:lnTo>
                  <a:pt x="3743" y="1589"/>
                </a:lnTo>
                <a:lnTo>
                  <a:pt x="3742" y="1588"/>
                </a:lnTo>
                <a:lnTo>
                  <a:pt x="3743" y="1584"/>
                </a:lnTo>
                <a:lnTo>
                  <a:pt x="3743" y="1581"/>
                </a:lnTo>
                <a:lnTo>
                  <a:pt x="3743" y="1579"/>
                </a:lnTo>
                <a:lnTo>
                  <a:pt x="3743" y="1577"/>
                </a:lnTo>
                <a:lnTo>
                  <a:pt x="3740" y="1575"/>
                </a:lnTo>
                <a:lnTo>
                  <a:pt x="3734" y="1571"/>
                </a:lnTo>
                <a:lnTo>
                  <a:pt x="3727" y="1566"/>
                </a:lnTo>
                <a:lnTo>
                  <a:pt x="3725" y="1565"/>
                </a:lnTo>
                <a:lnTo>
                  <a:pt x="3723" y="1563"/>
                </a:lnTo>
                <a:lnTo>
                  <a:pt x="3722" y="1562"/>
                </a:lnTo>
                <a:lnTo>
                  <a:pt x="3722" y="1560"/>
                </a:lnTo>
                <a:lnTo>
                  <a:pt x="3720" y="1556"/>
                </a:lnTo>
                <a:lnTo>
                  <a:pt x="3718" y="1549"/>
                </a:lnTo>
                <a:lnTo>
                  <a:pt x="3717" y="1542"/>
                </a:lnTo>
                <a:lnTo>
                  <a:pt x="3715" y="1535"/>
                </a:lnTo>
                <a:lnTo>
                  <a:pt x="3717" y="1534"/>
                </a:lnTo>
                <a:lnTo>
                  <a:pt x="3720" y="1534"/>
                </a:lnTo>
                <a:lnTo>
                  <a:pt x="3721" y="1533"/>
                </a:lnTo>
                <a:lnTo>
                  <a:pt x="3721" y="1532"/>
                </a:lnTo>
                <a:lnTo>
                  <a:pt x="3720" y="1529"/>
                </a:lnTo>
                <a:lnTo>
                  <a:pt x="3720" y="1527"/>
                </a:lnTo>
                <a:lnTo>
                  <a:pt x="3718" y="1524"/>
                </a:lnTo>
                <a:lnTo>
                  <a:pt x="3714" y="1518"/>
                </a:lnTo>
                <a:lnTo>
                  <a:pt x="3710" y="1512"/>
                </a:lnTo>
                <a:lnTo>
                  <a:pt x="3706" y="1507"/>
                </a:lnTo>
                <a:lnTo>
                  <a:pt x="3702" y="1497"/>
                </a:lnTo>
                <a:lnTo>
                  <a:pt x="3699" y="1488"/>
                </a:lnTo>
                <a:lnTo>
                  <a:pt x="3696" y="1479"/>
                </a:lnTo>
                <a:lnTo>
                  <a:pt x="3692" y="1467"/>
                </a:lnTo>
                <a:lnTo>
                  <a:pt x="3692" y="1466"/>
                </a:lnTo>
                <a:lnTo>
                  <a:pt x="3690" y="1464"/>
                </a:lnTo>
                <a:lnTo>
                  <a:pt x="3687" y="1459"/>
                </a:lnTo>
                <a:lnTo>
                  <a:pt x="3683" y="1454"/>
                </a:lnTo>
                <a:lnTo>
                  <a:pt x="3682" y="1452"/>
                </a:lnTo>
                <a:lnTo>
                  <a:pt x="3681" y="1451"/>
                </a:lnTo>
                <a:lnTo>
                  <a:pt x="3681" y="1448"/>
                </a:lnTo>
                <a:lnTo>
                  <a:pt x="3681" y="1445"/>
                </a:lnTo>
                <a:lnTo>
                  <a:pt x="3682" y="1442"/>
                </a:lnTo>
                <a:lnTo>
                  <a:pt x="3681" y="1440"/>
                </a:lnTo>
                <a:lnTo>
                  <a:pt x="3681" y="1439"/>
                </a:lnTo>
                <a:lnTo>
                  <a:pt x="3679" y="1435"/>
                </a:lnTo>
                <a:lnTo>
                  <a:pt x="3675" y="1432"/>
                </a:lnTo>
                <a:lnTo>
                  <a:pt x="3674" y="1430"/>
                </a:lnTo>
                <a:lnTo>
                  <a:pt x="3672" y="1428"/>
                </a:lnTo>
                <a:lnTo>
                  <a:pt x="3670" y="1422"/>
                </a:lnTo>
                <a:lnTo>
                  <a:pt x="3667" y="1415"/>
                </a:lnTo>
                <a:lnTo>
                  <a:pt x="3667" y="1412"/>
                </a:lnTo>
                <a:lnTo>
                  <a:pt x="3667" y="1411"/>
                </a:lnTo>
                <a:lnTo>
                  <a:pt x="3667" y="1410"/>
                </a:lnTo>
                <a:lnTo>
                  <a:pt x="3668" y="1410"/>
                </a:lnTo>
                <a:lnTo>
                  <a:pt x="3670" y="1411"/>
                </a:lnTo>
                <a:lnTo>
                  <a:pt x="3672" y="1413"/>
                </a:lnTo>
                <a:lnTo>
                  <a:pt x="3673" y="1415"/>
                </a:lnTo>
                <a:lnTo>
                  <a:pt x="3675" y="1420"/>
                </a:lnTo>
                <a:lnTo>
                  <a:pt x="3676" y="1425"/>
                </a:lnTo>
                <a:lnTo>
                  <a:pt x="3677" y="1428"/>
                </a:lnTo>
                <a:lnTo>
                  <a:pt x="3677" y="1429"/>
                </a:lnTo>
                <a:lnTo>
                  <a:pt x="3678" y="1431"/>
                </a:lnTo>
                <a:lnTo>
                  <a:pt x="3681" y="1434"/>
                </a:lnTo>
                <a:lnTo>
                  <a:pt x="3685" y="1438"/>
                </a:lnTo>
                <a:lnTo>
                  <a:pt x="3692" y="1445"/>
                </a:lnTo>
                <a:lnTo>
                  <a:pt x="3694" y="1444"/>
                </a:lnTo>
                <a:lnTo>
                  <a:pt x="3696" y="1443"/>
                </a:lnTo>
                <a:lnTo>
                  <a:pt x="3701" y="1442"/>
                </a:lnTo>
                <a:lnTo>
                  <a:pt x="3701" y="1438"/>
                </a:lnTo>
                <a:lnTo>
                  <a:pt x="3701" y="1434"/>
                </a:lnTo>
                <a:lnTo>
                  <a:pt x="3710" y="1439"/>
                </a:lnTo>
                <a:lnTo>
                  <a:pt x="3716" y="1444"/>
                </a:lnTo>
                <a:lnTo>
                  <a:pt x="3720" y="1449"/>
                </a:lnTo>
                <a:lnTo>
                  <a:pt x="3722" y="1453"/>
                </a:lnTo>
                <a:lnTo>
                  <a:pt x="3726" y="1464"/>
                </a:lnTo>
                <a:lnTo>
                  <a:pt x="3730" y="1471"/>
                </a:lnTo>
                <a:lnTo>
                  <a:pt x="3735" y="1479"/>
                </a:lnTo>
                <a:lnTo>
                  <a:pt x="3736" y="1480"/>
                </a:lnTo>
                <a:lnTo>
                  <a:pt x="3738" y="1481"/>
                </a:lnTo>
                <a:lnTo>
                  <a:pt x="3742" y="1484"/>
                </a:lnTo>
                <a:lnTo>
                  <a:pt x="3746" y="1487"/>
                </a:lnTo>
                <a:lnTo>
                  <a:pt x="3749" y="1490"/>
                </a:lnTo>
                <a:lnTo>
                  <a:pt x="3750" y="1494"/>
                </a:lnTo>
                <a:lnTo>
                  <a:pt x="3751" y="1498"/>
                </a:lnTo>
                <a:lnTo>
                  <a:pt x="3751" y="1506"/>
                </a:lnTo>
                <a:lnTo>
                  <a:pt x="3752" y="1514"/>
                </a:lnTo>
                <a:lnTo>
                  <a:pt x="3753" y="1517"/>
                </a:lnTo>
                <a:lnTo>
                  <a:pt x="3754" y="1521"/>
                </a:lnTo>
                <a:lnTo>
                  <a:pt x="3757" y="1524"/>
                </a:lnTo>
                <a:lnTo>
                  <a:pt x="3760" y="1527"/>
                </a:lnTo>
                <a:lnTo>
                  <a:pt x="3767" y="1533"/>
                </a:lnTo>
                <a:lnTo>
                  <a:pt x="3771" y="1536"/>
                </a:lnTo>
                <a:lnTo>
                  <a:pt x="3773" y="1538"/>
                </a:lnTo>
                <a:lnTo>
                  <a:pt x="3775" y="1540"/>
                </a:lnTo>
                <a:lnTo>
                  <a:pt x="3778" y="1544"/>
                </a:lnTo>
                <a:lnTo>
                  <a:pt x="3779" y="1546"/>
                </a:lnTo>
                <a:lnTo>
                  <a:pt x="3780" y="1549"/>
                </a:lnTo>
                <a:lnTo>
                  <a:pt x="3780" y="1552"/>
                </a:lnTo>
                <a:lnTo>
                  <a:pt x="3779" y="1556"/>
                </a:lnTo>
                <a:lnTo>
                  <a:pt x="3778" y="1559"/>
                </a:lnTo>
                <a:lnTo>
                  <a:pt x="3777" y="1563"/>
                </a:lnTo>
                <a:lnTo>
                  <a:pt x="3777" y="1567"/>
                </a:lnTo>
                <a:lnTo>
                  <a:pt x="3778" y="1577"/>
                </a:lnTo>
                <a:lnTo>
                  <a:pt x="3778" y="1582"/>
                </a:lnTo>
                <a:lnTo>
                  <a:pt x="3779" y="1586"/>
                </a:lnTo>
                <a:lnTo>
                  <a:pt x="3781" y="1588"/>
                </a:lnTo>
                <a:lnTo>
                  <a:pt x="3781" y="1589"/>
                </a:lnTo>
                <a:lnTo>
                  <a:pt x="3782" y="1588"/>
                </a:lnTo>
                <a:lnTo>
                  <a:pt x="3783" y="1597"/>
                </a:lnTo>
                <a:lnTo>
                  <a:pt x="3783" y="1605"/>
                </a:lnTo>
                <a:lnTo>
                  <a:pt x="3783" y="1612"/>
                </a:lnTo>
                <a:lnTo>
                  <a:pt x="3784" y="1616"/>
                </a:lnTo>
                <a:lnTo>
                  <a:pt x="3785" y="1619"/>
                </a:lnTo>
                <a:lnTo>
                  <a:pt x="3788" y="1624"/>
                </a:lnTo>
                <a:lnTo>
                  <a:pt x="3791" y="1627"/>
                </a:lnTo>
                <a:lnTo>
                  <a:pt x="3795" y="1630"/>
                </a:lnTo>
                <a:lnTo>
                  <a:pt x="3800" y="1633"/>
                </a:lnTo>
                <a:lnTo>
                  <a:pt x="3804" y="1635"/>
                </a:lnTo>
                <a:lnTo>
                  <a:pt x="3809" y="1638"/>
                </a:lnTo>
                <a:lnTo>
                  <a:pt x="3813" y="1641"/>
                </a:lnTo>
                <a:lnTo>
                  <a:pt x="3815" y="1643"/>
                </a:lnTo>
                <a:lnTo>
                  <a:pt x="3816" y="1645"/>
                </a:lnTo>
                <a:lnTo>
                  <a:pt x="3818" y="1648"/>
                </a:lnTo>
                <a:lnTo>
                  <a:pt x="3819" y="1653"/>
                </a:lnTo>
                <a:lnTo>
                  <a:pt x="3821" y="1662"/>
                </a:lnTo>
                <a:lnTo>
                  <a:pt x="3822" y="1671"/>
                </a:lnTo>
                <a:lnTo>
                  <a:pt x="3823" y="1675"/>
                </a:lnTo>
                <a:lnTo>
                  <a:pt x="3825" y="1678"/>
                </a:lnTo>
                <a:lnTo>
                  <a:pt x="3830" y="1681"/>
                </a:lnTo>
                <a:lnTo>
                  <a:pt x="3836" y="1684"/>
                </a:lnTo>
                <a:lnTo>
                  <a:pt x="3850" y="1707"/>
                </a:lnTo>
                <a:lnTo>
                  <a:pt x="3850" y="1709"/>
                </a:lnTo>
                <a:lnTo>
                  <a:pt x="3850" y="1712"/>
                </a:lnTo>
                <a:lnTo>
                  <a:pt x="3849" y="1718"/>
                </a:lnTo>
                <a:lnTo>
                  <a:pt x="3847" y="1723"/>
                </a:lnTo>
                <a:lnTo>
                  <a:pt x="3847" y="1729"/>
                </a:lnTo>
                <a:lnTo>
                  <a:pt x="3848" y="1730"/>
                </a:lnTo>
                <a:lnTo>
                  <a:pt x="3848" y="1733"/>
                </a:lnTo>
                <a:lnTo>
                  <a:pt x="3849" y="1742"/>
                </a:lnTo>
                <a:lnTo>
                  <a:pt x="3851" y="1754"/>
                </a:lnTo>
                <a:lnTo>
                  <a:pt x="3852" y="1759"/>
                </a:lnTo>
                <a:lnTo>
                  <a:pt x="3853" y="1763"/>
                </a:lnTo>
                <a:lnTo>
                  <a:pt x="3852" y="1762"/>
                </a:lnTo>
                <a:lnTo>
                  <a:pt x="3851" y="1761"/>
                </a:lnTo>
                <a:lnTo>
                  <a:pt x="3851" y="1762"/>
                </a:lnTo>
                <a:lnTo>
                  <a:pt x="3850" y="1763"/>
                </a:lnTo>
                <a:lnTo>
                  <a:pt x="3850" y="1765"/>
                </a:lnTo>
                <a:lnTo>
                  <a:pt x="3850" y="1766"/>
                </a:lnTo>
                <a:lnTo>
                  <a:pt x="3854" y="1770"/>
                </a:lnTo>
                <a:lnTo>
                  <a:pt x="3857" y="1772"/>
                </a:lnTo>
                <a:lnTo>
                  <a:pt x="3858" y="1774"/>
                </a:lnTo>
                <a:lnTo>
                  <a:pt x="3860" y="1780"/>
                </a:lnTo>
                <a:lnTo>
                  <a:pt x="3860" y="1786"/>
                </a:lnTo>
                <a:lnTo>
                  <a:pt x="3861" y="1790"/>
                </a:lnTo>
                <a:lnTo>
                  <a:pt x="3861" y="1794"/>
                </a:lnTo>
                <a:lnTo>
                  <a:pt x="3862" y="1796"/>
                </a:lnTo>
                <a:lnTo>
                  <a:pt x="3863" y="1797"/>
                </a:lnTo>
                <a:lnTo>
                  <a:pt x="3865" y="1798"/>
                </a:lnTo>
                <a:lnTo>
                  <a:pt x="3867" y="1799"/>
                </a:lnTo>
                <a:lnTo>
                  <a:pt x="3869" y="1799"/>
                </a:lnTo>
                <a:lnTo>
                  <a:pt x="3872" y="1800"/>
                </a:lnTo>
                <a:lnTo>
                  <a:pt x="3881" y="1799"/>
                </a:lnTo>
                <a:lnTo>
                  <a:pt x="3885" y="1798"/>
                </a:lnTo>
                <a:lnTo>
                  <a:pt x="3889" y="1797"/>
                </a:lnTo>
                <a:lnTo>
                  <a:pt x="3893" y="1794"/>
                </a:lnTo>
                <a:lnTo>
                  <a:pt x="3896" y="1792"/>
                </a:lnTo>
                <a:lnTo>
                  <a:pt x="3899" y="1789"/>
                </a:lnTo>
                <a:lnTo>
                  <a:pt x="3902" y="1786"/>
                </a:lnTo>
                <a:lnTo>
                  <a:pt x="3905" y="1784"/>
                </a:lnTo>
                <a:lnTo>
                  <a:pt x="3909" y="1783"/>
                </a:lnTo>
                <a:lnTo>
                  <a:pt x="3911" y="1782"/>
                </a:lnTo>
                <a:lnTo>
                  <a:pt x="3913" y="1782"/>
                </a:lnTo>
                <a:lnTo>
                  <a:pt x="3917" y="1782"/>
                </a:lnTo>
                <a:lnTo>
                  <a:pt x="3922" y="1783"/>
                </a:lnTo>
                <a:lnTo>
                  <a:pt x="3926" y="1783"/>
                </a:lnTo>
                <a:lnTo>
                  <a:pt x="3929" y="1780"/>
                </a:lnTo>
                <a:lnTo>
                  <a:pt x="3932" y="1778"/>
                </a:lnTo>
                <a:lnTo>
                  <a:pt x="3934" y="1777"/>
                </a:lnTo>
                <a:lnTo>
                  <a:pt x="3938" y="1779"/>
                </a:lnTo>
                <a:lnTo>
                  <a:pt x="3941" y="1781"/>
                </a:lnTo>
                <a:lnTo>
                  <a:pt x="3943" y="1782"/>
                </a:lnTo>
                <a:lnTo>
                  <a:pt x="3946" y="1782"/>
                </a:lnTo>
                <a:lnTo>
                  <a:pt x="3950" y="1781"/>
                </a:lnTo>
                <a:lnTo>
                  <a:pt x="3954" y="1780"/>
                </a:lnTo>
                <a:lnTo>
                  <a:pt x="3955" y="1779"/>
                </a:lnTo>
                <a:lnTo>
                  <a:pt x="3956" y="1778"/>
                </a:lnTo>
                <a:lnTo>
                  <a:pt x="3958" y="1774"/>
                </a:lnTo>
                <a:lnTo>
                  <a:pt x="3960" y="1771"/>
                </a:lnTo>
                <a:lnTo>
                  <a:pt x="3962" y="1768"/>
                </a:lnTo>
                <a:lnTo>
                  <a:pt x="3968" y="1765"/>
                </a:lnTo>
                <a:lnTo>
                  <a:pt x="3974" y="1763"/>
                </a:lnTo>
                <a:lnTo>
                  <a:pt x="3987" y="1759"/>
                </a:lnTo>
                <a:lnTo>
                  <a:pt x="3999" y="1755"/>
                </a:lnTo>
                <a:lnTo>
                  <a:pt x="4005" y="1752"/>
                </a:lnTo>
                <a:lnTo>
                  <a:pt x="4010" y="1749"/>
                </a:lnTo>
                <a:lnTo>
                  <a:pt x="4010" y="1746"/>
                </a:lnTo>
                <a:lnTo>
                  <a:pt x="4013" y="1746"/>
                </a:lnTo>
                <a:lnTo>
                  <a:pt x="4016" y="1738"/>
                </a:lnTo>
                <a:lnTo>
                  <a:pt x="4021" y="1738"/>
                </a:lnTo>
                <a:lnTo>
                  <a:pt x="4022" y="1736"/>
                </a:lnTo>
                <a:lnTo>
                  <a:pt x="4021" y="1735"/>
                </a:lnTo>
                <a:lnTo>
                  <a:pt x="4020" y="1731"/>
                </a:lnTo>
                <a:lnTo>
                  <a:pt x="4019" y="1729"/>
                </a:lnTo>
                <a:lnTo>
                  <a:pt x="4019" y="1727"/>
                </a:lnTo>
                <a:lnTo>
                  <a:pt x="4020" y="1725"/>
                </a:lnTo>
                <a:lnTo>
                  <a:pt x="4021" y="1723"/>
                </a:lnTo>
                <a:lnTo>
                  <a:pt x="4024" y="1722"/>
                </a:lnTo>
                <a:lnTo>
                  <a:pt x="4026" y="1720"/>
                </a:lnTo>
                <a:lnTo>
                  <a:pt x="4031" y="1719"/>
                </a:lnTo>
                <a:lnTo>
                  <a:pt x="4043" y="1717"/>
                </a:lnTo>
                <a:lnTo>
                  <a:pt x="4050" y="1715"/>
                </a:lnTo>
                <a:lnTo>
                  <a:pt x="4053" y="1711"/>
                </a:lnTo>
                <a:lnTo>
                  <a:pt x="4056" y="1708"/>
                </a:lnTo>
                <a:lnTo>
                  <a:pt x="4058" y="1707"/>
                </a:lnTo>
                <a:lnTo>
                  <a:pt x="4059" y="1706"/>
                </a:lnTo>
                <a:lnTo>
                  <a:pt x="4060" y="1707"/>
                </a:lnTo>
                <a:lnTo>
                  <a:pt x="4063" y="1708"/>
                </a:lnTo>
                <a:lnTo>
                  <a:pt x="4066" y="1708"/>
                </a:lnTo>
                <a:lnTo>
                  <a:pt x="4067" y="1708"/>
                </a:lnTo>
                <a:lnTo>
                  <a:pt x="4069" y="1707"/>
                </a:lnTo>
                <a:lnTo>
                  <a:pt x="4072" y="1703"/>
                </a:lnTo>
                <a:lnTo>
                  <a:pt x="4073" y="1698"/>
                </a:lnTo>
                <a:lnTo>
                  <a:pt x="4075" y="1693"/>
                </a:lnTo>
                <a:lnTo>
                  <a:pt x="4076" y="1691"/>
                </a:lnTo>
                <a:lnTo>
                  <a:pt x="4078" y="1690"/>
                </a:lnTo>
                <a:lnTo>
                  <a:pt x="4079" y="1689"/>
                </a:lnTo>
                <a:lnTo>
                  <a:pt x="4081" y="1689"/>
                </a:lnTo>
                <a:lnTo>
                  <a:pt x="4087" y="1689"/>
                </a:lnTo>
                <a:lnTo>
                  <a:pt x="4096" y="1690"/>
                </a:lnTo>
                <a:lnTo>
                  <a:pt x="4101" y="1679"/>
                </a:lnTo>
                <a:lnTo>
                  <a:pt x="4103" y="1676"/>
                </a:lnTo>
                <a:lnTo>
                  <a:pt x="4105" y="1674"/>
                </a:lnTo>
                <a:lnTo>
                  <a:pt x="4111" y="1671"/>
                </a:lnTo>
                <a:lnTo>
                  <a:pt x="4124" y="1667"/>
                </a:lnTo>
                <a:lnTo>
                  <a:pt x="4123" y="1666"/>
                </a:lnTo>
                <a:lnTo>
                  <a:pt x="4122" y="1665"/>
                </a:lnTo>
                <a:lnTo>
                  <a:pt x="4122" y="1662"/>
                </a:lnTo>
                <a:lnTo>
                  <a:pt x="4122" y="1652"/>
                </a:lnTo>
                <a:lnTo>
                  <a:pt x="4125" y="1643"/>
                </a:lnTo>
                <a:lnTo>
                  <a:pt x="4126" y="1636"/>
                </a:lnTo>
                <a:lnTo>
                  <a:pt x="4131" y="1636"/>
                </a:lnTo>
                <a:lnTo>
                  <a:pt x="4135" y="1636"/>
                </a:lnTo>
                <a:lnTo>
                  <a:pt x="4137" y="1631"/>
                </a:lnTo>
                <a:lnTo>
                  <a:pt x="4138" y="1625"/>
                </a:lnTo>
                <a:lnTo>
                  <a:pt x="4139" y="1619"/>
                </a:lnTo>
                <a:lnTo>
                  <a:pt x="4139" y="1617"/>
                </a:lnTo>
                <a:lnTo>
                  <a:pt x="4141" y="1614"/>
                </a:lnTo>
                <a:lnTo>
                  <a:pt x="4143" y="1610"/>
                </a:lnTo>
                <a:lnTo>
                  <a:pt x="4145" y="1607"/>
                </a:lnTo>
                <a:lnTo>
                  <a:pt x="4152" y="1599"/>
                </a:lnTo>
                <a:lnTo>
                  <a:pt x="4154" y="1595"/>
                </a:lnTo>
                <a:lnTo>
                  <a:pt x="4157" y="1590"/>
                </a:lnTo>
                <a:lnTo>
                  <a:pt x="4157" y="1588"/>
                </a:lnTo>
                <a:lnTo>
                  <a:pt x="4158" y="1585"/>
                </a:lnTo>
                <a:lnTo>
                  <a:pt x="4158" y="1583"/>
                </a:lnTo>
                <a:lnTo>
                  <a:pt x="4157" y="1580"/>
                </a:lnTo>
                <a:lnTo>
                  <a:pt x="4157" y="1579"/>
                </a:lnTo>
                <a:lnTo>
                  <a:pt x="4156" y="1579"/>
                </a:lnTo>
                <a:lnTo>
                  <a:pt x="4154" y="1578"/>
                </a:lnTo>
                <a:lnTo>
                  <a:pt x="4151" y="1578"/>
                </a:lnTo>
                <a:lnTo>
                  <a:pt x="4149" y="1577"/>
                </a:lnTo>
                <a:lnTo>
                  <a:pt x="4148" y="1576"/>
                </a:lnTo>
                <a:lnTo>
                  <a:pt x="4147" y="1573"/>
                </a:lnTo>
                <a:lnTo>
                  <a:pt x="4145" y="1566"/>
                </a:lnTo>
                <a:lnTo>
                  <a:pt x="4143" y="1559"/>
                </a:lnTo>
                <a:lnTo>
                  <a:pt x="4142" y="1556"/>
                </a:lnTo>
                <a:lnTo>
                  <a:pt x="4141" y="1555"/>
                </a:lnTo>
                <a:lnTo>
                  <a:pt x="4138" y="1553"/>
                </a:lnTo>
                <a:lnTo>
                  <a:pt x="4136" y="1552"/>
                </a:lnTo>
                <a:lnTo>
                  <a:pt x="4133" y="1551"/>
                </a:lnTo>
                <a:lnTo>
                  <a:pt x="4130" y="1550"/>
                </a:lnTo>
                <a:lnTo>
                  <a:pt x="4124" y="1549"/>
                </a:lnTo>
                <a:lnTo>
                  <a:pt x="4121" y="1548"/>
                </a:lnTo>
                <a:lnTo>
                  <a:pt x="4118" y="1546"/>
                </a:lnTo>
                <a:lnTo>
                  <a:pt x="4115" y="1544"/>
                </a:lnTo>
                <a:lnTo>
                  <a:pt x="4112" y="1541"/>
                </a:lnTo>
                <a:lnTo>
                  <a:pt x="4109" y="1539"/>
                </a:lnTo>
                <a:lnTo>
                  <a:pt x="4106" y="1535"/>
                </a:lnTo>
                <a:lnTo>
                  <a:pt x="4102" y="1528"/>
                </a:lnTo>
                <a:lnTo>
                  <a:pt x="4098" y="1520"/>
                </a:lnTo>
                <a:lnTo>
                  <a:pt x="4096" y="1515"/>
                </a:lnTo>
                <a:lnTo>
                  <a:pt x="4095" y="1510"/>
                </a:lnTo>
                <a:lnTo>
                  <a:pt x="4093" y="1504"/>
                </a:lnTo>
                <a:lnTo>
                  <a:pt x="4093" y="1498"/>
                </a:lnTo>
                <a:lnTo>
                  <a:pt x="4089" y="1502"/>
                </a:lnTo>
                <a:lnTo>
                  <a:pt x="4086" y="1505"/>
                </a:lnTo>
                <a:lnTo>
                  <a:pt x="4080" y="1514"/>
                </a:lnTo>
                <a:lnTo>
                  <a:pt x="4077" y="1518"/>
                </a:lnTo>
                <a:lnTo>
                  <a:pt x="4073" y="1521"/>
                </a:lnTo>
                <a:lnTo>
                  <a:pt x="4069" y="1525"/>
                </a:lnTo>
                <a:lnTo>
                  <a:pt x="4065" y="1529"/>
                </a:lnTo>
                <a:lnTo>
                  <a:pt x="4059" y="1532"/>
                </a:lnTo>
                <a:lnTo>
                  <a:pt x="4052" y="1535"/>
                </a:lnTo>
                <a:lnTo>
                  <a:pt x="4050" y="1541"/>
                </a:lnTo>
                <a:lnTo>
                  <a:pt x="4047" y="1541"/>
                </a:lnTo>
                <a:lnTo>
                  <a:pt x="4044" y="1540"/>
                </a:lnTo>
                <a:lnTo>
                  <a:pt x="4041" y="1538"/>
                </a:lnTo>
                <a:lnTo>
                  <a:pt x="4038" y="1536"/>
                </a:lnTo>
                <a:lnTo>
                  <a:pt x="4037" y="1535"/>
                </a:lnTo>
                <a:lnTo>
                  <a:pt x="4035" y="1535"/>
                </a:lnTo>
                <a:lnTo>
                  <a:pt x="4029" y="1535"/>
                </a:lnTo>
                <a:lnTo>
                  <a:pt x="4025" y="1536"/>
                </a:lnTo>
                <a:lnTo>
                  <a:pt x="4021" y="1537"/>
                </a:lnTo>
                <a:lnTo>
                  <a:pt x="4019" y="1537"/>
                </a:lnTo>
                <a:lnTo>
                  <a:pt x="4016" y="1537"/>
                </a:lnTo>
                <a:lnTo>
                  <a:pt x="4005" y="1535"/>
                </a:lnTo>
                <a:lnTo>
                  <a:pt x="4006" y="1524"/>
                </a:lnTo>
                <a:lnTo>
                  <a:pt x="4006" y="1514"/>
                </a:lnTo>
                <a:lnTo>
                  <a:pt x="4006" y="1505"/>
                </a:lnTo>
                <a:lnTo>
                  <a:pt x="4006" y="1501"/>
                </a:lnTo>
                <a:lnTo>
                  <a:pt x="4005" y="1499"/>
                </a:lnTo>
                <a:lnTo>
                  <a:pt x="4004" y="1498"/>
                </a:lnTo>
                <a:lnTo>
                  <a:pt x="4003" y="1498"/>
                </a:lnTo>
                <a:lnTo>
                  <a:pt x="4002" y="1498"/>
                </a:lnTo>
                <a:lnTo>
                  <a:pt x="4000" y="1500"/>
                </a:lnTo>
                <a:lnTo>
                  <a:pt x="3999" y="1502"/>
                </a:lnTo>
                <a:lnTo>
                  <a:pt x="3997" y="1507"/>
                </a:lnTo>
                <a:lnTo>
                  <a:pt x="3993" y="1518"/>
                </a:lnTo>
                <a:lnTo>
                  <a:pt x="3988" y="1518"/>
                </a:lnTo>
                <a:lnTo>
                  <a:pt x="3985" y="1509"/>
                </a:lnTo>
                <a:lnTo>
                  <a:pt x="3982" y="1501"/>
                </a:lnTo>
                <a:lnTo>
                  <a:pt x="3982" y="1499"/>
                </a:lnTo>
                <a:lnTo>
                  <a:pt x="3983" y="1497"/>
                </a:lnTo>
                <a:lnTo>
                  <a:pt x="3984" y="1494"/>
                </a:lnTo>
                <a:lnTo>
                  <a:pt x="3985" y="1491"/>
                </a:lnTo>
                <a:lnTo>
                  <a:pt x="3985" y="1489"/>
                </a:lnTo>
                <a:lnTo>
                  <a:pt x="3985" y="1487"/>
                </a:lnTo>
                <a:lnTo>
                  <a:pt x="3984" y="1486"/>
                </a:lnTo>
                <a:lnTo>
                  <a:pt x="3982" y="1484"/>
                </a:lnTo>
                <a:lnTo>
                  <a:pt x="3978" y="1481"/>
                </a:lnTo>
                <a:lnTo>
                  <a:pt x="3974" y="1479"/>
                </a:lnTo>
                <a:lnTo>
                  <a:pt x="3972" y="1477"/>
                </a:lnTo>
                <a:lnTo>
                  <a:pt x="3971" y="1476"/>
                </a:lnTo>
                <a:lnTo>
                  <a:pt x="3970" y="1474"/>
                </a:lnTo>
                <a:lnTo>
                  <a:pt x="3969" y="1472"/>
                </a:lnTo>
                <a:lnTo>
                  <a:pt x="3968" y="1467"/>
                </a:lnTo>
                <a:lnTo>
                  <a:pt x="3967" y="1463"/>
                </a:lnTo>
                <a:lnTo>
                  <a:pt x="3965" y="1459"/>
                </a:lnTo>
                <a:lnTo>
                  <a:pt x="3963" y="1457"/>
                </a:lnTo>
                <a:lnTo>
                  <a:pt x="3959" y="1455"/>
                </a:lnTo>
                <a:lnTo>
                  <a:pt x="3956" y="1453"/>
                </a:lnTo>
                <a:lnTo>
                  <a:pt x="3954" y="1451"/>
                </a:lnTo>
                <a:lnTo>
                  <a:pt x="3953" y="1448"/>
                </a:lnTo>
                <a:lnTo>
                  <a:pt x="3953" y="1446"/>
                </a:lnTo>
                <a:lnTo>
                  <a:pt x="3952" y="1441"/>
                </a:lnTo>
                <a:lnTo>
                  <a:pt x="3952" y="1436"/>
                </a:lnTo>
                <a:lnTo>
                  <a:pt x="3951" y="1431"/>
                </a:lnTo>
                <a:lnTo>
                  <a:pt x="3949" y="1427"/>
                </a:lnTo>
                <a:lnTo>
                  <a:pt x="3946" y="1424"/>
                </a:lnTo>
                <a:lnTo>
                  <a:pt x="3942" y="1420"/>
                </a:lnTo>
                <a:lnTo>
                  <a:pt x="3940" y="1417"/>
                </a:lnTo>
                <a:lnTo>
                  <a:pt x="3941" y="1415"/>
                </a:lnTo>
                <a:lnTo>
                  <a:pt x="3942" y="1414"/>
                </a:lnTo>
                <a:lnTo>
                  <a:pt x="3942" y="1411"/>
                </a:lnTo>
                <a:lnTo>
                  <a:pt x="3942" y="1407"/>
                </a:lnTo>
                <a:lnTo>
                  <a:pt x="3943" y="1403"/>
                </a:lnTo>
                <a:lnTo>
                  <a:pt x="3948" y="1404"/>
                </a:lnTo>
                <a:lnTo>
                  <a:pt x="3951" y="1404"/>
                </a:lnTo>
                <a:lnTo>
                  <a:pt x="3952" y="1403"/>
                </a:lnTo>
                <a:lnTo>
                  <a:pt x="3952" y="1402"/>
                </a:lnTo>
                <a:lnTo>
                  <a:pt x="3951" y="1400"/>
                </a:lnTo>
                <a:lnTo>
                  <a:pt x="3950" y="1398"/>
                </a:lnTo>
                <a:lnTo>
                  <a:pt x="3945" y="1391"/>
                </a:lnTo>
                <a:lnTo>
                  <a:pt x="3953" y="1395"/>
                </a:lnTo>
                <a:lnTo>
                  <a:pt x="3960" y="1400"/>
                </a:lnTo>
                <a:lnTo>
                  <a:pt x="3960" y="1398"/>
                </a:lnTo>
                <a:lnTo>
                  <a:pt x="3959" y="1396"/>
                </a:lnTo>
                <a:lnTo>
                  <a:pt x="3959" y="1395"/>
                </a:lnTo>
                <a:lnTo>
                  <a:pt x="3960" y="1394"/>
                </a:lnTo>
                <a:lnTo>
                  <a:pt x="3962" y="1394"/>
                </a:lnTo>
                <a:lnTo>
                  <a:pt x="3965" y="1396"/>
                </a:lnTo>
                <a:lnTo>
                  <a:pt x="3969" y="1399"/>
                </a:lnTo>
                <a:lnTo>
                  <a:pt x="3973" y="1402"/>
                </a:lnTo>
                <a:lnTo>
                  <a:pt x="3975" y="1402"/>
                </a:lnTo>
                <a:lnTo>
                  <a:pt x="3976" y="1403"/>
                </a:lnTo>
                <a:lnTo>
                  <a:pt x="3978" y="1402"/>
                </a:lnTo>
                <a:lnTo>
                  <a:pt x="3980" y="1400"/>
                </a:lnTo>
                <a:lnTo>
                  <a:pt x="3983" y="1398"/>
                </a:lnTo>
                <a:lnTo>
                  <a:pt x="3985" y="1397"/>
                </a:lnTo>
                <a:lnTo>
                  <a:pt x="3989" y="1406"/>
                </a:lnTo>
                <a:lnTo>
                  <a:pt x="3992" y="1415"/>
                </a:lnTo>
                <a:lnTo>
                  <a:pt x="3999" y="1434"/>
                </a:lnTo>
                <a:lnTo>
                  <a:pt x="4005" y="1436"/>
                </a:lnTo>
                <a:lnTo>
                  <a:pt x="4005" y="1438"/>
                </a:lnTo>
                <a:lnTo>
                  <a:pt x="4004" y="1441"/>
                </a:lnTo>
                <a:lnTo>
                  <a:pt x="4004" y="1443"/>
                </a:lnTo>
                <a:lnTo>
                  <a:pt x="4005" y="1445"/>
                </a:lnTo>
                <a:lnTo>
                  <a:pt x="4007" y="1446"/>
                </a:lnTo>
                <a:lnTo>
                  <a:pt x="4009" y="1446"/>
                </a:lnTo>
                <a:lnTo>
                  <a:pt x="4011" y="1446"/>
                </a:lnTo>
                <a:lnTo>
                  <a:pt x="4012" y="1447"/>
                </a:lnTo>
                <a:lnTo>
                  <a:pt x="4013" y="1448"/>
                </a:lnTo>
                <a:lnTo>
                  <a:pt x="4013" y="1450"/>
                </a:lnTo>
                <a:lnTo>
                  <a:pt x="4013" y="1453"/>
                </a:lnTo>
                <a:lnTo>
                  <a:pt x="4012" y="1456"/>
                </a:lnTo>
                <a:lnTo>
                  <a:pt x="4013" y="1458"/>
                </a:lnTo>
                <a:lnTo>
                  <a:pt x="4013" y="1459"/>
                </a:lnTo>
                <a:lnTo>
                  <a:pt x="4015" y="1460"/>
                </a:lnTo>
                <a:lnTo>
                  <a:pt x="4018" y="1462"/>
                </a:lnTo>
                <a:lnTo>
                  <a:pt x="4022" y="1463"/>
                </a:lnTo>
                <a:lnTo>
                  <a:pt x="4024" y="1465"/>
                </a:lnTo>
                <a:lnTo>
                  <a:pt x="4025" y="1466"/>
                </a:lnTo>
                <a:lnTo>
                  <a:pt x="4024" y="1469"/>
                </a:lnTo>
                <a:lnTo>
                  <a:pt x="4024" y="1471"/>
                </a:lnTo>
                <a:lnTo>
                  <a:pt x="4024" y="1473"/>
                </a:lnTo>
                <a:lnTo>
                  <a:pt x="4038" y="1484"/>
                </a:lnTo>
                <a:lnTo>
                  <a:pt x="4042" y="1486"/>
                </a:lnTo>
                <a:lnTo>
                  <a:pt x="4047" y="1487"/>
                </a:lnTo>
                <a:lnTo>
                  <a:pt x="4057" y="1489"/>
                </a:lnTo>
                <a:lnTo>
                  <a:pt x="4069" y="1490"/>
                </a:lnTo>
                <a:lnTo>
                  <a:pt x="4076" y="1486"/>
                </a:lnTo>
                <a:lnTo>
                  <a:pt x="4084" y="1483"/>
                </a:lnTo>
                <a:lnTo>
                  <a:pt x="4098" y="1476"/>
                </a:lnTo>
                <a:lnTo>
                  <a:pt x="4097" y="1475"/>
                </a:lnTo>
                <a:lnTo>
                  <a:pt x="4097" y="1474"/>
                </a:lnTo>
                <a:lnTo>
                  <a:pt x="4098" y="1473"/>
                </a:lnTo>
                <a:lnTo>
                  <a:pt x="4101" y="1473"/>
                </a:lnTo>
                <a:lnTo>
                  <a:pt x="4102" y="1474"/>
                </a:lnTo>
                <a:lnTo>
                  <a:pt x="4104" y="1475"/>
                </a:lnTo>
                <a:lnTo>
                  <a:pt x="4107" y="1477"/>
                </a:lnTo>
                <a:lnTo>
                  <a:pt x="4110" y="1479"/>
                </a:lnTo>
                <a:lnTo>
                  <a:pt x="4111" y="1480"/>
                </a:lnTo>
                <a:lnTo>
                  <a:pt x="4112" y="1481"/>
                </a:lnTo>
                <a:lnTo>
                  <a:pt x="4114" y="1485"/>
                </a:lnTo>
                <a:lnTo>
                  <a:pt x="4114" y="1488"/>
                </a:lnTo>
                <a:lnTo>
                  <a:pt x="4115" y="1495"/>
                </a:lnTo>
                <a:lnTo>
                  <a:pt x="4115" y="1498"/>
                </a:lnTo>
                <a:lnTo>
                  <a:pt x="4115" y="1502"/>
                </a:lnTo>
                <a:lnTo>
                  <a:pt x="4116" y="1504"/>
                </a:lnTo>
                <a:lnTo>
                  <a:pt x="4118" y="1507"/>
                </a:lnTo>
                <a:lnTo>
                  <a:pt x="4121" y="1509"/>
                </a:lnTo>
                <a:lnTo>
                  <a:pt x="4124" y="1511"/>
                </a:lnTo>
                <a:lnTo>
                  <a:pt x="4128" y="1513"/>
                </a:lnTo>
                <a:lnTo>
                  <a:pt x="4131" y="1514"/>
                </a:lnTo>
                <a:lnTo>
                  <a:pt x="4139" y="1515"/>
                </a:lnTo>
                <a:lnTo>
                  <a:pt x="4147" y="1515"/>
                </a:lnTo>
                <a:lnTo>
                  <a:pt x="4155" y="1515"/>
                </a:lnTo>
                <a:lnTo>
                  <a:pt x="4162" y="1515"/>
                </a:lnTo>
                <a:lnTo>
                  <a:pt x="4169" y="1515"/>
                </a:lnTo>
                <a:lnTo>
                  <a:pt x="4174" y="1515"/>
                </a:lnTo>
                <a:lnTo>
                  <a:pt x="4175" y="1516"/>
                </a:lnTo>
                <a:lnTo>
                  <a:pt x="4176" y="1517"/>
                </a:lnTo>
                <a:lnTo>
                  <a:pt x="4179" y="1520"/>
                </a:lnTo>
                <a:lnTo>
                  <a:pt x="4183" y="1524"/>
                </a:lnTo>
                <a:lnTo>
                  <a:pt x="4184" y="1524"/>
                </a:lnTo>
                <a:lnTo>
                  <a:pt x="4187" y="1523"/>
                </a:lnTo>
                <a:lnTo>
                  <a:pt x="4194" y="1523"/>
                </a:lnTo>
                <a:lnTo>
                  <a:pt x="4204" y="1521"/>
                </a:lnTo>
                <a:lnTo>
                  <a:pt x="4230" y="1517"/>
                </a:lnTo>
                <a:lnTo>
                  <a:pt x="4244" y="1514"/>
                </a:lnTo>
                <a:lnTo>
                  <a:pt x="4250" y="1514"/>
                </a:lnTo>
                <a:lnTo>
                  <a:pt x="4256" y="1513"/>
                </a:lnTo>
                <a:lnTo>
                  <a:pt x="4267" y="1513"/>
                </a:lnTo>
                <a:lnTo>
                  <a:pt x="4272" y="1514"/>
                </a:lnTo>
                <a:lnTo>
                  <a:pt x="4276" y="1515"/>
                </a:lnTo>
                <a:lnTo>
                  <a:pt x="4284" y="1527"/>
                </a:lnTo>
                <a:lnTo>
                  <a:pt x="4284" y="1528"/>
                </a:lnTo>
                <a:lnTo>
                  <a:pt x="4282" y="1530"/>
                </a:lnTo>
                <a:lnTo>
                  <a:pt x="4280" y="1532"/>
                </a:lnTo>
                <a:lnTo>
                  <a:pt x="4280" y="1534"/>
                </a:lnTo>
                <a:lnTo>
                  <a:pt x="4281" y="1535"/>
                </a:lnTo>
                <a:lnTo>
                  <a:pt x="4282" y="1535"/>
                </a:lnTo>
                <a:lnTo>
                  <a:pt x="4283" y="1536"/>
                </a:lnTo>
                <a:lnTo>
                  <a:pt x="4287" y="1535"/>
                </a:lnTo>
                <a:lnTo>
                  <a:pt x="4290" y="1535"/>
                </a:lnTo>
                <a:lnTo>
                  <a:pt x="4292" y="1535"/>
                </a:lnTo>
                <a:lnTo>
                  <a:pt x="4297" y="1538"/>
                </a:lnTo>
                <a:lnTo>
                  <a:pt x="4299" y="1539"/>
                </a:lnTo>
                <a:lnTo>
                  <a:pt x="4300" y="1540"/>
                </a:lnTo>
                <a:lnTo>
                  <a:pt x="4300" y="1544"/>
                </a:lnTo>
                <a:lnTo>
                  <a:pt x="4299" y="1548"/>
                </a:lnTo>
                <a:lnTo>
                  <a:pt x="4300" y="1550"/>
                </a:lnTo>
                <a:lnTo>
                  <a:pt x="4301" y="1552"/>
                </a:lnTo>
                <a:lnTo>
                  <a:pt x="4318" y="1557"/>
                </a:lnTo>
                <a:lnTo>
                  <a:pt x="4319" y="1559"/>
                </a:lnTo>
                <a:lnTo>
                  <a:pt x="4319" y="1561"/>
                </a:lnTo>
                <a:lnTo>
                  <a:pt x="4320" y="1565"/>
                </a:lnTo>
                <a:lnTo>
                  <a:pt x="4320" y="1570"/>
                </a:lnTo>
                <a:lnTo>
                  <a:pt x="4321" y="1574"/>
                </a:lnTo>
                <a:lnTo>
                  <a:pt x="4334" y="1578"/>
                </a:lnTo>
                <a:lnTo>
                  <a:pt x="4339" y="1579"/>
                </a:lnTo>
                <a:lnTo>
                  <a:pt x="4344" y="1579"/>
                </a:lnTo>
                <a:lnTo>
                  <a:pt x="4348" y="1578"/>
                </a:lnTo>
                <a:lnTo>
                  <a:pt x="4352" y="1576"/>
                </a:lnTo>
                <a:lnTo>
                  <a:pt x="4357" y="1573"/>
                </a:lnTo>
                <a:lnTo>
                  <a:pt x="4363" y="1569"/>
                </a:lnTo>
                <a:lnTo>
                  <a:pt x="4360" y="1574"/>
                </a:lnTo>
                <a:lnTo>
                  <a:pt x="4356" y="1581"/>
                </a:lnTo>
                <a:lnTo>
                  <a:pt x="4353" y="1587"/>
                </a:lnTo>
                <a:lnTo>
                  <a:pt x="4351" y="1589"/>
                </a:lnTo>
                <a:lnTo>
                  <a:pt x="4349" y="1591"/>
                </a:lnTo>
                <a:lnTo>
                  <a:pt x="4345" y="1593"/>
                </a:lnTo>
                <a:lnTo>
                  <a:pt x="4341" y="1593"/>
                </a:lnTo>
                <a:lnTo>
                  <a:pt x="4336" y="1593"/>
                </a:lnTo>
                <a:lnTo>
                  <a:pt x="4332" y="1594"/>
                </a:lnTo>
                <a:lnTo>
                  <a:pt x="4331" y="1596"/>
                </a:lnTo>
                <a:lnTo>
                  <a:pt x="4329" y="1599"/>
                </a:lnTo>
                <a:lnTo>
                  <a:pt x="4329" y="1601"/>
                </a:lnTo>
                <a:lnTo>
                  <a:pt x="4329" y="1602"/>
                </a:lnTo>
                <a:lnTo>
                  <a:pt x="4330" y="1603"/>
                </a:lnTo>
                <a:lnTo>
                  <a:pt x="4332" y="1602"/>
                </a:lnTo>
                <a:lnTo>
                  <a:pt x="4337" y="1611"/>
                </a:lnTo>
                <a:lnTo>
                  <a:pt x="4343" y="1619"/>
                </a:lnTo>
                <a:lnTo>
                  <a:pt x="4350" y="1626"/>
                </a:lnTo>
                <a:lnTo>
                  <a:pt x="4357" y="1633"/>
                </a:lnTo>
                <a:lnTo>
                  <a:pt x="4361" y="1632"/>
                </a:lnTo>
                <a:lnTo>
                  <a:pt x="4365" y="1630"/>
                </a:lnTo>
                <a:lnTo>
                  <a:pt x="4374" y="1627"/>
                </a:lnTo>
                <a:lnTo>
                  <a:pt x="4378" y="1625"/>
                </a:lnTo>
                <a:lnTo>
                  <a:pt x="4381" y="1623"/>
                </a:lnTo>
                <a:lnTo>
                  <a:pt x="4384" y="1620"/>
                </a:lnTo>
                <a:lnTo>
                  <a:pt x="4385" y="1617"/>
                </a:lnTo>
                <a:lnTo>
                  <a:pt x="4386" y="1614"/>
                </a:lnTo>
                <a:lnTo>
                  <a:pt x="4386" y="1612"/>
                </a:lnTo>
                <a:lnTo>
                  <a:pt x="4385" y="1607"/>
                </a:lnTo>
                <a:lnTo>
                  <a:pt x="4385" y="1602"/>
                </a:lnTo>
                <a:lnTo>
                  <a:pt x="4385" y="1599"/>
                </a:lnTo>
                <a:lnTo>
                  <a:pt x="4385" y="1597"/>
                </a:lnTo>
                <a:lnTo>
                  <a:pt x="4394" y="1591"/>
                </a:lnTo>
                <a:lnTo>
                  <a:pt x="4394" y="1594"/>
                </a:lnTo>
                <a:lnTo>
                  <a:pt x="4393" y="1596"/>
                </a:lnTo>
                <a:lnTo>
                  <a:pt x="4392" y="1599"/>
                </a:lnTo>
                <a:lnTo>
                  <a:pt x="4391" y="1603"/>
                </a:lnTo>
                <a:lnTo>
                  <a:pt x="4391" y="1605"/>
                </a:lnTo>
                <a:lnTo>
                  <a:pt x="4396" y="1608"/>
                </a:lnTo>
                <a:lnTo>
                  <a:pt x="4395" y="1612"/>
                </a:lnTo>
                <a:lnTo>
                  <a:pt x="4394" y="1616"/>
                </a:lnTo>
                <a:lnTo>
                  <a:pt x="4394" y="1619"/>
                </a:lnTo>
                <a:lnTo>
                  <a:pt x="4395" y="1621"/>
                </a:lnTo>
                <a:lnTo>
                  <a:pt x="4397" y="1623"/>
                </a:lnTo>
                <a:lnTo>
                  <a:pt x="4399" y="1626"/>
                </a:lnTo>
                <a:lnTo>
                  <a:pt x="4399" y="1628"/>
                </a:lnTo>
                <a:lnTo>
                  <a:pt x="4399" y="1631"/>
                </a:lnTo>
                <a:lnTo>
                  <a:pt x="4399" y="1633"/>
                </a:lnTo>
                <a:lnTo>
                  <a:pt x="4398" y="1636"/>
                </a:lnTo>
                <a:lnTo>
                  <a:pt x="4395" y="1642"/>
                </a:lnTo>
                <a:lnTo>
                  <a:pt x="4392" y="1649"/>
                </a:lnTo>
                <a:lnTo>
                  <a:pt x="4391" y="1652"/>
                </a:lnTo>
                <a:lnTo>
                  <a:pt x="4391" y="1656"/>
                </a:lnTo>
                <a:lnTo>
                  <a:pt x="4395" y="1664"/>
                </a:lnTo>
                <a:lnTo>
                  <a:pt x="4399" y="1673"/>
                </a:lnTo>
                <a:lnTo>
                  <a:pt x="4398" y="1673"/>
                </a:lnTo>
                <a:lnTo>
                  <a:pt x="4398" y="1674"/>
                </a:lnTo>
                <a:lnTo>
                  <a:pt x="4397" y="1676"/>
                </a:lnTo>
                <a:lnTo>
                  <a:pt x="4397" y="1680"/>
                </a:lnTo>
                <a:lnTo>
                  <a:pt x="4398" y="1685"/>
                </a:lnTo>
                <a:lnTo>
                  <a:pt x="4399" y="1690"/>
                </a:lnTo>
                <a:lnTo>
                  <a:pt x="4403" y="1704"/>
                </a:lnTo>
                <a:lnTo>
                  <a:pt x="4408" y="1726"/>
                </a:lnTo>
                <a:lnTo>
                  <a:pt x="4408" y="1730"/>
                </a:lnTo>
                <a:lnTo>
                  <a:pt x="4408" y="1735"/>
                </a:lnTo>
                <a:lnTo>
                  <a:pt x="4407" y="1739"/>
                </a:lnTo>
                <a:lnTo>
                  <a:pt x="4408" y="1743"/>
                </a:lnTo>
                <a:lnTo>
                  <a:pt x="4409" y="1748"/>
                </a:lnTo>
                <a:lnTo>
                  <a:pt x="4411" y="1752"/>
                </a:lnTo>
                <a:lnTo>
                  <a:pt x="4416" y="1761"/>
                </a:lnTo>
                <a:lnTo>
                  <a:pt x="4421" y="1771"/>
                </a:lnTo>
                <a:lnTo>
                  <a:pt x="4425" y="1780"/>
                </a:lnTo>
                <a:lnTo>
                  <a:pt x="4427" y="1792"/>
                </a:lnTo>
                <a:lnTo>
                  <a:pt x="4428" y="1804"/>
                </a:lnTo>
                <a:lnTo>
                  <a:pt x="4429" y="1810"/>
                </a:lnTo>
                <a:lnTo>
                  <a:pt x="4430" y="1816"/>
                </a:lnTo>
                <a:lnTo>
                  <a:pt x="4431" y="1822"/>
                </a:lnTo>
                <a:lnTo>
                  <a:pt x="4433" y="1828"/>
                </a:lnTo>
                <a:lnTo>
                  <a:pt x="4437" y="1833"/>
                </a:lnTo>
                <a:lnTo>
                  <a:pt x="4441" y="1840"/>
                </a:lnTo>
                <a:lnTo>
                  <a:pt x="4446" y="1846"/>
                </a:lnTo>
                <a:lnTo>
                  <a:pt x="4450" y="1853"/>
                </a:lnTo>
                <a:lnTo>
                  <a:pt x="4452" y="1858"/>
                </a:lnTo>
                <a:lnTo>
                  <a:pt x="4452" y="1863"/>
                </a:lnTo>
                <a:lnTo>
                  <a:pt x="4453" y="1868"/>
                </a:lnTo>
                <a:lnTo>
                  <a:pt x="4456" y="1873"/>
                </a:lnTo>
                <a:lnTo>
                  <a:pt x="4461" y="1875"/>
                </a:lnTo>
                <a:lnTo>
                  <a:pt x="4462" y="1878"/>
                </a:lnTo>
                <a:lnTo>
                  <a:pt x="4462" y="1880"/>
                </a:lnTo>
                <a:lnTo>
                  <a:pt x="4461" y="1882"/>
                </a:lnTo>
                <a:lnTo>
                  <a:pt x="4460" y="1883"/>
                </a:lnTo>
                <a:lnTo>
                  <a:pt x="4459" y="1885"/>
                </a:lnTo>
                <a:lnTo>
                  <a:pt x="4458" y="1887"/>
                </a:lnTo>
                <a:lnTo>
                  <a:pt x="4458" y="1889"/>
                </a:lnTo>
                <a:lnTo>
                  <a:pt x="4459" y="1890"/>
                </a:lnTo>
                <a:lnTo>
                  <a:pt x="4460" y="1892"/>
                </a:lnTo>
                <a:lnTo>
                  <a:pt x="4464" y="1896"/>
                </a:lnTo>
                <a:lnTo>
                  <a:pt x="4470" y="1903"/>
                </a:lnTo>
                <a:lnTo>
                  <a:pt x="4473" y="1908"/>
                </a:lnTo>
                <a:lnTo>
                  <a:pt x="4475" y="1912"/>
                </a:lnTo>
                <a:lnTo>
                  <a:pt x="4476" y="1914"/>
                </a:lnTo>
                <a:lnTo>
                  <a:pt x="4477" y="1916"/>
                </a:lnTo>
                <a:lnTo>
                  <a:pt x="4477" y="1918"/>
                </a:lnTo>
                <a:lnTo>
                  <a:pt x="4478" y="1920"/>
                </a:lnTo>
                <a:lnTo>
                  <a:pt x="4482" y="1920"/>
                </a:lnTo>
                <a:lnTo>
                  <a:pt x="4486" y="1920"/>
                </a:lnTo>
                <a:lnTo>
                  <a:pt x="4490" y="1912"/>
                </a:lnTo>
                <a:lnTo>
                  <a:pt x="4493" y="1906"/>
                </a:lnTo>
                <a:lnTo>
                  <a:pt x="4495" y="1903"/>
                </a:lnTo>
                <a:lnTo>
                  <a:pt x="4497" y="1903"/>
                </a:lnTo>
                <a:lnTo>
                  <a:pt x="4499" y="1902"/>
                </a:lnTo>
                <a:lnTo>
                  <a:pt x="4502" y="1902"/>
                </a:lnTo>
                <a:lnTo>
                  <a:pt x="4503" y="1902"/>
                </a:lnTo>
                <a:lnTo>
                  <a:pt x="4503" y="1901"/>
                </a:lnTo>
                <a:lnTo>
                  <a:pt x="4505" y="1898"/>
                </a:lnTo>
                <a:lnTo>
                  <a:pt x="4506" y="1894"/>
                </a:lnTo>
                <a:lnTo>
                  <a:pt x="4508" y="1888"/>
                </a:lnTo>
                <a:lnTo>
                  <a:pt x="4508" y="1885"/>
                </a:lnTo>
                <a:lnTo>
                  <a:pt x="4510" y="1882"/>
                </a:lnTo>
                <a:lnTo>
                  <a:pt x="4512" y="1880"/>
                </a:lnTo>
                <a:lnTo>
                  <a:pt x="4513" y="1879"/>
                </a:lnTo>
                <a:lnTo>
                  <a:pt x="4515" y="1878"/>
                </a:lnTo>
                <a:lnTo>
                  <a:pt x="4517" y="1878"/>
                </a:lnTo>
                <a:lnTo>
                  <a:pt x="4519" y="1878"/>
                </a:lnTo>
                <a:lnTo>
                  <a:pt x="4521" y="1879"/>
                </a:lnTo>
                <a:lnTo>
                  <a:pt x="4523" y="1878"/>
                </a:lnTo>
                <a:lnTo>
                  <a:pt x="4521" y="1861"/>
                </a:lnTo>
                <a:lnTo>
                  <a:pt x="4520" y="1850"/>
                </a:lnTo>
                <a:lnTo>
                  <a:pt x="4520" y="1842"/>
                </a:lnTo>
                <a:lnTo>
                  <a:pt x="4523" y="1837"/>
                </a:lnTo>
                <a:lnTo>
                  <a:pt x="4526" y="1832"/>
                </a:lnTo>
                <a:lnTo>
                  <a:pt x="4530" y="1826"/>
                </a:lnTo>
                <a:lnTo>
                  <a:pt x="4531" y="1824"/>
                </a:lnTo>
                <a:lnTo>
                  <a:pt x="4531" y="1822"/>
                </a:lnTo>
                <a:lnTo>
                  <a:pt x="4529" y="1815"/>
                </a:lnTo>
                <a:lnTo>
                  <a:pt x="4526" y="1808"/>
                </a:lnTo>
                <a:lnTo>
                  <a:pt x="4525" y="1801"/>
                </a:lnTo>
                <a:lnTo>
                  <a:pt x="4526" y="1788"/>
                </a:lnTo>
                <a:lnTo>
                  <a:pt x="4526" y="1782"/>
                </a:lnTo>
                <a:lnTo>
                  <a:pt x="4527" y="1776"/>
                </a:lnTo>
                <a:lnTo>
                  <a:pt x="4529" y="1771"/>
                </a:lnTo>
                <a:lnTo>
                  <a:pt x="4530" y="1769"/>
                </a:lnTo>
                <a:lnTo>
                  <a:pt x="4531" y="1768"/>
                </a:lnTo>
                <a:lnTo>
                  <a:pt x="4529" y="1762"/>
                </a:lnTo>
                <a:lnTo>
                  <a:pt x="4526" y="1754"/>
                </a:lnTo>
                <a:lnTo>
                  <a:pt x="4527" y="1754"/>
                </a:lnTo>
                <a:lnTo>
                  <a:pt x="4528" y="1752"/>
                </a:lnTo>
                <a:lnTo>
                  <a:pt x="4529" y="1750"/>
                </a:lnTo>
                <a:lnTo>
                  <a:pt x="4530" y="1748"/>
                </a:lnTo>
                <a:lnTo>
                  <a:pt x="4531" y="1746"/>
                </a:lnTo>
                <a:lnTo>
                  <a:pt x="4534" y="1745"/>
                </a:lnTo>
                <a:lnTo>
                  <a:pt x="4537" y="1746"/>
                </a:lnTo>
                <a:lnTo>
                  <a:pt x="4540" y="1746"/>
                </a:lnTo>
                <a:lnTo>
                  <a:pt x="4543" y="1746"/>
                </a:lnTo>
                <a:lnTo>
                  <a:pt x="4544" y="1745"/>
                </a:lnTo>
                <a:lnTo>
                  <a:pt x="4546" y="1744"/>
                </a:lnTo>
                <a:lnTo>
                  <a:pt x="4547" y="1741"/>
                </a:lnTo>
                <a:lnTo>
                  <a:pt x="4549" y="1737"/>
                </a:lnTo>
                <a:lnTo>
                  <a:pt x="4551" y="1735"/>
                </a:lnTo>
                <a:lnTo>
                  <a:pt x="4553" y="1734"/>
                </a:lnTo>
                <a:lnTo>
                  <a:pt x="4555" y="1733"/>
                </a:lnTo>
                <a:lnTo>
                  <a:pt x="4559" y="1732"/>
                </a:lnTo>
                <a:lnTo>
                  <a:pt x="4562" y="1731"/>
                </a:lnTo>
                <a:lnTo>
                  <a:pt x="4564" y="1731"/>
                </a:lnTo>
                <a:lnTo>
                  <a:pt x="4565" y="1729"/>
                </a:lnTo>
                <a:lnTo>
                  <a:pt x="4566" y="1727"/>
                </a:lnTo>
                <a:lnTo>
                  <a:pt x="4567" y="1725"/>
                </a:lnTo>
                <a:lnTo>
                  <a:pt x="4568" y="1720"/>
                </a:lnTo>
                <a:lnTo>
                  <a:pt x="4568" y="1718"/>
                </a:lnTo>
                <a:lnTo>
                  <a:pt x="4568" y="1716"/>
                </a:lnTo>
                <a:lnTo>
                  <a:pt x="4569" y="1714"/>
                </a:lnTo>
                <a:lnTo>
                  <a:pt x="4571" y="1712"/>
                </a:lnTo>
                <a:lnTo>
                  <a:pt x="4573" y="1711"/>
                </a:lnTo>
                <a:lnTo>
                  <a:pt x="4575" y="1711"/>
                </a:lnTo>
                <a:lnTo>
                  <a:pt x="4579" y="1711"/>
                </a:lnTo>
                <a:lnTo>
                  <a:pt x="4583" y="1711"/>
                </a:lnTo>
                <a:lnTo>
                  <a:pt x="4586" y="1710"/>
                </a:lnTo>
                <a:lnTo>
                  <a:pt x="4588" y="1709"/>
                </a:lnTo>
                <a:lnTo>
                  <a:pt x="4588" y="1704"/>
                </a:lnTo>
                <a:lnTo>
                  <a:pt x="4589" y="1702"/>
                </a:lnTo>
                <a:lnTo>
                  <a:pt x="4590" y="1701"/>
                </a:lnTo>
                <a:lnTo>
                  <a:pt x="4594" y="1699"/>
                </a:lnTo>
                <a:lnTo>
                  <a:pt x="4599" y="1697"/>
                </a:lnTo>
                <a:lnTo>
                  <a:pt x="4602" y="1695"/>
                </a:lnTo>
                <a:lnTo>
                  <a:pt x="4604" y="1693"/>
                </a:lnTo>
                <a:lnTo>
                  <a:pt x="4605" y="1689"/>
                </a:lnTo>
                <a:lnTo>
                  <a:pt x="4609" y="1682"/>
                </a:lnTo>
                <a:lnTo>
                  <a:pt x="4612" y="1675"/>
                </a:lnTo>
                <a:lnTo>
                  <a:pt x="4614" y="1672"/>
                </a:lnTo>
                <a:lnTo>
                  <a:pt x="4616" y="1670"/>
                </a:lnTo>
                <a:lnTo>
                  <a:pt x="4618" y="1669"/>
                </a:lnTo>
                <a:lnTo>
                  <a:pt x="4620" y="1669"/>
                </a:lnTo>
                <a:lnTo>
                  <a:pt x="4622" y="1668"/>
                </a:lnTo>
                <a:lnTo>
                  <a:pt x="4624" y="1667"/>
                </a:lnTo>
                <a:lnTo>
                  <a:pt x="4622" y="1664"/>
                </a:lnTo>
                <a:lnTo>
                  <a:pt x="4621" y="1663"/>
                </a:lnTo>
                <a:lnTo>
                  <a:pt x="4622" y="1662"/>
                </a:lnTo>
                <a:lnTo>
                  <a:pt x="4623" y="1661"/>
                </a:lnTo>
                <a:lnTo>
                  <a:pt x="4624" y="1661"/>
                </a:lnTo>
                <a:lnTo>
                  <a:pt x="4627" y="1661"/>
                </a:lnTo>
                <a:lnTo>
                  <a:pt x="4630" y="1662"/>
                </a:lnTo>
                <a:lnTo>
                  <a:pt x="4633" y="1662"/>
                </a:lnTo>
                <a:lnTo>
                  <a:pt x="4639" y="1659"/>
                </a:lnTo>
                <a:lnTo>
                  <a:pt x="4647" y="1653"/>
                </a:lnTo>
                <a:lnTo>
                  <a:pt x="4651" y="1650"/>
                </a:lnTo>
                <a:lnTo>
                  <a:pt x="4654" y="1647"/>
                </a:lnTo>
                <a:lnTo>
                  <a:pt x="4658" y="1642"/>
                </a:lnTo>
                <a:lnTo>
                  <a:pt x="4659" y="1639"/>
                </a:lnTo>
                <a:lnTo>
                  <a:pt x="4658" y="1636"/>
                </a:lnTo>
                <a:lnTo>
                  <a:pt x="4657" y="1635"/>
                </a:lnTo>
                <a:lnTo>
                  <a:pt x="4655" y="1633"/>
                </a:lnTo>
                <a:lnTo>
                  <a:pt x="4654" y="1632"/>
                </a:lnTo>
                <a:lnTo>
                  <a:pt x="4655" y="1631"/>
                </a:lnTo>
                <a:lnTo>
                  <a:pt x="4657" y="1631"/>
                </a:lnTo>
                <a:lnTo>
                  <a:pt x="4658" y="1631"/>
                </a:lnTo>
                <a:lnTo>
                  <a:pt x="4661" y="1625"/>
                </a:lnTo>
                <a:lnTo>
                  <a:pt x="4662" y="1623"/>
                </a:lnTo>
                <a:lnTo>
                  <a:pt x="4663" y="1621"/>
                </a:lnTo>
                <a:lnTo>
                  <a:pt x="4667" y="1619"/>
                </a:lnTo>
                <a:lnTo>
                  <a:pt x="4672" y="1617"/>
                </a:lnTo>
                <a:lnTo>
                  <a:pt x="4672" y="1611"/>
                </a:lnTo>
                <a:lnTo>
                  <a:pt x="4675" y="1611"/>
                </a:lnTo>
                <a:lnTo>
                  <a:pt x="4677" y="1611"/>
                </a:lnTo>
                <a:lnTo>
                  <a:pt x="4680" y="1613"/>
                </a:lnTo>
                <a:lnTo>
                  <a:pt x="4683" y="1614"/>
                </a:lnTo>
                <a:lnTo>
                  <a:pt x="4687" y="1618"/>
                </a:lnTo>
                <a:lnTo>
                  <a:pt x="4689" y="1619"/>
                </a:lnTo>
                <a:lnTo>
                  <a:pt x="4700" y="1613"/>
                </a:lnTo>
                <a:lnTo>
                  <a:pt x="4714" y="1605"/>
                </a:lnTo>
                <a:lnTo>
                  <a:pt x="4713" y="1606"/>
                </a:lnTo>
                <a:lnTo>
                  <a:pt x="4713" y="1607"/>
                </a:lnTo>
                <a:lnTo>
                  <a:pt x="4714" y="1608"/>
                </a:lnTo>
                <a:lnTo>
                  <a:pt x="4715" y="1608"/>
                </a:lnTo>
                <a:lnTo>
                  <a:pt x="4720" y="1608"/>
                </a:lnTo>
                <a:lnTo>
                  <a:pt x="4723" y="1594"/>
                </a:lnTo>
                <a:lnTo>
                  <a:pt x="4726" y="1580"/>
                </a:lnTo>
                <a:lnTo>
                  <a:pt x="4731" y="1583"/>
                </a:lnTo>
                <a:lnTo>
                  <a:pt x="4735" y="1586"/>
                </a:lnTo>
                <a:lnTo>
                  <a:pt x="4739" y="1589"/>
                </a:lnTo>
                <a:lnTo>
                  <a:pt x="4742" y="1591"/>
                </a:lnTo>
                <a:lnTo>
                  <a:pt x="4744" y="1594"/>
                </a:lnTo>
                <a:lnTo>
                  <a:pt x="4745" y="1597"/>
                </a:lnTo>
                <a:lnTo>
                  <a:pt x="4747" y="1602"/>
                </a:lnTo>
                <a:lnTo>
                  <a:pt x="4749" y="1615"/>
                </a:lnTo>
                <a:lnTo>
                  <a:pt x="4749" y="1619"/>
                </a:lnTo>
                <a:lnTo>
                  <a:pt x="4750" y="1623"/>
                </a:lnTo>
                <a:lnTo>
                  <a:pt x="4752" y="1628"/>
                </a:lnTo>
                <a:lnTo>
                  <a:pt x="4754" y="1633"/>
                </a:lnTo>
                <a:lnTo>
                  <a:pt x="4755" y="1635"/>
                </a:lnTo>
                <a:lnTo>
                  <a:pt x="4757" y="1636"/>
                </a:lnTo>
                <a:lnTo>
                  <a:pt x="4759" y="1637"/>
                </a:lnTo>
                <a:lnTo>
                  <a:pt x="4760" y="1638"/>
                </a:lnTo>
                <a:lnTo>
                  <a:pt x="4760" y="1639"/>
                </a:lnTo>
                <a:lnTo>
                  <a:pt x="4761" y="1642"/>
                </a:lnTo>
                <a:lnTo>
                  <a:pt x="4762" y="1645"/>
                </a:lnTo>
                <a:lnTo>
                  <a:pt x="4762" y="1650"/>
                </a:lnTo>
                <a:lnTo>
                  <a:pt x="4767" y="1650"/>
                </a:lnTo>
                <a:lnTo>
                  <a:pt x="4769" y="1649"/>
                </a:lnTo>
                <a:lnTo>
                  <a:pt x="4769" y="1648"/>
                </a:lnTo>
                <a:lnTo>
                  <a:pt x="4768" y="1647"/>
                </a:lnTo>
                <a:lnTo>
                  <a:pt x="4770" y="1647"/>
                </a:lnTo>
                <a:lnTo>
                  <a:pt x="4772" y="1647"/>
                </a:lnTo>
                <a:lnTo>
                  <a:pt x="4773" y="1646"/>
                </a:lnTo>
                <a:lnTo>
                  <a:pt x="4774" y="1645"/>
                </a:lnTo>
                <a:lnTo>
                  <a:pt x="4779" y="1645"/>
                </a:lnTo>
                <a:lnTo>
                  <a:pt x="4781" y="1654"/>
                </a:lnTo>
                <a:lnTo>
                  <a:pt x="4781" y="1663"/>
                </a:lnTo>
                <a:lnTo>
                  <a:pt x="4782" y="1672"/>
                </a:lnTo>
                <a:lnTo>
                  <a:pt x="4785" y="1681"/>
                </a:lnTo>
                <a:lnTo>
                  <a:pt x="4785" y="1683"/>
                </a:lnTo>
                <a:lnTo>
                  <a:pt x="4787" y="1684"/>
                </a:lnTo>
                <a:lnTo>
                  <a:pt x="4790" y="1687"/>
                </a:lnTo>
                <a:lnTo>
                  <a:pt x="4794" y="1691"/>
                </a:lnTo>
                <a:lnTo>
                  <a:pt x="4795" y="1693"/>
                </a:lnTo>
                <a:lnTo>
                  <a:pt x="4796" y="1695"/>
                </a:lnTo>
                <a:lnTo>
                  <a:pt x="4796" y="1699"/>
                </a:lnTo>
                <a:lnTo>
                  <a:pt x="4795" y="1703"/>
                </a:lnTo>
                <a:lnTo>
                  <a:pt x="4794" y="1706"/>
                </a:lnTo>
                <a:lnTo>
                  <a:pt x="4793" y="1710"/>
                </a:lnTo>
                <a:lnTo>
                  <a:pt x="4790" y="1716"/>
                </a:lnTo>
                <a:lnTo>
                  <a:pt x="4788" y="1718"/>
                </a:lnTo>
                <a:lnTo>
                  <a:pt x="4787" y="1721"/>
                </a:lnTo>
                <a:lnTo>
                  <a:pt x="4787" y="1725"/>
                </a:lnTo>
                <a:lnTo>
                  <a:pt x="4787" y="1729"/>
                </a:lnTo>
                <a:lnTo>
                  <a:pt x="4788" y="1733"/>
                </a:lnTo>
                <a:lnTo>
                  <a:pt x="4787" y="1738"/>
                </a:lnTo>
                <a:lnTo>
                  <a:pt x="4797" y="1738"/>
                </a:lnTo>
                <a:lnTo>
                  <a:pt x="4802" y="1739"/>
                </a:lnTo>
                <a:lnTo>
                  <a:pt x="4808" y="1738"/>
                </a:lnTo>
                <a:lnTo>
                  <a:pt x="4811" y="1738"/>
                </a:lnTo>
                <a:lnTo>
                  <a:pt x="4814" y="1737"/>
                </a:lnTo>
                <a:lnTo>
                  <a:pt x="4817" y="1736"/>
                </a:lnTo>
                <a:lnTo>
                  <a:pt x="4820" y="1735"/>
                </a:lnTo>
                <a:lnTo>
                  <a:pt x="4822" y="1733"/>
                </a:lnTo>
                <a:lnTo>
                  <a:pt x="4824" y="1731"/>
                </a:lnTo>
                <a:lnTo>
                  <a:pt x="4826" y="1729"/>
                </a:lnTo>
                <a:lnTo>
                  <a:pt x="4827" y="1726"/>
                </a:lnTo>
                <a:lnTo>
                  <a:pt x="4827" y="1724"/>
                </a:lnTo>
                <a:lnTo>
                  <a:pt x="4827" y="1721"/>
                </a:lnTo>
                <a:lnTo>
                  <a:pt x="4826" y="1718"/>
                </a:lnTo>
                <a:lnTo>
                  <a:pt x="4826" y="1716"/>
                </a:lnTo>
                <a:lnTo>
                  <a:pt x="4827" y="1715"/>
                </a:lnTo>
                <a:lnTo>
                  <a:pt x="4832" y="1715"/>
                </a:lnTo>
                <a:lnTo>
                  <a:pt x="4838" y="1722"/>
                </a:lnTo>
                <a:lnTo>
                  <a:pt x="4842" y="1727"/>
                </a:lnTo>
                <a:lnTo>
                  <a:pt x="4844" y="1729"/>
                </a:lnTo>
                <a:lnTo>
                  <a:pt x="4849" y="1729"/>
                </a:lnTo>
                <a:lnTo>
                  <a:pt x="4850" y="1732"/>
                </a:lnTo>
                <a:lnTo>
                  <a:pt x="4850" y="1734"/>
                </a:lnTo>
                <a:lnTo>
                  <a:pt x="4850" y="1736"/>
                </a:lnTo>
                <a:lnTo>
                  <a:pt x="4849" y="1738"/>
                </a:lnTo>
                <a:lnTo>
                  <a:pt x="4847" y="1742"/>
                </a:lnTo>
                <a:lnTo>
                  <a:pt x="4846" y="1744"/>
                </a:lnTo>
                <a:lnTo>
                  <a:pt x="4847" y="1746"/>
                </a:lnTo>
                <a:lnTo>
                  <a:pt x="4847" y="1747"/>
                </a:lnTo>
                <a:lnTo>
                  <a:pt x="4848" y="1748"/>
                </a:lnTo>
                <a:lnTo>
                  <a:pt x="4851" y="1750"/>
                </a:lnTo>
                <a:lnTo>
                  <a:pt x="4853" y="1753"/>
                </a:lnTo>
                <a:lnTo>
                  <a:pt x="4855" y="1754"/>
                </a:lnTo>
                <a:lnTo>
                  <a:pt x="4856" y="1758"/>
                </a:lnTo>
                <a:lnTo>
                  <a:pt x="4856" y="1762"/>
                </a:lnTo>
                <a:lnTo>
                  <a:pt x="4856" y="1769"/>
                </a:lnTo>
                <a:lnTo>
                  <a:pt x="4856" y="1776"/>
                </a:lnTo>
                <a:lnTo>
                  <a:pt x="4857" y="1779"/>
                </a:lnTo>
                <a:lnTo>
                  <a:pt x="4858" y="1783"/>
                </a:lnTo>
                <a:lnTo>
                  <a:pt x="4859" y="1785"/>
                </a:lnTo>
                <a:lnTo>
                  <a:pt x="4861" y="1791"/>
                </a:lnTo>
                <a:lnTo>
                  <a:pt x="4866" y="1791"/>
                </a:lnTo>
                <a:lnTo>
                  <a:pt x="4868" y="1798"/>
                </a:lnTo>
                <a:lnTo>
                  <a:pt x="4868" y="1804"/>
                </a:lnTo>
                <a:lnTo>
                  <a:pt x="4869" y="1810"/>
                </a:lnTo>
                <a:lnTo>
                  <a:pt x="4869" y="1816"/>
                </a:lnTo>
                <a:lnTo>
                  <a:pt x="4872" y="1816"/>
                </a:lnTo>
                <a:lnTo>
                  <a:pt x="4872" y="1819"/>
                </a:lnTo>
                <a:lnTo>
                  <a:pt x="4871" y="1822"/>
                </a:lnTo>
                <a:lnTo>
                  <a:pt x="4870" y="1825"/>
                </a:lnTo>
                <a:lnTo>
                  <a:pt x="4869" y="1827"/>
                </a:lnTo>
                <a:lnTo>
                  <a:pt x="4867" y="1830"/>
                </a:lnTo>
                <a:lnTo>
                  <a:pt x="4866" y="1833"/>
                </a:lnTo>
                <a:lnTo>
                  <a:pt x="4875" y="1836"/>
                </a:lnTo>
                <a:lnTo>
                  <a:pt x="4877" y="1847"/>
                </a:lnTo>
                <a:lnTo>
                  <a:pt x="4877" y="1852"/>
                </a:lnTo>
                <a:lnTo>
                  <a:pt x="4877" y="1858"/>
                </a:lnTo>
                <a:lnTo>
                  <a:pt x="4875" y="1858"/>
                </a:lnTo>
                <a:lnTo>
                  <a:pt x="4875" y="1870"/>
                </a:lnTo>
                <a:lnTo>
                  <a:pt x="4875" y="1884"/>
                </a:lnTo>
                <a:lnTo>
                  <a:pt x="4874" y="1886"/>
                </a:lnTo>
                <a:lnTo>
                  <a:pt x="4873" y="1887"/>
                </a:lnTo>
                <a:lnTo>
                  <a:pt x="4870" y="1892"/>
                </a:lnTo>
                <a:lnTo>
                  <a:pt x="4867" y="1897"/>
                </a:lnTo>
                <a:lnTo>
                  <a:pt x="4866" y="1900"/>
                </a:lnTo>
                <a:lnTo>
                  <a:pt x="4866" y="1903"/>
                </a:lnTo>
                <a:lnTo>
                  <a:pt x="4867" y="1906"/>
                </a:lnTo>
                <a:lnTo>
                  <a:pt x="4868" y="1908"/>
                </a:lnTo>
                <a:lnTo>
                  <a:pt x="4871" y="1914"/>
                </a:lnTo>
                <a:lnTo>
                  <a:pt x="4882" y="1926"/>
                </a:lnTo>
                <a:lnTo>
                  <a:pt x="4888" y="1932"/>
                </a:lnTo>
                <a:lnTo>
                  <a:pt x="4893" y="1939"/>
                </a:lnTo>
                <a:lnTo>
                  <a:pt x="4897" y="1945"/>
                </a:lnTo>
                <a:lnTo>
                  <a:pt x="4899" y="1948"/>
                </a:lnTo>
                <a:lnTo>
                  <a:pt x="4900" y="1951"/>
                </a:lnTo>
                <a:lnTo>
                  <a:pt x="4902" y="1960"/>
                </a:lnTo>
                <a:lnTo>
                  <a:pt x="4902" y="1967"/>
                </a:lnTo>
                <a:lnTo>
                  <a:pt x="4902" y="1980"/>
                </a:lnTo>
                <a:lnTo>
                  <a:pt x="4902" y="1986"/>
                </a:lnTo>
                <a:lnTo>
                  <a:pt x="4903" y="1994"/>
                </a:lnTo>
                <a:lnTo>
                  <a:pt x="4906" y="1994"/>
                </a:lnTo>
                <a:lnTo>
                  <a:pt x="4908" y="2008"/>
                </a:lnTo>
                <a:lnTo>
                  <a:pt x="4909" y="2015"/>
                </a:lnTo>
                <a:lnTo>
                  <a:pt x="4910" y="2019"/>
                </a:lnTo>
                <a:lnTo>
                  <a:pt x="4911" y="2022"/>
                </a:lnTo>
                <a:lnTo>
                  <a:pt x="4915" y="2025"/>
                </a:lnTo>
                <a:lnTo>
                  <a:pt x="4918" y="2028"/>
                </a:lnTo>
                <a:lnTo>
                  <a:pt x="4920" y="2030"/>
                </a:lnTo>
                <a:lnTo>
                  <a:pt x="4920" y="2033"/>
                </a:lnTo>
                <a:lnTo>
                  <a:pt x="4919" y="2036"/>
                </a:lnTo>
                <a:lnTo>
                  <a:pt x="4919" y="2039"/>
                </a:lnTo>
                <a:lnTo>
                  <a:pt x="4920" y="2041"/>
                </a:lnTo>
                <a:lnTo>
                  <a:pt x="4920" y="2042"/>
                </a:lnTo>
                <a:lnTo>
                  <a:pt x="4922" y="2043"/>
                </a:lnTo>
                <a:lnTo>
                  <a:pt x="4925" y="2044"/>
                </a:lnTo>
                <a:lnTo>
                  <a:pt x="4928" y="2045"/>
                </a:lnTo>
                <a:lnTo>
                  <a:pt x="4931" y="2047"/>
                </a:lnTo>
                <a:lnTo>
                  <a:pt x="4940" y="2057"/>
                </a:lnTo>
                <a:lnTo>
                  <a:pt x="4944" y="2060"/>
                </a:lnTo>
                <a:lnTo>
                  <a:pt x="4947" y="2062"/>
                </a:lnTo>
                <a:lnTo>
                  <a:pt x="4951" y="2064"/>
                </a:lnTo>
                <a:lnTo>
                  <a:pt x="4956" y="2064"/>
                </a:lnTo>
                <a:lnTo>
                  <a:pt x="4962" y="2063"/>
                </a:lnTo>
                <a:lnTo>
                  <a:pt x="4970" y="2061"/>
                </a:lnTo>
                <a:lnTo>
                  <a:pt x="4969" y="2055"/>
                </a:lnTo>
                <a:lnTo>
                  <a:pt x="4968" y="2050"/>
                </a:lnTo>
                <a:lnTo>
                  <a:pt x="4967" y="2044"/>
                </a:lnTo>
                <a:lnTo>
                  <a:pt x="4965" y="2039"/>
                </a:lnTo>
                <a:lnTo>
                  <a:pt x="4959" y="2039"/>
                </a:lnTo>
                <a:lnTo>
                  <a:pt x="4958" y="2028"/>
                </a:lnTo>
                <a:lnTo>
                  <a:pt x="4956" y="2016"/>
                </a:lnTo>
                <a:lnTo>
                  <a:pt x="4959" y="2016"/>
                </a:lnTo>
                <a:lnTo>
                  <a:pt x="4959" y="2010"/>
                </a:lnTo>
                <a:lnTo>
                  <a:pt x="4958" y="2003"/>
                </a:lnTo>
                <a:lnTo>
                  <a:pt x="4957" y="1997"/>
                </a:lnTo>
                <a:lnTo>
                  <a:pt x="4955" y="1990"/>
                </a:lnTo>
                <a:lnTo>
                  <a:pt x="4953" y="1984"/>
                </a:lnTo>
                <a:lnTo>
                  <a:pt x="4951" y="1978"/>
                </a:lnTo>
                <a:lnTo>
                  <a:pt x="4948" y="1973"/>
                </a:lnTo>
                <a:lnTo>
                  <a:pt x="4945" y="1968"/>
                </a:lnTo>
                <a:lnTo>
                  <a:pt x="4944" y="1967"/>
                </a:lnTo>
                <a:lnTo>
                  <a:pt x="4942" y="1966"/>
                </a:lnTo>
                <a:lnTo>
                  <a:pt x="4938" y="1964"/>
                </a:lnTo>
                <a:lnTo>
                  <a:pt x="4934" y="1962"/>
                </a:lnTo>
                <a:lnTo>
                  <a:pt x="4931" y="1960"/>
                </a:lnTo>
                <a:lnTo>
                  <a:pt x="4929" y="1957"/>
                </a:lnTo>
                <a:lnTo>
                  <a:pt x="4928" y="1955"/>
                </a:lnTo>
                <a:lnTo>
                  <a:pt x="4926" y="1949"/>
                </a:lnTo>
                <a:lnTo>
                  <a:pt x="4923" y="1944"/>
                </a:lnTo>
                <a:lnTo>
                  <a:pt x="4922" y="1942"/>
                </a:lnTo>
                <a:lnTo>
                  <a:pt x="4920" y="1940"/>
                </a:lnTo>
                <a:lnTo>
                  <a:pt x="4918" y="1939"/>
                </a:lnTo>
                <a:lnTo>
                  <a:pt x="4916" y="1938"/>
                </a:lnTo>
                <a:lnTo>
                  <a:pt x="4912" y="1938"/>
                </a:lnTo>
                <a:lnTo>
                  <a:pt x="4908" y="1936"/>
                </a:lnTo>
                <a:lnTo>
                  <a:pt x="4907" y="1936"/>
                </a:lnTo>
                <a:lnTo>
                  <a:pt x="4906" y="1934"/>
                </a:lnTo>
                <a:lnTo>
                  <a:pt x="4904" y="1932"/>
                </a:lnTo>
                <a:lnTo>
                  <a:pt x="4903" y="1929"/>
                </a:lnTo>
                <a:lnTo>
                  <a:pt x="4902" y="1924"/>
                </a:lnTo>
                <a:lnTo>
                  <a:pt x="4902" y="1918"/>
                </a:lnTo>
                <a:lnTo>
                  <a:pt x="4901" y="1915"/>
                </a:lnTo>
                <a:lnTo>
                  <a:pt x="4900" y="1912"/>
                </a:lnTo>
                <a:lnTo>
                  <a:pt x="4892" y="1912"/>
                </a:lnTo>
                <a:lnTo>
                  <a:pt x="4890" y="1906"/>
                </a:lnTo>
                <a:lnTo>
                  <a:pt x="4889" y="1902"/>
                </a:lnTo>
                <a:lnTo>
                  <a:pt x="4888" y="1899"/>
                </a:lnTo>
                <a:lnTo>
                  <a:pt x="4886" y="1895"/>
                </a:lnTo>
                <a:lnTo>
                  <a:pt x="4883" y="1895"/>
                </a:lnTo>
                <a:lnTo>
                  <a:pt x="4883" y="1891"/>
                </a:lnTo>
                <a:lnTo>
                  <a:pt x="4882" y="1888"/>
                </a:lnTo>
                <a:lnTo>
                  <a:pt x="4883" y="1879"/>
                </a:lnTo>
                <a:lnTo>
                  <a:pt x="4885" y="1870"/>
                </a:lnTo>
                <a:lnTo>
                  <a:pt x="4887" y="1861"/>
                </a:lnTo>
                <a:lnTo>
                  <a:pt x="4893" y="1844"/>
                </a:lnTo>
                <a:lnTo>
                  <a:pt x="4897" y="1830"/>
                </a:lnTo>
                <a:lnTo>
                  <a:pt x="4894" y="1808"/>
                </a:lnTo>
                <a:lnTo>
                  <a:pt x="4894" y="1802"/>
                </a:lnTo>
                <a:lnTo>
                  <a:pt x="4900" y="1801"/>
                </a:lnTo>
                <a:lnTo>
                  <a:pt x="4908" y="1799"/>
                </a:lnTo>
                <a:lnTo>
                  <a:pt x="4909" y="1802"/>
                </a:lnTo>
                <a:lnTo>
                  <a:pt x="4910" y="1802"/>
                </a:lnTo>
                <a:lnTo>
                  <a:pt x="4911" y="1802"/>
                </a:lnTo>
                <a:lnTo>
                  <a:pt x="4914" y="1802"/>
                </a:lnTo>
                <a:lnTo>
                  <a:pt x="4914" y="1807"/>
                </a:lnTo>
                <a:lnTo>
                  <a:pt x="4914" y="1810"/>
                </a:lnTo>
                <a:lnTo>
                  <a:pt x="4915" y="1814"/>
                </a:lnTo>
                <a:lnTo>
                  <a:pt x="4916" y="1815"/>
                </a:lnTo>
                <a:lnTo>
                  <a:pt x="4917" y="1816"/>
                </a:lnTo>
                <a:lnTo>
                  <a:pt x="4918" y="1817"/>
                </a:lnTo>
                <a:lnTo>
                  <a:pt x="4920" y="1817"/>
                </a:lnTo>
                <a:lnTo>
                  <a:pt x="4922" y="1817"/>
                </a:lnTo>
                <a:lnTo>
                  <a:pt x="4924" y="1816"/>
                </a:lnTo>
                <a:lnTo>
                  <a:pt x="4931" y="1813"/>
                </a:lnTo>
                <a:lnTo>
                  <a:pt x="4931" y="1814"/>
                </a:lnTo>
                <a:lnTo>
                  <a:pt x="4931" y="1815"/>
                </a:lnTo>
                <a:lnTo>
                  <a:pt x="4931" y="1817"/>
                </a:lnTo>
                <a:lnTo>
                  <a:pt x="4931" y="1820"/>
                </a:lnTo>
                <a:lnTo>
                  <a:pt x="4931" y="1822"/>
                </a:lnTo>
                <a:lnTo>
                  <a:pt x="4932" y="1823"/>
                </a:lnTo>
                <a:lnTo>
                  <a:pt x="4933" y="1824"/>
                </a:lnTo>
                <a:lnTo>
                  <a:pt x="4936" y="1825"/>
                </a:lnTo>
                <a:lnTo>
                  <a:pt x="4940" y="1826"/>
                </a:lnTo>
                <a:lnTo>
                  <a:pt x="4941" y="1827"/>
                </a:lnTo>
                <a:lnTo>
                  <a:pt x="4942" y="1828"/>
                </a:lnTo>
                <a:lnTo>
                  <a:pt x="4943" y="1829"/>
                </a:lnTo>
                <a:lnTo>
                  <a:pt x="4942" y="1832"/>
                </a:lnTo>
                <a:lnTo>
                  <a:pt x="4942" y="1834"/>
                </a:lnTo>
                <a:lnTo>
                  <a:pt x="4942" y="1836"/>
                </a:lnTo>
                <a:lnTo>
                  <a:pt x="4945" y="1836"/>
                </a:lnTo>
                <a:lnTo>
                  <a:pt x="4950" y="1847"/>
                </a:lnTo>
                <a:lnTo>
                  <a:pt x="4956" y="1858"/>
                </a:lnTo>
                <a:lnTo>
                  <a:pt x="4958" y="1857"/>
                </a:lnTo>
                <a:lnTo>
                  <a:pt x="4960" y="1856"/>
                </a:lnTo>
                <a:lnTo>
                  <a:pt x="4962" y="1855"/>
                </a:lnTo>
                <a:lnTo>
                  <a:pt x="4963" y="1855"/>
                </a:lnTo>
                <a:lnTo>
                  <a:pt x="4965" y="1856"/>
                </a:lnTo>
                <a:lnTo>
                  <a:pt x="4962" y="1864"/>
                </a:lnTo>
                <a:lnTo>
                  <a:pt x="4973" y="1868"/>
                </a:lnTo>
                <a:lnTo>
                  <a:pt x="4976" y="1868"/>
                </a:lnTo>
                <a:lnTo>
                  <a:pt x="4979" y="1870"/>
                </a:lnTo>
                <a:lnTo>
                  <a:pt x="4978" y="1880"/>
                </a:lnTo>
                <a:lnTo>
                  <a:pt x="4977" y="1884"/>
                </a:lnTo>
                <a:lnTo>
                  <a:pt x="4977" y="1889"/>
                </a:lnTo>
                <a:lnTo>
                  <a:pt x="4978" y="1892"/>
                </a:lnTo>
                <a:lnTo>
                  <a:pt x="4979" y="1896"/>
                </a:lnTo>
                <a:lnTo>
                  <a:pt x="4980" y="1897"/>
                </a:lnTo>
                <a:lnTo>
                  <a:pt x="4981" y="1898"/>
                </a:lnTo>
                <a:lnTo>
                  <a:pt x="4982" y="1900"/>
                </a:lnTo>
                <a:lnTo>
                  <a:pt x="4984" y="1901"/>
                </a:lnTo>
                <a:lnTo>
                  <a:pt x="4985" y="1901"/>
                </a:lnTo>
                <a:lnTo>
                  <a:pt x="4985" y="1902"/>
                </a:lnTo>
                <a:lnTo>
                  <a:pt x="4983" y="1903"/>
                </a:lnTo>
                <a:lnTo>
                  <a:pt x="4982" y="1904"/>
                </a:lnTo>
                <a:lnTo>
                  <a:pt x="4981" y="1905"/>
                </a:lnTo>
                <a:lnTo>
                  <a:pt x="4982" y="1906"/>
                </a:lnTo>
                <a:lnTo>
                  <a:pt x="4984" y="1904"/>
                </a:lnTo>
                <a:lnTo>
                  <a:pt x="4987" y="1903"/>
                </a:lnTo>
                <a:lnTo>
                  <a:pt x="4993" y="1901"/>
                </a:lnTo>
                <a:lnTo>
                  <a:pt x="4993" y="1895"/>
                </a:lnTo>
                <a:lnTo>
                  <a:pt x="4995" y="1895"/>
                </a:lnTo>
                <a:lnTo>
                  <a:pt x="4997" y="1895"/>
                </a:lnTo>
                <a:lnTo>
                  <a:pt x="4999" y="1895"/>
                </a:lnTo>
                <a:lnTo>
                  <a:pt x="5000" y="1895"/>
                </a:lnTo>
                <a:lnTo>
                  <a:pt x="5001" y="1895"/>
                </a:lnTo>
                <a:lnTo>
                  <a:pt x="5000" y="1893"/>
                </a:lnTo>
                <a:lnTo>
                  <a:pt x="4998" y="1889"/>
                </a:lnTo>
                <a:lnTo>
                  <a:pt x="4997" y="1884"/>
                </a:lnTo>
                <a:lnTo>
                  <a:pt x="4997" y="1882"/>
                </a:lnTo>
                <a:lnTo>
                  <a:pt x="4998" y="1881"/>
                </a:lnTo>
                <a:lnTo>
                  <a:pt x="5002" y="1884"/>
                </a:lnTo>
                <a:lnTo>
                  <a:pt x="5005" y="1886"/>
                </a:lnTo>
                <a:lnTo>
                  <a:pt x="5007" y="1887"/>
                </a:lnTo>
                <a:lnTo>
                  <a:pt x="5007" y="1885"/>
                </a:lnTo>
                <a:lnTo>
                  <a:pt x="5008" y="1883"/>
                </a:lnTo>
                <a:lnTo>
                  <a:pt x="5010" y="1878"/>
                </a:lnTo>
                <a:lnTo>
                  <a:pt x="5005" y="1876"/>
                </a:lnTo>
                <a:lnTo>
                  <a:pt x="5003" y="1875"/>
                </a:lnTo>
                <a:lnTo>
                  <a:pt x="5001" y="1873"/>
                </a:lnTo>
                <a:lnTo>
                  <a:pt x="4998" y="1868"/>
                </a:lnTo>
                <a:lnTo>
                  <a:pt x="4997" y="1865"/>
                </a:lnTo>
                <a:lnTo>
                  <a:pt x="4999" y="1865"/>
                </a:lnTo>
                <a:lnTo>
                  <a:pt x="5004" y="1867"/>
                </a:lnTo>
                <a:lnTo>
                  <a:pt x="5004" y="1870"/>
                </a:lnTo>
                <a:lnTo>
                  <a:pt x="5016" y="1870"/>
                </a:lnTo>
                <a:lnTo>
                  <a:pt x="5024" y="1870"/>
                </a:lnTo>
                <a:lnTo>
                  <a:pt x="5022" y="1867"/>
                </a:lnTo>
                <a:lnTo>
                  <a:pt x="5021" y="1865"/>
                </a:lnTo>
                <a:lnTo>
                  <a:pt x="5021" y="1864"/>
                </a:lnTo>
                <a:lnTo>
                  <a:pt x="5025" y="1863"/>
                </a:lnTo>
                <a:lnTo>
                  <a:pt x="5027" y="1864"/>
                </a:lnTo>
                <a:lnTo>
                  <a:pt x="5028" y="1864"/>
                </a:lnTo>
                <a:lnTo>
                  <a:pt x="5029" y="1864"/>
                </a:lnTo>
                <a:lnTo>
                  <a:pt x="5035" y="1861"/>
                </a:lnTo>
                <a:lnTo>
                  <a:pt x="5041" y="1858"/>
                </a:lnTo>
                <a:lnTo>
                  <a:pt x="5046" y="1854"/>
                </a:lnTo>
                <a:lnTo>
                  <a:pt x="5051" y="1850"/>
                </a:lnTo>
                <a:lnTo>
                  <a:pt x="5055" y="1846"/>
                </a:lnTo>
                <a:lnTo>
                  <a:pt x="5058" y="1842"/>
                </a:lnTo>
                <a:lnTo>
                  <a:pt x="5061" y="1838"/>
                </a:lnTo>
                <a:lnTo>
                  <a:pt x="5063" y="1833"/>
                </a:lnTo>
                <a:lnTo>
                  <a:pt x="5064" y="1828"/>
                </a:lnTo>
                <a:lnTo>
                  <a:pt x="5065" y="1823"/>
                </a:lnTo>
                <a:lnTo>
                  <a:pt x="5066" y="1818"/>
                </a:lnTo>
                <a:lnTo>
                  <a:pt x="5066" y="1812"/>
                </a:lnTo>
                <a:lnTo>
                  <a:pt x="5065" y="1806"/>
                </a:lnTo>
                <a:lnTo>
                  <a:pt x="5063" y="1794"/>
                </a:lnTo>
                <a:lnTo>
                  <a:pt x="5060" y="1780"/>
                </a:lnTo>
                <a:lnTo>
                  <a:pt x="5055" y="1757"/>
                </a:lnTo>
                <a:lnTo>
                  <a:pt x="5054" y="1756"/>
                </a:lnTo>
                <a:lnTo>
                  <a:pt x="5052" y="1755"/>
                </a:lnTo>
                <a:lnTo>
                  <a:pt x="5049" y="1753"/>
                </a:lnTo>
                <a:lnTo>
                  <a:pt x="5045" y="1751"/>
                </a:lnTo>
                <a:lnTo>
                  <a:pt x="5044" y="1750"/>
                </a:lnTo>
                <a:lnTo>
                  <a:pt x="5043" y="1749"/>
                </a:lnTo>
                <a:lnTo>
                  <a:pt x="5043" y="1746"/>
                </a:lnTo>
                <a:lnTo>
                  <a:pt x="5044" y="1743"/>
                </a:lnTo>
                <a:lnTo>
                  <a:pt x="5044" y="1740"/>
                </a:lnTo>
                <a:lnTo>
                  <a:pt x="5043" y="1738"/>
                </a:lnTo>
                <a:lnTo>
                  <a:pt x="5035" y="1730"/>
                </a:lnTo>
                <a:lnTo>
                  <a:pt x="5030" y="1725"/>
                </a:lnTo>
                <a:lnTo>
                  <a:pt x="5028" y="1722"/>
                </a:lnTo>
                <a:lnTo>
                  <a:pt x="5027" y="1721"/>
                </a:lnTo>
                <a:lnTo>
                  <a:pt x="5026" y="1719"/>
                </a:lnTo>
                <a:lnTo>
                  <a:pt x="5027" y="1716"/>
                </a:lnTo>
                <a:lnTo>
                  <a:pt x="5027" y="1714"/>
                </a:lnTo>
                <a:lnTo>
                  <a:pt x="5027" y="1713"/>
                </a:lnTo>
                <a:lnTo>
                  <a:pt x="5027" y="1712"/>
                </a:lnTo>
                <a:lnTo>
                  <a:pt x="5025" y="1711"/>
                </a:lnTo>
                <a:lnTo>
                  <a:pt x="5024" y="1710"/>
                </a:lnTo>
                <a:lnTo>
                  <a:pt x="5020" y="1709"/>
                </a:lnTo>
                <a:lnTo>
                  <a:pt x="5015" y="1708"/>
                </a:lnTo>
                <a:lnTo>
                  <a:pt x="5012" y="1707"/>
                </a:lnTo>
                <a:lnTo>
                  <a:pt x="5012" y="1705"/>
                </a:lnTo>
                <a:lnTo>
                  <a:pt x="5011" y="1704"/>
                </a:lnTo>
                <a:lnTo>
                  <a:pt x="5011" y="1701"/>
                </a:lnTo>
                <a:lnTo>
                  <a:pt x="5011" y="1698"/>
                </a:lnTo>
                <a:lnTo>
                  <a:pt x="5010" y="1695"/>
                </a:lnTo>
                <a:lnTo>
                  <a:pt x="5008" y="1694"/>
                </a:lnTo>
                <a:lnTo>
                  <a:pt x="5005" y="1692"/>
                </a:lnTo>
                <a:lnTo>
                  <a:pt x="5003" y="1691"/>
                </a:lnTo>
                <a:lnTo>
                  <a:pt x="5001" y="1690"/>
                </a:lnTo>
                <a:lnTo>
                  <a:pt x="4999" y="1686"/>
                </a:lnTo>
                <a:lnTo>
                  <a:pt x="4998" y="1681"/>
                </a:lnTo>
                <a:lnTo>
                  <a:pt x="4997" y="1676"/>
                </a:lnTo>
                <a:lnTo>
                  <a:pt x="4997" y="1671"/>
                </a:lnTo>
                <a:lnTo>
                  <a:pt x="4997" y="1666"/>
                </a:lnTo>
                <a:lnTo>
                  <a:pt x="4998" y="1660"/>
                </a:lnTo>
                <a:lnTo>
                  <a:pt x="4999" y="1655"/>
                </a:lnTo>
                <a:lnTo>
                  <a:pt x="5001" y="1650"/>
                </a:lnTo>
                <a:lnTo>
                  <a:pt x="5003" y="1649"/>
                </a:lnTo>
                <a:lnTo>
                  <a:pt x="5005" y="1649"/>
                </a:lnTo>
                <a:lnTo>
                  <a:pt x="5008" y="1648"/>
                </a:lnTo>
                <a:lnTo>
                  <a:pt x="5010" y="1647"/>
                </a:lnTo>
                <a:lnTo>
                  <a:pt x="5011" y="1645"/>
                </a:lnTo>
                <a:lnTo>
                  <a:pt x="5013" y="1643"/>
                </a:lnTo>
                <a:lnTo>
                  <a:pt x="5015" y="1638"/>
                </a:lnTo>
                <a:lnTo>
                  <a:pt x="5018" y="1632"/>
                </a:lnTo>
                <a:lnTo>
                  <a:pt x="5019" y="1630"/>
                </a:lnTo>
                <a:lnTo>
                  <a:pt x="5021" y="1628"/>
                </a:lnTo>
                <a:lnTo>
                  <a:pt x="5030" y="1619"/>
                </a:lnTo>
                <a:lnTo>
                  <a:pt x="5035" y="1616"/>
                </a:lnTo>
                <a:lnTo>
                  <a:pt x="5040" y="1613"/>
                </a:lnTo>
                <a:lnTo>
                  <a:pt x="5044" y="1612"/>
                </a:lnTo>
                <a:lnTo>
                  <a:pt x="5047" y="1611"/>
                </a:lnTo>
                <a:lnTo>
                  <a:pt x="5054" y="1609"/>
                </a:lnTo>
                <a:lnTo>
                  <a:pt x="5062" y="1608"/>
                </a:lnTo>
                <a:lnTo>
                  <a:pt x="5072" y="1608"/>
                </a:lnTo>
                <a:lnTo>
                  <a:pt x="5069" y="1619"/>
                </a:lnTo>
                <a:lnTo>
                  <a:pt x="5070" y="1626"/>
                </a:lnTo>
                <a:lnTo>
                  <a:pt x="5070" y="1629"/>
                </a:lnTo>
                <a:lnTo>
                  <a:pt x="5072" y="1633"/>
                </a:lnTo>
                <a:lnTo>
                  <a:pt x="5077" y="1642"/>
                </a:lnTo>
                <a:lnTo>
                  <a:pt x="5081" y="1639"/>
                </a:lnTo>
                <a:lnTo>
                  <a:pt x="5083" y="1638"/>
                </a:lnTo>
                <a:lnTo>
                  <a:pt x="5084" y="1638"/>
                </a:lnTo>
                <a:lnTo>
                  <a:pt x="5086" y="1639"/>
                </a:lnTo>
                <a:lnTo>
                  <a:pt x="5085" y="1635"/>
                </a:lnTo>
                <a:lnTo>
                  <a:pt x="5086" y="1631"/>
                </a:lnTo>
                <a:lnTo>
                  <a:pt x="5085" y="1631"/>
                </a:lnTo>
                <a:lnTo>
                  <a:pt x="5084" y="1631"/>
                </a:lnTo>
                <a:lnTo>
                  <a:pt x="5082" y="1629"/>
                </a:lnTo>
                <a:lnTo>
                  <a:pt x="5080" y="1625"/>
                </a:lnTo>
                <a:lnTo>
                  <a:pt x="5084" y="1623"/>
                </a:lnTo>
                <a:lnTo>
                  <a:pt x="5088" y="1621"/>
                </a:lnTo>
                <a:lnTo>
                  <a:pt x="5097" y="1617"/>
                </a:lnTo>
                <a:lnTo>
                  <a:pt x="5098" y="1615"/>
                </a:lnTo>
                <a:lnTo>
                  <a:pt x="5100" y="1612"/>
                </a:lnTo>
                <a:lnTo>
                  <a:pt x="5101" y="1610"/>
                </a:lnTo>
                <a:lnTo>
                  <a:pt x="5102" y="1608"/>
                </a:lnTo>
                <a:lnTo>
                  <a:pt x="5106" y="1607"/>
                </a:lnTo>
                <a:lnTo>
                  <a:pt x="5110" y="1606"/>
                </a:lnTo>
                <a:lnTo>
                  <a:pt x="5117" y="1605"/>
                </a:lnTo>
                <a:lnTo>
                  <a:pt x="5125" y="1605"/>
                </a:lnTo>
                <a:lnTo>
                  <a:pt x="5129" y="1604"/>
                </a:lnTo>
                <a:lnTo>
                  <a:pt x="5133" y="1602"/>
                </a:lnTo>
                <a:lnTo>
                  <a:pt x="5135" y="1601"/>
                </a:lnTo>
                <a:lnTo>
                  <a:pt x="5137" y="1599"/>
                </a:lnTo>
                <a:lnTo>
                  <a:pt x="5140" y="1595"/>
                </a:lnTo>
                <a:lnTo>
                  <a:pt x="5145" y="1586"/>
                </a:lnTo>
                <a:lnTo>
                  <a:pt x="5153" y="1594"/>
                </a:lnTo>
                <a:lnTo>
                  <a:pt x="5155" y="1593"/>
                </a:lnTo>
                <a:lnTo>
                  <a:pt x="5158" y="1591"/>
                </a:lnTo>
                <a:lnTo>
                  <a:pt x="5161" y="1589"/>
                </a:lnTo>
                <a:lnTo>
                  <a:pt x="5162" y="1588"/>
                </a:lnTo>
                <a:lnTo>
                  <a:pt x="5168" y="1587"/>
                </a:lnTo>
                <a:lnTo>
                  <a:pt x="5173" y="1586"/>
                </a:lnTo>
                <a:lnTo>
                  <a:pt x="5178" y="1586"/>
                </a:lnTo>
                <a:lnTo>
                  <a:pt x="5184" y="1586"/>
                </a:lnTo>
                <a:lnTo>
                  <a:pt x="5190" y="1583"/>
                </a:lnTo>
                <a:lnTo>
                  <a:pt x="5190" y="1580"/>
                </a:lnTo>
                <a:lnTo>
                  <a:pt x="5190" y="1576"/>
                </a:lnTo>
                <a:lnTo>
                  <a:pt x="5190" y="1569"/>
                </a:lnTo>
                <a:lnTo>
                  <a:pt x="5204" y="1561"/>
                </a:lnTo>
                <a:lnTo>
                  <a:pt x="5218" y="1555"/>
                </a:lnTo>
                <a:lnTo>
                  <a:pt x="5217" y="1549"/>
                </a:lnTo>
                <a:lnTo>
                  <a:pt x="5218" y="1543"/>
                </a:lnTo>
                <a:lnTo>
                  <a:pt x="5220" y="1542"/>
                </a:lnTo>
                <a:lnTo>
                  <a:pt x="5223" y="1542"/>
                </a:lnTo>
                <a:lnTo>
                  <a:pt x="5228" y="1542"/>
                </a:lnTo>
                <a:lnTo>
                  <a:pt x="5233" y="1542"/>
                </a:lnTo>
                <a:lnTo>
                  <a:pt x="5235" y="1542"/>
                </a:lnTo>
                <a:lnTo>
                  <a:pt x="5237" y="1541"/>
                </a:lnTo>
                <a:lnTo>
                  <a:pt x="5235" y="1532"/>
                </a:lnTo>
                <a:lnTo>
                  <a:pt x="5239" y="1530"/>
                </a:lnTo>
                <a:lnTo>
                  <a:pt x="5241" y="1529"/>
                </a:lnTo>
                <a:lnTo>
                  <a:pt x="5240" y="1529"/>
                </a:lnTo>
                <a:lnTo>
                  <a:pt x="5237" y="1529"/>
                </a:lnTo>
                <a:lnTo>
                  <a:pt x="5237" y="1524"/>
                </a:lnTo>
                <a:lnTo>
                  <a:pt x="5243" y="1524"/>
                </a:lnTo>
                <a:lnTo>
                  <a:pt x="5246" y="1524"/>
                </a:lnTo>
                <a:lnTo>
                  <a:pt x="5249" y="1524"/>
                </a:lnTo>
                <a:lnTo>
                  <a:pt x="5248" y="1517"/>
                </a:lnTo>
                <a:lnTo>
                  <a:pt x="5249" y="1511"/>
                </a:lnTo>
                <a:lnTo>
                  <a:pt x="5249" y="1507"/>
                </a:lnTo>
                <a:lnTo>
                  <a:pt x="5249" y="1504"/>
                </a:lnTo>
                <a:lnTo>
                  <a:pt x="5247" y="1503"/>
                </a:lnTo>
                <a:lnTo>
                  <a:pt x="5245" y="1502"/>
                </a:lnTo>
                <a:lnTo>
                  <a:pt x="5244" y="1501"/>
                </a:lnTo>
                <a:lnTo>
                  <a:pt x="5243" y="1500"/>
                </a:lnTo>
                <a:lnTo>
                  <a:pt x="5243" y="1498"/>
                </a:lnTo>
                <a:lnTo>
                  <a:pt x="5246" y="1498"/>
                </a:lnTo>
                <a:lnTo>
                  <a:pt x="5247" y="1495"/>
                </a:lnTo>
                <a:lnTo>
                  <a:pt x="5247" y="1492"/>
                </a:lnTo>
                <a:lnTo>
                  <a:pt x="5247" y="1488"/>
                </a:lnTo>
                <a:lnTo>
                  <a:pt x="5249" y="1484"/>
                </a:lnTo>
                <a:lnTo>
                  <a:pt x="5250" y="1484"/>
                </a:lnTo>
                <a:lnTo>
                  <a:pt x="5253" y="1484"/>
                </a:lnTo>
                <a:lnTo>
                  <a:pt x="5255" y="1484"/>
                </a:lnTo>
                <a:lnTo>
                  <a:pt x="5257" y="1484"/>
                </a:lnTo>
                <a:lnTo>
                  <a:pt x="5259" y="1482"/>
                </a:lnTo>
                <a:lnTo>
                  <a:pt x="5261" y="1479"/>
                </a:lnTo>
                <a:lnTo>
                  <a:pt x="5263" y="1475"/>
                </a:lnTo>
                <a:lnTo>
                  <a:pt x="5266" y="1473"/>
                </a:lnTo>
                <a:lnTo>
                  <a:pt x="5268" y="1473"/>
                </a:lnTo>
                <a:lnTo>
                  <a:pt x="5269" y="1472"/>
                </a:lnTo>
                <a:lnTo>
                  <a:pt x="5269" y="1471"/>
                </a:lnTo>
                <a:lnTo>
                  <a:pt x="5269" y="1468"/>
                </a:lnTo>
                <a:lnTo>
                  <a:pt x="5268" y="1464"/>
                </a:lnTo>
                <a:lnTo>
                  <a:pt x="5268" y="1462"/>
                </a:lnTo>
                <a:lnTo>
                  <a:pt x="5270" y="1460"/>
                </a:lnTo>
                <a:lnTo>
                  <a:pt x="5272" y="1457"/>
                </a:lnTo>
                <a:lnTo>
                  <a:pt x="5275" y="1454"/>
                </a:lnTo>
                <a:lnTo>
                  <a:pt x="5277" y="1451"/>
                </a:lnTo>
                <a:lnTo>
                  <a:pt x="5280" y="1451"/>
                </a:lnTo>
                <a:lnTo>
                  <a:pt x="5281" y="1452"/>
                </a:lnTo>
                <a:lnTo>
                  <a:pt x="5282" y="1452"/>
                </a:lnTo>
                <a:lnTo>
                  <a:pt x="5285" y="1451"/>
                </a:lnTo>
                <a:lnTo>
                  <a:pt x="5283" y="1443"/>
                </a:lnTo>
                <a:lnTo>
                  <a:pt x="5282" y="1439"/>
                </a:lnTo>
                <a:lnTo>
                  <a:pt x="5283" y="1437"/>
                </a:lnTo>
                <a:lnTo>
                  <a:pt x="5283" y="1434"/>
                </a:lnTo>
                <a:lnTo>
                  <a:pt x="5282" y="1428"/>
                </a:lnTo>
                <a:lnTo>
                  <a:pt x="5291" y="1428"/>
                </a:lnTo>
                <a:lnTo>
                  <a:pt x="5293" y="1423"/>
                </a:lnTo>
                <a:lnTo>
                  <a:pt x="5293" y="1420"/>
                </a:lnTo>
                <a:lnTo>
                  <a:pt x="5293" y="1418"/>
                </a:lnTo>
                <a:lnTo>
                  <a:pt x="5292" y="1418"/>
                </a:lnTo>
                <a:lnTo>
                  <a:pt x="5290" y="1418"/>
                </a:lnTo>
                <a:lnTo>
                  <a:pt x="5288" y="1418"/>
                </a:lnTo>
                <a:lnTo>
                  <a:pt x="5297" y="1411"/>
                </a:lnTo>
                <a:lnTo>
                  <a:pt x="5293" y="1407"/>
                </a:lnTo>
                <a:lnTo>
                  <a:pt x="5290" y="1404"/>
                </a:lnTo>
                <a:lnTo>
                  <a:pt x="5288" y="1403"/>
                </a:lnTo>
                <a:lnTo>
                  <a:pt x="5285" y="1403"/>
                </a:lnTo>
                <a:lnTo>
                  <a:pt x="5280" y="1404"/>
                </a:lnTo>
                <a:lnTo>
                  <a:pt x="5277" y="1405"/>
                </a:lnTo>
                <a:lnTo>
                  <a:pt x="5277" y="1406"/>
                </a:lnTo>
                <a:lnTo>
                  <a:pt x="5276" y="1406"/>
                </a:lnTo>
                <a:lnTo>
                  <a:pt x="5275" y="1406"/>
                </a:lnTo>
                <a:lnTo>
                  <a:pt x="5273" y="1404"/>
                </a:lnTo>
                <a:lnTo>
                  <a:pt x="5272" y="1401"/>
                </a:lnTo>
                <a:lnTo>
                  <a:pt x="5271" y="1400"/>
                </a:lnTo>
                <a:lnTo>
                  <a:pt x="5284" y="1392"/>
                </a:lnTo>
                <a:lnTo>
                  <a:pt x="5286" y="1390"/>
                </a:lnTo>
                <a:lnTo>
                  <a:pt x="5288" y="1389"/>
                </a:lnTo>
                <a:lnTo>
                  <a:pt x="5289" y="1387"/>
                </a:lnTo>
                <a:lnTo>
                  <a:pt x="5289" y="1386"/>
                </a:lnTo>
                <a:lnTo>
                  <a:pt x="5290" y="1385"/>
                </a:lnTo>
                <a:lnTo>
                  <a:pt x="5290" y="1383"/>
                </a:lnTo>
                <a:lnTo>
                  <a:pt x="5290" y="1382"/>
                </a:lnTo>
                <a:lnTo>
                  <a:pt x="5289" y="1380"/>
                </a:lnTo>
                <a:lnTo>
                  <a:pt x="5288" y="1377"/>
                </a:lnTo>
                <a:lnTo>
                  <a:pt x="5284" y="1372"/>
                </a:lnTo>
                <a:lnTo>
                  <a:pt x="5277" y="1366"/>
                </a:lnTo>
                <a:lnTo>
                  <a:pt x="5282" y="1366"/>
                </a:lnTo>
                <a:lnTo>
                  <a:pt x="5282" y="1362"/>
                </a:lnTo>
                <a:lnTo>
                  <a:pt x="5282" y="1358"/>
                </a:lnTo>
                <a:lnTo>
                  <a:pt x="5278" y="1352"/>
                </a:lnTo>
                <a:lnTo>
                  <a:pt x="5272" y="1347"/>
                </a:lnTo>
                <a:lnTo>
                  <a:pt x="5266" y="1341"/>
                </a:lnTo>
                <a:lnTo>
                  <a:pt x="5264" y="1338"/>
                </a:lnTo>
                <a:lnTo>
                  <a:pt x="5263" y="1335"/>
                </a:lnTo>
                <a:lnTo>
                  <a:pt x="5263" y="1333"/>
                </a:lnTo>
                <a:lnTo>
                  <a:pt x="5263" y="1329"/>
                </a:lnTo>
                <a:lnTo>
                  <a:pt x="5263" y="1326"/>
                </a:lnTo>
                <a:lnTo>
                  <a:pt x="5263" y="1325"/>
                </a:lnTo>
                <a:lnTo>
                  <a:pt x="5263" y="1324"/>
                </a:lnTo>
                <a:lnTo>
                  <a:pt x="5262" y="1323"/>
                </a:lnTo>
                <a:lnTo>
                  <a:pt x="5261" y="1323"/>
                </a:lnTo>
                <a:lnTo>
                  <a:pt x="5259" y="1322"/>
                </a:lnTo>
                <a:lnTo>
                  <a:pt x="5256" y="1322"/>
                </a:lnTo>
                <a:lnTo>
                  <a:pt x="5254" y="1321"/>
                </a:lnTo>
                <a:lnTo>
                  <a:pt x="5253" y="1320"/>
                </a:lnTo>
                <a:lnTo>
                  <a:pt x="5254" y="1319"/>
                </a:lnTo>
                <a:lnTo>
                  <a:pt x="5256" y="1318"/>
                </a:lnTo>
                <a:lnTo>
                  <a:pt x="5258" y="1317"/>
                </a:lnTo>
                <a:lnTo>
                  <a:pt x="5258" y="1316"/>
                </a:lnTo>
                <a:lnTo>
                  <a:pt x="5257" y="1315"/>
                </a:lnTo>
                <a:lnTo>
                  <a:pt x="5254" y="1313"/>
                </a:lnTo>
                <a:lnTo>
                  <a:pt x="5252" y="1310"/>
                </a:lnTo>
                <a:lnTo>
                  <a:pt x="5249" y="1307"/>
                </a:lnTo>
                <a:lnTo>
                  <a:pt x="5247" y="1302"/>
                </a:lnTo>
                <a:lnTo>
                  <a:pt x="5246" y="1298"/>
                </a:lnTo>
                <a:lnTo>
                  <a:pt x="5245" y="1293"/>
                </a:lnTo>
                <a:lnTo>
                  <a:pt x="5245" y="1287"/>
                </a:lnTo>
                <a:lnTo>
                  <a:pt x="5246" y="1282"/>
                </a:lnTo>
                <a:lnTo>
                  <a:pt x="5247" y="1280"/>
                </a:lnTo>
                <a:lnTo>
                  <a:pt x="5248" y="1278"/>
                </a:lnTo>
                <a:lnTo>
                  <a:pt x="5252" y="1275"/>
                </a:lnTo>
                <a:lnTo>
                  <a:pt x="5257" y="1273"/>
                </a:lnTo>
                <a:lnTo>
                  <a:pt x="5259" y="1272"/>
                </a:lnTo>
                <a:lnTo>
                  <a:pt x="5260" y="1270"/>
                </a:lnTo>
                <a:lnTo>
                  <a:pt x="5260" y="1269"/>
                </a:lnTo>
                <a:lnTo>
                  <a:pt x="5259" y="1268"/>
                </a:lnTo>
                <a:lnTo>
                  <a:pt x="5257" y="1265"/>
                </a:lnTo>
                <a:lnTo>
                  <a:pt x="5269" y="1253"/>
                </a:lnTo>
                <a:lnTo>
                  <a:pt x="5276" y="1247"/>
                </a:lnTo>
                <a:lnTo>
                  <a:pt x="5282" y="1242"/>
                </a:lnTo>
                <a:lnTo>
                  <a:pt x="5287" y="1241"/>
                </a:lnTo>
                <a:lnTo>
                  <a:pt x="5294" y="1240"/>
                </a:lnTo>
                <a:lnTo>
                  <a:pt x="5301" y="1238"/>
                </a:lnTo>
                <a:lnTo>
                  <a:pt x="5305" y="1237"/>
                </a:lnTo>
                <a:lnTo>
                  <a:pt x="5306" y="1236"/>
                </a:lnTo>
                <a:lnTo>
                  <a:pt x="5306" y="1234"/>
                </a:lnTo>
                <a:lnTo>
                  <a:pt x="5306" y="1230"/>
                </a:lnTo>
                <a:lnTo>
                  <a:pt x="5307" y="1225"/>
                </a:lnTo>
                <a:lnTo>
                  <a:pt x="5307" y="1224"/>
                </a:lnTo>
                <a:lnTo>
                  <a:pt x="5308" y="1223"/>
                </a:lnTo>
                <a:lnTo>
                  <a:pt x="5296" y="1223"/>
                </a:lnTo>
                <a:lnTo>
                  <a:pt x="5289" y="1223"/>
                </a:lnTo>
                <a:lnTo>
                  <a:pt x="5282" y="1223"/>
                </a:lnTo>
                <a:lnTo>
                  <a:pt x="5280" y="1221"/>
                </a:lnTo>
                <a:lnTo>
                  <a:pt x="5279" y="1220"/>
                </a:lnTo>
                <a:lnTo>
                  <a:pt x="5276" y="1219"/>
                </a:lnTo>
                <a:lnTo>
                  <a:pt x="5270" y="1217"/>
                </a:lnTo>
                <a:lnTo>
                  <a:pt x="5267" y="1217"/>
                </a:lnTo>
                <a:lnTo>
                  <a:pt x="5263" y="1217"/>
                </a:lnTo>
                <a:lnTo>
                  <a:pt x="5261" y="1218"/>
                </a:lnTo>
                <a:lnTo>
                  <a:pt x="5259" y="1219"/>
                </a:lnTo>
                <a:lnTo>
                  <a:pt x="5255" y="1224"/>
                </a:lnTo>
                <a:lnTo>
                  <a:pt x="5252" y="1228"/>
                </a:lnTo>
                <a:lnTo>
                  <a:pt x="5249" y="1231"/>
                </a:lnTo>
                <a:lnTo>
                  <a:pt x="5244" y="1232"/>
                </a:lnTo>
                <a:lnTo>
                  <a:pt x="5241" y="1233"/>
                </a:lnTo>
                <a:lnTo>
                  <a:pt x="5238" y="1233"/>
                </a:lnTo>
                <a:lnTo>
                  <a:pt x="5235" y="1234"/>
                </a:lnTo>
                <a:lnTo>
                  <a:pt x="5229" y="1223"/>
                </a:lnTo>
                <a:lnTo>
                  <a:pt x="5223" y="1213"/>
                </a:lnTo>
                <a:lnTo>
                  <a:pt x="5218" y="1202"/>
                </a:lnTo>
                <a:lnTo>
                  <a:pt x="5215" y="1197"/>
                </a:lnTo>
                <a:lnTo>
                  <a:pt x="5212" y="1192"/>
                </a:lnTo>
                <a:lnTo>
                  <a:pt x="5214" y="1191"/>
                </a:lnTo>
                <a:lnTo>
                  <a:pt x="5214" y="1190"/>
                </a:lnTo>
                <a:lnTo>
                  <a:pt x="5215" y="1189"/>
                </a:lnTo>
                <a:lnTo>
                  <a:pt x="5215" y="1187"/>
                </a:lnTo>
                <a:lnTo>
                  <a:pt x="5216" y="1185"/>
                </a:lnTo>
                <a:lnTo>
                  <a:pt x="5217" y="1184"/>
                </a:lnTo>
                <a:lnTo>
                  <a:pt x="5218" y="1183"/>
                </a:lnTo>
                <a:lnTo>
                  <a:pt x="5223" y="1183"/>
                </a:lnTo>
                <a:lnTo>
                  <a:pt x="5228" y="1183"/>
                </a:lnTo>
                <a:lnTo>
                  <a:pt x="5233" y="1184"/>
                </a:lnTo>
                <a:lnTo>
                  <a:pt x="5235" y="1184"/>
                </a:lnTo>
                <a:lnTo>
                  <a:pt x="5237" y="1183"/>
                </a:lnTo>
                <a:lnTo>
                  <a:pt x="5239" y="1181"/>
                </a:lnTo>
                <a:lnTo>
                  <a:pt x="5240" y="1177"/>
                </a:lnTo>
                <a:lnTo>
                  <a:pt x="5242" y="1172"/>
                </a:lnTo>
                <a:lnTo>
                  <a:pt x="5243" y="1169"/>
                </a:lnTo>
                <a:lnTo>
                  <a:pt x="5245" y="1168"/>
                </a:lnTo>
                <a:lnTo>
                  <a:pt x="5247" y="1167"/>
                </a:lnTo>
                <a:lnTo>
                  <a:pt x="5253" y="1165"/>
                </a:lnTo>
                <a:lnTo>
                  <a:pt x="5258" y="1163"/>
                </a:lnTo>
                <a:lnTo>
                  <a:pt x="5263" y="1161"/>
                </a:lnTo>
                <a:lnTo>
                  <a:pt x="5265" y="1159"/>
                </a:lnTo>
                <a:lnTo>
                  <a:pt x="5267" y="1155"/>
                </a:lnTo>
                <a:lnTo>
                  <a:pt x="5272" y="1147"/>
                </a:lnTo>
                <a:lnTo>
                  <a:pt x="5280" y="1133"/>
                </a:lnTo>
                <a:lnTo>
                  <a:pt x="5290" y="1135"/>
                </a:lnTo>
                <a:lnTo>
                  <a:pt x="5296" y="1138"/>
                </a:lnTo>
                <a:lnTo>
                  <a:pt x="5300" y="1140"/>
                </a:lnTo>
                <a:lnTo>
                  <a:pt x="5300" y="1141"/>
                </a:lnTo>
                <a:lnTo>
                  <a:pt x="5301" y="1142"/>
                </a:lnTo>
                <a:lnTo>
                  <a:pt x="5300" y="1145"/>
                </a:lnTo>
                <a:lnTo>
                  <a:pt x="5298" y="1148"/>
                </a:lnTo>
                <a:lnTo>
                  <a:pt x="5294" y="1154"/>
                </a:lnTo>
                <a:lnTo>
                  <a:pt x="5291" y="1161"/>
                </a:lnTo>
                <a:lnTo>
                  <a:pt x="5288" y="1166"/>
                </a:lnTo>
                <a:lnTo>
                  <a:pt x="5285" y="1175"/>
                </a:lnTo>
                <a:lnTo>
                  <a:pt x="5284" y="1179"/>
                </a:lnTo>
                <a:lnTo>
                  <a:pt x="5284" y="1180"/>
                </a:lnTo>
                <a:lnTo>
                  <a:pt x="5284" y="1181"/>
                </a:lnTo>
                <a:lnTo>
                  <a:pt x="5285" y="1181"/>
                </a:lnTo>
                <a:lnTo>
                  <a:pt x="5286" y="1181"/>
                </a:lnTo>
                <a:lnTo>
                  <a:pt x="5291" y="1178"/>
                </a:lnTo>
                <a:lnTo>
                  <a:pt x="5289" y="1180"/>
                </a:lnTo>
                <a:lnTo>
                  <a:pt x="5287" y="1186"/>
                </a:lnTo>
                <a:lnTo>
                  <a:pt x="5286" y="1189"/>
                </a:lnTo>
                <a:lnTo>
                  <a:pt x="5286" y="1191"/>
                </a:lnTo>
                <a:lnTo>
                  <a:pt x="5286" y="1192"/>
                </a:lnTo>
                <a:lnTo>
                  <a:pt x="5288" y="1192"/>
                </a:lnTo>
                <a:lnTo>
                  <a:pt x="5290" y="1191"/>
                </a:lnTo>
                <a:lnTo>
                  <a:pt x="5292" y="1189"/>
                </a:lnTo>
                <a:lnTo>
                  <a:pt x="5297" y="1184"/>
                </a:lnTo>
                <a:lnTo>
                  <a:pt x="5307" y="1173"/>
                </a:lnTo>
                <a:lnTo>
                  <a:pt x="5313" y="1168"/>
                </a:lnTo>
                <a:lnTo>
                  <a:pt x="5317" y="1166"/>
                </a:lnTo>
                <a:lnTo>
                  <a:pt x="5320" y="1164"/>
                </a:lnTo>
                <a:lnTo>
                  <a:pt x="5326" y="1161"/>
                </a:lnTo>
                <a:lnTo>
                  <a:pt x="5330" y="1161"/>
                </a:lnTo>
                <a:lnTo>
                  <a:pt x="5333" y="1161"/>
                </a:lnTo>
                <a:lnTo>
                  <a:pt x="5335" y="1162"/>
                </a:lnTo>
                <a:lnTo>
                  <a:pt x="5337" y="1164"/>
                </a:lnTo>
                <a:lnTo>
                  <a:pt x="5339" y="1165"/>
                </a:lnTo>
                <a:lnTo>
                  <a:pt x="5341" y="1166"/>
                </a:lnTo>
                <a:lnTo>
                  <a:pt x="5344" y="1166"/>
                </a:lnTo>
                <a:lnTo>
                  <a:pt x="5347" y="1165"/>
                </a:lnTo>
                <a:lnTo>
                  <a:pt x="5351" y="1168"/>
                </a:lnTo>
                <a:lnTo>
                  <a:pt x="5354" y="1170"/>
                </a:lnTo>
                <a:lnTo>
                  <a:pt x="5356" y="1172"/>
                </a:lnTo>
                <a:lnTo>
                  <a:pt x="5356" y="1174"/>
                </a:lnTo>
                <a:lnTo>
                  <a:pt x="5356" y="1176"/>
                </a:lnTo>
                <a:lnTo>
                  <a:pt x="5355" y="1179"/>
                </a:lnTo>
                <a:lnTo>
                  <a:pt x="5353" y="1181"/>
                </a:lnTo>
                <a:lnTo>
                  <a:pt x="5353" y="1183"/>
                </a:lnTo>
                <a:lnTo>
                  <a:pt x="5354" y="1185"/>
                </a:lnTo>
                <a:lnTo>
                  <a:pt x="5356" y="1187"/>
                </a:lnTo>
                <a:lnTo>
                  <a:pt x="5358" y="1189"/>
                </a:lnTo>
                <a:lnTo>
                  <a:pt x="5358" y="1191"/>
                </a:lnTo>
                <a:lnTo>
                  <a:pt x="5358" y="1192"/>
                </a:lnTo>
                <a:lnTo>
                  <a:pt x="5350" y="1192"/>
                </a:lnTo>
                <a:lnTo>
                  <a:pt x="5349" y="1195"/>
                </a:lnTo>
                <a:lnTo>
                  <a:pt x="5348" y="1196"/>
                </a:lnTo>
                <a:lnTo>
                  <a:pt x="5347" y="1197"/>
                </a:lnTo>
                <a:lnTo>
                  <a:pt x="5344" y="1197"/>
                </a:lnTo>
                <a:lnTo>
                  <a:pt x="5345" y="1202"/>
                </a:lnTo>
                <a:lnTo>
                  <a:pt x="5344" y="1206"/>
                </a:lnTo>
                <a:lnTo>
                  <a:pt x="5347" y="1207"/>
                </a:lnTo>
                <a:lnTo>
                  <a:pt x="5350" y="1207"/>
                </a:lnTo>
                <a:lnTo>
                  <a:pt x="5353" y="1207"/>
                </a:lnTo>
                <a:lnTo>
                  <a:pt x="5354" y="1208"/>
                </a:lnTo>
                <a:lnTo>
                  <a:pt x="5356" y="1209"/>
                </a:lnTo>
                <a:lnTo>
                  <a:pt x="5353" y="1217"/>
                </a:lnTo>
                <a:lnTo>
                  <a:pt x="5360" y="1218"/>
                </a:lnTo>
                <a:lnTo>
                  <a:pt x="5364" y="1218"/>
                </a:lnTo>
                <a:lnTo>
                  <a:pt x="5365" y="1218"/>
                </a:lnTo>
                <a:lnTo>
                  <a:pt x="5364" y="1217"/>
                </a:lnTo>
                <a:lnTo>
                  <a:pt x="5372" y="1217"/>
                </a:lnTo>
                <a:lnTo>
                  <a:pt x="5381" y="1217"/>
                </a:lnTo>
                <a:lnTo>
                  <a:pt x="5384" y="1226"/>
                </a:lnTo>
                <a:lnTo>
                  <a:pt x="5385" y="1231"/>
                </a:lnTo>
                <a:lnTo>
                  <a:pt x="5385" y="1233"/>
                </a:lnTo>
                <a:lnTo>
                  <a:pt x="5384" y="1235"/>
                </a:lnTo>
                <a:lnTo>
                  <a:pt x="5382" y="1237"/>
                </a:lnTo>
                <a:lnTo>
                  <a:pt x="5378" y="1240"/>
                </a:lnTo>
                <a:lnTo>
                  <a:pt x="5387" y="1248"/>
                </a:lnTo>
                <a:lnTo>
                  <a:pt x="5387" y="1249"/>
                </a:lnTo>
                <a:lnTo>
                  <a:pt x="5386" y="1251"/>
                </a:lnTo>
                <a:lnTo>
                  <a:pt x="5384" y="1254"/>
                </a:lnTo>
                <a:lnTo>
                  <a:pt x="5383" y="1254"/>
                </a:lnTo>
                <a:lnTo>
                  <a:pt x="5383" y="1256"/>
                </a:lnTo>
                <a:lnTo>
                  <a:pt x="5383" y="1259"/>
                </a:lnTo>
                <a:lnTo>
                  <a:pt x="5384" y="1262"/>
                </a:lnTo>
                <a:lnTo>
                  <a:pt x="5384" y="1261"/>
                </a:lnTo>
                <a:lnTo>
                  <a:pt x="5385" y="1262"/>
                </a:lnTo>
                <a:lnTo>
                  <a:pt x="5385" y="1263"/>
                </a:lnTo>
                <a:lnTo>
                  <a:pt x="5386" y="1266"/>
                </a:lnTo>
                <a:lnTo>
                  <a:pt x="5387" y="1273"/>
                </a:lnTo>
                <a:lnTo>
                  <a:pt x="5385" y="1274"/>
                </a:lnTo>
                <a:lnTo>
                  <a:pt x="5382" y="1275"/>
                </a:lnTo>
                <a:lnTo>
                  <a:pt x="5378" y="1276"/>
                </a:lnTo>
                <a:lnTo>
                  <a:pt x="5377" y="1285"/>
                </a:lnTo>
                <a:lnTo>
                  <a:pt x="5377" y="1292"/>
                </a:lnTo>
                <a:lnTo>
                  <a:pt x="5377" y="1299"/>
                </a:lnTo>
                <a:lnTo>
                  <a:pt x="5375" y="1307"/>
                </a:lnTo>
                <a:lnTo>
                  <a:pt x="5378" y="1307"/>
                </a:lnTo>
                <a:lnTo>
                  <a:pt x="5380" y="1307"/>
                </a:lnTo>
                <a:lnTo>
                  <a:pt x="5382" y="1309"/>
                </a:lnTo>
                <a:lnTo>
                  <a:pt x="5384" y="1310"/>
                </a:lnTo>
                <a:lnTo>
                  <a:pt x="5393" y="1301"/>
                </a:lnTo>
                <a:lnTo>
                  <a:pt x="5398" y="1296"/>
                </a:lnTo>
                <a:lnTo>
                  <a:pt x="5403" y="1293"/>
                </a:lnTo>
                <a:lnTo>
                  <a:pt x="5410" y="1291"/>
                </a:lnTo>
                <a:lnTo>
                  <a:pt x="5418" y="1289"/>
                </a:lnTo>
                <a:lnTo>
                  <a:pt x="5421" y="1287"/>
                </a:lnTo>
                <a:lnTo>
                  <a:pt x="5424" y="1286"/>
                </a:lnTo>
                <a:lnTo>
                  <a:pt x="5427" y="1284"/>
                </a:lnTo>
                <a:lnTo>
                  <a:pt x="5429" y="1282"/>
                </a:lnTo>
                <a:lnTo>
                  <a:pt x="5430" y="1279"/>
                </a:lnTo>
                <a:lnTo>
                  <a:pt x="5430" y="1274"/>
                </a:lnTo>
                <a:lnTo>
                  <a:pt x="5432" y="1261"/>
                </a:lnTo>
                <a:lnTo>
                  <a:pt x="5432" y="1247"/>
                </a:lnTo>
                <a:lnTo>
                  <a:pt x="5432" y="1237"/>
                </a:lnTo>
                <a:lnTo>
                  <a:pt x="5430" y="1235"/>
                </a:lnTo>
                <a:lnTo>
                  <a:pt x="5427" y="1233"/>
                </a:lnTo>
                <a:lnTo>
                  <a:pt x="5425" y="1230"/>
                </a:lnTo>
                <a:lnTo>
                  <a:pt x="5423" y="1228"/>
                </a:lnTo>
                <a:lnTo>
                  <a:pt x="5423" y="1226"/>
                </a:lnTo>
                <a:lnTo>
                  <a:pt x="5423" y="1224"/>
                </a:lnTo>
                <a:lnTo>
                  <a:pt x="5423" y="1222"/>
                </a:lnTo>
                <a:lnTo>
                  <a:pt x="5423" y="1220"/>
                </a:lnTo>
                <a:lnTo>
                  <a:pt x="5417" y="1220"/>
                </a:lnTo>
                <a:lnTo>
                  <a:pt x="5417" y="1217"/>
                </a:lnTo>
                <a:lnTo>
                  <a:pt x="5417" y="1214"/>
                </a:lnTo>
                <a:lnTo>
                  <a:pt x="5418" y="1212"/>
                </a:lnTo>
                <a:lnTo>
                  <a:pt x="5417" y="1209"/>
                </a:lnTo>
                <a:lnTo>
                  <a:pt x="5414" y="1206"/>
                </a:lnTo>
                <a:lnTo>
                  <a:pt x="5413" y="1205"/>
                </a:lnTo>
                <a:lnTo>
                  <a:pt x="5411" y="1203"/>
                </a:lnTo>
                <a:lnTo>
                  <a:pt x="5410" y="1202"/>
                </a:lnTo>
                <a:lnTo>
                  <a:pt x="5409" y="1201"/>
                </a:lnTo>
                <a:lnTo>
                  <a:pt x="5409" y="1200"/>
                </a:lnTo>
                <a:lnTo>
                  <a:pt x="5409" y="1198"/>
                </a:lnTo>
                <a:lnTo>
                  <a:pt x="5409" y="1197"/>
                </a:lnTo>
                <a:lnTo>
                  <a:pt x="5411" y="1195"/>
                </a:lnTo>
                <a:lnTo>
                  <a:pt x="5412" y="1193"/>
                </a:lnTo>
                <a:lnTo>
                  <a:pt x="5412" y="1192"/>
                </a:lnTo>
                <a:lnTo>
                  <a:pt x="5410" y="1190"/>
                </a:lnTo>
                <a:lnTo>
                  <a:pt x="5408" y="1188"/>
                </a:lnTo>
                <a:lnTo>
                  <a:pt x="5403" y="1187"/>
                </a:lnTo>
                <a:lnTo>
                  <a:pt x="5398" y="1185"/>
                </a:lnTo>
                <a:lnTo>
                  <a:pt x="5395" y="1184"/>
                </a:lnTo>
                <a:lnTo>
                  <a:pt x="5392" y="1183"/>
                </a:lnTo>
                <a:lnTo>
                  <a:pt x="5395" y="1173"/>
                </a:lnTo>
                <a:lnTo>
                  <a:pt x="5398" y="1164"/>
                </a:lnTo>
                <a:lnTo>
                  <a:pt x="5399" y="1163"/>
                </a:lnTo>
                <a:lnTo>
                  <a:pt x="5400" y="1162"/>
                </a:lnTo>
                <a:lnTo>
                  <a:pt x="5404" y="1161"/>
                </a:lnTo>
                <a:lnTo>
                  <a:pt x="5409" y="1159"/>
                </a:lnTo>
                <a:lnTo>
                  <a:pt x="5412" y="1158"/>
                </a:lnTo>
                <a:lnTo>
                  <a:pt x="5413" y="1156"/>
                </a:lnTo>
                <a:lnTo>
                  <a:pt x="5415" y="1152"/>
                </a:lnTo>
                <a:lnTo>
                  <a:pt x="5416" y="1149"/>
                </a:lnTo>
                <a:lnTo>
                  <a:pt x="5417" y="1147"/>
                </a:lnTo>
                <a:lnTo>
                  <a:pt x="5419" y="1146"/>
                </a:lnTo>
                <a:lnTo>
                  <a:pt x="5420" y="1146"/>
                </a:lnTo>
                <a:lnTo>
                  <a:pt x="5425" y="1145"/>
                </a:lnTo>
                <a:lnTo>
                  <a:pt x="5429" y="1145"/>
                </a:lnTo>
                <a:lnTo>
                  <a:pt x="5431" y="1144"/>
                </a:lnTo>
                <a:lnTo>
                  <a:pt x="5432" y="1144"/>
                </a:lnTo>
                <a:lnTo>
                  <a:pt x="5433" y="1141"/>
                </a:lnTo>
                <a:lnTo>
                  <a:pt x="5434" y="1139"/>
                </a:lnTo>
                <a:lnTo>
                  <a:pt x="5435" y="1134"/>
                </a:lnTo>
                <a:lnTo>
                  <a:pt x="5436" y="1128"/>
                </a:lnTo>
                <a:lnTo>
                  <a:pt x="5437" y="1121"/>
                </a:lnTo>
                <a:lnTo>
                  <a:pt x="5432" y="1121"/>
                </a:lnTo>
                <a:lnTo>
                  <a:pt x="5430" y="1120"/>
                </a:lnTo>
                <a:lnTo>
                  <a:pt x="5429" y="1119"/>
                </a:lnTo>
                <a:lnTo>
                  <a:pt x="5428" y="1116"/>
                </a:lnTo>
                <a:lnTo>
                  <a:pt x="5429" y="1114"/>
                </a:lnTo>
                <a:lnTo>
                  <a:pt x="5429" y="1112"/>
                </a:lnTo>
                <a:lnTo>
                  <a:pt x="5429" y="1111"/>
                </a:lnTo>
                <a:lnTo>
                  <a:pt x="5429" y="1110"/>
                </a:lnTo>
                <a:lnTo>
                  <a:pt x="5442" y="1098"/>
                </a:lnTo>
                <a:lnTo>
                  <a:pt x="5456" y="1087"/>
                </a:lnTo>
                <a:lnTo>
                  <a:pt x="5468" y="1076"/>
                </a:lnTo>
                <a:lnTo>
                  <a:pt x="5470" y="1072"/>
                </a:lnTo>
                <a:lnTo>
                  <a:pt x="5471" y="1068"/>
                </a:lnTo>
                <a:lnTo>
                  <a:pt x="5474" y="1067"/>
                </a:lnTo>
                <a:lnTo>
                  <a:pt x="5479" y="1068"/>
                </a:lnTo>
                <a:lnTo>
                  <a:pt x="5488" y="1068"/>
                </a:lnTo>
                <a:lnTo>
                  <a:pt x="5487" y="1074"/>
                </a:lnTo>
                <a:lnTo>
                  <a:pt x="5485" y="1082"/>
                </a:lnTo>
                <a:lnTo>
                  <a:pt x="5493" y="1087"/>
                </a:lnTo>
                <a:lnTo>
                  <a:pt x="5496" y="1089"/>
                </a:lnTo>
                <a:lnTo>
                  <a:pt x="5500" y="1090"/>
                </a:lnTo>
                <a:lnTo>
                  <a:pt x="5504" y="1091"/>
                </a:lnTo>
                <a:lnTo>
                  <a:pt x="5507" y="1091"/>
                </a:lnTo>
                <a:lnTo>
                  <a:pt x="5512" y="1090"/>
                </a:lnTo>
                <a:lnTo>
                  <a:pt x="5516" y="1088"/>
                </a:lnTo>
                <a:lnTo>
                  <a:pt x="5516" y="1082"/>
                </a:lnTo>
                <a:lnTo>
                  <a:pt x="5520" y="1079"/>
                </a:lnTo>
                <a:lnTo>
                  <a:pt x="5523" y="1076"/>
                </a:lnTo>
                <a:lnTo>
                  <a:pt x="5527" y="1070"/>
                </a:lnTo>
                <a:lnTo>
                  <a:pt x="5530" y="1065"/>
                </a:lnTo>
                <a:lnTo>
                  <a:pt x="5532" y="1063"/>
                </a:lnTo>
                <a:lnTo>
                  <a:pt x="5533" y="1062"/>
                </a:lnTo>
                <a:lnTo>
                  <a:pt x="5538" y="1062"/>
                </a:lnTo>
                <a:lnTo>
                  <a:pt x="5540" y="1060"/>
                </a:lnTo>
                <a:lnTo>
                  <a:pt x="5540" y="1058"/>
                </a:lnTo>
                <a:lnTo>
                  <a:pt x="5541" y="1053"/>
                </a:lnTo>
                <a:lnTo>
                  <a:pt x="5542" y="1049"/>
                </a:lnTo>
                <a:lnTo>
                  <a:pt x="5543" y="1047"/>
                </a:lnTo>
                <a:lnTo>
                  <a:pt x="5544" y="1045"/>
                </a:lnTo>
                <a:lnTo>
                  <a:pt x="5545" y="1044"/>
                </a:lnTo>
                <a:lnTo>
                  <a:pt x="5547" y="1043"/>
                </a:lnTo>
                <a:lnTo>
                  <a:pt x="5551" y="1041"/>
                </a:lnTo>
                <a:lnTo>
                  <a:pt x="5555" y="1039"/>
                </a:lnTo>
                <a:lnTo>
                  <a:pt x="5558" y="1037"/>
                </a:lnTo>
                <a:lnTo>
                  <a:pt x="5559" y="1035"/>
                </a:lnTo>
                <a:lnTo>
                  <a:pt x="5560" y="1033"/>
                </a:lnTo>
                <a:lnTo>
                  <a:pt x="5561" y="1028"/>
                </a:lnTo>
                <a:lnTo>
                  <a:pt x="5562" y="1024"/>
                </a:lnTo>
                <a:lnTo>
                  <a:pt x="5564" y="1020"/>
                </a:lnTo>
                <a:lnTo>
                  <a:pt x="5566" y="1018"/>
                </a:lnTo>
                <a:lnTo>
                  <a:pt x="5569" y="1016"/>
                </a:lnTo>
                <a:lnTo>
                  <a:pt x="5575" y="1011"/>
                </a:lnTo>
                <a:lnTo>
                  <a:pt x="5582" y="1006"/>
                </a:lnTo>
                <a:lnTo>
                  <a:pt x="5584" y="1003"/>
                </a:lnTo>
                <a:lnTo>
                  <a:pt x="5586" y="1000"/>
                </a:lnTo>
                <a:lnTo>
                  <a:pt x="5588" y="997"/>
                </a:lnTo>
                <a:lnTo>
                  <a:pt x="5589" y="992"/>
                </a:lnTo>
                <a:lnTo>
                  <a:pt x="5591" y="983"/>
                </a:lnTo>
                <a:lnTo>
                  <a:pt x="5593" y="974"/>
                </a:lnTo>
                <a:lnTo>
                  <a:pt x="5595" y="970"/>
                </a:lnTo>
                <a:lnTo>
                  <a:pt x="5597" y="967"/>
                </a:lnTo>
                <a:lnTo>
                  <a:pt x="5599" y="966"/>
                </a:lnTo>
                <a:lnTo>
                  <a:pt x="5602" y="965"/>
                </a:lnTo>
                <a:lnTo>
                  <a:pt x="5606" y="964"/>
                </a:lnTo>
                <a:lnTo>
                  <a:pt x="5607" y="962"/>
                </a:lnTo>
                <a:lnTo>
                  <a:pt x="5607" y="960"/>
                </a:lnTo>
                <a:lnTo>
                  <a:pt x="5607" y="957"/>
                </a:lnTo>
                <a:lnTo>
                  <a:pt x="5607" y="953"/>
                </a:lnTo>
                <a:lnTo>
                  <a:pt x="5608" y="951"/>
                </a:lnTo>
                <a:lnTo>
                  <a:pt x="5609" y="950"/>
                </a:lnTo>
                <a:lnTo>
                  <a:pt x="5612" y="946"/>
                </a:lnTo>
                <a:lnTo>
                  <a:pt x="5618" y="943"/>
                </a:lnTo>
                <a:lnTo>
                  <a:pt x="5623" y="939"/>
                </a:lnTo>
                <a:lnTo>
                  <a:pt x="5624" y="938"/>
                </a:lnTo>
                <a:lnTo>
                  <a:pt x="5626" y="936"/>
                </a:lnTo>
                <a:lnTo>
                  <a:pt x="5626" y="933"/>
                </a:lnTo>
                <a:lnTo>
                  <a:pt x="5625" y="930"/>
                </a:lnTo>
                <a:lnTo>
                  <a:pt x="5625" y="927"/>
                </a:lnTo>
                <a:lnTo>
                  <a:pt x="5625" y="926"/>
                </a:lnTo>
                <a:lnTo>
                  <a:pt x="5626" y="924"/>
                </a:lnTo>
                <a:lnTo>
                  <a:pt x="5631" y="924"/>
                </a:lnTo>
                <a:lnTo>
                  <a:pt x="5626" y="916"/>
                </a:lnTo>
                <a:lnTo>
                  <a:pt x="5630" y="909"/>
                </a:lnTo>
                <a:lnTo>
                  <a:pt x="5633" y="905"/>
                </a:lnTo>
                <a:lnTo>
                  <a:pt x="5634" y="903"/>
                </a:lnTo>
                <a:lnTo>
                  <a:pt x="5634" y="902"/>
                </a:lnTo>
                <a:lnTo>
                  <a:pt x="5633" y="897"/>
                </a:lnTo>
                <a:lnTo>
                  <a:pt x="5631" y="891"/>
                </a:lnTo>
                <a:lnTo>
                  <a:pt x="5629" y="885"/>
                </a:lnTo>
                <a:lnTo>
                  <a:pt x="5628" y="882"/>
                </a:lnTo>
                <a:lnTo>
                  <a:pt x="5628" y="879"/>
                </a:lnTo>
                <a:lnTo>
                  <a:pt x="5629" y="878"/>
                </a:lnTo>
                <a:lnTo>
                  <a:pt x="5631" y="876"/>
                </a:lnTo>
                <a:lnTo>
                  <a:pt x="5633" y="873"/>
                </a:lnTo>
                <a:lnTo>
                  <a:pt x="5634" y="871"/>
                </a:lnTo>
                <a:lnTo>
                  <a:pt x="5632" y="865"/>
                </a:lnTo>
                <a:lnTo>
                  <a:pt x="5631" y="863"/>
                </a:lnTo>
                <a:lnTo>
                  <a:pt x="5631" y="862"/>
                </a:lnTo>
                <a:lnTo>
                  <a:pt x="5633" y="860"/>
                </a:lnTo>
                <a:lnTo>
                  <a:pt x="5635" y="859"/>
                </a:lnTo>
                <a:lnTo>
                  <a:pt x="5638" y="857"/>
                </a:lnTo>
                <a:lnTo>
                  <a:pt x="5640" y="856"/>
                </a:lnTo>
                <a:lnTo>
                  <a:pt x="5641" y="854"/>
                </a:lnTo>
                <a:lnTo>
                  <a:pt x="5642" y="852"/>
                </a:lnTo>
                <a:lnTo>
                  <a:pt x="5643" y="848"/>
                </a:lnTo>
                <a:lnTo>
                  <a:pt x="5643" y="844"/>
                </a:lnTo>
                <a:lnTo>
                  <a:pt x="5643" y="840"/>
                </a:lnTo>
                <a:lnTo>
                  <a:pt x="5641" y="832"/>
                </a:lnTo>
                <a:lnTo>
                  <a:pt x="5640" y="822"/>
                </a:lnTo>
                <a:lnTo>
                  <a:pt x="5644" y="822"/>
                </a:lnTo>
                <a:lnTo>
                  <a:pt x="5647" y="822"/>
                </a:lnTo>
                <a:lnTo>
                  <a:pt x="5650" y="822"/>
                </a:lnTo>
                <a:lnTo>
                  <a:pt x="5654" y="822"/>
                </a:lnTo>
                <a:lnTo>
                  <a:pt x="5654" y="819"/>
                </a:lnTo>
                <a:lnTo>
                  <a:pt x="5651" y="818"/>
                </a:lnTo>
                <a:lnTo>
                  <a:pt x="5648" y="818"/>
                </a:lnTo>
                <a:lnTo>
                  <a:pt x="5646" y="817"/>
                </a:lnTo>
                <a:lnTo>
                  <a:pt x="5642" y="817"/>
                </a:lnTo>
                <a:lnTo>
                  <a:pt x="5642" y="811"/>
                </a:lnTo>
                <a:lnTo>
                  <a:pt x="5641" y="811"/>
                </a:lnTo>
                <a:lnTo>
                  <a:pt x="5640" y="811"/>
                </a:lnTo>
                <a:lnTo>
                  <a:pt x="5640" y="812"/>
                </a:lnTo>
                <a:lnTo>
                  <a:pt x="5639" y="813"/>
                </a:lnTo>
                <a:lnTo>
                  <a:pt x="5639" y="814"/>
                </a:lnTo>
                <a:lnTo>
                  <a:pt x="5638" y="814"/>
                </a:lnTo>
                <a:lnTo>
                  <a:pt x="5637" y="814"/>
                </a:lnTo>
                <a:lnTo>
                  <a:pt x="5634" y="811"/>
                </a:lnTo>
                <a:lnTo>
                  <a:pt x="5631" y="808"/>
                </a:lnTo>
                <a:lnTo>
                  <a:pt x="5626" y="800"/>
                </a:lnTo>
                <a:lnTo>
                  <a:pt x="5621" y="793"/>
                </a:lnTo>
                <a:lnTo>
                  <a:pt x="5618" y="790"/>
                </a:lnTo>
                <a:lnTo>
                  <a:pt x="5614" y="788"/>
                </a:lnTo>
                <a:lnTo>
                  <a:pt x="5605" y="786"/>
                </a:lnTo>
                <a:lnTo>
                  <a:pt x="5602" y="785"/>
                </a:lnTo>
                <a:lnTo>
                  <a:pt x="5600" y="785"/>
                </a:lnTo>
                <a:lnTo>
                  <a:pt x="5598" y="786"/>
                </a:lnTo>
                <a:lnTo>
                  <a:pt x="5597" y="787"/>
                </a:lnTo>
                <a:lnTo>
                  <a:pt x="5596" y="788"/>
                </a:lnTo>
                <a:lnTo>
                  <a:pt x="5596" y="790"/>
                </a:lnTo>
                <a:lnTo>
                  <a:pt x="5596" y="793"/>
                </a:lnTo>
                <a:lnTo>
                  <a:pt x="5597" y="796"/>
                </a:lnTo>
                <a:lnTo>
                  <a:pt x="5597" y="798"/>
                </a:lnTo>
                <a:lnTo>
                  <a:pt x="5597" y="800"/>
                </a:lnTo>
                <a:lnTo>
                  <a:pt x="5592" y="800"/>
                </a:lnTo>
                <a:lnTo>
                  <a:pt x="5593" y="798"/>
                </a:lnTo>
                <a:lnTo>
                  <a:pt x="5593" y="797"/>
                </a:lnTo>
                <a:lnTo>
                  <a:pt x="5592" y="797"/>
                </a:lnTo>
                <a:lnTo>
                  <a:pt x="5589" y="797"/>
                </a:lnTo>
                <a:lnTo>
                  <a:pt x="5587" y="800"/>
                </a:lnTo>
                <a:lnTo>
                  <a:pt x="5586" y="803"/>
                </a:lnTo>
                <a:lnTo>
                  <a:pt x="5585" y="805"/>
                </a:lnTo>
                <a:lnTo>
                  <a:pt x="5584" y="806"/>
                </a:lnTo>
                <a:lnTo>
                  <a:pt x="5582" y="807"/>
                </a:lnTo>
                <a:lnTo>
                  <a:pt x="5581" y="808"/>
                </a:lnTo>
                <a:lnTo>
                  <a:pt x="5579" y="808"/>
                </a:lnTo>
                <a:lnTo>
                  <a:pt x="5577" y="808"/>
                </a:lnTo>
                <a:lnTo>
                  <a:pt x="5576" y="807"/>
                </a:lnTo>
                <a:lnTo>
                  <a:pt x="5575" y="806"/>
                </a:lnTo>
                <a:lnTo>
                  <a:pt x="5574" y="805"/>
                </a:lnTo>
                <a:lnTo>
                  <a:pt x="5575" y="804"/>
                </a:lnTo>
                <a:lnTo>
                  <a:pt x="5576" y="803"/>
                </a:lnTo>
                <a:lnTo>
                  <a:pt x="5578" y="802"/>
                </a:lnTo>
                <a:lnTo>
                  <a:pt x="5581" y="794"/>
                </a:lnTo>
                <a:lnTo>
                  <a:pt x="5579" y="794"/>
                </a:lnTo>
                <a:lnTo>
                  <a:pt x="5578" y="794"/>
                </a:lnTo>
                <a:lnTo>
                  <a:pt x="5576" y="791"/>
                </a:lnTo>
                <a:lnTo>
                  <a:pt x="5575" y="789"/>
                </a:lnTo>
                <a:lnTo>
                  <a:pt x="5574" y="788"/>
                </a:lnTo>
                <a:lnTo>
                  <a:pt x="5572" y="788"/>
                </a:lnTo>
                <a:lnTo>
                  <a:pt x="5572" y="794"/>
                </a:lnTo>
                <a:lnTo>
                  <a:pt x="5571" y="794"/>
                </a:lnTo>
                <a:lnTo>
                  <a:pt x="5570" y="794"/>
                </a:lnTo>
                <a:lnTo>
                  <a:pt x="5569" y="794"/>
                </a:lnTo>
                <a:lnTo>
                  <a:pt x="5569" y="795"/>
                </a:lnTo>
                <a:lnTo>
                  <a:pt x="5569" y="800"/>
                </a:lnTo>
                <a:lnTo>
                  <a:pt x="5564" y="800"/>
                </a:lnTo>
                <a:lnTo>
                  <a:pt x="5564" y="772"/>
                </a:lnTo>
                <a:lnTo>
                  <a:pt x="5550" y="772"/>
                </a:lnTo>
                <a:lnTo>
                  <a:pt x="5543" y="772"/>
                </a:lnTo>
                <a:lnTo>
                  <a:pt x="5536" y="772"/>
                </a:lnTo>
                <a:lnTo>
                  <a:pt x="5537" y="768"/>
                </a:lnTo>
                <a:lnTo>
                  <a:pt x="5538" y="764"/>
                </a:lnTo>
                <a:lnTo>
                  <a:pt x="5539" y="761"/>
                </a:lnTo>
                <a:lnTo>
                  <a:pt x="5540" y="759"/>
                </a:lnTo>
                <a:lnTo>
                  <a:pt x="5541" y="757"/>
                </a:lnTo>
                <a:lnTo>
                  <a:pt x="5575" y="726"/>
                </a:lnTo>
                <a:lnTo>
                  <a:pt x="5581" y="726"/>
                </a:lnTo>
                <a:lnTo>
                  <a:pt x="5581" y="725"/>
                </a:lnTo>
                <a:lnTo>
                  <a:pt x="5581" y="722"/>
                </a:lnTo>
                <a:lnTo>
                  <a:pt x="5580" y="720"/>
                </a:lnTo>
                <a:lnTo>
                  <a:pt x="5581" y="718"/>
                </a:lnTo>
                <a:lnTo>
                  <a:pt x="5582" y="717"/>
                </a:lnTo>
                <a:lnTo>
                  <a:pt x="5585" y="717"/>
                </a:lnTo>
                <a:lnTo>
                  <a:pt x="5587" y="716"/>
                </a:lnTo>
                <a:lnTo>
                  <a:pt x="5588" y="716"/>
                </a:lnTo>
                <a:lnTo>
                  <a:pt x="5589" y="715"/>
                </a:lnTo>
                <a:lnTo>
                  <a:pt x="5591" y="712"/>
                </a:lnTo>
                <a:lnTo>
                  <a:pt x="5592" y="709"/>
                </a:lnTo>
                <a:lnTo>
                  <a:pt x="5593" y="706"/>
                </a:lnTo>
                <a:lnTo>
                  <a:pt x="5593" y="703"/>
                </a:lnTo>
                <a:lnTo>
                  <a:pt x="5594" y="697"/>
                </a:lnTo>
                <a:lnTo>
                  <a:pt x="5595" y="693"/>
                </a:lnTo>
                <a:lnTo>
                  <a:pt x="5597" y="695"/>
                </a:lnTo>
                <a:lnTo>
                  <a:pt x="5599" y="696"/>
                </a:lnTo>
                <a:lnTo>
                  <a:pt x="5600" y="696"/>
                </a:lnTo>
                <a:lnTo>
                  <a:pt x="5603" y="693"/>
                </a:lnTo>
                <a:lnTo>
                  <a:pt x="5605" y="690"/>
                </a:lnTo>
                <a:lnTo>
                  <a:pt x="5607" y="687"/>
                </a:lnTo>
                <a:lnTo>
                  <a:pt x="5609" y="684"/>
                </a:lnTo>
                <a:lnTo>
                  <a:pt x="5626" y="676"/>
                </a:lnTo>
                <a:lnTo>
                  <a:pt x="5626" y="671"/>
                </a:lnTo>
                <a:lnTo>
                  <a:pt x="5626" y="667"/>
                </a:lnTo>
                <a:lnTo>
                  <a:pt x="5628" y="667"/>
                </a:lnTo>
                <a:lnTo>
                  <a:pt x="5631" y="668"/>
                </a:lnTo>
                <a:lnTo>
                  <a:pt x="5635" y="668"/>
                </a:lnTo>
                <a:lnTo>
                  <a:pt x="5636" y="668"/>
                </a:lnTo>
                <a:lnTo>
                  <a:pt x="5637" y="667"/>
                </a:lnTo>
                <a:lnTo>
                  <a:pt x="5638" y="664"/>
                </a:lnTo>
                <a:lnTo>
                  <a:pt x="5639" y="659"/>
                </a:lnTo>
                <a:lnTo>
                  <a:pt x="5639" y="655"/>
                </a:lnTo>
                <a:lnTo>
                  <a:pt x="5639" y="653"/>
                </a:lnTo>
                <a:lnTo>
                  <a:pt x="5639" y="652"/>
                </a:lnTo>
                <a:lnTo>
                  <a:pt x="5640" y="651"/>
                </a:lnTo>
                <a:lnTo>
                  <a:pt x="5641" y="648"/>
                </a:lnTo>
                <a:lnTo>
                  <a:pt x="5644" y="644"/>
                </a:lnTo>
                <a:lnTo>
                  <a:pt x="5652" y="635"/>
                </a:lnTo>
                <a:lnTo>
                  <a:pt x="5661" y="627"/>
                </a:lnTo>
                <a:lnTo>
                  <a:pt x="5668" y="622"/>
                </a:lnTo>
                <a:lnTo>
                  <a:pt x="5668" y="620"/>
                </a:lnTo>
                <a:lnTo>
                  <a:pt x="5672" y="620"/>
                </a:lnTo>
                <a:lnTo>
                  <a:pt x="5676" y="620"/>
                </a:lnTo>
                <a:lnTo>
                  <a:pt x="5677" y="619"/>
                </a:lnTo>
                <a:lnTo>
                  <a:pt x="5677" y="618"/>
                </a:lnTo>
                <a:lnTo>
                  <a:pt x="5676" y="615"/>
                </a:lnTo>
                <a:lnTo>
                  <a:pt x="5676" y="613"/>
                </a:lnTo>
                <a:lnTo>
                  <a:pt x="5676" y="612"/>
                </a:lnTo>
                <a:lnTo>
                  <a:pt x="5676" y="611"/>
                </a:lnTo>
                <a:lnTo>
                  <a:pt x="5679" y="611"/>
                </a:lnTo>
                <a:lnTo>
                  <a:pt x="5681" y="612"/>
                </a:lnTo>
                <a:lnTo>
                  <a:pt x="5683" y="613"/>
                </a:lnTo>
                <a:lnTo>
                  <a:pt x="5684" y="615"/>
                </a:lnTo>
                <a:lnTo>
                  <a:pt x="5687" y="618"/>
                </a:lnTo>
                <a:lnTo>
                  <a:pt x="5687" y="620"/>
                </a:lnTo>
                <a:lnTo>
                  <a:pt x="5692" y="620"/>
                </a:lnTo>
                <a:lnTo>
                  <a:pt x="5697" y="620"/>
                </a:lnTo>
                <a:lnTo>
                  <a:pt x="5711" y="620"/>
                </a:lnTo>
                <a:lnTo>
                  <a:pt x="5726" y="619"/>
                </a:lnTo>
                <a:lnTo>
                  <a:pt x="5736" y="620"/>
                </a:lnTo>
                <a:lnTo>
                  <a:pt x="5735" y="621"/>
                </a:lnTo>
                <a:lnTo>
                  <a:pt x="5735" y="622"/>
                </a:lnTo>
                <a:lnTo>
                  <a:pt x="5735" y="625"/>
                </a:lnTo>
                <a:lnTo>
                  <a:pt x="5736" y="631"/>
                </a:lnTo>
                <a:lnTo>
                  <a:pt x="5738" y="630"/>
                </a:lnTo>
                <a:lnTo>
                  <a:pt x="5741" y="629"/>
                </a:lnTo>
                <a:lnTo>
                  <a:pt x="5743" y="629"/>
                </a:lnTo>
                <a:lnTo>
                  <a:pt x="5745" y="628"/>
                </a:lnTo>
                <a:lnTo>
                  <a:pt x="5745" y="627"/>
                </a:lnTo>
                <a:lnTo>
                  <a:pt x="5746" y="626"/>
                </a:lnTo>
                <a:lnTo>
                  <a:pt x="5746" y="624"/>
                </a:lnTo>
                <a:lnTo>
                  <a:pt x="5747" y="621"/>
                </a:lnTo>
                <a:lnTo>
                  <a:pt x="5748" y="620"/>
                </a:lnTo>
                <a:lnTo>
                  <a:pt x="5751" y="622"/>
                </a:lnTo>
                <a:lnTo>
                  <a:pt x="5753" y="624"/>
                </a:lnTo>
                <a:lnTo>
                  <a:pt x="5756" y="627"/>
                </a:lnTo>
                <a:lnTo>
                  <a:pt x="5759" y="628"/>
                </a:lnTo>
                <a:lnTo>
                  <a:pt x="5762" y="629"/>
                </a:lnTo>
                <a:lnTo>
                  <a:pt x="5765" y="628"/>
                </a:lnTo>
                <a:lnTo>
                  <a:pt x="5772" y="627"/>
                </a:lnTo>
                <a:lnTo>
                  <a:pt x="5777" y="626"/>
                </a:lnTo>
                <a:lnTo>
                  <a:pt x="5780" y="625"/>
                </a:lnTo>
                <a:lnTo>
                  <a:pt x="5781" y="625"/>
                </a:lnTo>
                <a:lnTo>
                  <a:pt x="5782" y="626"/>
                </a:lnTo>
                <a:lnTo>
                  <a:pt x="5783" y="627"/>
                </a:lnTo>
                <a:lnTo>
                  <a:pt x="5785" y="629"/>
                </a:lnTo>
                <a:lnTo>
                  <a:pt x="5786" y="630"/>
                </a:lnTo>
                <a:lnTo>
                  <a:pt x="5788" y="631"/>
                </a:lnTo>
                <a:lnTo>
                  <a:pt x="5790" y="631"/>
                </a:lnTo>
                <a:lnTo>
                  <a:pt x="5793" y="631"/>
                </a:lnTo>
                <a:lnTo>
                  <a:pt x="5793" y="611"/>
                </a:lnTo>
                <a:lnTo>
                  <a:pt x="5801" y="613"/>
                </a:lnTo>
                <a:lnTo>
                  <a:pt x="5810" y="613"/>
                </a:lnTo>
                <a:lnTo>
                  <a:pt x="5817" y="613"/>
                </a:lnTo>
                <a:lnTo>
                  <a:pt x="5820" y="613"/>
                </a:lnTo>
                <a:lnTo>
                  <a:pt x="5824" y="614"/>
                </a:lnTo>
                <a:lnTo>
                  <a:pt x="5824" y="615"/>
                </a:lnTo>
                <a:lnTo>
                  <a:pt x="5824" y="618"/>
                </a:lnTo>
                <a:lnTo>
                  <a:pt x="5824" y="619"/>
                </a:lnTo>
                <a:lnTo>
                  <a:pt x="5825" y="620"/>
                </a:lnTo>
                <a:lnTo>
                  <a:pt x="5827" y="620"/>
                </a:lnTo>
                <a:lnTo>
                  <a:pt x="5829" y="620"/>
                </a:lnTo>
                <a:lnTo>
                  <a:pt x="5829" y="614"/>
                </a:lnTo>
                <a:lnTo>
                  <a:pt x="5836" y="613"/>
                </a:lnTo>
                <a:lnTo>
                  <a:pt x="5838" y="612"/>
                </a:lnTo>
                <a:lnTo>
                  <a:pt x="5840" y="611"/>
                </a:lnTo>
                <a:lnTo>
                  <a:pt x="5842" y="614"/>
                </a:lnTo>
                <a:lnTo>
                  <a:pt x="5843" y="618"/>
                </a:lnTo>
                <a:lnTo>
                  <a:pt x="5845" y="622"/>
                </a:lnTo>
                <a:lnTo>
                  <a:pt x="5846" y="625"/>
                </a:lnTo>
                <a:lnTo>
                  <a:pt x="5849" y="625"/>
                </a:lnTo>
                <a:lnTo>
                  <a:pt x="5850" y="625"/>
                </a:lnTo>
                <a:lnTo>
                  <a:pt x="5851" y="626"/>
                </a:lnTo>
                <a:lnTo>
                  <a:pt x="5851" y="627"/>
                </a:lnTo>
                <a:lnTo>
                  <a:pt x="5851" y="629"/>
                </a:lnTo>
                <a:lnTo>
                  <a:pt x="5851" y="630"/>
                </a:lnTo>
                <a:lnTo>
                  <a:pt x="5852" y="631"/>
                </a:lnTo>
                <a:lnTo>
                  <a:pt x="5842" y="630"/>
                </a:lnTo>
                <a:lnTo>
                  <a:pt x="5837" y="630"/>
                </a:lnTo>
                <a:lnTo>
                  <a:pt x="5832" y="631"/>
                </a:lnTo>
                <a:lnTo>
                  <a:pt x="5835" y="645"/>
                </a:lnTo>
                <a:lnTo>
                  <a:pt x="5845" y="644"/>
                </a:lnTo>
                <a:lnTo>
                  <a:pt x="5850" y="644"/>
                </a:lnTo>
                <a:lnTo>
                  <a:pt x="5854" y="645"/>
                </a:lnTo>
                <a:lnTo>
                  <a:pt x="5854" y="644"/>
                </a:lnTo>
                <a:lnTo>
                  <a:pt x="5853" y="644"/>
                </a:lnTo>
                <a:lnTo>
                  <a:pt x="5854" y="642"/>
                </a:lnTo>
                <a:lnTo>
                  <a:pt x="5855" y="641"/>
                </a:lnTo>
                <a:lnTo>
                  <a:pt x="5857" y="636"/>
                </a:lnTo>
                <a:lnTo>
                  <a:pt x="5859" y="638"/>
                </a:lnTo>
                <a:lnTo>
                  <a:pt x="5861" y="640"/>
                </a:lnTo>
                <a:lnTo>
                  <a:pt x="5863" y="641"/>
                </a:lnTo>
                <a:lnTo>
                  <a:pt x="5866" y="642"/>
                </a:lnTo>
                <a:lnTo>
                  <a:pt x="5866" y="641"/>
                </a:lnTo>
                <a:lnTo>
                  <a:pt x="5866" y="640"/>
                </a:lnTo>
                <a:lnTo>
                  <a:pt x="5866" y="638"/>
                </a:lnTo>
                <a:lnTo>
                  <a:pt x="5865" y="636"/>
                </a:lnTo>
                <a:lnTo>
                  <a:pt x="5865" y="635"/>
                </a:lnTo>
                <a:lnTo>
                  <a:pt x="5866" y="634"/>
                </a:lnTo>
                <a:lnTo>
                  <a:pt x="5871" y="634"/>
                </a:lnTo>
                <a:lnTo>
                  <a:pt x="5874" y="625"/>
                </a:lnTo>
                <a:lnTo>
                  <a:pt x="5877" y="626"/>
                </a:lnTo>
                <a:lnTo>
                  <a:pt x="5880" y="626"/>
                </a:lnTo>
                <a:lnTo>
                  <a:pt x="5885" y="625"/>
                </a:lnTo>
                <a:lnTo>
                  <a:pt x="5891" y="625"/>
                </a:lnTo>
                <a:lnTo>
                  <a:pt x="5895" y="625"/>
                </a:lnTo>
                <a:lnTo>
                  <a:pt x="5899" y="625"/>
                </a:lnTo>
                <a:lnTo>
                  <a:pt x="5898" y="624"/>
                </a:lnTo>
                <a:lnTo>
                  <a:pt x="5899" y="623"/>
                </a:lnTo>
                <a:lnTo>
                  <a:pt x="5900" y="623"/>
                </a:lnTo>
                <a:lnTo>
                  <a:pt x="5905" y="622"/>
                </a:lnTo>
                <a:lnTo>
                  <a:pt x="5902" y="614"/>
                </a:lnTo>
                <a:lnTo>
                  <a:pt x="5898" y="614"/>
                </a:lnTo>
                <a:lnTo>
                  <a:pt x="5891" y="614"/>
                </a:lnTo>
                <a:lnTo>
                  <a:pt x="5891" y="617"/>
                </a:lnTo>
                <a:lnTo>
                  <a:pt x="5890" y="617"/>
                </a:lnTo>
                <a:lnTo>
                  <a:pt x="5888" y="617"/>
                </a:lnTo>
                <a:lnTo>
                  <a:pt x="5885" y="617"/>
                </a:lnTo>
                <a:lnTo>
                  <a:pt x="5886" y="607"/>
                </a:lnTo>
                <a:lnTo>
                  <a:pt x="5886" y="602"/>
                </a:lnTo>
                <a:lnTo>
                  <a:pt x="5885" y="597"/>
                </a:lnTo>
                <a:lnTo>
                  <a:pt x="5888" y="599"/>
                </a:lnTo>
                <a:lnTo>
                  <a:pt x="5890" y="600"/>
                </a:lnTo>
                <a:lnTo>
                  <a:pt x="5891" y="600"/>
                </a:lnTo>
                <a:lnTo>
                  <a:pt x="5892" y="598"/>
                </a:lnTo>
                <a:lnTo>
                  <a:pt x="5892" y="596"/>
                </a:lnTo>
                <a:lnTo>
                  <a:pt x="5892" y="592"/>
                </a:lnTo>
                <a:lnTo>
                  <a:pt x="5892" y="589"/>
                </a:lnTo>
                <a:lnTo>
                  <a:pt x="5893" y="587"/>
                </a:lnTo>
                <a:lnTo>
                  <a:pt x="5894" y="586"/>
                </a:lnTo>
                <a:lnTo>
                  <a:pt x="5895" y="585"/>
                </a:lnTo>
                <a:lnTo>
                  <a:pt x="5897" y="583"/>
                </a:lnTo>
                <a:lnTo>
                  <a:pt x="5900" y="582"/>
                </a:lnTo>
                <a:lnTo>
                  <a:pt x="5908" y="579"/>
                </a:lnTo>
                <a:lnTo>
                  <a:pt x="5915" y="576"/>
                </a:lnTo>
                <a:lnTo>
                  <a:pt x="5919" y="574"/>
                </a:lnTo>
                <a:lnTo>
                  <a:pt x="5922" y="572"/>
                </a:lnTo>
                <a:lnTo>
                  <a:pt x="5922" y="570"/>
                </a:lnTo>
                <a:lnTo>
                  <a:pt x="5922" y="568"/>
                </a:lnTo>
                <a:lnTo>
                  <a:pt x="5922" y="565"/>
                </a:lnTo>
                <a:lnTo>
                  <a:pt x="5922" y="563"/>
                </a:lnTo>
                <a:lnTo>
                  <a:pt x="5925" y="563"/>
                </a:lnTo>
                <a:lnTo>
                  <a:pt x="5927" y="561"/>
                </a:lnTo>
                <a:lnTo>
                  <a:pt x="5930" y="557"/>
                </a:lnTo>
                <a:lnTo>
                  <a:pt x="5933" y="552"/>
                </a:lnTo>
                <a:lnTo>
                  <a:pt x="5936" y="550"/>
                </a:lnTo>
                <a:lnTo>
                  <a:pt x="5940" y="549"/>
                </a:lnTo>
                <a:lnTo>
                  <a:pt x="5943" y="548"/>
                </a:lnTo>
                <a:lnTo>
                  <a:pt x="5946" y="548"/>
                </a:lnTo>
                <a:lnTo>
                  <a:pt x="5953" y="547"/>
                </a:lnTo>
                <a:lnTo>
                  <a:pt x="5961" y="546"/>
                </a:lnTo>
                <a:lnTo>
                  <a:pt x="5965" y="545"/>
                </a:lnTo>
                <a:lnTo>
                  <a:pt x="5969" y="543"/>
                </a:lnTo>
                <a:lnTo>
                  <a:pt x="5974" y="541"/>
                </a:lnTo>
                <a:lnTo>
                  <a:pt x="5976" y="541"/>
                </a:lnTo>
                <a:lnTo>
                  <a:pt x="5978" y="541"/>
                </a:lnTo>
                <a:lnTo>
                  <a:pt x="5981" y="549"/>
                </a:lnTo>
                <a:lnTo>
                  <a:pt x="5983" y="550"/>
                </a:lnTo>
                <a:lnTo>
                  <a:pt x="5985" y="551"/>
                </a:lnTo>
                <a:lnTo>
                  <a:pt x="5988" y="551"/>
                </a:lnTo>
                <a:lnTo>
                  <a:pt x="5989" y="552"/>
                </a:lnTo>
                <a:lnTo>
                  <a:pt x="5989" y="549"/>
                </a:lnTo>
                <a:lnTo>
                  <a:pt x="6001" y="544"/>
                </a:lnTo>
                <a:lnTo>
                  <a:pt x="5998" y="550"/>
                </a:lnTo>
                <a:lnTo>
                  <a:pt x="5997" y="557"/>
                </a:lnTo>
                <a:lnTo>
                  <a:pt x="5996" y="559"/>
                </a:lnTo>
                <a:lnTo>
                  <a:pt x="5994" y="562"/>
                </a:lnTo>
                <a:lnTo>
                  <a:pt x="5992" y="564"/>
                </a:lnTo>
                <a:lnTo>
                  <a:pt x="5989" y="566"/>
                </a:lnTo>
                <a:lnTo>
                  <a:pt x="5989" y="567"/>
                </a:lnTo>
                <a:lnTo>
                  <a:pt x="5990" y="568"/>
                </a:lnTo>
                <a:lnTo>
                  <a:pt x="5992" y="570"/>
                </a:lnTo>
                <a:lnTo>
                  <a:pt x="5992" y="571"/>
                </a:lnTo>
                <a:lnTo>
                  <a:pt x="5992" y="572"/>
                </a:lnTo>
                <a:lnTo>
                  <a:pt x="5997" y="570"/>
                </a:lnTo>
                <a:lnTo>
                  <a:pt x="6001" y="569"/>
                </a:lnTo>
                <a:lnTo>
                  <a:pt x="6000" y="570"/>
                </a:lnTo>
                <a:lnTo>
                  <a:pt x="6000" y="571"/>
                </a:lnTo>
                <a:lnTo>
                  <a:pt x="5999" y="575"/>
                </a:lnTo>
                <a:lnTo>
                  <a:pt x="5998" y="583"/>
                </a:lnTo>
                <a:lnTo>
                  <a:pt x="6002" y="579"/>
                </a:lnTo>
                <a:lnTo>
                  <a:pt x="6004" y="576"/>
                </a:lnTo>
                <a:lnTo>
                  <a:pt x="6006" y="575"/>
                </a:lnTo>
                <a:lnTo>
                  <a:pt x="6010" y="572"/>
                </a:lnTo>
                <a:lnTo>
                  <a:pt x="6013" y="568"/>
                </a:lnTo>
                <a:lnTo>
                  <a:pt x="6020" y="561"/>
                </a:lnTo>
                <a:lnTo>
                  <a:pt x="6026" y="553"/>
                </a:lnTo>
                <a:lnTo>
                  <a:pt x="6029" y="551"/>
                </a:lnTo>
                <a:lnTo>
                  <a:pt x="6032" y="549"/>
                </a:lnTo>
                <a:lnTo>
                  <a:pt x="6036" y="548"/>
                </a:lnTo>
                <a:lnTo>
                  <a:pt x="6040" y="547"/>
                </a:lnTo>
                <a:lnTo>
                  <a:pt x="6044" y="548"/>
                </a:lnTo>
                <a:lnTo>
                  <a:pt x="6046" y="548"/>
                </a:lnTo>
                <a:lnTo>
                  <a:pt x="6048" y="550"/>
                </a:lnTo>
                <a:lnTo>
                  <a:pt x="6049" y="551"/>
                </a:lnTo>
                <a:lnTo>
                  <a:pt x="6049" y="552"/>
                </a:lnTo>
                <a:lnTo>
                  <a:pt x="6050" y="551"/>
                </a:lnTo>
                <a:lnTo>
                  <a:pt x="6052" y="550"/>
                </a:lnTo>
                <a:lnTo>
                  <a:pt x="6053" y="549"/>
                </a:lnTo>
                <a:lnTo>
                  <a:pt x="6054" y="549"/>
                </a:lnTo>
                <a:lnTo>
                  <a:pt x="6057" y="549"/>
                </a:lnTo>
                <a:lnTo>
                  <a:pt x="6054" y="542"/>
                </a:lnTo>
                <a:lnTo>
                  <a:pt x="6054" y="540"/>
                </a:lnTo>
                <a:lnTo>
                  <a:pt x="6053" y="538"/>
                </a:lnTo>
                <a:lnTo>
                  <a:pt x="6053" y="536"/>
                </a:lnTo>
                <a:lnTo>
                  <a:pt x="6054" y="535"/>
                </a:lnTo>
                <a:lnTo>
                  <a:pt x="6053" y="536"/>
                </a:lnTo>
                <a:lnTo>
                  <a:pt x="6052" y="537"/>
                </a:lnTo>
                <a:lnTo>
                  <a:pt x="6052" y="536"/>
                </a:lnTo>
                <a:lnTo>
                  <a:pt x="6052" y="534"/>
                </a:lnTo>
                <a:lnTo>
                  <a:pt x="6051" y="530"/>
                </a:lnTo>
                <a:lnTo>
                  <a:pt x="6063" y="520"/>
                </a:lnTo>
                <a:lnTo>
                  <a:pt x="6067" y="518"/>
                </a:lnTo>
                <a:lnTo>
                  <a:pt x="6070" y="517"/>
                </a:lnTo>
                <a:lnTo>
                  <a:pt x="6073" y="518"/>
                </a:lnTo>
                <a:lnTo>
                  <a:pt x="6076" y="519"/>
                </a:lnTo>
                <a:lnTo>
                  <a:pt x="6082" y="521"/>
                </a:lnTo>
                <a:lnTo>
                  <a:pt x="6091" y="524"/>
                </a:lnTo>
                <a:lnTo>
                  <a:pt x="6091" y="527"/>
                </a:lnTo>
                <a:lnTo>
                  <a:pt x="6082" y="527"/>
                </a:lnTo>
                <a:lnTo>
                  <a:pt x="6083" y="526"/>
                </a:lnTo>
                <a:lnTo>
                  <a:pt x="6083" y="525"/>
                </a:lnTo>
                <a:lnTo>
                  <a:pt x="6082" y="525"/>
                </a:lnTo>
                <a:lnTo>
                  <a:pt x="6080" y="524"/>
                </a:lnTo>
                <a:lnTo>
                  <a:pt x="6076" y="524"/>
                </a:lnTo>
                <a:lnTo>
                  <a:pt x="6074" y="524"/>
                </a:lnTo>
                <a:lnTo>
                  <a:pt x="6071" y="530"/>
                </a:lnTo>
                <a:lnTo>
                  <a:pt x="6068" y="530"/>
                </a:lnTo>
                <a:lnTo>
                  <a:pt x="6067" y="545"/>
                </a:lnTo>
                <a:lnTo>
                  <a:pt x="6065" y="558"/>
                </a:lnTo>
                <a:lnTo>
                  <a:pt x="6064" y="562"/>
                </a:lnTo>
                <a:lnTo>
                  <a:pt x="6063" y="566"/>
                </a:lnTo>
                <a:lnTo>
                  <a:pt x="6062" y="569"/>
                </a:lnTo>
                <a:lnTo>
                  <a:pt x="6061" y="572"/>
                </a:lnTo>
                <a:lnTo>
                  <a:pt x="6059" y="573"/>
                </a:lnTo>
                <a:lnTo>
                  <a:pt x="6058" y="575"/>
                </a:lnTo>
                <a:lnTo>
                  <a:pt x="6056" y="576"/>
                </a:lnTo>
                <a:lnTo>
                  <a:pt x="6054" y="576"/>
                </a:lnTo>
                <a:lnTo>
                  <a:pt x="6049" y="577"/>
                </a:lnTo>
                <a:lnTo>
                  <a:pt x="6042" y="577"/>
                </a:lnTo>
                <a:lnTo>
                  <a:pt x="6035" y="578"/>
                </a:lnTo>
                <a:lnTo>
                  <a:pt x="6026" y="580"/>
                </a:lnTo>
                <a:lnTo>
                  <a:pt x="6026" y="583"/>
                </a:lnTo>
                <a:lnTo>
                  <a:pt x="6027" y="586"/>
                </a:lnTo>
                <a:lnTo>
                  <a:pt x="6027" y="590"/>
                </a:lnTo>
                <a:lnTo>
                  <a:pt x="6027" y="592"/>
                </a:lnTo>
                <a:lnTo>
                  <a:pt x="6026" y="594"/>
                </a:lnTo>
                <a:lnTo>
                  <a:pt x="6025" y="595"/>
                </a:lnTo>
                <a:lnTo>
                  <a:pt x="6022" y="596"/>
                </a:lnTo>
                <a:lnTo>
                  <a:pt x="6019" y="596"/>
                </a:lnTo>
                <a:lnTo>
                  <a:pt x="6018" y="597"/>
                </a:lnTo>
                <a:lnTo>
                  <a:pt x="6017" y="599"/>
                </a:lnTo>
                <a:lnTo>
                  <a:pt x="6017" y="601"/>
                </a:lnTo>
                <a:lnTo>
                  <a:pt x="6018" y="604"/>
                </a:lnTo>
                <a:lnTo>
                  <a:pt x="6018" y="606"/>
                </a:lnTo>
                <a:lnTo>
                  <a:pt x="6016" y="607"/>
                </a:lnTo>
                <a:lnTo>
                  <a:pt x="6014" y="609"/>
                </a:lnTo>
                <a:lnTo>
                  <a:pt x="6006" y="615"/>
                </a:lnTo>
                <a:lnTo>
                  <a:pt x="5997" y="621"/>
                </a:lnTo>
                <a:lnTo>
                  <a:pt x="5994" y="623"/>
                </a:lnTo>
                <a:lnTo>
                  <a:pt x="5992" y="625"/>
                </a:lnTo>
                <a:lnTo>
                  <a:pt x="5986" y="635"/>
                </a:lnTo>
                <a:lnTo>
                  <a:pt x="5980" y="644"/>
                </a:lnTo>
                <a:lnTo>
                  <a:pt x="5977" y="648"/>
                </a:lnTo>
                <a:lnTo>
                  <a:pt x="5973" y="652"/>
                </a:lnTo>
                <a:lnTo>
                  <a:pt x="5969" y="656"/>
                </a:lnTo>
                <a:lnTo>
                  <a:pt x="5967" y="657"/>
                </a:lnTo>
                <a:lnTo>
                  <a:pt x="5964" y="659"/>
                </a:lnTo>
                <a:lnTo>
                  <a:pt x="5964" y="662"/>
                </a:lnTo>
                <a:lnTo>
                  <a:pt x="5962" y="663"/>
                </a:lnTo>
                <a:lnTo>
                  <a:pt x="5961" y="663"/>
                </a:lnTo>
                <a:lnTo>
                  <a:pt x="5959" y="661"/>
                </a:lnTo>
                <a:lnTo>
                  <a:pt x="5958" y="660"/>
                </a:lnTo>
                <a:lnTo>
                  <a:pt x="5957" y="659"/>
                </a:lnTo>
                <a:lnTo>
                  <a:pt x="5956" y="659"/>
                </a:lnTo>
                <a:lnTo>
                  <a:pt x="5955" y="659"/>
                </a:lnTo>
                <a:lnTo>
                  <a:pt x="5954" y="660"/>
                </a:lnTo>
                <a:lnTo>
                  <a:pt x="5953" y="663"/>
                </a:lnTo>
                <a:lnTo>
                  <a:pt x="5951" y="666"/>
                </a:lnTo>
                <a:lnTo>
                  <a:pt x="5951" y="667"/>
                </a:lnTo>
                <a:lnTo>
                  <a:pt x="5950" y="667"/>
                </a:lnTo>
                <a:lnTo>
                  <a:pt x="5948" y="668"/>
                </a:lnTo>
                <a:lnTo>
                  <a:pt x="5946" y="668"/>
                </a:lnTo>
                <a:lnTo>
                  <a:pt x="5942" y="668"/>
                </a:lnTo>
                <a:lnTo>
                  <a:pt x="5937" y="667"/>
                </a:lnTo>
                <a:lnTo>
                  <a:pt x="5933" y="667"/>
                </a:lnTo>
                <a:lnTo>
                  <a:pt x="5934" y="671"/>
                </a:lnTo>
                <a:lnTo>
                  <a:pt x="5934" y="672"/>
                </a:lnTo>
                <a:lnTo>
                  <a:pt x="5936" y="672"/>
                </a:lnTo>
                <a:lnTo>
                  <a:pt x="5939" y="673"/>
                </a:lnTo>
                <a:lnTo>
                  <a:pt x="5937" y="681"/>
                </a:lnTo>
                <a:lnTo>
                  <a:pt x="5936" y="687"/>
                </a:lnTo>
                <a:lnTo>
                  <a:pt x="5935" y="690"/>
                </a:lnTo>
                <a:lnTo>
                  <a:pt x="5933" y="692"/>
                </a:lnTo>
                <a:lnTo>
                  <a:pt x="5931" y="694"/>
                </a:lnTo>
                <a:lnTo>
                  <a:pt x="5928" y="696"/>
                </a:lnTo>
                <a:lnTo>
                  <a:pt x="5925" y="696"/>
                </a:lnTo>
                <a:lnTo>
                  <a:pt x="5923" y="696"/>
                </a:lnTo>
                <a:lnTo>
                  <a:pt x="5921" y="697"/>
                </a:lnTo>
                <a:lnTo>
                  <a:pt x="5919" y="698"/>
                </a:lnTo>
                <a:lnTo>
                  <a:pt x="5917" y="701"/>
                </a:lnTo>
                <a:lnTo>
                  <a:pt x="5916" y="705"/>
                </a:lnTo>
                <a:lnTo>
                  <a:pt x="5914" y="713"/>
                </a:lnTo>
                <a:lnTo>
                  <a:pt x="5913" y="722"/>
                </a:lnTo>
                <a:lnTo>
                  <a:pt x="5912" y="732"/>
                </a:lnTo>
                <a:lnTo>
                  <a:pt x="5913" y="743"/>
                </a:lnTo>
                <a:lnTo>
                  <a:pt x="5914" y="755"/>
                </a:lnTo>
                <a:lnTo>
                  <a:pt x="5915" y="767"/>
                </a:lnTo>
                <a:lnTo>
                  <a:pt x="5917" y="780"/>
                </a:lnTo>
                <a:lnTo>
                  <a:pt x="5921" y="805"/>
                </a:lnTo>
                <a:lnTo>
                  <a:pt x="5926" y="828"/>
                </a:lnTo>
                <a:lnTo>
                  <a:pt x="5930" y="850"/>
                </a:lnTo>
                <a:lnTo>
                  <a:pt x="5933" y="868"/>
                </a:lnTo>
                <a:lnTo>
                  <a:pt x="5950" y="855"/>
                </a:lnTo>
                <a:lnTo>
                  <a:pt x="5959" y="847"/>
                </a:lnTo>
                <a:lnTo>
                  <a:pt x="5963" y="844"/>
                </a:lnTo>
                <a:lnTo>
                  <a:pt x="5964" y="842"/>
                </a:lnTo>
                <a:lnTo>
                  <a:pt x="5967" y="833"/>
                </a:lnTo>
                <a:lnTo>
                  <a:pt x="5967" y="829"/>
                </a:lnTo>
                <a:lnTo>
                  <a:pt x="5967" y="826"/>
                </a:lnTo>
                <a:lnTo>
                  <a:pt x="5966" y="819"/>
                </a:lnTo>
                <a:lnTo>
                  <a:pt x="5966" y="818"/>
                </a:lnTo>
                <a:lnTo>
                  <a:pt x="5967" y="817"/>
                </a:lnTo>
                <a:lnTo>
                  <a:pt x="5970" y="816"/>
                </a:lnTo>
                <a:lnTo>
                  <a:pt x="5987" y="811"/>
                </a:lnTo>
                <a:lnTo>
                  <a:pt x="5986" y="801"/>
                </a:lnTo>
                <a:lnTo>
                  <a:pt x="5985" y="797"/>
                </a:lnTo>
                <a:lnTo>
                  <a:pt x="5985" y="793"/>
                </a:lnTo>
                <a:lnTo>
                  <a:pt x="5986" y="790"/>
                </a:lnTo>
                <a:lnTo>
                  <a:pt x="5987" y="786"/>
                </a:lnTo>
                <a:lnTo>
                  <a:pt x="5989" y="783"/>
                </a:lnTo>
                <a:lnTo>
                  <a:pt x="5992" y="780"/>
                </a:lnTo>
                <a:lnTo>
                  <a:pt x="5998" y="777"/>
                </a:lnTo>
                <a:lnTo>
                  <a:pt x="5998" y="772"/>
                </a:lnTo>
                <a:lnTo>
                  <a:pt x="6003" y="769"/>
                </a:lnTo>
                <a:lnTo>
                  <a:pt x="6006" y="768"/>
                </a:lnTo>
                <a:lnTo>
                  <a:pt x="6009" y="768"/>
                </a:lnTo>
                <a:lnTo>
                  <a:pt x="6012" y="768"/>
                </a:lnTo>
                <a:lnTo>
                  <a:pt x="6016" y="771"/>
                </a:lnTo>
                <a:lnTo>
                  <a:pt x="6018" y="771"/>
                </a:lnTo>
                <a:lnTo>
                  <a:pt x="6020" y="772"/>
                </a:lnTo>
                <a:lnTo>
                  <a:pt x="6026" y="766"/>
                </a:lnTo>
                <a:lnTo>
                  <a:pt x="6032" y="760"/>
                </a:lnTo>
                <a:lnTo>
                  <a:pt x="6025" y="751"/>
                </a:lnTo>
                <a:lnTo>
                  <a:pt x="6023" y="747"/>
                </a:lnTo>
                <a:lnTo>
                  <a:pt x="6022" y="743"/>
                </a:lnTo>
                <a:lnTo>
                  <a:pt x="6021" y="739"/>
                </a:lnTo>
                <a:lnTo>
                  <a:pt x="6021" y="735"/>
                </a:lnTo>
                <a:lnTo>
                  <a:pt x="6021" y="732"/>
                </a:lnTo>
                <a:lnTo>
                  <a:pt x="6022" y="728"/>
                </a:lnTo>
                <a:lnTo>
                  <a:pt x="6024" y="726"/>
                </a:lnTo>
                <a:lnTo>
                  <a:pt x="6026" y="723"/>
                </a:lnTo>
                <a:lnTo>
                  <a:pt x="6029" y="721"/>
                </a:lnTo>
                <a:lnTo>
                  <a:pt x="6032" y="719"/>
                </a:lnTo>
                <a:lnTo>
                  <a:pt x="6036" y="718"/>
                </a:lnTo>
                <a:lnTo>
                  <a:pt x="6040" y="716"/>
                </a:lnTo>
                <a:lnTo>
                  <a:pt x="6046" y="716"/>
                </a:lnTo>
                <a:lnTo>
                  <a:pt x="6051" y="715"/>
                </a:lnTo>
                <a:lnTo>
                  <a:pt x="6051" y="710"/>
                </a:lnTo>
                <a:lnTo>
                  <a:pt x="6051" y="704"/>
                </a:lnTo>
                <a:lnTo>
                  <a:pt x="6050" y="704"/>
                </a:lnTo>
                <a:lnTo>
                  <a:pt x="6049" y="704"/>
                </a:lnTo>
                <a:lnTo>
                  <a:pt x="6046" y="704"/>
                </a:lnTo>
                <a:lnTo>
                  <a:pt x="6040" y="707"/>
                </a:lnTo>
                <a:lnTo>
                  <a:pt x="6038" y="702"/>
                </a:lnTo>
                <a:lnTo>
                  <a:pt x="6036" y="697"/>
                </a:lnTo>
                <a:lnTo>
                  <a:pt x="6034" y="693"/>
                </a:lnTo>
                <a:lnTo>
                  <a:pt x="6034" y="687"/>
                </a:lnTo>
                <a:lnTo>
                  <a:pt x="6037" y="687"/>
                </a:lnTo>
                <a:lnTo>
                  <a:pt x="6040" y="679"/>
                </a:lnTo>
                <a:lnTo>
                  <a:pt x="6046" y="679"/>
                </a:lnTo>
                <a:lnTo>
                  <a:pt x="6046" y="678"/>
                </a:lnTo>
                <a:lnTo>
                  <a:pt x="6046" y="676"/>
                </a:lnTo>
                <a:lnTo>
                  <a:pt x="6045" y="674"/>
                </a:lnTo>
                <a:lnTo>
                  <a:pt x="6045" y="672"/>
                </a:lnTo>
                <a:lnTo>
                  <a:pt x="6046" y="670"/>
                </a:lnTo>
                <a:lnTo>
                  <a:pt x="6047" y="671"/>
                </a:lnTo>
                <a:lnTo>
                  <a:pt x="6048" y="670"/>
                </a:lnTo>
                <a:lnTo>
                  <a:pt x="6049" y="669"/>
                </a:lnTo>
                <a:lnTo>
                  <a:pt x="6048" y="667"/>
                </a:lnTo>
                <a:lnTo>
                  <a:pt x="6049" y="665"/>
                </a:lnTo>
                <a:lnTo>
                  <a:pt x="6044" y="665"/>
                </a:lnTo>
                <a:lnTo>
                  <a:pt x="6040" y="665"/>
                </a:lnTo>
                <a:lnTo>
                  <a:pt x="6035" y="663"/>
                </a:lnTo>
                <a:lnTo>
                  <a:pt x="6029" y="662"/>
                </a:lnTo>
                <a:lnTo>
                  <a:pt x="6028" y="652"/>
                </a:lnTo>
                <a:lnTo>
                  <a:pt x="6028" y="647"/>
                </a:lnTo>
                <a:lnTo>
                  <a:pt x="6028" y="644"/>
                </a:lnTo>
                <a:lnTo>
                  <a:pt x="6029" y="642"/>
                </a:lnTo>
                <a:lnTo>
                  <a:pt x="6039" y="633"/>
                </a:lnTo>
                <a:lnTo>
                  <a:pt x="6049" y="625"/>
                </a:lnTo>
                <a:lnTo>
                  <a:pt x="6049" y="624"/>
                </a:lnTo>
                <a:lnTo>
                  <a:pt x="6049" y="623"/>
                </a:lnTo>
                <a:lnTo>
                  <a:pt x="6049" y="621"/>
                </a:lnTo>
                <a:lnTo>
                  <a:pt x="6048" y="619"/>
                </a:lnTo>
                <a:lnTo>
                  <a:pt x="6048" y="618"/>
                </a:lnTo>
                <a:lnTo>
                  <a:pt x="6049" y="617"/>
                </a:lnTo>
                <a:lnTo>
                  <a:pt x="6054" y="617"/>
                </a:lnTo>
                <a:lnTo>
                  <a:pt x="6054" y="613"/>
                </a:lnTo>
                <a:lnTo>
                  <a:pt x="6054" y="612"/>
                </a:lnTo>
                <a:lnTo>
                  <a:pt x="6053" y="612"/>
                </a:lnTo>
                <a:lnTo>
                  <a:pt x="6052" y="611"/>
                </a:lnTo>
                <a:lnTo>
                  <a:pt x="6051" y="610"/>
                </a:lnTo>
                <a:lnTo>
                  <a:pt x="6051" y="608"/>
                </a:lnTo>
                <a:lnTo>
                  <a:pt x="6052" y="607"/>
                </a:lnTo>
                <a:lnTo>
                  <a:pt x="6054" y="605"/>
                </a:lnTo>
                <a:lnTo>
                  <a:pt x="6056" y="603"/>
                </a:lnTo>
                <a:lnTo>
                  <a:pt x="6057" y="600"/>
                </a:lnTo>
                <a:lnTo>
                  <a:pt x="6085" y="603"/>
                </a:lnTo>
                <a:lnTo>
                  <a:pt x="6085" y="601"/>
                </a:lnTo>
                <a:lnTo>
                  <a:pt x="6085" y="599"/>
                </a:lnTo>
                <a:lnTo>
                  <a:pt x="6085" y="596"/>
                </a:lnTo>
                <a:lnTo>
                  <a:pt x="6085" y="594"/>
                </a:lnTo>
                <a:lnTo>
                  <a:pt x="6105" y="583"/>
                </a:lnTo>
                <a:lnTo>
                  <a:pt x="6103" y="589"/>
                </a:lnTo>
                <a:lnTo>
                  <a:pt x="6102" y="597"/>
                </a:lnTo>
                <a:lnTo>
                  <a:pt x="6102" y="601"/>
                </a:lnTo>
                <a:lnTo>
                  <a:pt x="6102" y="602"/>
                </a:lnTo>
                <a:lnTo>
                  <a:pt x="6102" y="603"/>
                </a:lnTo>
                <a:lnTo>
                  <a:pt x="6103" y="605"/>
                </a:lnTo>
                <a:lnTo>
                  <a:pt x="6104" y="605"/>
                </a:lnTo>
                <a:lnTo>
                  <a:pt x="6106" y="606"/>
                </a:lnTo>
                <a:lnTo>
                  <a:pt x="6108" y="606"/>
                </a:lnTo>
                <a:lnTo>
                  <a:pt x="6109" y="603"/>
                </a:lnTo>
                <a:lnTo>
                  <a:pt x="6110" y="603"/>
                </a:lnTo>
                <a:lnTo>
                  <a:pt x="6111" y="602"/>
                </a:lnTo>
                <a:lnTo>
                  <a:pt x="6112" y="602"/>
                </a:lnTo>
                <a:lnTo>
                  <a:pt x="6113" y="603"/>
                </a:lnTo>
                <a:lnTo>
                  <a:pt x="6115" y="600"/>
                </a:lnTo>
                <a:lnTo>
                  <a:pt x="6116" y="598"/>
                </a:lnTo>
                <a:lnTo>
                  <a:pt x="6119" y="592"/>
                </a:lnTo>
                <a:lnTo>
                  <a:pt x="6121" y="587"/>
                </a:lnTo>
                <a:lnTo>
                  <a:pt x="6123" y="585"/>
                </a:lnTo>
                <a:lnTo>
                  <a:pt x="6124" y="583"/>
                </a:lnTo>
                <a:lnTo>
                  <a:pt x="6130" y="579"/>
                </a:lnTo>
                <a:lnTo>
                  <a:pt x="6135" y="577"/>
                </a:lnTo>
                <a:lnTo>
                  <a:pt x="6139" y="576"/>
                </a:lnTo>
                <a:lnTo>
                  <a:pt x="6144" y="577"/>
                </a:lnTo>
                <a:lnTo>
                  <a:pt x="6149" y="578"/>
                </a:lnTo>
                <a:lnTo>
                  <a:pt x="6153" y="580"/>
                </a:lnTo>
                <a:lnTo>
                  <a:pt x="6164" y="586"/>
                </a:lnTo>
                <a:lnTo>
                  <a:pt x="6164" y="590"/>
                </a:lnTo>
                <a:lnTo>
                  <a:pt x="6164" y="594"/>
                </a:lnTo>
                <a:lnTo>
                  <a:pt x="6168" y="597"/>
                </a:lnTo>
                <a:lnTo>
                  <a:pt x="6172" y="599"/>
                </a:lnTo>
                <a:lnTo>
                  <a:pt x="6177" y="600"/>
                </a:lnTo>
                <a:lnTo>
                  <a:pt x="6181" y="603"/>
                </a:lnTo>
                <a:lnTo>
                  <a:pt x="6184" y="595"/>
                </a:lnTo>
                <a:lnTo>
                  <a:pt x="6187" y="588"/>
                </a:lnTo>
                <a:lnTo>
                  <a:pt x="6191" y="582"/>
                </a:lnTo>
                <a:lnTo>
                  <a:pt x="6193" y="580"/>
                </a:lnTo>
                <a:lnTo>
                  <a:pt x="6195" y="578"/>
                </a:lnTo>
                <a:lnTo>
                  <a:pt x="6200" y="574"/>
                </a:lnTo>
                <a:lnTo>
                  <a:pt x="6206" y="570"/>
                </a:lnTo>
                <a:lnTo>
                  <a:pt x="6212" y="567"/>
                </a:lnTo>
                <a:lnTo>
                  <a:pt x="6220" y="563"/>
                </a:lnTo>
                <a:lnTo>
                  <a:pt x="6220" y="559"/>
                </a:lnTo>
                <a:lnTo>
                  <a:pt x="6220" y="557"/>
                </a:lnTo>
                <a:lnTo>
                  <a:pt x="6219" y="557"/>
                </a:lnTo>
                <a:lnTo>
                  <a:pt x="6217" y="558"/>
                </a:lnTo>
                <a:lnTo>
                  <a:pt x="6217" y="555"/>
                </a:lnTo>
                <a:lnTo>
                  <a:pt x="6220" y="554"/>
                </a:lnTo>
                <a:lnTo>
                  <a:pt x="6222" y="555"/>
                </a:lnTo>
                <a:lnTo>
                  <a:pt x="6225" y="556"/>
                </a:lnTo>
                <a:lnTo>
                  <a:pt x="6228" y="558"/>
                </a:lnTo>
                <a:lnTo>
                  <a:pt x="6229" y="558"/>
                </a:lnTo>
                <a:lnTo>
                  <a:pt x="6231" y="558"/>
                </a:lnTo>
                <a:lnTo>
                  <a:pt x="6232" y="557"/>
                </a:lnTo>
                <a:lnTo>
                  <a:pt x="6233" y="555"/>
                </a:lnTo>
                <a:lnTo>
                  <a:pt x="6234" y="552"/>
                </a:lnTo>
                <a:lnTo>
                  <a:pt x="6233" y="548"/>
                </a:lnTo>
                <a:lnTo>
                  <a:pt x="6232" y="547"/>
                </a:lnTo>
                <a:lnTo>
                  <a:pt x="6231" y="546"/>
                </a:lnTo>
                <a:lnTo>
                  <a:pt x="6233" y="546"/>
                </a:lnTo>
                <a:lnTo>
                  <a:pt x="6235" y="546"/>
                </a:lnTo>
                <a:lnTo>
                  <a:pt x="6237" y="548"/>
                </a:lnTo>
                <a:lnTo>
                  <a:pt x="6239" y="549"/>
                </a:lnTo>
                <a:lnTo>
                  <a:pt x="6240" y="550"/>
                </a:lnTo>
                <a:lnTo>
                  <a:pt x="6243" y="549"/>
                </a:lnTo>
                <a:lnTo>
                  <a:pt x="6245" y="545"/>
                </a:lnTo>
                <a:lnTo>
                  <a:pt x="6247" y="542"/>
                </a:lnTo>
                <a:lnTo>
                  <a:pt x="6248" y="541"/>
                </a:lnTo>
                <a:lnTo>
                  <a:pt x="6252" y="539"/>
                </a:lnTo>
                <a:lnTo>
                  <a:pt x="6256" y="539"/>
                </a:lnTo>
                <a:lnTo>
                  <a:pt x="6261" y="539"/>
                </a:lnTo>
                <a:lnTo>
                  <a:pt x="6263" y="539"/>
                </a:lnTo>
                <a:lnTo>
                  <a:pt x="6265" y="538"/>
                </a:lnTo>
                <a:lnTo>
                  <a:pt x="6268" y="537"/>
                </a:lnTo>
                <a:lnTo>
                  <a:pt x="6271" y="535"/>
                </a:lnTo>
                <a:lnTo>
                  <a:pt x="6277" y="530"/>
                </a:lnTo>
                <a:lnTo>
                  <a:pt x="6284" y="526"/>
                </a:lnTo>
                <a:lnTo>
                  <a:pt x="6287" y="525"/>
                </a:lnTo>
                <a:lnTo>
                  <a:pt x="6290" y="524"/>
                </a:lnTo>
                <a:lnTo>
                  <a:pt x="6294" y="523"/>
                </a:lnTo>
                <a:lnTo>
                  <a:pt x="6297" y="523"/>
                </a:lnTo>
                <a:lnTo>
                  <a:pt x="6303" y="524"/>
                </a:lnTo>
                <a:lnTo>
                  <a:pt x="6308" y="525"/>
                </a:lnTo>
                <a:lnTo>
                  <a:pt x="6314" y="526"/>
                </a:lnTo>
                <a:lnTo>
                  <a:pt x="6324" y="529"/>
                </a:lnTo>
                <a:lnTo>
                  <a:pt x="6329" y="530"/>
                </a:lnTo>
                <a:lnTo>
                  <a:pt x="6333" y="530"/>
                </a:lnTo>
                <a:lnTo>
                  <a:pt x="6338" y="524"/>
                </a:lnTo>
                <a:lnTo>
                  <a:pt x="6341" y="521"/>
                </a:lnTo>
                <a:lnTo>
                  <a:pt x="6339" y="516"/>
                </a:lnTo>
                <a:lnTo>
                  <a:pt x="6339" y="512"/>
                </a:lnTo>
                <a:lnTo>
                  <a:pt x="6340" y="511"/>
                </a:lnTo>
                <a:lnTo>
                  <a:pt x="6341" y="510"/>
                </a:lnTo>
                <a:lnTo>
                  <a:pt x="6340" y="509"/>
                </a:lnTo>
                <a:lnTo>
                  <a:pt x="6339" y="509"/>
                </a:lnTo>
                <a:lnTo>
                  <a:pt x="6337" y="508"/>
                </a:lnTo>
                <a:lnTo>
                  <a:pt x="6335" y="508"/>
                </a:lnTo>
                <a:lnTo>
                  <a:pt x="6333" y="507"/>
                </a:lnTo>
                <a:lnTo>
                  <a:pt x="6331" y="502"/>
                </a:lnTo>
                <a:lnTo>
                  <a:pt x="6327" y="492"/>
                </a:lnTo>
                <a:lnTo>
                  <a:pt x="6321" y="476"/>
                </a:lnTo>
                <a:lnTo>
                  <a:pt x="6319" y="476"/>
                </a:lnTo>
                <a:lnTo>
                  <a:pt x="6318" y="475"/>
                </a:lnTo>
                <a:lnTo>
                  <a:pt x="6319" y="473"/>
                </a:lnTo>
                <a:lnTo>
                  <a:pt x="6319" y="470"/>
                </a:lnTo>
                <a:lnTo>
                  <a:pt x="6315" y="471"/>
                </a:lnTo>
                <a:lnTo>
                  <a:pt x="6310" y="473"/>
                </a:lnTo>
                <a:lnTo>
                  <a:pt x="6311" y="474"/>
                </a:lnTo>
                <a:lnTo>
                  <a:pt x="6309" y="475"/>
                </a:lnTo>
                <a:lnTo>
                  <a:pt x="6304" y="476"/>
                </a:lnTo>
                <a:lnTo>
                  <a:pt x="6304" y="470"/>
                </a:lnTo>
                <a:lnTo>
                  <a:pt x="6307" y="468"/>
                </a:lnTo>
                <a:lnTo>
                  <a:pt x="6310" y="462"/>
                </a:lnTo>
                <a:lnTo>
                  <a:pt x="6304" y="462"/>
                </a:lnTo>
                <a:lnTo>
                  <a:pt x="6297" y="462"/>
                </a:lnTo>
                <a:lnTo>
                  <a:pt x="6291" y="462"/>
                </a:lnTo>
                <a:lnTo>
                  <a:pt x="6285" y="462"/>
                </a:lnTo>
                <a:lnTo>
                  <a:pt x="6285" y="456"/>
                </a:lnTo>
                <a:lnTo>
                  <a:pt x="6298" y="455"/>
                </a:lnTo>
                <a:lnTo>
                  <a:pt x="6304" y="454"/>
                </a:lnTo>
                <a:lnTo>
                  <a:pt x="6307" y="454"/>
                </a:lnTo>
                <a:lnTo>
                  <a:pt x="6313" y="459"/>
                </a:lnTo>
                <a:lnTo>
                  <a:pt x="6316" y="460"/>
                </a:lnTo>
                <a:lnTo>
                  <a:pt x="6321" y="461"/>
                </a:lnTo>
                <a:lnTo>
                  <a:pt x="6332" y="461"/>
                </a:lnTo>
                <a:lnTo>
                  <a:pt x="6347" y="462"/>
                </a:lnTo>
                <a:lnTo>
                  <a:pt x="6358" y="454"/>
                </a:lnTo>
                <a:lnTo>
                  <a:pt x="6360" y="451"/>
                </a:lnTo>
                <a:lnTo>
                  <a:pt x="6361" y="448"/>
                </a:lnTo>
                <a:lnTo>
                  <a:pt x="6362" y="442"/>
                </a:lnTo>
                <a:lnTo>
                  <a:pt x="6363" y="436"/>
                </a:lnTo>
                <a:lnTo>
                  <a:pt x="6364" y="431"/>
                </a:lnTo>
                <a:lnTo>
                  <a:pt x="6355" y="428"/>
                </a:lnTo>
                <a:lnTo>
                  <a:pt x="6355" y="427"/>
                </a:lnTo>
                <a:lnTo>
                  <a:pt x="6355" y="426"/>
                </a:lnTo>
                <a:lnTo>
                  <a:pt x="6355" y="422"/>
                </a:lnTo>
                <a:lnTo>
                  <a:pt x="6356" y="421"/>
                </a:lnTo>
                <a:lnTo>
                  <a:pt x="6356" y="419"/>
                </a:lnTo>
                <a:lnTo>
                  <a:pt x="6357" y="419"/>
                </a:lnTo>
                <a:lnTo>
                  <a:pt x="6358" y="420"/>
                </a:lnTo>
                <a:lnTo>
                  <a:pt x="6358" y="418"/>
                </a:lnTo>
                <a:lnTo>
                  <a:pt x="6358" y="414"/>
                </a:lnTo>
                <a:lnTo>
                  <a:pt x="6358" y="409"/>
                </a:lnTo>
                <a:lnTo>
                  <a:pt x="6363" y="407"/>
                </a:lnTo>
                <a:lnTo>
                  <a:pt x="6367" y="407"/>
                </a:lnTo>
                <a:lnTo>
                  <a:pt x="6369" y="406"/>
                </a:lnTo>
                <a:lnTo>
                  <a:pt x="6366" y="414"/>
                </a:lnTo>
                <a:lnTo>
                  <a:pt x="6367" y="413"/>
                </a:lnTo>
                <a:lnTo>
                  <a:pt x="6368" y="413"/>
                </a:lnTo>
                <a:lnTo>
                  <a:pt x="6369" y="414"/>
                </a:lnTo>
                <a:lnTo>
                  <a:pt x="6372" y="417"/>
                </a:lnTo>
                <a:lnTo>
                  <a:pt x="6369" y="418"/>
                </a:lnTo>
                <a:lnTo>
                  <a:pt x="6367" y="420"/>
                </a:lnTo>
                <a:lnTo>
                  <a:pt x="6366" y="421"/>
                </a:lnTo>
                <a:lnTo>
                  <a:pt x="6366" y="423"/>
                </a:lnTo>
                <a:lnTo>
                  <a:pt x="6366" y="425"/>
                </a:lnTo>
                <a:lnTo>
                  <a:pt x="6367" y="427"/>
                </a:lnTo>
                <a:lnTo>
                  <a:pt x="6368" y="429"/>
                </a:lnTo>
                <a:lnTo>
                  <a:pt x="6370" y="431"/>
                </a:lnTo>
                <a:lnTo>
                  <a:pt x="6373" y="435"/>
                </a:lnTo>
                <a:lnTo>
                  <a:pt x="6377" y="438"/>
                </a:lnTo>
                <a:lnTo>
                  <a:pt x="6383" y="442"/>
                </a:lnTo>
                <a:lnTo>
                  <a:pt x="6385" y="441"/>
                </a:lnTo>
                <a:lnTo>
                  <a:pt x="6385" y="440"/>
                </a:lnTo>
                <a:lnTo>
                  <a:pt x="6385" y="439"/>
                </a:lnTo>
                <a:lnTo>
                  <a:pt x="6385" y="438"/>
                </a:lnTo>
                <a:lnTo>
                  <a:pt x="6383" y="437"/>
                </a:lnTo>
                <a:lnTo>
                  <a:pt x="6395" y="431"/>
                </a:lnTo>
                <a:lnTo>
                  <a:pt x="6400" y="430"/>
                </a:lnTo>
                <a:lnTo>
                  <a:pt x="6404" y="429"/>
                </a:lnTo>
                <a:lnTo>
                  <a:pt x="6408" y="430"/>
                </a:lnTo>
                <a:lnTo>
                  <a:pt x="6412" y="431"/>
                </a:lnTo>
                <a:lnTo>
                  <a:pt x="6416" y="435"/>
                </a:lnTo>
                <a:lnTo>
                  <a:pt x="6420" y="440"/>
                </a:lnTo>
                <a:lnTo>
                  <a:pt x="6424" y="442"/>
                </a:lnTo>
                <a:lnTo>
                  <a:pt x="6427" y="444"/>
                </a:lnTo>
                <a:lnTo>
                  <a:pt x="6428" y="445"/>
                </a:lnTo>
                <a:lnTo>
                  <a:pt x="6428" y="449"/>
                </a:lnTo>
                <a:lnTo>
                  <a:pt x="6427" y="452"/>
                </a:lnTo>
                <a:lnTo>
                  <a:pt x="6426" y="455"/>
                </a:lnTo>
                <a:lnTo>
                  <a:pt x="6425" y="456"/>
                </a:lnTo>
                <a:lnTo>
                  <a:pt x="6426" y="457"/>
                </a:lnTo>
                <a:lnTo>
                  <a:pt x="6428" y="458"/>
                </a:lnTo>
                <a:lnTo>
                  <a:pt x="6432" y="460"/>
                </a:lnTo>
                <a:lnTo>
                  <a:pt x="6437" y="462"/>
                </a:lnTo>
                <a:lnTo>
                  <a:pt x="6443" y="464"/>
                </a:lnTo>
                <a:lnTo>
                  <a:pt x="6455" y="467"/>
                </a:lnTo>
                <a:lnTo>
                  <a:pt x="6465" y="470"/>
                </a:lnTo>
                <a:lnTo>
                  <a:pt x="6465" y="476"/>
                </a:lnTo>
                <a:lnTo>
                  <a:pt x="6472" y="473"/>
                </a:lnTo>
                <a:lnTo>
                  <a:pt x="6479" y="470"/>
                </a:lnTo>
                <a:lnTo>
                  <a:pt x="6479" y="476"/>
                </a:lnTo>
                <a:lnTo>
                  <a:pt x="6486" y="476"/>
                </a:lnTo>
                <a:lnTo>
                  <a:pt x="6491" y="476"/>
                </a:lnTo>
                <a:lnTo>
                  <a:pt x="6494" y="476"/>
                </a:lnTo>
                <a:lnTo>
                  <a:pt x="6496" y="476"/>
                </a:lnTo>
                <a:lnTo>
                  <a:pt x="6496" y="475"/>
                </a:lnTo>
                <a:lnTo>
                  <a:pt x="6495" y="472"/>
                </a:lnTo>
                <a:lnTo>
                  <a:pt x="6492" y="468"/>
                </a:lnTo>
                <a:lnTo>
                  <a:pt x="6487" y="462"/>
                </a:lnTo>
                <a:lnTo>
                  <a:pt x="6487" y="456"/>
                </a:lnTo>
                <a:lnTo>
                  <a:pt x="6493" y="457"/>
                </a:lnTo>
                <a:lnTo>
                  <a:pt x="6499" y="456"/>
                </a:lnTo>
                <a:lnTo>
                  <a:pt x="6498" y="451"/>
                </a:lnTo>
                <a:lnTo>
                  <a:pt x="6499" y="445"/>
                </a:lnTo>
                <a:lnTo>
                  <a:pt x="6494" y="447"/>
                </a:lnTo>
                <a:lnTo>
                  <a:pt x="6492" y="448"/>
                </a:lnTo>
                <a:lnTo>
                  <a:pt x="6490" y="448"/>
                </a:lnTo>
                <a:lnTo>
                  <a:pt x="6490" y="440"/>
                </a:lnTo>
                <a:lnTo>
                  <a:pt x="6487" y="437"/>
                </a:lnTo>
                <a:lnTo>
                  <a:pt x="6499" y="437"/>
                </a:lnTo>
                <a:lnTo>
                  <a:pt x="6499" y="440"/>
                </a:lnTo>
                <a:lnTo>
                  <a:pt x="6501" y="440"/>
                </a:lnTo>
                <a:lnTo>
                  <a:pt x="6505" y="439"/>
                </a:lnTo>
                <a:lnTo>
                  <a:pt x="6510" y="440"/>
                </a:lnTo>
                <a:lnTo>
                  <a:pt x="6518" y="442"/>
                </a:lnTo>
                <a:lnTo>
                  <a:pt x="6517" y="443"/>
                </a:lnTo>
                <a:lnTo>
                  <a:pt x="6518" y="445"/>
                </a:lnTo>
                <a:lnTo>
                  <a:pt x="6519" y="445"/>
                </a:lnTo>
                <a:lnTo>
                  <a:pt x="6520" y="445"/>
                </a:lnTo>
                <a:lnTo>
                  <a:pt x="6521" y="445"/>
                </a:lnTo>
                <a:lnTo>
                  <a:pt x="6521" y="443"/>
                </a:lnTo>
                <a:lnTo>
                  <a:pt x="6520" y="440"/>
                </a:lnTo>
                <a:lnTo>
                  <a:pt x="6518" y="434"/>
                </a:lnTo>
                <a:lnTo>
                  <a:pt x="6524" y="434"/>
                </a:lnTo>
                <a:lnTo>
                  <a:pt x="6525" y="431"/>
                </a:lnTo>
                <a:lnTo>
                  <a:pt x="6525" y="428"/>
                </a:lnTo>
                <a:lnTo>
                  <a:pt x="6527" y="423"/>
                </a:lnTo>
                <a:lnTo>
                  <a:pt x="6532" y="423"/>
                </a:lnTo>
                <a:lnTo>
                  <a:pt x="6521" y="417"/>
                </a:lnTo>
                <a:lnTo>
                  <a:pt x="6515" y="415"/>
                </a:lnTo>
                <a:lnTo>
                  <a:pt x="6510" y="411"/>
                </a:lnTo>
                <a:lnTo>
                  <a:pt x="6507" y="409"/>
                </a:lnTo>
                <a:lnTo>
                  <a:pt x="6504" y="405"/>
                </a:lnTo>
                <a:lnTo>
                  <a:pt x="6498" y="398"/>
                </a:lnTo>
                <a:lnTo>
                  <a:pt x="6492" y="390"/>
                </a:lnTo>
                <a:lnTo>
                  <a:pt x="6488" y="388"/>
                </a:lnTo>
                <a:lnTo>
                  <a:pt x="6484" y="386"/>
                </a:lnTo>
                <a:lnTo>
                  <a:pt x="6477" y="385"/>
                </a:lnTo>
                <a:lnTo>
                  <a:pt x="6469" y="385"/>
                </a:lnTo>
                <a:lnTo>
                  <a:pt x="6454" y="386"/>
                </a:lnTo>
                <a:lnTo>
                  <a:pt x="6454" y="387"/>
                </a:lnTo>
                <a:lnTo>
                  <a:pt x="6453" y="387"/>
                </a:lnTo>
                <a:lnTo>
                  <a:pt x="6451" y="389"/>
                </a:lnTo>
                <a:lnTo>
                  <a:pt x="6448" y="392"/>
                </a:lnTo>
                <a:lnTo>
                  <a:pt x="6450" y="393"/>
                </a:lnTo>
                <a:lnTo>
                  <a:pt x="6451" y="394"/>
                </a:lnTo>
                <a:lnTo>
                  <a:pt x="6451" y="397"/>
                </a:lnTo>
                <a:lnTo>
                  <a:pt x="6451" y="400"/>
                </a:lnTo>
                <a:lnTo>
                  <a:pt x="6453" y="401"/>
                </a:lnTo>
                <a:lnTo>
                  <a:pt x="6451" y="400"/>
                </a:lnTo>
                <a:lnTo>
                  <a:pt x="6446" y="400"/>
                </a:lnTo>
                <a:lnTo>
                  <a:pt x="6442" y="400"/>
                </a:lnTo>
                <a:lnTo>
                  <a:pt x="6444" y="400"/>
                </a:lnTo>
                <a:lnTo>
                  <a:pt x="6446" y="399"/>
                </a:lnTo>
                <a:lnTo>
                  <a:pt x="6447" y="397"/>
                </a:lnTo>
                <a:lnTo>
                  <a:pt x="6447" y="395"/>
                </a:lnTo>
                <a:lnTo>
                  <a:pt x="6446" y="389"/>
                </a:lnTo>
                <a:lnTo>
                  <a:pt x="6443" y="383"/>
                </a:lnTo>
                <a:lnTo>
                  <a:pt x="6440" y="377"/>
                </a:lnTo>
                <a:lnTo>
                  <a:pt x="6437" y="372"/>
                </a:lnTo>
                <a:lnTo>
                  <a:pt x="6434" y="366"/>
                </a:lnTo>
                <a:lnTo>
                  <a:pt x="6431" y="368"/>
                </a:lnTo>
                <a:lnTo>
                  <a:pt x="6430" y="369"/>
                </a:lnTo>
                <a:lnTo>
                  <a:pt x="6428" y="369"/>
                </a:lnTo>
                <a:lnTo>
                  <a:pt x="6425" y="365"/>
                </a:lnTo>
                <a:lnTo>
                  <a:pt x="6423" y="361"/>
                </a:lnTo>
                <a:lnTo>
                  <a:pt x="6421" y="360"/>
                </a:lnTo>
                <a:lnTo>
                  <a:pt x="6419" y="360"/>
                </a:lnTo>
                <a:lnTo>
                  <a:pt x="6414" y="361"/>
                </a:lnTo>
                <a:lnTo>
                  <a:pt x="6409" y="362"/>
                </a:lnTo>
                <a:lnTo>
                  <a:pt x="6407" y="361"/>
                </a:lnTo>
                <a:lnTo>
                  <a:pt x="6406" y="361"/>
                </a:lnTo>
                <a:lnTo>
                  <a:pt x="6405" y="359"/>
                </a:lnTo>
                <a:lnTo>
                  <a:pt x="6405" y="357"/>
                </a:lnTo>
                <a:lnTo>
                  <a:pt x="6406" y="354"/>
                </a:lnTo>
                <a:lnTo>
                  <a:pt x="6406" y="352"/>
                </a:lnTo>
                <a:lnTo>
                  <a:pt x="6405" y="351"/>
                </a:lnTo>
                <a:lnTo>
                  <a:pt x="6404" y="351"/>
                </a:lnTo>
                <a:lnTo>
                  <a:pt x="6402" y="350"/>
                </a:lnTo>
                <a:lnTo>
                  <a:pt x="6397" y="349"/>
                </a:lnTo>
                <a:lnTo>
                  <a:pt x="6397" y="344"/>
                </a:lnTo>
                <a:lnTo>
                  <a:pt x="6394" y="343"/>
                </a:lnTo>
                <a:lnTo>
                  <a:pt x="6390" y="343"/>
                </a:lnTo>
                <a:lnTo>
                  <a:pt x="6387" y="343"/>
                </a:lnTo>
                <a:lnTo>
                  <a:pt x="6385" y="342"/>
                </a:lnTo>
                <a:lnTo>
                  <a:pt x="6383" y="341"/>
                </a:lnTo>
                <a:lnTo>
                  <a:pt x="6380" y="337"/>
                </a:lnTo>
                <a:lnTo>
                  <a:pt x="6377" y="332"/>
                </a:lnTo>
                <a:lnTo>
                  <a:pt x="6375" y="330"/>
                </a:lnTo>
                <a:lnTo>
                  <a:pt x="6373" y="327"/>
                </a:lnTo>
                <a:lnTo>
                  <a:pt x="6371" y="325"/>
                </a:lnTo>
                <a:lnTo>
                  <a:pt x="6369" y="324"/>
                </a:lnTo>
                <a:lnTo>
                  <a:pt x="6367" y="324"/>
                </a:lnTo>
                <a:lnTo>
                  <a:pt x="6363" y="324"/>
                </a:lnTo>
                <a:lnTo>
                  <a:pt x="6360" y="325"/>
                </a:lnTo>
                <a:lnTo>
                  <a:pt x="6359" y="325"/>
                </a:lnTo>
                <a:lnTo>
                  <a:pt x="6358" y="324"/>
                </a:lnTo>
                <a:lnTo>
                  <a:pt x="6348" y="316"/>
                </a:lnTo>
                <a:lnTo>
                  <a:pt x="6338" y="307"/>
                </a:lnTo>
                <a:lnTo>
                  <a:pt x="6337" y="305"/>
                </a:lnTo>
                <a:lnTo>
                  <a:pt x="6337" y="303"/>
                </a:lnTo>
                <a:lnTo>
                  <a:pt x="6337" y="301"/>
                </a:lnTo>
                <a:lnTo>
                  <a:pt x="6336" y="300"/>
                </a:lnTo>
                <a:lnTo>
                  <a:pt x="6335" y="299"/>
                </a:lnTo>
                <a:lnTo>
                  <a:pt x="6330" y="296"/>
                </a:lnTo>
                <a:lnTo>
                  <a:pt x="6325" y="295"/>
                </a:lnTo>
                <a:lnTo>
                  <a:pt x="6321" y="295"/>
                </a:lnTo>
                <a:lnTo>
                  <a:pt x="6317" y="296"/>
                </a:lnTo>
                <a:lnTo>
                  <a:pt x="6311" y="298"/>
                </a:lnTo>
                <a:lnTo>
                  <a:pt x="6309" y="299"/>
                </a:lnTo>
                <a:lnTo>
                  <a:pt x="6307" y="299"/>
                </a:lnTo>
                <a:lnTo>
                  <a:pt x="6304" y="298"/>
                </a:lnTo>
                <a:lnTo>
                  <a:pt x="6302" y="296"/>
                </a:lnTo>
                <a:lnTo>
                  <a:pt x="6299" y="292"/>
                </a:lnTo>
                <a:lnTo>
                  <a:pt x="6296" y="288"/>
                </a:lnTo>
                <a:lnTo>
                  <a:pt x="6295" y="286"/>
                </a:lnTo>
                <a:lnTo>
                  <a:pt x="6293" y="285"/>
                </a:lnTo>
                <a:lnTo>
                  <a:pt x="6289" y="283"/>
                </a:lnTo>
                <a:lnTo>
                  <a:pt x="6285" y="283"/>
                </a:lnTo>
                <a:lnTo>
                  <a:pt x="6281" y="283"/>
                </a:lnTo>
                <a:lnTo>
                  <a:pt x="6276" y="282"/>
                </a:lnTo>
                <a:lnTo>
                  <a:pt x="6275" y="280"/>
                </a:lnTo>
                <a:lnTo>
                  <a:pt x="6273" y="278"/>
                </a:lnTo>
                <a:lnTo>
                  <a:pt x="6272" y="275"/>
                </a:lnTo>
                <a:lnTo>
                  <a:pt x="6271" y="274"/>
                </a:lnTo>
                <a:lnTo>
                  <a:pt x="6265" y="273"/>
                </a:lnTo>
                <a:lnTo>
                  <a:pt x="6259" y="273"/>
                </a:lnTo>
                <a:lnTo>
                  <a:pt x="6246" y="274"/>
                </a:lnTo>
                <a:lnTo>
                  <a:pt x="6234" y="276"/>
                </a:lnTo>
                <a:lnTo>
                  <a:pt x="6228" y="276"/>
                </a:lnTo>
                <a:lnTo>
                  <a:pt x="6223" y="276"/>
                </a:lnTo>
                <a:lnTo>
                  <a:pt x="6220" y="271"/>
                </a:lnTo>
                <a:lnTo>
                  <a:pt x="6215" y="272"/>
                </a:lnTo>
                <a:lnTo>
                  <a:pt x="6209" y="273"/>
                </a:lnTo>
                <a:lnTo>
                  <a:pt x="6202" y="274"/>
                </a:lnTo>
                <a:lnTo>
                  <a:pt x="6198" y="274"/>
                </a:lnTo>
                <a:lnTo>
                  <a:pt x="6195" y="274"/>
                </a:lnTo>
                <a:lnTo>
                  <a:pt x="6191" y="270"/>
                </a:lnTo>
                <a:lnTo>
                  <a:pt x="6189" y="268"/>
                </a:lnTo>
                <a:lnTo>
                  <a:pt x="6187" y="268"/>
                </a:lnTo>
                <a:lnTo>
                  <a:pt x="6186" y="268"/>
                </a:lnTo>
                <a:lnTo>
                  <a:pt x="6184" y="285"/>
                </a:lnTo>
                <a:lnTo>
                  <a:pt x="6184" y="286"/>
                </a:lnTo>
                <a:lnTo>
                  <a:pt x="6185" y="287"/>
                </a:lnTo>
                <a:lnTo>
                  <a:pt x="6188" y="290"/>
                </a:lnTo>
                <a:lnTo>
                  <a:pt x="6195" y="293"/>
                </a:lnTo>
                <a:lnTo>
                  <a:pt x="6193" y="296"/>
                </a:lnTo>
                <a:lnTo>
                  <a:pt x="6192" y="298"/>
                </a:lnTo>
                <a:lnTo>
                  <a:pt x="6192" y="299"/>
                </a:lnTo>
                <a:lnTo>
                  <a:pt x="6195" y="307"/>
                </a:lnTo>
                <a:lnTo>
                  <a:pt x="6192" y="308"/>
                </a:lnTo>
                <a:lnTo>
                  <a:pt x="6191" y="308"/>
                </a:lnTo>
                <a:lnTo>
                  <a:pt x="6189" y="310"/>
                </a:lnTo>
                <a:lnTo>
                  <a:pt x="6185" y="315"/>
                </a:lnTo>
                <a:lnTo>
                  <a:pt x="6181" y="321"/>
                </a:lnTo>
                <a:lnTo>
                  <a:pt x="6176" y="319"/>
                </a:lnTo>
                <a:lnTo>
                  <a:pt x="6172" y="319"/>
                </a:lnTo>
                <a:lnTo>
                  <a:pt x="6169" y="324"/>
                </a:lnTo>
                <a:lnTo>
                  <a:pt x="6162" y="324"/>
                </a:lnTo>
                <a:lnTo>
                  <a:pt x="6159" y="324"/>
                </a:lnTo>
                <a:lnTo>
                  <a:pt x="6155" y="324"/>
                </a:lnTo>
                <a:lnTo>
                  <a:pt x="6155" y="321"/>
                </a:lnTo>
                <a:lnTo>
                  <a:pt x="6154" y="319"/>
                </a:lnTo>
                <a:lnTo>
                  <a:pt x="6154" y="314"/>
                </a:lnTo>
                <a:lnTo>
                  <a:pt x="6154" y="309"/>
                </a:lnTo>
                <a:lnTo>
                  <a:pt x="6153" y="307"/>
                </a:lnTo>
                <a:lnTo>
                  <a:pt x="6153" y="304"/>
                </a:lnTo>
                <a:lnTo>
                  <a:pt x="6144" y="302"/>
                </a:lnTo>
                <a:lnTo>
                  <a:pt x="6145" y="301"/>
                </a:lnTo>
                <a:lnTo>
                  <a:pt x="6145" y="300"/>
                </a:lnTo>
                <a:lnTo>
                  <a:pt x="6145" y="296"/>
                </a:lnTo>
                <a:lnTo>
                  <a:pt x="6144" y="288"/>
                </a:lnTo>
                <a:lnTo>
                  <a:pt x="6133" y="294"/>
                </a:lnTo>
                <a:lnTo>
                  <a:pt x="6127" y="297"/>
                </a:lnTo>
                <a:lnTo>
                  <a:pt x="6124" y="298"/>
                </a:lnTo>
                <a:lnTo>
                  <a:pt x="6122" y="299"/>
                </a:lnTo>
                <a:lnTo>
                  <a:pt x="6119" y="299"/>
                </a:lnTo>
                <a:lnTo>
                  <a:pt x="6116" y="298"/>
                </a:lnTo>
                <a:lnTo>
                  <a:pt x="6115" y="298"/>
                </a:lnTo>
                <a:lnTo>
                  <a:pt x="6114" y="296"/>
                </a:lnTo>
                <a:lnTo>
                  <a:pt x="6114" y="294"/>
                </a:lnTo>
                <a:lnTo>
                  <a:pt x="6115" y="294"/>
                </a:lnTo>
                <a:lnTo>
                  <a:pt x="6116" y="293"/>
                </a:lnTo>
                <a:lnTo>
                  <a:pt x="6109" y="292"/>
                </a:lnTo>
                <a:lnTo>
                  <a:pt x="6102" y="290"/>
                </a:lnTo>
                <a:lnTo>
                  <a:pt x="6095" y="290"/>
                </a:lnTo>
                <a:lnTo>
                  <a:pt x="6092" y="290"/>
                </a:lnTo>
                <a:lnTo>
                  <a:pt x="6088" y="290"/>
                </a:lnTo>
                <a:lnTo>
                  <a:pt x="6086" y="291"/>
                </a:lnTo>
                <a:lnTo>
                  <a:pt x="6084" y="293"/>
                </a:lnTo>
                <a:lnTo>
                  <a:pt x="6082" y="295"/>
                </a:lnTo>
                <a:lnTo>
                  <a:pt x="6079" y="296"/>
                </a:lnTo>
                <a:lnTo>
                  <a:pt x="6078" y="295"/>
                </a:lnTo>
                <a:lnTo>
                  <a:pt x="6078" y="293"/>
                </a:lnTo>
                <a:lnTo>
                  <a:pt x="6077" y="288"/>
                </a:lnTo>
                <a:lnTo>
                  <a:pt x="6051" y="288"/>
                </a:lnTo>
                <a:lnTo>
                  <a:pt x="6046" y="288"/>
                </a:lnTo>
                <a:lnTo>
                  <a:pt x="6041" y="288"/>
                </a:lnTo>
                <a:lnTo>
                  <a:pt x="6036" y="289"/>
                </a:lnTo>
                <a:lnTo>
                  <a:pt x="6032" y="290"/>
                </a:lnTo>
                <a:lnTo>
                  <a:pt x="6028" y="292"/>
                </a:lnTo>
                <a:lnTo>
                  <a:pt x="6025" y="294"/>
                </a:lnTo>
                <a:lnTo>
                  <a:pt x="6022" y="296"/>
                </a:lnTo>
                <a:lnTo>
                  <a:pt x="6019" y="299"/>
                </a:lnTo>
                <a:lnTo>
                  <a:pt x="6017" y="303"/>
                </a:lnTo>
                <a:lnTo>
                  <a:pt x="6015" y="307"/>
                </a:lnTo>
                <a:lnTo>
                  <a:pt x="6013" y="313"/>
                </a:lnTo>
                <a:lnTo>
                  <a:pt x="6012" y="319"/>
                </a:lnTo>
                <a:lnTo>
                  <a:pt x="6008" y="306"/>
                </a:lnTo>
                <a:lnTo>
                  <a:pt x="6004" y="293"/>
                </a:lnTo>
                <a:lnTo>
                  <a:pt x="5999" y="293"/>
                </a:lnTo>
                <a:lnTo>
                  <a:pt x="5997" y="292"/>
                </a:lnTo>
                <a:lnTo>
                  <a:pt x="5996" y="292"/>
                </a:lnTo>
                <a:lnTo>
                  <a:pt x="5995" y="292"/>
                </a:lnTo>
                <a:lnTo>
                  <a:pt x="5992" y="290"/>
                </a:lnTo>
                <a:lnTo>
                  <a:pt x="5993" y="288"/>
                </a:lnTo>
                <a:lnTo>
                  <a:pt x="5994" y="284"/>
                </a:lnTo>
                <a:lnTo>
                  <a:pt x="5995" y="281"/>
                </a:lnTo>
                <a:lnTo>
                  <a:pt x="5994" y="279"/>
                </a:lnTo>
                <a:lnTo>
                  <a:pt x="5994" y="278"/>
                </a:lnTo>
                <a:lnTo>
                  <a:pt x="5992" y="276"/>
                </a:lnTo>
                <a:lnTo>
                  <a:pt x="5995" y="276"/>
                </a:lnTo>
                <a:lnTo>
                  <a:pt x="5996" y="276"/>
                </a:lnTo>
                <a:lnTo>
                  <a:pt x="5997" y="276"/>
                </a:lnTo>
                <a:lnTo>
                  <a:pt x="5998" y="274"/>
                </a:lnTo>
                <a:lnTo>
                  <a:pt x="5990" y="268"/>
                </a:lnTo>
                <a:lnTo>
                  <a:pt x="5986" y="265"/>
                </a:lnTo>
                <a:lnTo>
                  <a:pt x="5981" y="262"/>
                </a:lnTo>
                <a:lnTo>
                  <a:pt x="5980" y="261"/>
                </a:lnTo>
                <a:lnTo>
                  <a:pt x="5979" y="258"/>
                </a:lnTo>
                <a:lnTo>
                  <a:pt x="5979" y="255"/>
                </a:lnTo>
                <a:lnTo>
                  <a:pt x="5978" y="254"/>
                </a:lnTo>
                <a:lnTo>
                  <a:pt x="5974" y="252"/>
                </a:lnTo>
                <a:lnTo>
                  <a:pt x="5970" y="252"/>
                </a:lnTo>
                <a:lnTo>
                  <a:pt x="5966" y="252"/>
                </a:lnTo>
                <a:lnTo>
                  <a:pt x="5964" y="252"/>
                </a:lnTo>
                <a:lnTo>
                  <a:pt x="5961" y="251"/>
                </a:lnTo>
                <a:lnTo>
                  <a:pt x="5956" y="245"/>
                </a:lnTo>
                <a:lnTo>
                  <a:pt x="5943" y="249"/>
                </a:lnTo>
                <a:lnTo>
                  <a:pt x="5934" y="252"/>
                </a:lnTo>
                <a:lnTo>
                  <a:pt x="5930" y="253"/>
                </a:lnTo>
                <a:lnTo>
                  <a:pt x="5928" y="254"/>
                </a:lnTo>
                <a:lnTo>
                  <a:pt x="5926" y="254"/>
                </a:lnTo>
                <a:lnTo>
                  <a:pt x="5925" y="253"/>
                </a:lnTo>
                <a:lnTo>
                  <a:pt x="5924" y="251"/>
                </a:lnTo>
                <a:lnTo>
                  <a:pt x="5923" y="249"/>
                </a:lnTo>
                <a:lnTo>
                  <a:pt x="5922" y="249"/>
                </a:lnTo>
                <a:lnTo>
                  <a:pt x="5922" y="248"/>
                </a:lnTo>
                <a:lnTo>
                  <a:pt x="5917" y="248"/>
                </a:lnTo>
                <a:lnTo>
                  <a:pt x="5911" y="248"/>
                </a:lnTo>
                <a:lnTo>
                  <a:pt x="5897" y="248"/>
                </a:lnTo>
                <a:lnTo>
                  <a:pt x="5888" y="254"/>
                </a:lnTo>
                <a:lnTo>
                  <a:pt x="5884" y="254"/>
                </a:lnTo>
                <a:lnTo>
                  <a:pt x="5881" y="254"/>
                </a:lnTo>
                <a:lnTo>
                  <a:pt x="5875" y="253"/>
                </a:lnTo>
                <a:lnTo>
                  <a:pt x="5873" y="252"/>
                </a:lnTo>
                <a:lnTo>
                  <a:pt x="5870" y="251"/>
                </a:lnTo>
                <a:lnTo>
                  <a:pt x="5866" y="251"/>
                </a:lnTo>
                <a:lnTo>
                  <a:pt x="5863" y="251"/>
                </a:lnTo>
                <a:lnTo>
                  <a:pt x="5857" y="257"/>
                </a:lnTo>
                <a:lnTo>
                  <a:pt x="5848" y="259"/>
                </a:lnTo>
                <a:lnTo>
                  <a:pt x="5837" y="260"/>
                </a:lnTo>
                <a:lnTo>
                  <a:pt x="5816" y="259"/>
                </a:lnTo>
                <a:lnTo>
                  <a:pt x="5807" y="259"/>
                </a:lnTo>
                <a:lnTo>
                  <a:pt x="5798" y="258"/>
                </a:lnTo>
                <a:lnTo>
                  <a:pt x="5784" y="257"/>
                </a:lnTo>
                <a:lnTo>
                  <a:pt x="5785" y="256"/>
                </a:lnTo>
                <a:lnTo>
                  <a:pt x="5786" y="256"/>
                </a:lnTo>
                <a:lnTo>
                  <a:pt x="5788" y="254"/>
                </a:lnTo>
                <a:lnTo>
                  <a:pt x="5790" y="251"/>
                </a:lnTo>
                <a:lnTo>
                  <a:pt x="5791" y="251"/>
                </a:lnTo>
                <a:lnTo>
                  <a:pt x="5792" y="251"/>
                </a:lnTo>
                <a:lnTo>
                  <a:pt x="5794" y="253"/>
                </a:lnTo>
                <a:lnTo>
                  <a:pt x="5797" y="254"/>
                </a:lnTo>
                <a:lnTo>
                  <a:pt x="5799" y="254"/>
                </a:lnTo>
                <a:lnTo>
                  <a:pt x="5801" y="254"/>
                </a:lnTo>
                <a:lnTo>
                  <a:pt x="5805" y="251"/>
                </a:lnTo>
                <a:lnTo>
                  <a:pt x="5811" y="245"/>
                </a:lnTo>
                <a:lnTo>
                  <a:pt x="5817" y="238"/>
                </a:lnTo>
                <a:lnTo>
                  <a:pt x="5821" y="234"/>
                </a:lnTo>
                <a:lnTo>
                  <a:pt x="5823" y="231"/>
                </a:lnTo>
                <a:lnTo>
                  <a:pt x="5824" y="228"/>
                </a:lnTo>
                <a:lnTo>
                  <a:pt x="5824" y="226"/>
                </a:lnTo>
                <a:lnTo>
                  <a:pt x="5824" y="225"/>
                </a:lnTo>
                <a:lnTo>
                  <a:pt x="5823" y="225"/>
                </a:lnTo>
                <a:lnTo>
                  <a:pt x="5820" y="227"/>
                </a:lnTo>
                <a:lnTo>
                  <a:pt x="5813" y="233"/>
                </a:lnTo>
                <a:lnTo>
                  <a:pt x="5809" y="237"/>
                </a:lnTo>
                <a:lnTo>
                  <a:pt x="5809" y="240"/>
                </a:lnTo>
                <a:lnTo>
                  <a:pt x="5807" y="240"/>
                </a:lnTo>
                <a:lnTo>
                  <a:pt x="5805" y="240"/>
                </a:lnTo>
                <a:lnTo>
                  <a:pt x="5803" y="239"/>
                </a:lnTo>
                <a:lnTo>
                  <a:pt x="5801" y="240"/>
                </a:lnTo>
                <a:lnTo>
                  <a:pt x="5796" y="237"/>
                </a:lnTo>
                <a:lnTo>
                  <a:pt x="5790" y="234"/>
                </a:lnTo>
                <a:lnTo>
                  <a:pt x="5790" y="232"/>
                </a:lnTo>
                <a:lnTo>
                  <a:pt x="5789" y="230"/>
                </a:lnTo>
                <a:lnTo>
                  <a:pt x="5790" y="229"/>
                </a:lnTo>
                <a:lnTo>
                  <a:pt x="5790" y="228"/>
                </a:lnTo>
                <a:lnTo>
                  <a:pt x="5791" y="228"/>
                </a:lnTo>
                <a:lnTo>
                  <a:pt x="5793" y="229"/>
                </a:lnTo>
                <a:lnTo>
                  <a:pt x="5795" y="229"/>
                </a:lnTo>
                <a:lnTo>
                  <a:pt x="5798" y="229"/>
                </a:lnTo>
                <a:lnTo>
                  <a:pt x="5804" y="231"/>
                </a:lnTo>
                <a:lnTo>
                  <a:pt x="5806" y="224"/>
                </a:lnTo>
                <a:lnTo>
                  <a:pt x="5809" y="217"/>
                </a:lnTo>
                <a:lnTo>
                  <a:pt x="5793" y="209"/>
                </a:lnTo>
                <a:lnTo>
                  <a:pt x="5784" y="205"/>
                </a:lnTo>
                <a:lnTo>
                  <a:pt x="5780" y="204"/>
                </a:lnTo>
                <a:lnTo>
                  <a:pt x="5776" y="203"/>
                </a:lnTo>
                <a:lnTo>
                  <a:pt x="5771" y="204"/>
                </a:lnTo>
                <a:lnTo>
                  <a:pt x="5769" y="205"/>
                </a:lnTo>
                <a:lnTo>
                  <a:pt x="5769" y="206"/>
                </a:lnTo>
                <a:lnTo>
                  <a:pt x="5770" y="206"/>
                </a:lnTo>
                <a:lnTo>
                  <a:pt x="5764" y="206"/>
                </a:lnTo>
                <a:lnTo>
                  <a:pt x="5759" y="205"/>
                </a:lnTo>
                <a:lnTo>
                  <a:pt x="5756" y="205"/>
                </a:lnTo>
                <a:lnTo>
                  <a:pt x="5753" y="206"/>
                </a:lnTo>
                <a:lnTo>
                  <a:pt x="5750" y="207"/>
                </a:lnTo>
                <a:lnTo>
                  <a:pt x="5748" y="209"/>
                </a:lnTo>
                <a:lnTo>
                  <a:pt x="5747" y="210"/>
                </a:lnTo>
                <a:lnTo>
                  <a:pt x="5747" y="213"/>
                </a:lnTo>
                <a:lnTo>
                  <a:pt x="5748" y="217"/>
                </a:lnTo>
                <a:lnTo>
                  <a:pt x="5746" y="221"/>
                </a:lnTo>
                <a:lnTo>
                  <a:pt x="5745" y="224"/>
                </a:lnTo>
                <a:lnTo>
                  <a:pt x="5743" y="228"/>
                </a:lnTo>
                <a:lnTo>
                  <a:pt x="5740" y="231"/>
                </a:lnTo>
                <a:lnTo>
                  <a:pt x="5738" y="234"/>
                </a:lnTo>
                <a:lnTo>
                  <a:pt x="5735" y="237"/>
                </a:lnTo>
                <a:lnTo>
                  <a:pt x="5731" y="239"/>
                </a:lnTo>
                <a:lnTo>
                  <a:pt x="5728" y="240"/>
                </a:lnTo>
                <a:lnTo>
                  <a:pt x="5721" y="241"/>
                </a:lnTo>
                <a:lnTo>
                  <a:pt x="5718" y="241"/>
                </a:lnTo>
                <a:lnTo>
                  <a:pt x="5717" y="241"/>
                </a:lnTo>
                <a:lnTo>
                  <a:pt x="5716" y="240"/>
                </a:lnTo>
                <a:lnTo>
                  <a:pt x="5716" y="239"/>
                </a:lnTo>
                <a:lnTo>
                  <a:pt x="5717" y="238"/>
                </a:lnTo>
                <a:lnTo>
                  <a:pt x="5719" y="237"/>
                </a:lnTo>
                <a:lnTo>
                  <a:pt x="5721" y="235"/>
                </a:lnTo>
                <a:lnTo>
                  <a:pt x="5725" y="231"/>
                </a:lnTo>
                <a:lnTo>
                  <a:pt x="5725" y="230"/>
                </a:lnTo>
                <a:lnTo>
                  <a:pt x="5723" y="228"/>
                </a:lnTo>
                <a:lnTo>
                  <a:pt x="5719" y="226"/>
                </a:lnTo>
                <a:lnTo>
                  <a:pt x="5727" y="220"/>
                </a:lnTo>
                <a:lnTo>
                  <a:pt x="5730" y="216"/>
                </a:lnTo>
                <a:lnTo>
                  <a:pt x="5734" y="214"/>
                </a:lnTo>
                <a:lnTo>
                  <a:pt x="5734" y="212"/>
                </a:lnTo>
                <a:lnTo>
                  <a:pt x="5735" y="214"/>
                </a:lnTo>
                <a:lnTo>
                  <a:pt x="5736" y="217"/>
                </a:lnTo>
                <a:lnTo>
                  <a:pt x="5738" y="219"/>
                </a:lnTo>
                <a:lnTo>
                  <a:pt x="5742" y="220"/>
                </a:lnTo>
                <a:lnTo>
                  <a:pt x="5741" y="219"/>
                </a:lnTo>
                <a:lnTo>
                  <a:pt x="5741" y="218"/>
                </a:lnTo>
                <a:lnTo>
                  <a:pt x="5742" y="214"/>
                </a:lnTo>
                <a:lnTo>
                  <a:pt x="5745" y="209"/>
                </a:lnTo>
                <a:lnTo>
                  <a:pt x="5734" y="209"/>
                </a:lnTo>
                <a:lnTo>
                  <a:pt x="5724" y="210"/>
                </a:lnTo>
                <a:lnTo>
                  <a:pt x="5704" y="212"/>
                </a:lnTo>
                <a:lnTo>
                  <a:pt x="5702" y="200"/>
                </a:lnTo>
                <a:lnTo>
                  <a:pt x="5711" y="200"/>
                </a:lnTo>
                <a:lnTo>
                  <a:pt x="5721" y="200"/>
                </a:lnTo>
                <a:lnTo>
                  <a:pt x="5724" y="200"/>
                </a:lnTo>
                <a:lnTo>
                  <a:pt x="5724" y="199"/>
                </a:lnTo>
                <a:lnTo>
                  <a:pt x="5721" y="197"/>
                </a:lnTo>
                <a:lnTo>
                  <a:pt x="5713" y="195"/>
                </a:lnTo>
                <a:lnTo>
                  <a:pt x="5705" y="193"/>
                </a:lnTo>
                <a:lnTo>
                  <a:pt x="5697" y="192"/>
                </a:lnTo>
                <a:lnTo>
                  <a:pt x="5680" y="191"/>
                </a:lnTo>
                <a:lnTo>
                  <a:pt x="5663" y="190"/>
                </a:lnTo>
                <a:lnTo>
                  <a:pt x="5659" y="190"/>
                </a:lnTo>
                <a:lnTo>
                  <a:pt x="5655" y="189"/>
                </a:lnTo>
                <a:lnTo>
                  <a:pt x="5648" y="186"/>
                </a:lnTo>
                <a:lnTo>
                  <a:pt x="5645" y="182"/>
                </a:lnTo>
                <a:lnTo>
                  <a:pt x="5644" y="179"/>
                </a:lnTo>
                <a:lnTo>
                  <a:pt x="5642" y="178"/>
                </a:lnTo>
                <a:lnTo>
                  <a:pt x="5640" y="178"/>
                </a:lnTo>
                <a:lnTo>
                  <a:pt x="5637" y="178"/>
                </a:lnTo>
                <a:lnTo>
                  <a:pt x="5634" y="178"/>
                </a:lnTo>
                <a:lnTo>
                  <a:pt x="5632" y="178"/>
                </a:lnTo>
                <a:lnTo>
                  <a:pt x="5631" y="178"/>
                </a:lnTo>
                <a:lnTo>
                  <a:pt x="5631" y="184"/>
                </a:lnTo>
                <a:lnTo>
                  <a:pt x="5634" y="183"/>
                </a:lnTo>
                <a:lnTo>
                  <a:pt x="5636" y="184"/>
                </a:lnTo>
                <a:lnTo>
                  <a:pt x="5637" y="185"/>
                </a:lnTo>
                <a:lnTo>
                  <a:pt x="5638" y="186"/>
                </a:lnTo>
                <a:lnTo>
                  <a:pt x="5638" y="189"/>
                </a:lnTo>
                <a:lnTo>
                  <a:pt x="5639" y="191"/>
                </a:lnTo>
                <a:lnTo>
                  <a:pt x="5640" y="192"/>
                </a:lnTo>
                <a:lnTo>
                  <a:pt x="5633" y="192"/>
                </a:lnTo>
                <a:lnTo>
                  <a:pt x="5629" y="192"/>
                </a:lnTo>
                <a:lnTo>
                  <a:pt x="5625" y="192"/>
                </a:lnTo>
                <a:lnTo>
                  <a:pt x="5620" y="192"/>
                </a:lnTo>
                <a:lnTo>
                  <a:pt x="5617" y="200"/>
                </a:lnTo>
                <a:lnTo>
                  <a:pt x="5618" y="200"/>
                </a:lnTo>
                <a:lnTo>
                  <a:pt x="5620" y="200"/>
                </a:lnTo>
                <a:lnTo>
                  <a:pt x="5622" y="201"/>
                </a:lnTo>
                <a:lnTo>
                  <a:pt x="5624" y="202"/>
                </a:lnTo>
                <a:lnTo>
                  <a:pt x="5625" y="203"/>
                </a:lnTo>
                <a:lnTo>
                  <a:pt x="5625" y="204"/>
                </a:lnTo>
                <a:lnTo>
                  <a:pt x="5624" y="206"/>
                </a:lnTo>
                <a:lnTo>
                  <a:pt x="5621" y="206"/>
                </a:lnTo>
                <a:lnTo>
                  <a:pt x="5617" y="206"/>
                </a:lnTo>
                <a:lnTo>
                  <a:pt x="5616" y="213"/>
                </a:lnTo>
                <a:lnTo>
                  <a:pt x="5615" y="217"/>
                </a:lnTo>
                <a:lnTo>
                  <a:pt x="5616" y="218"/>
                </a:lnTo>
                <a:lnTo>
                  <a:pt x="5617" y="217"/>
                </a:lnTo>
                <a:lnTo>
                  <a:pt x="5619" y="221"/>
                </a:lnTo>
                <a:lnTo>
                  <a:pt x="5620" y="224"/>
                </a:lnTo>
                <a:lnTo>
                  <a:pt x="5622" y="226"/>
                </a:lnTo>
                <a:lnTo>
                  <a:pt x="5623" y="229"/>
                </a:lnTo>
                <a:lnTo>
                  <a:pt x="5623" y="230"/>
                </a:lnTo>
                <a:lnTo>
                  <a:pt x="5623" y="231"/>
                </a:lnTo>
                <a:lnTo>
                  <a:pt x="5622" y="232"/>
                </a:lnTo>
                <a:lnTo>
                  <a:pt x="5621" y="234"/>
                </a:lnTo>
                <a:lnTo>
                  <a:pt x="5619" y="235"/>
                </a:lnTo>
                <a:lnTo>
                  <a:pt x="5616" y="236"/>
                </a:lnTo>
                <a:lnTo>
                  <a:pt x="5612" y="237"/>
                </a:lnTo>
                <a:lnTo>
                  <a:pt x="5609" y="234"/>
                </a:lnTo>
                <a:lnTo>
                  <a:pt x="5610" y="235"/>
                </a:lnTo>
                <a:lnTo>
                  <a:pt x="5610" y="236"/>
                </a:lnTo>
                <a:lnTo>
                  <a:pt x="5609" y="237"/>
                </a:lnTo>
                <a:lnTo>
                  <a:pt x="5608" y="237"/>
                </a:lnTo>
                <a:lnTo>
                  <a:pt x="5603" y="237"/>
                </a:lnTo>
                <a:lnTo>
                  <a:pt x="5603" y="226"/>
                </a:lnTo>
                <a:lnTo>
                  <a:pt x="5599" y="225"/>
                </a:lnTo>
                <a:lnTo>
                  <a:pt x="5596" y="225"/>
                </a:lnTo>
                <a:lnTo>
                  <a:pt x="5594" y="226"/>
                </a:lnTo>
                <a:lnTo>
                  <a:pt x="5593" y="227"/>
                </a:lnTo>
                <a:lnTo>
                  <a:pt x="5592" y="229"/>
                </a:lnTo>
                <a:lnTo>
                  <a:pt x="5592" y="231"/>
                </a:lnTo>
                <a:lnTo>
                  <a:pt x="5592" y="235"/>
                </a:lnTo>
                <a:lnTo>
                  <a:pt x="5592" y="239"/>
                </a:lnTo>
                <a:lnTo>
                  <a:pt x="5591" y="241"/>
                </a:lnTo>
                <a:lnTo>
                  <a:pt x="5590" y="243"/>
                </a:lnTo>
                <a:lnTo>
                  <a:pt x="5588" y="244"/>
                </a:lnTo>
                <a:lnTo>
                  <a:pt x="5586" y="245"/>
                </a:lnTo>
                <a:lnTo>
                  <a:pt x="5582" y="245"/>
                </a:lnTo>
                <a:lnTo>
                  <a:pt x="5578" y="245"/>
                </a:lnTo>
                <a:lnTo>
                  <a:pt x="5575" y="245"/>
                </a:lnTo>
                <a:lnTo>
                  <a:pt x="5573" y="243"/>
                </a:lnTo>
                <a:lnTo>
                  <a:pt x="5567" y="239"/>
                </a:lnTo>
                <a:lnTo>
                  <a:pt x="5562" y="234"/>
                </a:lnTo>
                <a:lnTo>
                  <a:pt x="5558" y="231"/>
                </a:lnTo>
                <a:lnTo>
                  <a:pt x="5553" y="229"/>
                </a:lnTo>
                <a:lnTo>
                  <a:pt x="5548" y="228"/>
                </a:lnTo>
                <a:lnTo>
                  <a:pt x="5544" y="227"/>
                </a:lnTo>
                <a:lnTo>
                  <a:pt x="5538" y="226"/>
                </a:lnTo>
                <a:lnTo>
                  <a:pt x="5538" y="225"/>
                </a:lnTo>
                <a:lnTo>
                  <a:pt x="5537" y="223"/>
                </a:lnTo>
                <a:lnTo>
                  <a:pt x="5536" y="221"/>
                </a:lnTo>
                <a:lnTo>
                  <a:pt x="5536" y="220"/>
                </a:lnTo>
                <a:lnTo>
                  <a:pt x="5534" y="220"/>
                </a:lnTo>
                <a:lnTo>
                  <a:pt x="5531" y="220"/>
                </a:lnTo>
                <a:lnTo>
                  <a:pt x="5527" y="220"/>
                </a:lnTo>
                <a:lnTo>
                  <a:pt x="5526" y="221"/>
                </a:lnTo>
                <a:lnTo>
                  <a:pt x="5525" y="222"/>
                </a:lnTo>
                <a:lnTo>
                  <a:pt x="5522" y="225"/>
                </a:lnTo>
                <a:lnTo>
                  <a:pt x="5518" y="229"/>
                </a:lnTo>
                <a:lnTo>
                  <a:pt x="5516" y="231"/>
                </a:lnTo>
                <a:lnTo>
                  <a:pt x="5514" y="232"/>
                </a:lnTo>
                <a:lnTo>
                  <a:pt x="5511" y="233"/>
                </a:lnTo>
                <a:lnTo>
                  <a:pt x="5506" y="234"/>
                </a:lnTo>
                <a:lnTo>
                  <a:pt x="5501" y="235"/>
                </a:lnTo>
                <a:lnTo>
                  <a:pt x="5496" y="237"/>
                </a:lnTo>
                <a:lnTo>
                  <a:pt x="5496" y="234"/>
                </a:lnTo>
                <a:lnTo>
                  <a:pt x="5497" y="233"/>
                </a:lnTo>
                <a:lnTo>
                  <a:pt x="5498" y="230"/>
                </a:lnTo>
                <a:lnTo>
                  <a:pt x="5499" y="229"/>
                </a:lnTo>
                <a:lnTo>
                  <a:pt x="5499" y="228"/>
                </a:lnTo>
                <a:lnTo>
                  <a:pt x="5500" y="226"/>
                </a:lnTo>
                <a:lnTo>
                  <a:pt x="5499" y="223"/>
                </a:lnTo>
                <a:lnTo>
                  <a:pt x="5493" y="223"/>
                </a:lnTo>
                <a:lnTo>
                  <a:pt x="5491" y="217"/>
                </a:lnTo>
                <a:lnTo>
                  <a:pt x="5488" y="212"/>
                </a:lnTo>
                <a:lnTo>
                  <a:pt x="5485" y="225"/>
                </a:lnTo>
                <a:lnTo>
                  <a:pt x="5481" y="241"/>
                </a:lnTo>
                <a:lnTo>
                  <a:pt x="5479" y="249"/>
                </a:lnTo>
                <a:lnTo>
                  <a:pt x="5477" y="253"/>
                </a:lnTo>
                <a:lnTo>
                  <a:pt x="5476" y="256"/>
                </a:lnTo>
                <a:lnTo>
                  <a:pt x="5474" y="259"/>
                </a:lnTo>
                <a:lnTo>
                  <a:pt x="5472" y="262"/>
                </a:lnTo>
                <a:lnTo>
                  <a:pt x="5470" y="264"/>
                </a:lnTo>
                <a:lnTo>
                  <a:pt x="5468" y="265"/>
                </a:lnTo>
                <a:lnTo>
                  <a:pt x="5464" y="266"/>
                </a:lnTo>
                <a:lnTo>
                  <a:pt x="5462" y="266"/>
                </a:lnTo>
                <a:lnTo>
                  <a:pt x="5461" y="264"/>
                </a:lnTo>
                <a:lnTo>
                  <a:pt x="5461" y="262"/>
                </a:lnTo>
                <a:lnTo>
                  <a:pt x="5462" y="257"/>
                </a:lnTo>
                <a:lnTo>
                  <a:pt x="5463" y="255"/>
                </a:lnTo>
                <a:lnTo>
                  <a:pt x="5462" y="254"/>
                </a:lnTo>
                <a:lnTo>
                  <a:pt x="5465" y="254"/>
                </a:lnTo>
                <a:lnTo>
                  <a:pt x="5465" y="253"/>
                </a:lnTo>
                <a:lnTo>
                  <a:pt x="5466" y="253"/>
                </a:lnTo>
                <a:lnTo>
                  <a:pt x="5465" y="250"/>
                </a:lnTo>
                <a:lnTo>
                  <a:pt x="5465" y="248"/>
                </a:lnTo>
                <a:lnTo>
                  <a:pt x="5463" y="248"/>
                </a:lnTo>
                <a:lnTo>
                  <a:pt x="5462" y="250"/>
                </a:lnTo>
                <a:lnTo>
                  <a:pt x="5460" y="251"/>
                </a:lnTo>
                <a:lnTo>
                  <a:pt x="5459" y="251"/>
                </a:lnTo>
                <a:lnTo>
                  <a:pt x="5457" y="251"/>
                </a:lnTo>
                <a:lnTo>
                  <a:pt x="5456" y="251"/>
                </a:lnTo>
                <a:lnTo>
                  <a:pt x="5455" y="250"/>
                </a:lnTo>
                <a:lnTo>
                  <a:pt x="5452" y="247"/>
                </a:lnTo>
                <a:lnTo>
                  <a:pt x="5448" y="243"/>
                </a:lnTo>
                <a:lnTo>
                  <a:pt x="5446" y="242"/>
                </a:lnTo>
                <a:lnTo>
                  <a:pt x="5443" y="243"/>
                </a:lnTo>
                <a:lnTo>
                  <a:pt x="5440" y="243"/>
                </a:lnTo>
                <a:lnTo>
                  <a:pt x="5437" y="243"/>
                </a:lnTo>
                <a:lnTo>
                  <a:pt x="5438" y="244"/>
                </a:lnTo>
                <a:lnTo>
                  <a:pt x="5437" y="243"/>
                </a:lnTo>
                <a:lnTo>
                  <a:pt x="5434" y="240"/>
                </a:lnTo>
                <a:lnTo>
                  <a:pt x="5426" y="231"/>
                </a:lnTo>
                <a:lnTo>
                  <a:pt x="5424" y="232"/>
                </a:lnTo>
                <a:lnTo>
                  <a:pt x="5422" y="234"/>
                </a:lnTo>
                <a:lnTo>
                  <a:pt x="5420" y="235"/>
                </a:lnTo>
                <a:lnTo>
                  <a:pt x="5419" y="235"/>
                </a:lnTo>
                <a:lnTo>
                  <a:pt x="5417" y="234"/>
                </a:lnTo>
                <a:lnTo>
                  <a:pt x="5417" y="226"/>
                </a:lnTo>
                <a:lnTo>
                  <a:pt x="5419" y="226"/>
                </a:lnTo>
                <a:lnTo>
                  <a:pt x="5422" y="226"/>
                </a:lnTo>
                <a:lnTo>
                  <a:pt x="5424" y="226"/>
                </a:lnTo>
                <a:lnTo>
                  <a:pt x="5426" y="226"/>
                </a:lnTo>
                <a:lnTo>
                  <a:pt x="5427" y="225"/>
                </a:lnTo>
                <a:lnTo>
                  <a:pt x="5427" y="224"/>
                </a:lnTo>
                <a:lnTo>
                  <a:pt x="5427" y="223"/>
                </a:lnTo>
                <a:lnTo>
                  <a:pt x="5426" y="222"/>
                </a:lnTo>
                <a:lnTo>
                  <a:pt x="5423" y="220"/>
                </a:lnTo>
                <a:lnTo>
                  <a:pt x="5424" y="219"/>
                </a:lnTo>
                <a:lnTo>
                  <a:pt x="5421" y="221"/>
                </a:lnTo>
                <a:lnTo>
                  <a:pt x="5415" y="222"/>
                </a:lnTo>
                <a:lnTo>
                  <a:pt x="5413" y="223"/>
                </a:lnTo>
                <a:lnTo>
                  <a:pt x="5412" y="223"/>
                </a:lnTo>
                <a:lnTo>
                  <a:pt x="5411" y="222"/>
                </a:lnTo>
                <a:lnTo>
                  <a:pt x="5411" y="221"/>
                </a:lnTo>
                <a:lnTo>
                  <a:pt x="5410" y="217"/>
                </a:lnTo>
                <a:lnTo>
                  <a:pt x="5410" y="214"/>
                </a:lnTo>
                <a:lnTo>
                  <a:pt x="5409" y="212"/>
                </a:lnTo>
                <a:lnTo>
                  <a:pt x="5404" y="208"/>
                </a:lnTo>
                <a:lnTo>
                  <a:pt x="5398" y="206"/>
                </a:lnTo>
                <a:lnTo>
                  <a:pt x="5392" y="203"/>
                </a:lnTo>
                <a:lnTo>
                  <a:pt x="5389" y="202"/>
                </a:lnTo>
                <a:lnTo>
                  <a:pt x="5387" y="200"/>
                </a:lnTo>
                <a:lnTo>
                  <a:pt x="5384" y="214"/>
                </a:lnTo>
                <a:lnTo>
                  <a:pt x="5381" y="213"/>
                </a:lnTo>
                <a:lnTo>
                  <a:pt x="5380" y="211"/>
                </a:lnTo>
                <a:lnTo>
                  <a:pt x="5380" y="210"/>
                </a:lnTo>
                <a:lnTo>
                  <a:pt x="5380" y="208"/>
                </a:lnTo>
                <a:lnTo>
                  <a:pt x="5380" y="205"/>
                </a:lnTo>
                <a:lnTo>
                  <a:pt x="5381" y="200"/>
                </a:lnTo>
                <a:lnTo>
                  <a:pt x="5381" y="195"/>
                </a:lnTo>
                <a:lnTo>
                  <a:pt x="5379" y="195"/>
                </a:lnTo>
                <a:lnTo>
                  <a:pt x="5378" y="195"/>
                </a:lnTo>
                <a:lnTo>
                  <a:pt x="5377" y="196"/>
                </a:lnTo>
                <a:lnTo>
                  <a:pt x="5377" y="197"/>
                </a:lnTo>
                <a:lnTo>
                  <a:pt x="5376" y="200"/>
                </a:lnTo>
                <a:lnTo>
                  <a:pt x="5375" y="203"/>
                </a:lnTo>
                <a:lnTo>
                  <a:pt x="5370" y="203"/>
                </a:lnTo>
                <a:lnTo>
                  <a:pt x="5366" y="203"/>
                </a:lnTo>
                <a:lnTo>
                  <a:pt x="5364" y="203"/>
                </a:lnTo>
                <a:lnTo>
                  <a:pt x="5366" y="203"/>
                </a:lnTo>
                <a:lnTo>
                  <a:pt x="5368" y="201"/>
                </a:lnTo>
                <a:lnTo>
                  <a:pt x="5369" y="199"/>
                </a:lnTo>
                <a:lnTo>
                  <a:pt x="5370" y="197"/>
                </a:lnTo>
                <a:lnTo>
                  <a:pt x="5370" y="195"/>
                </a:lnTo>
                <a:lnTo>
                  <a:pt x="5370" y="194"/>
                </a:lnTo>
                <a:lnTo>
                  <a:pt x="5369" y="193"/>
                </a:lnTo>
                <a:lnTo>
                  <a:pt x="5368" y="193"/>
                </a:lnTo>
                <a:lnTo>
                  <a:pt x="5367" y="192"/>
                </a:lnTo>
                <a:lnTo>
                  <a:pt x="5364" y="192"/>
                </a:lnTo>
                <a:lnTo>
                  <a:pt x="5359" y="193"/>
                </a:lnTo>
                <a:lnTo>
                  <a:pt x="5356" y="194"/>
                </a:lnTo>
                <a:lnTo>
                  <a:pt x="5354" y="195"/>
                </a:lnTo>
                <a:lnTo>
                  <a:pt x="5350" y="198"/>
                </a:lnTo>
                <a:lnTo>
                  <a:pt x="5346" y="192"/>
                </a:lnTo>
                <a:lnTo>
                  <a:pt x="5345" y="189"/>
                </a:lnTo>
                <a:lnTo>
                  <a:pt x="5347" y="189"/>
                </a:lnTo>
                <a:lnTo>
                  <a:pt x="5345" y="188"/>
                </a:lnTo>
                <a:lnTo>
                  <a:pt x="5345" y="187"/>
                </a:lnTo>
                <a:lnTo>
                  <a:pt x="5346" y="187"/>
                </a:lnTo>
                <a:lnTo>
                  <a:pt x="5350" y="186"/>
                </a:lnTo>
                <a:lnTo>
                  <a:pt x="5342" y="185"/>
                </a:lnTo>
                <a:lnTo>
                  <a:pt x="5341" y="184"/>
                </a:lnTo>
                <a:lnTo>
                  <a:pt x="5341" y="183"/>
                </a:lnTo>
                <a:lnTo>
                  <a:pt x="5342" y="182"/>
                </a:lnTo>
                <a:lnTo>
                  <a:pt x="5344" y="181"/>
                </a:lnTo>
                <a:lnTo>
                  <a:pt x="5344" y="175"/>
                </a:lnTo>
                <a:lnTo>
                  <a:pt x="5349" y="174"/>
                </a:lnTo>
                <a:lnTo>
                  <a:pt x="5354" y="173"/>
                </a:lnTo>
                <a:lnTo>
                  <a:pt x="5359" y="172"/>
                </a:lnTo>
                <a:lnTo>
                  <a:pt x="5362" y="171"/>
                </a:lnTo>
                <a:lnTo>
                  <a:pt x="5364" y="169"/>
                </a:lnTo>
                <a:lnTo>
                  <a:pt x="5366" y="168"/>
                </a:lnTo>
                <a:lnTo>
                  <a:pt x="5367" y="166"/>
                </a:lnTo>
                <a:lnTo>
                  <a:pt x="5370" y="162"/>
                </a:lnTo>
                <a:lnTo>
                  <a:pt x="5373" y="157"/>
                </a:lnTo>
                <a:lnTo>
                  <a:pt x="5375" y="153"/>
                </a:lnTo>
                <a:lnTo>
                  <a:pt x="5369" y="151"/>
                </a:lnTo>
                <a:lnTo>
                  <a:pt x="5364" y="150"/>
                </a:lnTo>
                <a:lnTo>
                  <a:pt x="5360" y="149"/>
                </a:lnTo>
                <a:lnTo>
                  <a:pt x="5358" y="148"/>
                </a:lnTo>
                <a:lnTo>
                  <a:pt x="5356" y="147"/>
                </a:lnTo>
                <a:lnTo>
                  <a:pt x="5353" y="144"/>
                </a:lnTo>
                <a:lnTo>
                  <a:pt x="5349" y="141"/>
                </a:lnTo>
                <a:lnTo>
                  <a:pt x="5345" y="137"/>
                </a:lnTo>
                <a:lnTo>
                  <a:pt x="5343" y="136"/>
                </a:lnTo>
                <a:lnTo>
                  <a:pt x="5342" y="136"/>
                </a:lnTo>
                <a:lnTo>
                  <a:pt x="5338" y="135"/>
                </a:lnTo>
                <a:lnTo>
                  <a:pt x="5334" y="135"/>
                </a:lnTo>
                <a:lnTo>
                  <a:pt x="5331" y="136"/>
                </a:lnTo>
                <a:lnTo>
                  <a:pt x="5328" y="137"/>
                </a:lnTo>
                <a:lnTo>
                  <a:pt x="5323" y="139"/>
                </a:lnTo>
                <a:lnTo>
                  <a:pt x="5319" y="141"/>
                </a:lnTo>
                <a:lnTo>
                  <a:pt x="5317" y="142"/>
                </a:lnTo>
                <a:lnTo>
                  <a:pt x="5315" y="141"/>
                </a:lnTo>
                <a:lnTo>
                  <a:pt x="5313" y="141"/>
                </a:lnTo>
                <a:lnTo>
                  <a:pt x="5311" y="141"/>
                </a:lnTo>
                <a:lnTo>
                  <a:pt x="5310" y="143"/>
                </a:lnTo>
                <a:lnTo>
                  <a:pt x="5309" y="147"/>
                </a:lnTo>
                <a:lnTo>
                  <a:pt x="5308" y="151"/>
                </a:lnTo>
                <a:lnTo>
                  <a:pt x="5308" y="153"/>
                </a:lnTo>
                <a:lnTo>
                  <a:pt x="5310" y="156"/>
                </a:lnTo>
                <a:lnTo>
                  <a:pt x="5313" y="159"/>
                </a:lnTo>
                <a:lnTo>
                  <a:pt x="5316" y="161"/>
                </a:lnTo>
                <a:lnTo>
                  <a:pt x="5316" y="167"/>
                </a:lnTo>
                <a:lnTo>
                  <a:pt x="5319" y="167"/>
                </a:lnTo>
                <a:lnTo>
                  <a:pt x="5321" y="168"/>
                </a:lnTo>
                <a:lnTo>
                  <a:pt x="5326" y="169"/>
                </a:lnTo>
                <a:lnTo>
                  <a:pt x="5332" y="169"/>
                </a:lnTo>
                <a:lnTo>
                  <a:pt x="5336" y="169"/>
                </a:lnTo>
                <a:lnTo>
                  <a:pt x="5335" y="170"/>
                </a:lnTo>
                <a:lnTo>
                  <a:pt x="5335" y="171"/>
                </a:lnTo>
                <a:lnTo>
                  <a:pt x="5335" y="174"/>
                </a:lnTo>
                <a:lnTo>
                  <a:pt x="5335" y="175"/>
                </a:lnTo>
                <a:lnTo>
                  <a:pt x="5334" y="176"/>
                </a:lnTo>
                <a:lnTo>
                  <a:pt x="5333" y="176"/>
                </a:lnTo>
                <a:lnTo>
                  <a:pt x="5330" y="175"/>
                </a:lnTo>
                <a:lnTo>
                  <a:pt x="5333" y="181"/>
                </a:lnTo>
                <a:lnTo>
                  <a:pt x="5334" y="182"/>
                </a:lnTo>
                <a:lnTo>
                  <a:pt x="5334" y="183"/>
                </a:lnTo>
                <a:lnTo>
                  <a:pt x="5332" y="183"/>
                </a:lnTo>
                <a:lnTo>
                  <a:pt x="5328" y="182"/>
                </a:lnTo>
                <a:lnTo>
                  <a:pt x="5325" y="181"/>
                </a:lnTo>
                <a:lnTo>
                  <a:pt x="5322" y="181"/>
                </a:lnTo>
                <a:lnTo>
                  <a:pt x="5325" y="189"/>
                </a:lnTo>
                <a:lnTo>
                  <a:pt x="5318" y="189"/>
                </a:lnTo>
                <a:lnTo>
                  <a:pt x="5313" y="189"/>
                </a:lnTo>
                <a:lnTo>
                  <a:pt x="5308" y="187"/>
                </a:lnTo>
                <a:lnTo>
                  <a:pt x="5303" y="185"/>
                </a:lnTo>
                <a:lnTo>
                  <a:pt x="5295" y="181"/>
                </a:lnTo>
                <a:lnTo>
                  <a:pt x="5290" y="179"/>
                </a:lnTo>
                <a:lnTo>
                  <a:pt x="5285" y="178"/>
                </a:lnTo>
                <a:lnTo>
                  <a:pt x="5280" y="177"/>
                </a:lnTo>
                <a:lnTo>
                  <a:pt x="5276" y="178"/>
                </a:lnTo>
                <a:lnTo>
                  <a:pt x="5272" y="178"/>
                </a:lnTo>
                <a:lnTo>
                  <a:pt x="5268" y="179"/>
                </a:lnTo>
                <a:lnTo>
                  <a:pt x="5261" y="181"/>
                </a:lnTo>
                <a:lnTo>
                  <a:pt x="5257" y="181"/>
                </a:lnTo>
                <a:lnTo>
                  <a:pt x="5252" y="181"/>
                </a:lnTo>
                <a:lnTo>
                  <a:pt x="5249" y="175"/>
                </a:lnTo>
                <a:lnTo>
                  <a:pt x="5241" y="174"/>
                </a:lnTo>
                <a:lnTo>
                  <a:pt x="5235" y="174"/>
                </a:lnTo>
                <a:lnTo>
                  <a:pt x="5229" y="172"/>
                </a:lnTo>
                <a:lnTo>
                  <a:pt x="5230" y="172"/>
                </a:lnTo>
                <a:lnTo>
                  <a:pt x="5229" y="171"/>
                </a:lnTo>
                <a:lnTo>
                  <a:pt x="5227" y="169"/>
                </a:lnTo>
                <a:lnTo>
                  <a:pt x="5223" y="167"/>
                </a:lnTo>
                <a:lnTo>
                  <a:pt x="5224" y="165"/>
                </a:lnTo>
                <a:lnTo>
                  <a:pt x="5226" y="163"/>
                </a:lnTo>
                <a:lnTo>
                  <a:pt x="5226" y="161"/>
                </a:lnTo>
                <a:lnTo>
                  <a:pt x="5226" y="158"/>
                </a:lnTo>
                <a:lnTo>
                  <a:pt x="5228" y="159"/>
                </a:lnTo>
                <a:lnTo>
                  <a:pt x="5228" y="158"/>
                </a:lnTo>
                <a:lnTo>
                  <a:pt x="5227" y="154"/>
                </a:lnTo>
                <a:lnTo>
                  <a:pt x="5223" y="147"/>
                </a:lnTo>
                <a:lnTo>
                  <a:pt x="5218" y="147"/>
                </a:lnTo>
                <a:lnTo>
                  <a:pt x="5211" y="149"/>
                </a:lnTo>
                <a:lnTo>
                  <a:pt x="5203" y="150"/>
                </a:lnTo>
                <a:lnTo>
                  <a:pt x="5195" y="150"/>
                </a:lnTo>
                <a:lnTo>
                  <a:pt x="5192" y="144"/>
                </a:lnTo>
                <a:lnTo>
                  <a:pt x="5191" y="144"/>
                </a:lnTo>
                <a:lnTo>
                  <a:pt x="5190" y="144"/>
                </a:lnTo>
                <a:lnTo>
                  <a:pt x="5188" y="146"/>
                </a:lnTo>
                <a:lnTo>
                  <a:pt x="5185" y="147"/>
                </a:lnTo>
                <a:lnTo>
                  <a:pt x="5183" y="147"/>
                </a:lnTo>
                <a:lnTo>
                  <a:pt x="5181" y="147"/>
                </a:lnTo>
                <a:lnTo>
                  <a:pt x="5173" y="141"/>
                </a:lnTo>
                <a:lnTo>
                  <a:pt x="5168" y="142"/>
                </a:lnTo>
                <a:lnTo>
                  <a:pt x="5162" y="144"/>
                </a:lnTo>
                <a:lnTo>
                  <a:pt x="5156" y="147"/>
                </a:lnTo>
                <a:lnTo>
                  <a:pt x="5150" y="150"/>
                </a:lnTo>
                <a:lnTo>
                  <a:pt x="5144" y="154"/>
                </a:lnTo>
                <a:lnTo>
                  <a:pt x="5139" y="158"/>
                </a:lnTo>
                <a:lnTo>
                  <a:pt x="5135" y="161"/>
                </a:lnTo>
                <a:lnTo>
                  <a:pt x="5133" y="164"/>
                </a:lnTo>
                <a:lnTo>
                  <a:pt x="5133" y="166"/>
                </a:lnTo>
                <a:lnTo>
                  <a:pt x="5134" y="168"/>
                </a:lnTo>
                <a:lnTo>
                  <a:pt x="5134" y="171"/>
                </a:lnTo>
                <a:lnTo>
                  <a:pt x="5134" y="172"/>
                </a:lnTo>
                <a:lnTo>
                  <a:pt x="5133" y="172"/>
                </a:lnTo>
                <a:lnTo>
                  <a:pt x="5133" y="173"/>
                </a:lnTo>
                <a:lnTo>
                  <a:pt x="5132" y="173"/>
                </a:lnTo>
                <a:lnTo>
                  <a:pt x="5131" y="172"/>
                </a:lnTo>
                <a:lnTo>
                  <a:pt x="5131" y="171"/>
                </a:lnTo>
                <a:lnTo>
                  <a:pt x="5130" y="168"/>
                </a:lnTo>
                <a:lnTo>
                  <a:pt x="5130" y="164"/>
                </a:lnTo>
                <a:lnTo>
                  <a:pt x="5130" y="155"/>
                </a:lnTo>
                <a:lnTo>
                  <a:pt x="5131" y="150"/>
                </a:lnTo>
                <a:lnTo>
                  <a:pt x="5129" y="151"/>
                </a:lnTo>
                <a:lnTo>
                  <a:pt x="5127" y="151"/>
                </a:lnTo>
                <a:lnTo>
                  <a:pt x="5126" y="150"/>
                </a:lnTo>
                <a:lnTo>
                  <a:pt x="5126" y="149"/>
                </a:lnTo>
                <a:lnTo>
                  <a:pt x="5125" y="147"/>
                </a:lnTo>
                <a:lnTo>
                  <a:pt x="5124" y="147"/>
                </a:lnTo>
                <a:lnTo>
                  <a:pt x="5122" y="147"/>
                </a:lnTo>
                <a:lnTo>
                  <a:pt x="5122" y="152"/>
                </a:lnTo>
                <a:lnTo>
                  <a:pt x="5122" y="158"/>
                </a:lnTo>
                <a:lnTo>
                  <a:pt x="5108" y="157"/>
                </a:lnTo>
                <a:lnTo>
                  <a:pt x="5104" y="156"/>
                </a:lnTo>
                <a:lnTo>
                  <a:pt x="5101" y="155"/>
                </a:lnTo>
                <a:lnTo>
                  <a:pt x="5099" y="154"/>
                </a:lnTo>
                <a:lnTo>
                  <a:pt x="5096" y="151"/>
                </a:lnTo>
                <a:lnTo>
                  <a:pt x="5091" y="141"/>
                </a:lnTo>
                <a:lnTo>
                  <a:pt x="5092" y="142"/>
                </a:lnTo>
                <a:lnTo>
                  <a:pt x="5092" y="143"/>
                </a:lnTo>
                <a:lnTo>
                  <a:pt x="5091" y="146"/>
                </a:lnTo>
                <a:lnTo>
                  <a:pt x="5088" y="150"/>
                </a:lnTo>
                <a:lnTo>
                  <a:pt x="5083" y="147"/>
                </a:lnTo>
                <a:lnTo>
                  <a:pt x="5077" y="144"/>
                </a:lnTo>
                <a:lnTo>
                  <a:pt x="5073" y="151"/>
                </a:lnTo>
                <a:lnTo>
                  <a:pt x="5071" y="154"/>
                </a:lnTo>
                <a:lnTo>
                  <a:pt x="5069" y="157"/>
                </a:lnTo>
                <a:lnTo>
                  <a:pt x="5069" y="160"/>
                </a:lnTo>
                <a:lnTo>
                  <a:pt x="5069" y="161"/>
                </a:lnTo>
                <a:lnTo>
                  <a:pt x="5069" y="163"/>
                </a:lnTo>
                <a:lnTo>
                  <a:pt x="5072" y="165"/>
                </a:lnTo>
                <a:lnTo>
                  <a:pt x="5074" y="166"/>
                </a:lnTo>
                <a:lnTo>
                  <a:pt x="5077" y="167"/>
                </a:lnTo>
                <a:lnTo>
                  <a:pt x="5075" y="169"/>
                </a:lnTo>
                <a:lnTo>
                  <a:pt x="5074" y="171"/>
                </a:lnTo>
                <a:lnTo>
                  <a:pt x="5074" y="172"/>
                </a:lnTo>
                <a:lnTo>
                  <a:pt x="5066" y="169"/>
                </a:lnTo>
                <a:lnTo>
                  <a:pt x="5060" y="167"/>
                </a:lnTo>
                <a:lnTo>
                  <a:pt x="5061" y="169"/>
                </a:lnTo>
                <a:lnTo>
                  <a:pt x="5062" y="172"/>
                </a:lnTo>
                <a:lnTo>
                  <a:pt x="5062" y="173"/>
                </a:lnTo>
                <a:lnTo>
                  <a:pt x="5062" y="175"/>
                </a:lnTo>
                <a:lnTo>
                  <a:pt x="5062" y="176"/>
                </a:lnTo>
                <a:lnTo>
                  <a:pt x="5060" y="178"/>
                </a:lnTo>
                <a:lnTo>
                  <a:pt x="5056" y="180"/>
                </a:lnTo>
                <a:lnTo>
                  <a:pt x="5051" y="182"/>
                </a:lnTo>
                <a:lnTo>
                  <a:pt x="5046" y="182"/>
                </a:lnTo>
                <a:lnTo>
                  <a:pt x="5041" y="182"/>
                </a:lnTo>
                <a:lnTo>
                  <a:pt x="5030" y="182"/>
                </a:lnTo>
                <a:lnTo>
                  <a:pt x="5024" y="182"/>
                </a:lnTo>
                <a:lnTo>
                  <a:pt x="5018" y="184"/>
                </a:lnTo>
                <a:lnTo>
                  <a:pt x="5015" y="192"/>
                </a:lnTo>
                <a:lnTo>
                  <a:pt x="4999" y="194"/>
                </a:lnTo>
                <a:lnTo>
                  <a:pt x="4982" y="195"/>
                </a:lnTo>
                <a:lnTo>
                  <a:pt x="4997" y="192"/>
                </a:lnTo>
                <a:lnTo>
                  <a:pt x="5006" y="189"/>
                </a:lnTo>
                <a:lnTo>
                  <a:pt x="5010" y="188"/>
                </a:lnTo>
                <a:lnTo>
                  <a:pt x="5012" y="186"/>
                </a:lnTo>
                <a:lnTo>
                  <a:pt x="5013" y="184"/>
                </a:lnTo>
                <a:lnTo>
                  <a:pt x="5014" y="181"/>
                </a:lnTo>
                <a:lnTo>
                  <a:pt x="5014" y="177"/>
                </a:lnTo>
                <a:lnTo>
                  <a:pt x="5015" y="175"/>
                </a:lnTo>
                <a:lnTo>
                  <a:pt x="5019" y="173"/>
                </a:lnTo>
                <a:lnTo>
                  <a:pt x="5023" y="173"/>
                </a:lnTo>
                <a:lnTo>
                  <a:pt x="5028" y="173"/>
                </a:lnTo>
                <a:lnTo>
                  <a:pt x="5032" y="172"/>
                </a:lnTo>
                <a:lnTo>
                  <a:pt x="5039" y="169"/>
                </a:lnTo>
                <a:lnTo>
                  <a:pt x="5042" y="168"/>
                </a:lnTo>
                <a:lnTo>
                  <a:pt x="5045" y="166"/>
                </a:lnTo>
                <a:lnTo>
                  <a:pt x="5047" y="164"/>
                </a:lnTo>
                <a:lnTo>
                  <a:pt x="5050" y="161"/>
                </a:lnTo>
                <a:lnTo>
                  <a:pt x="5052" y="159"/>
                </a:lnTo>
                <a:lnTo>
                  <a:pt x="5054" y="156"/>
                </a:lnTo>
                <a:lnTo>
                  <a:pt x="5058" y="150"/>
                </a:lnTo>
                <a:lnTo>
                  <a:pt x="5061" y="144"/>
                </a:lnTo>
                <a:lnTo>
                  <a:pt x="5064" y="137"/>
                </a:lnTo>
                <a:lnTo>
                  <a:pt x="5066" y="130"/>
                </a:lnTo>
                <a:lnTo>
                  <a:pt x="5087" y="125"/>
                </a:lnTo>
                <a:lnTo>
                  <a:pt x="5108" y="120"/>
                </a:lnTo>
                <a:lnTo>
                  <a:pt x="5118" y="117"/>
                </a:lnTo>
                <a:lnTo>
                  <a:pt x="5128" y="114"/>
                </a:lnTo>
                <a:lnTo>
                  <a:pt x="5147" y="108"/>
                </a:lnTo>
                <a:lnTo>
                  <a:pt x="5147" y="106"/>
                </a:lnTo>
                <a:lnTo>
                  <a:pt x="5146" y="104"/>
                </a:lnTo>
                <a:lnTo>
                  <a:pt x="5146" y="100"/>
                </a:lnTo>
                <a:lnTo>
                  <a:pt x="5146" y="96"/>
                </a:lnTo>
                <a:lnTo>
                  <a:pt x="5145" y="93"/>
                </a:lnTo>
                <a:lnTo>
                  <a:pt x="5142" y="93"/>
                </a:lnTo>
                <a:lnTo>
                  <a:pt x="5138" y="91"/>
                </a:lnTo>
                <a:lnTo>
                  <a:pt x="5135" y="88"/>
                </a:lnTo>
                <a:lnTo>
                  <a:pt x="5134" y="86"/>
                </a:lnTo>
                <a:lnTo>
                  <a:pt x="5133" y="84"/>
                </a:lnTo>
                <a:lnTo>
                  <a:pt x="5133" y="83"/>
                </a:lnTo>
                <a:lnTo>
                  <a:pt x="5136" y="83"/>
                </a:lnTo>
                <a:lnTo>
                  <a:pt x="5142" y="85"/>
                </a:lnTo>
                <a:lnTo>
                  <a:pt x="5141" y="86"/>
                </a:lnTo>
                <a:lnTo>
                  <a:pt x="5143" y="85"/>
                </a:lnTo>
                <a:lnTo>
                  <a:pt x="5147" y="82"/>
                </a:lnTo>
                <a:lnTo>
                  <a:pt x="5147" y="78"/>
                </a:lnTo>
                <a:lnTo>
                  <a:pt x="5147" y="74"/>
                </a:lnTo>
                <a:lnTo>
                  <a:pt x="5145" y="72"/>
                </a:lnTo>
                <a:lnTo>
                  <a:pt x="5141" y="69"/>
                </a:lnTo>
                <a:lnTo>
                  <a:pt x="5138" y="67"/>
                </a:lnTo>
                <a:lnTo>
                  <a:pt x="5136" y="65"/>
                </a:lnTo>
                <a:lnTo>
                  <a:pt x="5136" y="63"/>
                </a:lnTo>
                <a:lnTo>
                  <a:pt x="5136" y="59"/>
                </a:lnTo>
                <a:lnTo>
                  <a:pt x="5137" y="56"/>
                </a:lnTo>
                <a:lnTo>
                  <a:pt x="5137" y="55"/>
                </a:lnTo>
                <a:lnTo>
                  <a:pt x="5136" y="54"/>
                </a:lnTo>
                <a:lnTo>
                  <a:pt x="5135" y="53"/>
                </a:lnTo>
                <a:lnTo>
                  <a:pt x="5132" y="53"/>
                </a:lnTo>
                <a:lnTo>
                  <a:pt x="5128" y="53"/>
                </a:lnTo>
                <a:lnTo>
                  <a:pt x="5123" y="53"/>
                </a:lnTo>
                <a:lnTo>
                  <a:pt x="5121" y="52"/>
                </a:lnTo>
                <a:lnTo>
                  <a:pt x="5119" y="51"/>
                </a:lnTo>
                <a:lnTo>
                  <a:pt x="5118" y="50"/>
                </a:lnTo>
                <a:lnTo>
                  <a:pt x="5116" y="47"/>
                </a:lnTo>
                <a:lnTo>
                  <a:pt x="5114" y="42"/>
                </a:lnTo>
                <a:lnTo>
                  <a:pt x="5111" y="32"/>
                </a:lnTo>
                <a:lnTo>
                  <a:pt x="5109" y="32"/>
                </a:lnTo>
                <a:lnTo>
                  <a:pt x="5107" y="31"/>
                </a:lnTo>
                <a:lnTo>
                  <a:pt x="5106" y="30"/>
                </a:lnTo>
                <a:lnTo>
                  <a:pt x="5105" y="29"/>
                </a:lnTo>
                <a:lnTo>
                  <a:pt x="5102" y="29"/>
                </a:lnTo>
                <a:lnTo>
                  <a:pt x="5098" y="30"/>
                </a:lnTo>
                <a:lnTo>
                  <a:pt x="5092" y="33"/>
                </a:lnTo>
                <a:lnTo>
                  <a:pt x="5087" y="36"/>
                </a:lnTo>
                <a:lnTo>
                  <a:pt x="5083" y="37"/>
                </a:lnTo>
                <a:lnTo>
                  <a:pt x="5080" y="32"/>
                </a:lnTo>
                <a:lnTo>
                  <a:pt x="5074" y="32"/>
                </a:lnTo>
                <a:lnTo>
                  <a:pt x="5069" y="33"/>
                </a:lnTo>
                <a:lnTo>
                  <a:pt x="5063" y="33"/>
                </a:lnTo>
                <a:lnTo>
                  <a:pt x="5057" y="34"/>
                </a:lnTo>
                <a:lnTo>
                  <a:pt x="5054" y="36"/>
                </a:lnTo>
                <a:lnTo>
                  <a:pt x="5050" y="38"/>
                </a:lnTo>
                <a:lnTo>
                  <a:pt x="5047" y="41"/>
                </a:lnTo>
                <a:lnTo>
                  <a:pt x="5045" y="44"/>
                </a:lnTo>
                <a:lnTo>
                  <a:pt x="5040" y="49"/>
                </a:lnTo>
                <a:lnTo>
                  <a:pt x="5038" y="51"/>
                </a:lnTo>
                <a:lnTo>
                  <a:pt x="5034" y="52"/>
                </a:lnTo>
                <a:lnTo>
                  <a:pt x="5031" y="51"/>
                </a:lnTo>
                <a:lnTo>
                  <a:pt x="5027" y="51"/>
                </a:lnTo>
                <a:lnTo>
                  <a:pt x="5025" y="51"/>
                </a:lnTo>
                <a:lnTo>
                  <a:pt x="5024" y="51"/>
                </a:lnTo>
                <a:lnTo>
                  <a:pt x="5032" y="32"/>
                </a:lnTo>
                <a:lnTo>
                  <a:pt x="5022" y="29"/>
                </a:lnTo>
                <a:lnTo>
                  <a:pt x="5014" y="27"/>
                </a:lnTo>
                <a:lnTo>
                  <a:pt x="5005" y="27"/>
                </a:lnTo>
                <a:lnTo>
                  <a:pt x="4996" y="26"/>
                </a:lnTo>
                <a:lnTo>
                  <a:pt x="4999" y="18"/>
                </a:lnTo>
                <a:lnTo>
                  <a:pt x="5001" y="15"/>
                </a:lnTo>
                <a:lnTo>
                  <a:pt x="5004" y="12"/>
                </a:lnTo>
                <a:lnTo>
                  <a:pt x="4996" y="8"/>
                </a:lnTo>
                <a:lnTo>
                  <a:pt x="4987" y="4"/>
                </a:lnTo>
                <a:lnTo>
                  <a:pt x="4977" y="1"/>
                </a:lnTo>
                <a:lnTo>
                  <a:pt x="4972" y="0"/>
                </a:lnTo>
                <a:lnTo>
                  <a:pt x="4967" y="1"/>
                </a:lnTo>
                <a:lnTo>
                  <a:pt x="4965" y="9"/>
                </a:lnTo>
                <a:lnTo>
                  <a:pt x="4954" y="9"/>
                </a:lnTo>
                <a:lnTo>
                  <a:pt x="4947" y="9"/>
                </a:lnTo>
                <a:lnTo>
                  <a:pt x="4942" y="9"/>
                </a:lnTo>
                <a:lnTo>
                  <a:pt x="4939" y="11"/>
                </a:lnTo>
                <a:lnTo>
                  <a:pt x="4933" y="16"/>
                </a:lnTo>
                <a:lnTo>
                  <a:pt x="4929" y="19"/>
                </a:lnTo>
                <a:lnTo>
                  <a:pt x="4922" y="23"/>
                </a:lnTo>
                <a:lnTo>
                  <a:pt x="4922" y="29"/>
                </a:lnTo>
                <a:lnTo>
                  <a:pt x="4920" y="30"/>
                </a:lnTo>
                <a:lnTo>
                  <a:pt x="4918" y="30"/>
                </a:lnTo>
                <a:lnTo>
                  <a:pt x="4915" y="30"/>
                </a:lnTo>
                <a:lnTo>
                  <a:pt x="4914" y="32"/>
                </a:lnTo>
                <a:lnTo>
                  <a:pt x="4914" y="34"/>
                </a:lnTo>
                <a:lnTo>
                  <a:pt x="4914" y="36"/>
                </a:lnTo>
                <a:lnTo>
                  <a:pt x="4915" y="38"/>
                </a:lnTo>
                <a:lnTo>
                  <a:pt x="4914" y="40"/>
                </a:lnTo>
                <a:lnTo>
                  <a:pt x="4920" y="45"/>
                </a:lnTo>
                <a:lnTo>
                  <a:pt x="4925" y="51"/>
                </a:lnTo>
                <a:lnTo>
                  <a:pt x="4919" y="50"/>
                </a:lnTo>
                <a:lnTo>
                  <a:pt x="4913" y="48"/>
                </a:lnTo>
                <a:lnTo>
                  <a:pt x="4903" y="47"/>
                </a:lnTo>
                <a:lnTo>
                  <a:pt x="4893" y="46"/>
                </a:lnTo>
                <a:lnTo>
                  <a:pt x="4880" y="46"/>
                </a:lnTo>
                <a:lnTo>
                  <a:pt x="4883" y="54"/>
                </a:lnTo>
                <a:lnTo>
                  <a:pt x="4886" y="57"/>
                </a:lnTo>
                <a:lnTo>
                  <a:pt x="4881" y="57"/>
                </a:lnTo>
                <a:lnTo>
                  <a:pt x="4876" y="57"/>
                </a:lnTo>
                <a:lnTo>
                  <a:pt x="4873" y="58"/>
                </a:lnTo>
                <a:lnTo>
                  <a:pt x="4871" y="59"/>
                </a:lnTo>
                <a:lnTo>
                  <a:pt x="4869" y="60"/>
                </a:lnTo>
                <a:lnTo>
                  <a:pt x="4869" y="64"/>
                </a:lnTo>
                <a:lnTo>
                  <a:pt x="4869" y="68"/>
                </a:lnTo>
                <a:lnTo>
                  <a:pt x="4860" y="73"/>
                </a:lnTo>
                <a:lnTo>
                  <a:pt x="4856" y="75"/>
                </a:lnTo>
                <a:lnTo>
                  <a:pt x="4852" y="77"/>
                </a:lnTo>
                <a:lnTo>
                  <a:pt x="4850" y="77"/>
                </a:lnTo>
                <a:lnTo>
                  <a:pt x="4849" y="76"/>
                </a:lnTo>
                <a:lnTo>
                  <a:pt x="4849" y="75"/>
                </a:lnTo>
                <a:lnTo>
                  <a:pt x="4849" y="73"/>
                </a:lnTo>
                <a:lnTo>
                  <a:pt x="4849" y="71"/>
                </a:lnTo>
                <a:lnTo>
                  <a:pt x="4843" y="74"/>
                </a:lnTo>
                <a:lnTo>
                  <a:pt x="4840" y="75"/>
                </a:lnTo>
                <a:lnTo>
                  <a:pt x="4835" y="77"/>
                </a:lnTo>
                <a:lnTo>
                  <a:pt x="4830" y="82"/>
                </a:lnTo>
                <a:lnTo>
                  <a:pt x="4828" y="82"/>
                </a:lnTo>
                <a:lnTo>
                  <a:pt x="4827" y="81"/>
                </a:lnTo>
                <a:lnTo>
                  <a:pt x="4826" y="80"/>
                </a:lnTo>
                <a:lnTo>
                  <a:pt x="4827" y="79"/>
                </a:lnTo>
                <a:lnTo>
                  <a:pt x="4828" y="75"/>
                </a:lnTo>
                <a:lnTo>
                  <a:pt x="4830" y="74"/>
                </a:lnTo>
                <a:lnTo>
                  <a:pt x="4833" y="71"/>
                </a:lnTo>
                <a:lnTo>
                  <a:pt x="4836" y="69"/>
                </a:lnTo>
                <a:lnTo>
                  <a:pt x="4841" y="66"/>
                </a:lnTo>
                <a:lnTo>
                  <a:pt x="4842" y="64"/>
                </a:lnTo>
                <a:lnTo>
                  <a:pt x="4842" y="63"/>
                </a:lnTo>
                <a:lnTo>
                  <a:pt x="4842" y="62"/>
                </a:lnTo>
                <a:lnTo>
                  <a:pt x="4840" y="60"/>
                </a:lnTo>
                <a:lnTo>
                  <a:pt x="4835" y="57"/>
                </a:lnTo>
                <a:lnTo>
                  <a:pt x="4837" y="57"/>
                </a:lnTo>
                <a:lnTo>
                  <a:pt x="4839" y="57"/>
                </a:lnTo>
                <a:lnTo>
                  <a:pt x="4844" y="57"/>
                </a:lnTo>
                <a:lnTo>
                  <a:pt x="4847" y="48"/>
                </a:lnTo>
                <a:lnTo>
                  <a:pt x="4824" y="48"/>
                </a:lnTo>
                <a:lnTo>
                  <a:pt x="4824" y="53"/>
                </a:lnTo>
                <a:lnTo>
                  <a:pt x="4824" y="57"/>
                </a:lnTo>
                <a:lnTo>
                  <a:pt x="4828" y="57"/>
                </a:lnTo>
                <a:lnTo>
                  <a:pt x="4832" y="57"/>
                </a:lnTo>
                <a:lnTo>
                  <a:pt x="4830" y="60"/>
                </a:lnTo>
                <a:lnTo>
                  <a:pt x="4829" y="61"/>
                </a:lnTo>
                <a:lnTo>
                  <a:pt x="4829" y="62"/>
                </a:lnTo>
                <a:lnTo>
                  <a:pt x="4830" y="63"/>
                </a:lnTo>
                <a:lnTo>
                  <a:pt x="4820" y="62"/>
                </a:lnTo>
                <a:lnTo>
                  <a:pt x="4810" y="63"/>
                </a:lnTo>
                <a:lnTo>
                  <a:pt x="4801" y="63"/>
                </a:lnTo>
                <a:lnTo>
                  <a:pt x="4796" y="63"/>
                </a:lnTo>
                <a:lnTo>
                  <a:pt x="4790" y="63"/>
                </a:lnTo>
                <a:lnTo>
                  <a:pt x="4789" y="62"/>
                </a:lnTo>
                <a:lnTo>
                  <a:pt x="4788" y="60"/>
                </a:lnTo>
                <a:lnTo>
                  <a:pt x="4785" y="59"/>
                </a:lnTo>
                <a:lnTo>
                  <a:pt x="4784" y="59"/>
                </a:lnTo>
                <a:lnTo>
                  <a:pt x="4782" y="60"/>
                </a:lnTo>
                <a:lnTo>
                  <a:pt x="4782" y="64"/>
                </a:lnTo>
                <a:lnTo>
                  <a:pt x="4782" y="68"/>
                </a:lnTo>
                <a:lnTo>
                  <a:pt x="4769" y="70"/>
                </a:lnTo>
                <a:lnTo>
                  <a:pt x="4759" y="72"/>
                </a:lnTo>
                <a:lnTo>
                  <a:pt x="4749" y="75"/>
                </a:lnTo>
                <a:lnTo>
                  <a:pt x="4743" y="76"/>
                </a:lnTo>
                <a:lnTo>
                  <a:pt x="4737" y="77"/>
                </a:lnTo>
                <a:lnTo>
                  <a:pt x="4729" y="77"/>
                </a:lnTo>
                <a:lnTo>
                  <a:pt x="4723" y="75"/>
                </a:lnTo>
                <a:lnTo>
                  <a:pt x="4718" y="74"/>
                </a:lnTo>
                <a:lnTo>
                  <a:pt x="4716" y="74"/>
                </a:lnTo>
                <a:lnTo>
                  <a:pt x="4714" y="74"/>
                </a:lnTo>
                <a:lnTo>
                  <a:pt x="4713" y="74"/>
                </a:lnTo>
                <a:lnTo>
                  <a:pt x="4712" y="75"/>
                </a:lnTo>
                <a:lnTo>
                  <a:pt x="4708" y="78"/>
                </a:lnTo>
                <a:lnTo>
                  <a:pt x="4703" y="82"/>
                </a:lnTo>
                <a:lnTo>
                  <a:pt x="4700" y="83"/>
                </a:lnTo>
                <a:lnTo>
                  <a:pt x="4696" y="83"/>
                </a:lnTo>
                <a:lnTo>
                  <a:pt x="4689" y="83"/>
                </a:lnTo>
                <a:lnTo>
                  <a:pt x="4675" y="82"/>
                </a:lnTo>
                <a:lnTo>
                  <a:pt x="4677" y="84"/>
                </a:lnTo>
                <a:lnTo>
                  <a:pt x="4680" y="86"/>
                </a:lnTo>
                <a:lnTo>
                  <a:pt x="4681" y="88"/>
                </a:lnTo>
                <a:lnTo>
                  <a:pt x="4682" y="90"/>
                </a:lnTo>
                <a:lnTo>
                  <a:pt x="4682" y="92"/>
                </a:lnTo>
                <a:lnTo>
                  <a:pt x="4681" y="94"/>
                </a:lnTo>
                <a:lnTo>
                  <a:pt x="4679" y="95"/>
                </a:lnTo>
                <a:lnTo>
                  <a:pt x="4675" y="96"/>
                </a:lnTo>
                <a:lnTo>
                  <a:pt x="4674" y="105"/>
                </a:lnTo>
                <a:lnTo>
                  <a:pt x="4672" y="110"/>
                </a:lnTo>
                <a:lnTo>
                  <a:pt x="4669" y="106"/>
                </a:lnTo>
                <a:lnTo>
                  <a:pt x="4667" y="102"/>
                </a:lnTo>
                <a:lnTo>
                  <a:pt x="4665" y="102"/>
                </a:lnTo>
                <a:lnTo>
                  <a:pt x="4662" y="102"/>
                </a:lnTo>
                <a:lnTo>
                  <a:pt x="4660" y="102"/>
                </a:lnTo>
                <a:lnTo>
                  <a:pt x="4657" y="103"/>
                </a:lnTo>
                <a:lnTo>
                  <a:pt x="4655" y="104"/>
                </a:lnTo>
                <a:lnTo>
                  <a:pt x="4654" y="106"/>
                </a:lnTo>
                <a:lnTo>
                  <a:pt x="4654" y="107"/>
                </a:lnTo>
                <a:lnTo>
                  <a:pt x="4655" y="108"/>
                </a:lnTo>
                <a:lnTo>
                  <a:pt x="4662" y="111"/>
                </a:lnTo>
                <a:lnTo>
                  <a:pt x="4664" y="112"/>
                </a:lnTo>
                <a:lnTo>
                  <a:pt x="4664" y="113"/>
                </a:lnTo>
                <a:lnTo>
                  <a:pt x="4665" y="114"/>
                </a:lnTo>
                <a:lnTo>
                  <a:pt x="4667" y="116"/>
                </a:lnTo>
                <a:lnTo>
                  <a:pt x="4663" y="117"/>
                </a:lnTo>
                <a:lnTo>
                  <a:pt x="4660" y="118"/>
                </a:lnTo>
                <a:lnTo>
                  <a:pt x="4655" y="119"/>
                </a:lnTo>
                <a:lnTo>
                  <a:pt x="4661" y="127"/>
                </a:lnTo>
                <a:lnTo>
                  <a:pt x="4666" y="135"/>
                </a:lnTo>
                <a:lnTo>
                  <a:pt x="4670" y="143"/>
                </a:lnTo>
                <a:lnTo>
                  <a:pt x="4675" y="153"/>
                </a:lnTo>
                <a:lnTo>
                  <a:pt x="4668" y="153"/>
                </a:lnTo>
                <a:lnTo>
                  <a:pt x="4661" y="153"/>
                </a:lnTo>
                <a:lnTo>
                  <a:pt x="4662" y="151"/>
                </a:lnTo>
                <a:lnTo>
                  <a:pt x="4664" y="147"/>
                </a:lnTo>
                <a:lnTo>
                  <a:pt x="4664" y="145"/>
                </a:lnTo>
                <a:lnTo>
                  <a:pt x="4664" y="144"/>
                </a:lnTo>
                <a:lnTo>
                  <a:pt x="4662" y="142"/>
                </a:lnTo>
                <a:lnTo>
                  <a:pt x="4660" y="142"/>
                </a:lnTo>
                <a:lnTo>
                  <a:pt x="4658" y="141"/>
                </a:lnTo>
                <a:lnTo>
                  <a:pt x="4658" y="138"/>
                </a:lnTo>
                <a:lnTo>
                  <a:pt x="4655" y="138"/>
                </a:lnTo>
                <a:lnTo>
                  <a:pt x="4652" y="139"/>
                </a:lnTo>
                <a:lnTo>
                  <a:pt x="4645" y="141"/>
                </a:lnTo>
                <a:lnTo>
                  <a:pt x="4638" y="143"/>
                </a:lnTo>
                <a:lnTo>
                  <a:pt x="4635" y="144"/>
                </a:lnTo>
                <a:lnTo>
                  <a:pt x="4633" y="144"/>
                </a:lnTo>
                <a:lnTo>
                  <a:pt x="4628" y="143"/>
                </a:lnTo>
                <a:lnTo>
                  <a:pt x="4624" y="141"/>
                </a:lnTo>
                <a:lnTo>
                  <a:pt x="4621" y="139"/>
                </a:lnTo>
                <a:lnTo>
                  <a:pt x="4619" y="138"/>
                </a:lnTo>
                <a:lnTo>
                  <a:pt x="4568" y="147"/>
                </a:lnTo>
                <a:lnTo>
                  <a:pt x="4564" y="150"/>
                </a:lnTo>
                <a:lnTo>
                  <a:pt x="4560" y="153"/>
                </a:lnTo>
                <a:lnTo>
                  <a:pt x="4558" y="156"/>
                </a:lnTo>
                <a:lnTo>
                  <a:pt x="4556" y="159"/>
                </a:lnTo>
                <a:lnTo>
                  <a:pt x="4554" y="167"/>
                </a:lnTo>
                <a:lnTo>
                  <a:pt x="4554" y="172"/>
                </a:lnTo>
                <a:lnTo>
                  <a:pt x="4554" y="176"/>
                </a:lnTo>
                <a:lnTo>
                  <a:pt x="4554" y="180"/>
                </a:lnTo>
                <a:lnTo>
                  <a:pt x="4555" y="184"/>
                </a:lnTo>
                <a:lnTo>
                  <a:pt x="4555" y="188"/>
                </a:lnTo>
                <a:lnTo>
                  <a:pt x="4557" y="192"/>
                </a:lnTo>
                <a:lnTo>
                  <a:pt x="4558" y="195"/>
                </a:lnTo>
                <a:lnTo>
                  <a:pt x="4560" y="199"/>
                </a:lnTo>
                <a:lnTo>
                  <a:pt x="4562" y="201"/>
                </a:lnTo>
                <a:lnTo>
                  <a:pt x="4565" y="203"/>
                </a:lnTo>
                <a:lnTo>
                  <a:pt x="4568" y="205"/>
                </a:lnTo>
                <a:lnTo>
                  <a:pt x="4571" y="206"/>
                </a:lnTo>
                <a:lnTo>
                  <a:pt x="4573" y="206"/>
                </a:lnTo>
                <a:lnTo>
                  <a:pt x="4575" y="206"/>
                </a:lnTo>
                <a:lnTo>
                  <a:pt x="4578" y="205"/>
                </a:lnTo>
                <a:lnTo>
                  <a:pt x="4580" y="203"/>
                </a:lnTo>
                <a:lnTo>
                  <a:pt x="4581" y="203"/>
                </a:lnTo>
                <a:lnTo>
                  <a:pt x="4582" y="203"/>
                </a:lnTo>
                <a:lnTo>
                  <a:pt x="4583" y="204"/>
                </a:lnTo>
                <a:lnTo>
                  <a:pt x="4584" y="205"/>
                </a:lnTo>
                <a:lnTo>
                  <a:pt x="4586" y="209"/>
                </a:lnTo>
                <a:lnTo>
                  <a:pt x="4588" y="212"/>
                </a:lnTo>
                <a:lnTo>
                  <a:pt x="4591" y="214"/>
                </a:lnTo>
                <a:lnTo>
                  <a:pt x="4594" y="216"/>
                </a:lnTo>
                <a:lnTo>
                  <a:pt x="4598" y="217"/>
                </a:lnTo>
                <a:lnTo>
                  <a:pt x="4605" y="220"/>
                </a:lnTo>
                <a:lnTo>
                  <a:pt x="4602" y="228"/>
                </a:lnTo>
                <a:lnTo>
                  <a:pt x="4601" y="236"/>
                </a:lnTo>
                <a:lnTo>
                  <a:pt x="4599" y="254"/>
                </a:lnTo>
                <a:lnTo>
                  <a:pt x="4601" y="255"/>
                </a:lnTo>
                <a:lnTo>
                  <a:pt x="4602" y="256"/>
                </a:lnTo>
                <a:lnTo>
                  <a:pt x="4602" y="257"/>
                </a:lnTo>
                <a:lnTo>
                  <a:pt x="4602" y="259"/>
                </a:lnTo>
                <a:lnTo>
                  <a:pt x="4602" y="262"/>
                </a:lnTo>
                <a:lnTo>
                  <a:pt x="4604" y="262"/>
                </a:lnTo>
                <a:lnTo>
                  <a:pt x="4605" y="264"/>
                </a:lnTo>
                <a:lnTo>
                  <a:pt x="4604" y="265"/>
                </a:lnTo>
                <a:lnTo>
                  <a:pt x="4603" y="269"/>
                </a:lnTo>
                <a:lnTo>
                  <a:pt x="4602" y="271"/>
                </a:lnTo>
                <a:lnTo>
                  <a:pt x="4599" y="271"/>
                </a:lnTo>
                <a:lnTo>
                  <a:pt x="4596" y="271"/>
                </a:lnTo>
                <a:lnTo>
                  <a:pt x="4593" y="270"/>
                </a:lnTo>
                <a:lnTo>
                  <a:pt x="4592" y="270"/>
                </a:lnTo>
                <a:lnTo>
                  <a:pt x="4591" y="271"/>
                </a:lnTo>
                <a:lnTo>
                  <a:pt x="4591" y="279"/>
                </a:lnTo>
                <a:lnTo>
                  <a:pt x="4600" y="285"/>
                </a:lnTo>
                <a:lnTo>
                  <a:pt x="4607" y="290"/>
                </a:lnTo>
                <a:lnTo>
                  <a:pt x="4610" y="291"/>
                </a:lnTo>
                <a:lnTo>
                  <a:pt x="4612" y="290"/>
                </a:lnTo>
                <a:lnTo>
                  <a:pt x="4615" y="288"/>
                </a:lnTo>
                <a:lnTo>
                  <a:pt x="4617" y="286"/>
                </a:lnTo>
                <a:lnTo>
                  <a:pt x="4618" y="285"/>
                </a:lnTo>
                <a:lnTo>
                  <a:pt x="4619" y="285"/>
                </a:lnTo>
                <a:lnTo>
                  <a:pt x="4622" y="284"/>
                </a:lnTo>
                <a:lnTo>
                  <a:pt x="4625" y="285"/>
                </a:lnTo>
                <a:lnTo>
                  <a:pt x="4627" y="285"/>
                </a:lnTo>
                <a:lnTo>
                  <a:pt x="4629" y="286"/>
                </a:lnTo>
                <a:lnTo>
                  <a:pt x="4633" y="288"/>
                </a:lnTo>
                <a:lnTo>
                  <a:pt x="4638" y="290"/>
                </a:lnTo>
                <a:lnTo>
                  <a:pt x="4641" y="304"/>
                </a:lnTo>
                <a:lnTo>
                  <a:pt x="4636" y="304"/>
                </a:lnTo>
                <a:lnTo>
                  <a:pt x="4633" y="293"/>
                </a:lnTo>
                <a:lnTo>
                  <a:pt x="4624" y="293"/>
                </a:lnTo>
                <a:lnTo>
                  <a:pt x="4615" y="293"/>
                </a:lnTo>
                <a:lnTo>
                  <a:pt x="4605" y="293"/>
                </a:lnTo>
                <a:lnTo>
                  <a:pt x="4593" y="293"/>
                </a:lnTo>
                <a:lnTo>
                  <a:pt x="4593" y="291"/>
                </a:lnTo>
                <a:lnTo>
                  <a:pt x="4592" y="288"/>
                </a:lnTo>
                <a:lnTo>
                  <a:pt x="4592" y="285"/>
                </a:lnTo>
                <a:lnTo>
                  <a:pt x="4591" y="282"/>
                </a:lnTo>
                <a:lnTo>
                  <a:pt x="4582" y="277"/>
                </a:lnTo>
                <a:lnTo>
                  <a:pt x="4578" y="275"/>
                </a:lnTo>
                <a:lnTo>
                  <a:pt x="4579" y="276"/>
                </a:lnTo>
                <a:lnTo>
                  <a:pt x="4575" y="277"/>
                </a:lnTo>
                <a:lnTo>
                  <a:pt x="4574" y="277"/>
                </a:lnTo>
                <a:lnTo>
                  <a:pt x="4575" y="278"/>
                </a:lnTo>
                <a:lnTo>
                  <a:pt x="4577" y="279"/>
                </a:lnTo>
                <a:lnTo>
                  <a:pt x="4574" y="282"/>
                </a:lnTo>
                <a:lnTo>
                  <a:pt x="4568" y="282"/>
                </a:lnTo>
                <a:lnTo>
                  <a:pt x="4572" y="265"/>
                </a:lnTo>
                <a:lnTo>
                  <a:pt x="4574" y="257"/>
                </a:lnTo>
                <a:lnTo>
                  <a:pt x="4576" y="250"/>
                </a:lnTo>
                <a:lnTo>
                  <a:pt x="4579" y="243"/>
                </a:lnTo>
                <a:lnTo>
                  <a:pt x="4582" y="236"/>
                </a:lnTo>
                <a:lnTo>
                  <a:pt x="4586" y="230"/>
                </a:lnTo>
                <a:lnTo>
                  <a:pt x="4591" y="223"/>
                </a:lnTo>
                <a:lnTo>
                  <a:pt x="4584" y="222"/>
                </a:lnTo>
                <a:lnTo>
                  <a:pt x="4575" y="220"/>
                </a:lnTo>
                <a:lnTo>
                  <a:pt x="4566" y="218"/>
                </a:lnTo>
                <a:lnTo>
                  <a:pt x="4560" y="217"/>
                </a:lnTo>
                <a:lnTo>
                  <a:pt x="4562" y="223"/>
                </a:lnTo>
                <a:lnTo>
                  <a:pt x="4557" y="223"/>
                </a:lnTo>
                <a:lnTo>
                  <a:pt x="4552" y="214"/>
                </a:lnTo>
                <a:lnTo>
                  <a:pt x="4548" y="206"/>
                </a:lnTo>
                <a:lnTo>
                  <a:pt x="4547" y="205"/>
                </a:lnTo>
                <a:lnTo>
                  <a:pt x="4546" y="207"/>
                </a:lnTo>
                <a:lnTo>
                  <a:pt x="4545" y="208"/>
                </a:lnTo>
                <a:lnTo>
                  <a:pt x="4544" y="209"/>
                </a:lnTo>
                <a:lnTo>
                  <a:pt x="4543" y="209"/>
                </a:lnTo>
                <a:lnTo>
                  <a:pt x="4537" y="203"/>
                </a:lnTo>
                <a:lnTo>
                  <a:pt x="4528" y="200"/>
                </a:lnTo>
                <a:lnTo>
                  <a:pt x="4524" y="199"/>
                </a:lnTo>
                <a:lnTo>
                  <a:pt x="4520" y="199"/>
                </a:lnTo>
                <a:lnTo>
                  <a:pt x="4516" y="199"/>
                </a:lnTo>
                <a:lnTo>
                  <a:pt x="4512" y="200"/>
                </a:lnTo>
                <a:lnTo>
                  <a:pt x="4503" y="203"/>
                </a:lnTo>
                <a:lnTo>
                  <a:pt x="4501" y="205"/>
                </a:lnTo>
                <a:lnTo>
                  <a:pt x="4499" y="206"/>
                </a:lnTo>
                <a:lnTo>
                  <a:pt x="4497" y="208"/>
                </a:lnTo>
                <a:lnTo>
                  <a:pt x="4496" y="209"/>
                </a:lnTo>
                <a:lnTo>
                  <a:pt x="4497" y="211"/>
                </a:lnTo>
                <a:lnTo>
                  <a:pt x="4498" y="211"/>
                </a:lnTo>
                <a:lnTo>
                  <a:pt x="4501" y="212"/>
                </a:lnTo>
                <a:lnTo>
                  <a:pt x="4506" y="212"/>
                </a:lnTo>
                <a:lnTo>
                  <a:pt x="4507" y="215"/>
                </a:lnTo>
                <a:lnTo>
                  <a:pt x="4509" y="217"/>
                </a:lnTo>
                <a:lnTo>
                  <a:pt x="4506" y="219"/>
                </a:lnTo>
                <a:lnTo>
                  <a:pt x="4505" y="220"/>
                </a:lnTo>
                <a:lnTo>
                  <a:pt x="4505" y="222"/>
                </a:lnTo>
                <a:lnTo>
                  <a:pt x="4504" y="224"/>
                </a:lnTo>
                <a:lnTo>
                  <a:pt x="4503" y="226"/>
                </a:lnTo>
                <a:lnTo>
                  <a:pt x="4501" y="226"/>
                </a:lnTo>
                <a:lnTo>
                  <a:pt x="4497" y="225"/>
                </a:lnTo>
                <a:lnTo>
                  <a:pt x="4494" y="224"/>
                </a:lnTo>
                <a:lnTo>
                  <a:pt x="4495" y="223"/>
                </a:lnTo>
                <a:lnTo>
                  <a:pt x="4490" y="220"/>
                </a:lnTo>
                <a:lnTo>
                  <a:pt x="4486" y="217"/>
                </a:lnTo>
                <a:lnTo>
                  <a:pt x="4483" y="217"/>
                </a:lnTo>
                <a:lnTo>
                  <a:pt x="4479" y="217"/>
                </a:lnTo>
                <a:lnTo>
                  <a:pt x="4475" y="217"/>
                </a:lnTo>
                <a:lnTo>
                  <a:pt x="4471" y="224"/>
                </a:lnTo>
                <a:lnTo>
                  <a:pt x="4467" y="231"/>
                </a:lnTo>
                <a:lnTo>
                  <a:pt x="4471" y="231"/>
                </a:lnTo>
                <a:lnTo>
                  <a:pt x="4475" y="231"/>
                </a:lnTo>
                <a:lnTo>
                  <a:pt x="4483" y="237"/>
                </a:lnTo>
                <a:lnTo>
                  <a:pt x="4492" y="243"/>
                </a:lnTo>
                <a:lnTo>
                  <a:pt x="4496" y="246"/>
                </a:lnTo>
                <a:lnTo>
                  <a:pt x="4497" y="248"/>
                </a:lnTo>
                <a:lnTo>
                  <a:pt x="4497" y="249"/>
                </a:lnTo>
                <a:lnTo>
                  <a:pt x="4497" y="250"/>
                </a:lnTo>
                <a:lnTo>
                  <a:pt x="4496" y="251"/>
                </a:lnTo>
                <a:lnTo>
                  <a:pt x="4493" y="252"/>
                </a:lnTo>
                <a:lnTo>
                  <a:pt x="4489" y="253"/>
                </a:lnTo>
                <a:lnTo>
                  <a:pt x="4485" y="254"/>
                </a:lnTo>
                <a:lnTo>
                  <a:pt x="4475" y="254"/>
                </a:lnTo>
                <a:lnTo>
                  <a:pt x="4473" y="251"/>
                </a:lnTo>
                <a:lnTo>
                  <a:pt x="4472" y="249"/>
                </a:lnTo>
                <a:lnTo>
                  <a:pt x="4471" y="248"/>
                </a:lnTo>
                <a:lnTo>
                  <a:pt x="4470" y="248"/>
                </a:lnTo>
                <a:lnTo>
                  <a:pt x="4469" y="248"/>
                </a:lnTo>
                <a:lnTo>
                  <a:pt x="4467" y="249"/>
                </a:lnTo>
                <a:lnTo>
                  <a:pt x="4464" y="251"/>
                </a:lnTo>
                <a:lnTo>
                  <a:pt x="4459" y="253"/>
                </a:lnTo>
                <a:lnTo>
                  <a:pt x="4457" y="254"/>
                </a:lnTo>
                <a:lnTo>
                  <a:pt x="4456" y="254"/>
                </a:lnTo>
                <a:lnTo>
                  <a:pt x="4455" y="253"/>
                </a:lnTo>
                <a:lnTo>
                  <a:pt x="4454" y="252"/>
                </a:lnTo>
                <a:lnTo>
                  <a:pt x="4451" y="250"/>
                </a:lnTo>
                <a:lnTo>
                  <a:pt x="4449" y="247"/>
                </a:lnTo>
                <a:lnTo>
                  <a:pt x="4447" y="245"/>
                </a:lnTo>
                <a:lnTo>
                  <a:pt x="4448" y="240"/>
                </a:lnTo>
                <a:lnTo>
                  <a:pt x="4448" y="235"/>
                </a:lnTo>
                <a:lnTo>
                  <a:pt x="4447" y="231"/>
                </a:lnTo>
                <a:lnTo>
                  <a:pt x="4441" y="226"/>
                </a:lnTo>
                <a:lnTo>
                  <a:pt x="4441" y="222"/>
                </a:lnTo>
                <a:lnTo>
                  <a:pt x="4441" y="217"/>
                </a:lnTo>
                <a:lnTo>
                  <a:pt x="4443" y="208"/>
                </a:lnTo>
                <a:lnTo>
                  <a:pt x="4444" y="203"/>
                </a:lnTo>
                <a:lnTo>
                  <a:pt x="4445" y="198"/>
                </a:lnTo>
                <a:lnTo>
                  <a:pt x="4445" y="193"/>
                </a:lnTo>
                <a:lnTo>
                  <a:pt x="4445" y="191"/>
                </a:lnTo>
                <a:lnTo>
                  <a:pt x="4444" y="189"/>
                </a:lnTo>
                <a:lnTo>
                  <a:pt x="4433" y="181"/>
                </a:lnTo>
                <a:lnTo>
                  <a:pt x="4436" y="198"/>
                </a:lnTo>
                <a:lnTo>
                  <a:pt x="4437" y="207"/>
                </a:lnTo>
                <a:lnTo>
                  <a:pt x="4437" y="212"/>
                </a:lnTo>
                <a:lnTo>
                  <a:pt x="4436" y="217"/>
                </a:lnTo>
                <a:lnTo>
                  <a:pt x="4435" y="220"/>
                </a:lnTo>
                <a:lnTo>
                  <a:pt x="4433" y="222"/>
                </a:lnTo>
                <a:lnTo>
                  <a:pt x="4429" y="225"/>
                </a:lnTo>
                <a:lnTo>
                  <a:pt x="4425" y="228"/>
                </a:lnTo>
                <a:lnTo>
                  <a:pt x="4423" y="230"/>
                </a:lnTo>
                <a:lnTo>
                  <a:pt x="4422" y="231"/>
                </a:lnTo>
                <a:lnTo>
                  <a:pt x="4420" y="235"/>
                </a:lnTo>
                <a:lnTo>
                  <a:pt x="4420" y="238"/>
                </a:lnTo>
                <a:lnTo>
                  <a:pt x="4420" y="241"/>
                </a:lnTo>
                <a:lnTo>
                  <a:pt x="4419" y="245"/>
                </a:lnTo>
                <a:lnTo>
                  <a:pt x="4417" y="248"/>
                </a:lnTo>
                <a:lnTo>
                  <a:pt x="4415" y="250"/>
                </a:lnTo>
                <a:lnTo>
                  <a:pt x="4414" y="251"/>
                </a:lnTo>
                <a:lnTo>
                  <a:pt x="4413" y="251"/>
                </a:lnTo>
                <a:lnTo>
                  <a:pt x="4420" y="259"/>
                </a:lnTo>
                <a:lnTo>
                  <a:pt x="4427" y="268"/>
                </a:lnTo>
                <a:lnTo>
                  <a:pt x="4428" y="271"/>
                </a:lnTo>
                <a:lnTo>
                  <a:pt x="4427" y="274"/>
                </a:lnTo>
                <a:lnTo>
                  <a:pt x="4427" y="276"/>
                </a:lnTo>
                <a:lnTo>
                  <a:pt x="4426" y="278"/>
                </a:lnTo>
                <a:lnTo>
                  <a:pt x="4423" y="282"/>
                </a:lnTo>
                <a:lnTo>
                  <a:pt x="4422" y="283"/>
                </a:lnTo>
                <a:lnTo>
                  <a:pt x="4422" y="285"/>
                </a:lnTo>
                <a:lnTo>
                  <a:pt x="4422" y="292"/>
                </a:lnTo>
                <a:lnTo>
                  <a:pt x="4423" y="299"/>
                </a:lnTo>
                <a:lnTo>
                  <a:pt x="4427" y="313"/>
                </a:lnTo>
                <a:lnTo>
                  <a:pt x="4432" y="312"/>
                </a:lnTo>
                <a:lnTo>
                  <a:pt x="4437" y="312"/>
                </a:lnTo>
                <a:lnTo>
                  <a:pt x="4442" y="311"/>
                </a:lnTo>
                <a:lnTo>
                  <a:pt x="4447" y="310"/>
                </a:lnTo>
                <a:lnTo>
                  <a:pt x="4450" y="308"/>
                </a:lnTo>
                <a:lnTo>
                  <a:pt x="4453" y="306"/>
                </a:lnTo>
                <a:lnTo>
                  <a:pt x="4456" y="303"/>
                </a:lnTo>
                <a:lnTo>
                  <a:pt x="4457" y="302"/>
                </a:lnTo>
                <a:lnTo>
                  <a:pt x="4458" y="302"/>
                </a:lnTo>
                <a:lnTo>
                  <a:pt x="4461" y="302"/>
                </a:lnTo>
                <a:lnTo>
                  <a:pt x="4464" y="304"/>
                </a:lnTo>
                <a:lnTo>
                  <a:pt x="4470" y="307"/>
                </a:lnTo>
                <a:lnTo>
                  <a:pt x="4472" y="307"/>
                </a:lnTo>
                <a:lnTo>
                  <a:pt x="4472" y="306"/>
                </a:lnTo>
                <a:lnTo>
                  <a:pt x="4472" y="305"/>
                </a:lnTo>
                <a:lnTo>
                  <a:pt x="4473" y="305"/>
                </a:lnTo>
                <a:lnTo>
                  <a:pt x="4475" y="304"/>
                </a:lnTo>
                <a:lnTo>
                  <a:pt x="4478" y="305"/>
                </a:lnTo>
                <a:lnTo>
                  <a:pt x="4481" y="306"/>
                </a:lnTo>
                <a:lnTo>
                  <a:pt x="4483" y="307"/>
                </a:lnTo>
                <a:lnTo>
                  <a:pt x="4486" y="309"/>
                </a:lnTo>
                <a:lnTo>
                  <a:pt x="4490" y="314"/>
                </a:lnTo>
                <a:lnTo>
                  <a:pt x="4494" y="319"/>
                </a:lnTo>
                <a:lnTo>
                  <a:pt x="4498" y="325"/>
                </a:lnTo>
                <a:lnTo>
                  <a:pt x="4501" y="331"/>
                </a:lnTo>
                <a:lnTo>
                  <a:pt x="4506" y="341"/>
                </a:lnTo>
                <a:lnTo>
                  <a:pt x="4500" y="345"/>
                </a:lnTo>
                <a:lnTo>
                  <a:pt x="4495" y="349"/>
                </a:lnTo>
                <a:lnTo>
                  <a:pt x="4495" y="351"/>
                </a:lnTo>
                <a:lnTo>
                  <a:pt x="4495" y="352"/>
                </a:lnTo>
                <a:lnTo>
                  <a:pt x="4495" y="355"/>
                </a:lnTo>
                <a:lnTo>
                  <a:pt x="4495" y="358"/>
                </a:lnTo>
                <a:lnTo>
                  <a:pt x="4495" y="360"/>
                </a:lnTo>
                <a:lnTo>
                  <a:pt x="4495" y="361"/>
                </a:lnTo>
                <a:lnTo>
                  <a:pt x="4498" y="363"/>
                </a:lnTo>
                <a:lnTo>
                  <a:pt x="4500" y="364"/>
                </a:lnTo>
                <a:lnTo>
                  <a:pt x="4500" y="365"/>
                </a:lnTo>
                <a:lnTo>
                  <a:pt x="4501" y="366"/>
                </a:lnTo>
                <a:lnTo>
                  <a:pt x="4508" y="368"/>
                </a:lnTo>
                <a:lnTo>
                  <a:pt x="4514" y="369"/>
                </a:lnTo>
                <a:lnTo>
                  <a:pt x="4521" y="370"/>
                </a:lnTo>
                <a:lnTo>
                  <a:pt x="4529" y="372"/>
                </a:lnTo>
                <a:lnTo>
                  <a:pt x="4529" y="373"/>
                </a:lnTo>
                <a:lnTo>
                  <a:pt x="4530" y="375"/>
                </a:lnTo>
                <a:lnTo>
                  <a:pt x="4531" y="378"/>
                </a:lnTo>
                <a:lnTo>
                  <a:pt x="4522" y="376"/>
                </a:lnTo>
                <a:lnTo>
                  <a:pt x="4514" y="375"/>
                </a:lnTo>
                <a:lnTo>
                  <a:pt x="4507" y="374"/>
                </a:lnTo>
                <a:lnTo>
                  <a:pt x="4498" y="372"/>
                </a:lnTo>
                <a:lnTo>
                  <a:pt x="4498" y="380"/>
                </a:lnTo>
                <a:lnTo>
                  <a:pt x="4497" y="380"/>
                </a:lnTo>
                <a:lnTo>
                  <a:pt x="4496" y="380"/>
                </a:lnTo>
                <a:lnTo>
                  <a:pt x="4494" y="378"/>
                </a:lnTo>
                <a:lnTo>
                  <a:pt x="4492" y="376"/>
                </a:lnTo>
                <a:lnTo>
                  <a:pt x="4492" y="375"/>
                </a:lnTo>
                <a:lnTo>
                  <a:pt x="4484" y="372"/>
                </a:lnTo>
                <a:lnTo>
                  <a:pt x="4485" y="361"/>
                </a:lnTo>
                <a:lnTo>
                  <a:pt x="4485" y="353"/>
                </a:lnTo>
                <a:lnTo>
                  <a:pt x="4485" y="346"/>
                </a:lnTo>
                <a:lnTo>
                  <a:pt x="4485" y="342"/>
                </a:lnTo>
                <a:lnTo>
                  <a:pt x="4485" y="340"/>
                </a:lnTo>
                <a:lnTo>
                  <a:pt x="4483" y="334"/>
                </a:lnTo>
                <a:lnTo>
                  <a:pt x="4481" y="328"/>
                </a:lnTo>
                <a:lnTo>
                  <a:pt x="4475" y="313"/>
                </a:lnTo>
                <a:lnTo>
                  <a:pt x="4463" y="316"/>
                </a:lnTo>
                <a:lnTo>
                  <a:pt x="4456" y="318"/>
                </a:lnTo>
                <a:lnTo>
                  <a:pt x="4450" y="320"/>
                </a:lnTo>
                <a:lnTo>
                  <a:pt x="4444" y="323"/>
                </a:lnTo>
                <a:lnTo>
                  <a:pt x="4439" y="326"/>
                </a:lnTo>
                <a:lnTo>
                  <a:pt x="4437" y="328"/>
                </a:lnTo>
                <a:lnTo>
                  <a:pt x="4435" y="331"/>
                </a:lnTo>
                <a:lnTo>
                  <a:pt x="4434" y="333"/>
                </a:lnTo>
                <a:lnTo>
                  <a:pt x="4433" y="335"/>
                </a:lnTo>
                <a:lnTo>
                  <a:pt x="4433" y="337"/>
                </a:lnTo>
                <a:lnTo>
                  <a:pt x="4434" y="340"/>
                </a:lnTo>
                <a:lnTo>
                  <a:pt x="4434" y="341"/>
                </a:lnTo>
                <a:lnTo>
                  <a:pt x="4435" y="342"/>
                </a:lnTo>
                <a:lnTo>
                  <a:pt x="4436" y="341"/>
                </a:lnTo>
                <a:lnTo>
                  <a:pt x="4437" y="343"/>
                </a:lnTo>
                <a:lnTo>
                  <a:pt x="4438" y="344"/>
                </a:lnTo>
                <a:lnTo>
                  <a:pt x="4438" y="346"/>
                </a:lnTo>
                <a:lnTo>
                  <a:pt x="4437" y="348"/>
                </a:lnTo>
                <a:lnTo>
                  <a:pt x="4436" y="351"/>
                </a:lnTo>
                <a:lnTo>
                  <a:pt x="4436" y="352"/>
                </a:lnTo>
                <a:lnTo>
                  <a:pt x="4434" y="366"/>
                </a:lnTo>
                <a:lnTo>
                  <a:pt x="4432" y="371"/>
                </a:lnTo>
                <a:lnTo>
                  <a:pt x="4431" y="376"/>
                </a:lnTo>
                <a:lnTo>
                  <a:pt x="4430" y="379"/>
                </a:lnTo>
                <a:lnTo>
                  <a:pt x="4428" y="382"/>
                </a:lnTo>
                <a:lnTo>
                  <a:pt x="4426" y="385"/>
                </a:lnTo>
                <a:lnTo>
                  <a:pt x="4424" y="387"/>
                </a:lnTo>
                <a:lnTo>
                  <a:pt x="4419" y="390"/>
                </a:lnTo>
                <a:lnTo>
                  <a:pt x="4413" y="392"/>
                </a:lnTo>
                <a:lnTo>
                  <a:pt x="4404" y="396"/>
                </a:lnTo>
                <a:lnTo>
                  <a:pt x="4394" y="400"/>
                </a:lnTo>
                <a:lnTo>
                  <a:pt x="4394" y="401"/>
                </a:lnTo>
                <a:lnTo>
                  <a:pt x="4395" y="402"/>
                </a:lnTo>
                <a:lnTo>
                  <a:pt x="4398" y="403"/>
                </a:lnTo>
                <a:lnTo>
                  <a:pt x="4401" y="404"/>
                </a:lnTo>
                <a:lnTo>
                  <a:pt x="4401" y="405"/>
                </a:lnTo>
                <a:lnTo>
                  <a:pt x="4402" y="406"/>
                </a:lnTo>
                <a:lnTo>
                  <a:pt x="4403" y="411"/>
                </a:lnTo>
                <a:lnTo>
                  <a:pt x="4404" y="416"/>
                </a:lnTo>
                <a:lnTo>
                  <a:pt x="4405" y="422"/>
                </a:lnTo>
                <a:lnTo>
                  <a:pt x="4405" y="425"/>
                </a:lnTo>
                <a:lnTo>
                  <a:pt x="4404" y="425"/>
                </a:lnTo>
                <a:lnTo>
                  <a:pt x="4403" y="425"/>
                </a:lnTo>
                <a:lnTo>
                  <a:pt x="4401" y="425"/>
                </a:lnTo>
                <a:lnTo>
                  <a:pt x="4398" y="426"/>
                </a:lnTo>
                <a:lnTo>
                  <a:pt x="4396" y="425"/>
                </a:lnTo>
                <a:lnTo>
                  <a:pt x="4393" y="417"/>
                </a:lnTo>
                <a:lnTo>
                  <a:pt x="4390" y="412"/>
                </a:lnTo>
                <a:lnTo>
                  <a:pt x="4388" y="409"/>
                </a:lnTo>
                <a:lnTo>
                  <a:pt x="4384" y="407"/>
                </a:lnTo>
                <a:lnTo>
                  <a:pt x="4381" y="406"/>
                </a:lnTo>
                <a:lnTo>
                  <a:pt x="4377" y="407"/>
                </a:lnTo>
                <a:lnTo>
                  <a:pt x="4374" y="407"/>
                </a:lnTo>
                <a:lnTo>
                  <a:pt x="4367" y="408"/>
                </a:lnTo>
                <a:lnTo>
                  <a:pt x="4364" y="409"/>
                </a:lnTo>
                <a:lnTo>
                  <a:pt x="4360" y="409"/>
                </a:lnTo>
                <a:lnTo>
                  <a:pt x="4357" y="408"/>
                </a:lnTo>
                <a:lnTo>
                  <a:pt x="4356" y="407"/>
                </a:lnTo>
                <a:lnTo>
                  <a:pt x="4354" y="406"/>
                </a:lnTo>
                <a:lnTo>
                  <a:pt x="4349" y="402"/>
                </a:lnTo>
                <a:lnTo>
                  <a:pt x="4340" y="395"/>
                </a:lnTo>
                <a:lnTo>
                  <a:pt x="4355" y="395"/>
                </a:lnTo>
                <a:lnTo>
                  <a:pt x="4371" y="395"/>
                </a:lnTo>
                <a:lnTo>
                  <a:pt x="4373" y="394"/>
                </a:lnTo>
                <a:lnTo>
                  <a:pt x="4375" y="392"/>
                </a:lnTo>
                <a:lnTo>
                  <a:pt x="4379" y="389"/>
                </a:lnTo>
                <a:lnTo>
                  <a:pt x="4383" y="385"/>
                </a:lnTo>
                <a:lnTo>
                  <a:pt x="4385" y="383"/>
                </a:lnTo>
                <a:lnTo>
                  <a:pt x="4387" y="383"/>
                </a:lnTo>
                <a:lnTo>
                  <a:pt x="4389" y="384"/>
                </a:lnTo>
                <a:lnTo>
                  <a:pt x="4392" y="386"/>
                </a:lnTo>
                <a:lnTo>
                  <a:pt x="4394" y="389"/>
                </a:lnTo>
                <a:lnTo>
                  <a:pt x="4395" y="388"/>
                </a:lnTo>
                <a:lnTo>
                  <a:pt x="4396" y="388"/>
                </a:lnTo>
                <a:lnTo>
                  <a:pt x="4397" y="387"/>
                </a:lnTo>
                <a:lnTo>
                  <a:pt x="4399" y="386"/>
                </a:lnTo>
                <a:lnTo>
                  <a:pt x="4402" y="386"/>
                </a:lnTo>
                <a:lnTo>
                  <a:pt x="4403" y="384"/>
                </a:lnTo>
                <a:lnTo>
                  <a:pt x="4403" y="383"/>
                </a:lnTo>
                <a:lnTo>
                  <a:pt x="4402" y="381"/>
                </a:lnTo>
                <a:lnTo>
                  <a:pt x="4400" y="379"/>
                </a:lnTo>
                <a:lnTo>
                  <a:pt x="4399" y="378"/>
                </a:lnTo>
                <a:lnTo>
                  <a:pt x="4413" y="366"/>
                </a:lnTo>
                <a:lnTo>
                  <a:pt x="4414" y="360"/>
                </a:lnTo>
                <a:lnTo>
                  <a:pt x="4414" y="351"/>
                </a:lnTo>
                <a:lnTo>
                  <a:pt x="4414" y="341"/>
                </a:lnTo>
                <a:lnTo>
                  <a:pt x="4413" y="335"/>
                </a:lnTo>
                <a:lnTo>
                  <a:pt x="4412" y="333"/>
                </a:lnTo>
                <a:lnTo>
                  <a:pt x="4410" y="331"/>
                </a:lnTo>
                <a:lnTo>
                  <a:pt x="4405" y="326"/>
                </a:lnTo>
                <a:lnTo>
                  <a:pt x="4399" y="321"/>
                </a:lnTo>
                <a:lnTo>
                  <a:pt x="4398" y="318"/>
                </a:lnTo>
                <a:lnTo>
                  <a:pt x="4396" y="316"/>
                </a:lnTo>
                <a:lnTo>
                  <a:pt x="4396" y="309"/>
                </a:lnTo>
                <a:lnTo>
                  <a:pt x="4396" y="303"/>
                </a:lnTo>
                <a:lnTo>
                  <a:pt x="4398" y="297"/>
                </a:lnTo>
                <a:lnTo>
                  <a:pt x="4400" y="292"/>
                </a:lnTo>
                <a:lnTo>
                  <a:pt x="4403" y="281"/>
                </a:lnTo>
                <a:lnTo>
                  <a:pt x="4405" y="276"/>
                </a:lnTo>
                <a:lnTo>
                  <a:pt x="4405" y="273"/>
                </a:lnTo>
                <a:lnTo>
                  <a:pt x="4405" y="271"/>
                </a:lnTo>
                <a:lnTo>
                  <a:pt x="4404" y="269"/>
                </a:lnTo>
                <a:lnTo>
                  <a:pt x="4403" y="267"/>
                </a:lnTo>
                <a:lnTo>
                  <a:pt x="4399" y="263"/>
                </a:lnTo>
                <a:lnTo>
                  <a:pt x="4394" y="258"/>
                </a:lnTo>
                <a:lnTo>
                  <a:pt x="4392" y="256"/>
                </a:lnTo>
                <a:lnTo>
                  <a:pt x="4391" y="254"/>
                </a:lnTo>
                <a:lnTo>
                  <a:pt x="4390" y="251"/>
                </a:lnTo>
                <a:lnTo>
                  <a:pt x="4390" y="249"/>
                </a:lnTo>
                <a:lnTo>
                  <a:pt x="4390" y="247"/>
                </a:lnTo>
                <a:lnTo>
                  <a:pt x="4389" y="246"/>
                </a:lnTo>
                <a:lnTo>
                  <a:pt x="4388" y="245"/>
                </a:lnTo>
                <a:lnTo>
                  <a:pt x="4388" y="243"/>
                </a:lnTo>
                <a:lnTo>
                  <a:pt x="4389" y="240"/>
                </a:lnTo>
                <a:lnTo>
                  <a:pt x="4391" y="234"/>
                </a:lnTo>
                <a:lnTo>
                  <a:pt x="4392" y="232"/>
                </a:lnTo>
                <a:lnTo>
                  <a:pt x="4395" y="230"/>
                </a:lnTo>
                <a:lnTo>
                  <a:pt x="4398" y="228"/>
                </a:lnTo>
                <a:lnTo>
                  <a:pt x="4399" y="226"/>
                </a:lnTo>
                <a:lnTo>
                  <a:pt x="4401" y="220"/>
                </a:lnTo>
                <a:lnTo>
                  <a:pt x="4402" y="214"/>
                </a:lnTo>
                <a:lnTo>
                  <a:pt x="4403" y="201"/>
                </a:lnTo>
                <a:lnTo>
                  <a:pt x="4403" y="194"/>
                </a:lnTo>
                <a:lnTo>
                  <a:pt x="4402" y="188"/>
                </a:lnTo>
                <a:lnTo>
                  <a:pt x="4401" y="182"/>
                </a:lnTo>
                <a:lnTo>
                  <a:pt x="4399" y="178"/>
                </a:lnTo>
                <a:lnTo>
                  <a:pt x="4398" y="176"/>
                </a:lnTo>
                <a:lnTo>
                  <a:pt x="4396" y="175"/>
                </a:lnTo>
                <a:lnTo>
                  <a:pt x="4393" y="173"/>
                </a:lnTo>
                <a:lnTo>
                  <a:pt x="4389" y="172"/>
                </a:lnTo>
                <a:lnTo>
                  <a:pt x="4381" y="171"/>
                </a:lnTo>
                <a:lnTo>
                  <a:pt x="4372" y="171"/>
                </a:lnTo>
                <a:lnTo>
                  <a:pt x="4363" y="171"/>
                </a:lnTo>
                <a:lnTo>
                  <a:pt x="4355" y="172"/>
                </a:lnTo>
                <a:lnTo>
                  <a:pt x="4348" y="173"/>
                </a:lnTo>
                <a:lnTo>
                  <a:pt x="4345" y="174"/>
                </a:lnTo>
                <a:lnTo>
                  <a:pt x="4343" y="175"/>
                </a:lnTo>
                <a:lnTo>
                  <a:pt x="4341" y="177"/>
                </a:lnTo>
                <a:lnTo>
                  <a:pt x="4339" y="180"/>
                </a:lnTo>
                <a:lnTo>
                  <a:pt x="4338" y="183"/>
                </a:lnTo>
                <a:lnTo>
                  <a:pt x="4337" y="187"/>
                </a:lnTo>
                <a:lnTo>
                  <a:pt x="4335" y="194"/>
                </a:lnTo>
                <a:lnTo>
                  <a:pt x="4333" y="197"/>
                </a:lnTo>
                <a:lnTo>
                  <a:pt x="4332" y="200"/>
                </a:lnTo>
                <a:lnTo>
                  <a:pt x="4329" y="200"/>
                </a:lnTo>
                <a:lnTo>
                  <a:pt x="4326" y="203"/>
                </a:lnTo>
                <a:lnTo>
                  <a:pt x="4323" y="206"/>
                </a:lnTo>
                <a:lnTo>
                  <a:pt x="4321" y="210"/>
                </a:lnTo>
                <a:lnTo>
                  <a:pt x="4318" y="214"/>
                </a:lnTo>
                <a:lnTo>
                  <a:pt x="4314" y="222"/>
                </a:lnTo>
                <a:lnTo>
                  <a:pt x="4312" y="226"/>
                </a:lnTo>
                <a:lnTo>
                  <a:pt x="4309" y="229"/>
                </a:lnTo>
                <a:lnTo>
                  <a:pt x="4308" y="229"/>
                </a:lnTo>
                <a:lnTo>
                  <a:pt x="4306" y="230"/>
                </a:lnTo>
                <a:lnTo>
                  <a:pt x="4304" y="230"/>
                </a:lnTo>
                <a:lnTo>
                  <a:pt x="4301" y="230"/>
                </a:lnTo>
                <a:lnTo>
                  <a:pt x="4300" y="230"/>
                </a:lnTo>
                <a:lnTo>
                  <a:pt x="4298" y="231"/>
                </a:lnTo>
                <a:lnTo>
                  <a:pt x="4300" y="243"/>
                </a:lnTo>
                <a:lnTo>
                  <a:pt x="4302" y="253"/>
                </a:lnTo>
                <a:lnTo>
                  <a:pt x="4303" y="262"/>
                </a:lnTo>
                <a:lnTo>
                  <a:pt x="4304" y="265"/>
                </a:lnTo>
                <a:lnTo>
                  <a:pt x="4304" y="268"/>
                </a:lnTo>
                <a:lnTo>
                  <a:pt x="4304" y="274"/>
                </a:lnTo>
                <a:lnTo>
                  <a:pt x="4295" y="276"/>
                </a:lnTo>
                <a:lnTo>
                  <a:pt x="4295" y="280"/>
                </a:lnTo>
                <a:lnTo>
                  <a:pt x="4295" y="285"/>
                </a:lnTo>
                <a:lnTo>
                  <a:pt x="4296" y="289"/>
                </a:lnTo>
                <a:lnTo>
                  <a:pt x="4296" y="291"/>
                </a:lnTo>
                <a:lnTo>
                  <a:pt x="4295" y="293"/>
                </a:lnTo>
                <a:lnTo>
                  <a:pt x="4302" y="295"/>
                </a:lnTo>
                <a:lnTo>
                  <a:pt x="4307" y="295"/>
                </a:lnTo>
                <a:lnTo>
                  <a:pt x="4311" y="295"/>
                </a:lnTo>
                <a:lnTo>
                  <a:pt x="4315" y="296"/>
                </a:lnTo>
                <a:lnTo>
                  <a:pt x="4314" y="304"/>
                </a:lnTo>
                <a:lnTo>
                  <a:pt x="4314" y="310"/>
                </a:lnTo>
                <a:lnTo>
                  <a:pt x="4315" y="324"/>
                </a:lnTo>
                <a:lnTo>
                  <a:pt x="4323" y="321"/>
                </a:lnTo>
                <a:lnTo>
                  <a:pt x="4320" y="330"/>
                </a:lnTo>
                <a:lnTo>
                  <a:pt x="4317" y="337"/>
                </a:lnTo>
                <a:lnTo>
                  <a:pt x="4314" y="343"/>
                </a:lnTo>
                <a:lnTo>
                  <a:pt x="4309" y="349"/>
                </a:lnTo>
                <a:lnTo>
                  <a:pt x="4305" y="343"/>
                </a:lnTo>
                <a:lnTo>
                  <a:pt x="4298" y="333"/>
                </a:lnTo>
                <a:lnTo>
                  <a:pt x="4287" y="319"/>
                </a:lnTo>
                <a:lnTo>
                  <a:pt x="4284" y="318"/>
                </a:lnTo>
                <a:lnTo>
                  <a:pt x="4281" y="319"/>
                </a:lnTo>
                <a:lnTo>
                  <a:pt x="4278" y="319"/>
                </a:lnTo>
                <a:lnTo>
                  <a:pt x="4277" y="319"/>
                </a:lnTo>
                <a:lnTo>
                  <a:pt x="4276" y="319"/>
                </a:lnTo>
                <a:lnTo>
                  <a:pt x="4274" y="317"/>
                </a:lnTo>
                <a:lnTo>
                  <a:pt x="4274" y="316"/>
                </a:lnTo>
                <a:lnTo>
                  <a:pt x="4274" y="315"/>
                </a:lnTo>
                <a:lnTo>
                  <a:pt x="4274" y="313"/>
                </a:lnTo>
                <a:lnTo>
                  <a:pt x="4276" y="310"/>
                </a:lnTo>
                <a:lnTo>
                  <a:pt x="4273" y="310"/>
                </a:lnTo>
                <a:lnTo>
                  <a:pt x="4270" y="310"/>
                </a:lnTo>
                <a:lnTo>
                  <a:pt x="4267" y="310"/>
                </a:lnTo>
                <a:lnTo>
                  <a:pt x="4264" y="310"/>
                </a:lnTo>
                <a:lnTo>
                  <a:pt x="4262" y="307"/>
                </a:lnTo>
                <a:lnTo>
                  <a:pt x="4260" y="306"/>
                </a:lnTo>
                <a:lnTo>
                  <a:pt x="4259" y="304"/>
                </a:lnTo>
                <a:lnTo>
                  <a:pt x="4258" y="308"/>
                </a:lnTo>
                <a:lnTo>
                  <a:pt x="4258" y="312"/>
                </a:lnTo>
                <a:lnTo>
                  <a:pt x="4257" y="314"/>
                </a:lnTo>
                <a:lnTo>
                  <a:pt x="4256" y="315"/>
                </a:lnTo>
                <a:lnTo>
                  <a:pt x="4255" y="316"/>
                </a:lnTo>
                <a:lnTo>
                  <a:pt x="4253" y="316"/>
                </a:lnTo>
                <a:lnTo>
                  <a:pt x="4253" y="315"/>
                </a:lnTo>
                <a:lnTo>
                  <a:pt x="4252" y="315"/>
                </a:lnTo>
                <a:lnTo>
                  <a:pt x="4252" y="313"/>
                </a:lnTo>
                <a:lnTo>
                  <a:pt x="4253" y="307"/>
                </a:lnTo>
                <a:lnTo>
                  <a:pt x="4255" y="302"/>
                </a:lnTo>
                <a:lnTo>
                  <a:pt x="4256" y="299"/>
                </a:lnTo>
                <a:lnTo>
                  <a:pt x="4246" y="297"/>
                </a:lnTo>
                <a:lnTo>
                  <a:pt x="4236" y="297"/>
                </a:lnTo>
                <a:lnTo>
                  <a:pt x="4227" y="297"/>
                </a:lnTo>
                <a:lnTo>
                  <a:pt x="4219" y="296"/>
                </a:lnTo>
                <a:lnTo>
                  <a:pt x="4216" y="293"/>
                </a:lnTo>
                <a:lnTo>
                  <a:pt x="4213" y="291"/>
                </a:lnTo>
                <a:lnTo>
                  <a:pt x="4211" y="290"/>
                </a:lnTo>
                <a:lnTo>
                  <a:pt x="4210" y="291"/>
                </a:lnTo>
                <a:lnTo>
                  <a:pt x="4209" y="294"/>
                </a:lnTo>
                <a:lnTo>
                  <a:pt x="4209" y="296"/>
                </a:lnTo>
                <a:lnTo>
                  <a:pt x="4208" y="299"/>
                </a:lnTo>
                <a:lnTo>
                  <a:pt x="4194" y="297"/>
                </a:lnTo>
                <a:lnTo>
                  <a:pt x="4180" y="296"/>
                </a:lnTo>
                <a:lnTo>
                  <a:pt x="4180" y="299"/>
                </a:lnTo>
                <a:lnTo>
                  <a:pt x="4180" y="300"/>
                </a:lnTo>
                <a:lnTo>
                  <a:pt x="4180" y="301"/>
                </a:lnTo>
                <a:lnTo>
                  <a:pt x="4177" y="302"/>
                </a:lnTo>
                <a:lnTo>
                  <a:pt x="4181" y="309"/>
                </a:lnTo>
                <a:lnTo>
                  <a:pt x="4182" y="315"/>
                </a:lnTo>
                <a:lnTo>
                  <a:pt x="4183" y="318"/>
                </a:lnTo>
                <a:lnTo>
                  <a:pt x="4183" y="321"/>
                </a:lnTo>
                <a:lnTo>
                  <a:pt x="4183" y="333"/>
                </a:lnTo>
                <a:lnTo>
                  <a:pt x="4181" y="333"/>
                </a:lnTo>
                <a:lnTo>
                  <a:pt x="4179" y="333"/>
                </a:lnTo>
                <a:lnTo>
                  <a:pt x="4174" y="335"/>
                </a:lnTo>
                <a:lnTo>
                  <a:pt x="4174" y="334"/>
                </a:lnTo>
                <a:lnTo>
                  <a:pt x="4172" y="332"/>
                </a:lnTo>
                <a:lnTo>
                  <a:pt x="4169" y="330"/>
                </a:lnTo>
                <a:lnTo>
                  <a:pt x="4163" y="333"/>
                </a:lnTo>
                <a:lnTo>
                  <a:pt x="4164" y="340"/>
                </a:lnTo>
                <a:lnTo>
                  <a:pt x="4164" y="343"/>
                </a:lnTo>
                <a:lnTo>
                  <a:pt x="4163" y="347"/>
                </a:lnTo>
                <a:lnTo>
                  <a:pt x="4159" y="342"/>
                </a:lnTo>
                <a:lnTo>
                  <a:pt x="4153" y="335"/>
                </a:lnTo>
                <a:lnTo>
                  <a:pt x="4151" y="331"/>
                </a:lnTo>
                <a:lnTo>
                  <a:pt x="4150" y="329"/>
                </a:lnTo>
                <a:lnTo>
                  <a:pt x="4150" y="327"/>
                </a:lnTo>
                <a:lnTo>
                  <a:pt x="4150" y="325"/>
                </a:lnTo>
                <a:lnTo>
                  <a:pt x="4151" y="324"/>
                </a:lnTo>
                <a:lnTo>
                  <a:pt x="4152" y="322"/>
                </a:lnTo>
                <a:lnTo>
                  <a:pt x="4155" y="321"/>
                </a:lnTo>
                <a:lnTo>
                  <a:pt x="4129" y="330"/>
                </a:lnTo>
                <a:lnTo>
                  <a:pt x="4127" y="330"/>
                </a:lnTo>
                <a:lnTo>
                  <a:pt x="4126" y="329"/>
                </a:lnTo>
                <a:lnTo>
                  <a:pt x="4126" y="328"/>
                </a:lnTo>
                <a:lnTo>
                  <a:pt x="4127" y="327"/>
                </a:lnTo>
                <a:lnTo>
                  <a:pt x="4126" y="327"/>
                </a:lnTo>
                <a:lnTo>
                  <a:pt x="4124" y="327"/>
                </a:lnTo>
                <a:lnTo>
                  <a:pt x="4126" y="331"/>
                </a:lnTo>
                <a:lnTo>
                  <a:pt x="4127" y="334"/>
                </a:lnTo>
                <a:lnTo>
                  <a:pt x="4127" y="335"/>
                </a:lnTo>
                <a:lnTo>
                  <a:pt x="4126" y="335"/>
                </a:lnTo>
                <a:lnTo>
                  <a:pt x="4122" y="336"/>
                </a:lnTo>
                <a:lnTo>
                  <a:pt x="4118" y="335"/>
                </a:lnTo>
                <a:lnTo>
                  <a:pt x="4115" y="334"/>
                </a:lnTo>
                <a:lnTo>
                  <a:pt x="4111" y="331"/>
                </a:lnTo>
                <a:lnTo>
                  <a:pt x="4107" y="329"/>
                </a:lnTo>
                <a:lnTo>
                  <a:pt x="4104" y="328"/>
                </a:lnTo>
                <a:lnTo>
                  <a:pt x="4100" y="327"/>
                </a:lnTo>
                <a:lnTo>
                  <a:pt x="4096" y="327"/>
                </a:lnTo>
                <a:lnTo>
                  <a:pt x="4094" y="328"/>
                </a:lnTo>
                <a:lnTo>
                  <a:pt x="4091" y="329"/>
                </a:lnTo>
                <a:lnTo>
                  <a:pt x="4085" y="333"/>
                </a:lnTo>
                <a:lnTo>
                  <a:pt x="4078" y="337"/>
                </a:lnTo>
                <a:lnTo>
                  <a:pt x="4077" y="338"/>
                </a:lnTo>
                <a:lnTo>
                  <a:pt x="4078" y="338"/>
                </a:lnTo>
                <a:lnTo>
                  <a:pt x="4078" y="343"/>
                </a:lnTo>
                <a:lnTo>
                  <a:pt x="4078" y="347"/>
                </a:lnTo>
                <a:lnTo>
                  <a:pt x="4076" y="347"/>
                </a:lnTo>
                <a:lnTo>
                  <a:pt x="4075" y="346"/>
                </a:lnTo>
                <a:lnTo>
                  <a:pt x="4072" y="343"/>
                </a:lnTo>
                <a:lnTo>
                  <a:pt x="4071" y="340"/>
                </a:lnTo>
                <a:lnTo>
                  <a:pt x="4070" y="339"/>
                </a:lnTo>
                <a:lnTo>
                  <a:pt x="4069" y="338"/>
                </a:lnTo>
                <a:lnTo>
                  <a:pt x="4068" y="338"/>
                </a:lnTo>
                <a:lnTo>
                  <a:pt x="4067" y="339"/>
                </a:lnTo>
                <a:lnTo>
                  <a:pt x="4065" y="341"/>
                </a:lnTo>
                <a:lnTo>
                  <a:pt x="4065" y="343"/>
                </a:lnTo>
                <a:lnTo>
                  <a:pt x="4064" y="344"/>
                </a:lnTo>
                <a:lnTo>
                  <a:pt x="4059" y="345"/>
                </a:lnTo>
                <a:lnTo>
                  <a:pt x="4054" y="344"/>
                </a:lnTo>
                <a:lnTo>
                  <a:pt x="4049" y="344"/>
                </a:lnTo>
                <a:lnTo>
                  <a:pt x="4044" y="344"/>
                </a:lnTo>
                <a:lnTo>
                  <a:pt x="4044" y="338"/>
                </a:lnTo>
                <a:lnTo>
                  <a:pt x="4055" y="338"/>
                </a:lnTo>
                <a:lnTo>
                  <a:pt x="4057" y="338"/>
                </a:lnTo>
                <a:lnTo>
                  <a:pt x="4058" y="337"/>
                </a:lnTo>
                <a:lnTo>
                  <a:pt x="4055" y="335"/>
                </a:lnTo>
                <a:lnTo>
                  <a:pt x="4053" y="334"/>
                </a:lnTo>
                <a:lnTo>
                  <a:pt x="4052" y="333"/>
                </a:lnTo>
                <a:lnTo>
                  <a:pt x="4052" y="330"/>
                </a:lnTo>
                <a:lnTo>
                  <a:pt x="4052" y="327"/>
                </a:lnTo>
                <a:lnTo>
                  <a:pt x="4050" y="326"/>
                </a:lnTo>
                <a:lnTo>
                  <a:pt x="4048" y="326"/>
                </a:lnTo>
                <a:lnTo>
                  <a:pt x="4046" y="325"/>
                </a:lnTo>
                <a:lnTo>
                  <a:pt x="4044" y="324"/>
                </a:lnTo>
                <a:lnTo>
                  <a:pt x="4046" y="321"/>
                </a:lnTo>
                <a:lnTo>
                  <a:pt x="4047" y="320"/>
                </a:lnTo>
                <a:lnTo>
                  <a:pt x="4047" y="319"/>
                </a:lnTo>
                <a:lnTo>
                  <a:pt x="4042" y="321"/>
                </a:lnTo>
                <a:lnTo>
                  <a:pt x="4036" y="324"/>
                </a:lnTo>
                <a:lnTo>
                  <a:pt x="4030" y="327"/>
                </a:lnTo>
                <a:lnTo>
                  <a:pt x="4028" y="328"/>
                </a:lnTo>
                <a:lnTo>
                  <a:pt x="4027" y="330"/>
                </a:lnTo>
                <a:lnTo>
                  <a:pt x="4027" y="334"/>
                </a:lnTo>
                <a:lnTo>
                  <a:pt x="4027" y="338"/>
                </a:lnTo>
                <a:lnTo>
                  <a:pt x="4026" y="337"/>
                </a:lnTo>
                <a:lnTo>
                  <a:pt x="4023" y="335"/>
                </a:lnTo>
                <a:lnTo>
                  <a:pt x="4018" y="333"/>
                </a:lnTo>
                <a:lnTo>
                  <a:pt x="4016" y="333"/>
                </a:lnTo>
                <a:lnTo>
                  <a:pt x="4013" y="333"/>
                </a:lnTo>
                <a:lnTo>
                  <a:pt x="4010" y="338"/>
                </a:lnTo>
                <a:lnTo>
                  <a:pt x="4008" y="339"/>
                </a:lnTo>
                <a:lnTo>
                  <a:pt x="4005" y="338"/>
                </a:lnTo>
                <a:lnTo>
                  <a:pt x="4002" y="338"/>
                </a:lnTo>
                <a:lnTo>
                  <a:pt x="3999" y="338"/>
                </a:lnTo>
                <a:lnTo>
                  <a:pt x="3996" y="339"/>
                </a:lnTo>
                <a:lnTo>
                  <a:pt x="3992" y="341"/>
                </a:lnTo>
                <a:lnTo>
                  <a:pt x="3985" y="347"/>
                </a:lnTo>
                <a:lnTo>
                  <a:pt x="3978" y="352"/>
                </a:lnTo>
                <a:lnTo>
                  <a:pt x="3974" y="354"/>
                </a:lnTo>
                <a:lnTo>
                  <a:pt x="3971" y="355"/>
                </a:lnTo>
                <a:lnTo>
                  <a:pt x="3968" y="355"/>
                </a:lnTo>
                <a:lnTo>
                  <a:pt x="3965" y="355"/>
                </a:lnTo>
                <a:lnTo>
                  <a:pt x="3962" y="355"/>
                </a:lnTo>
                <a:lnTo>
                  <a:pt x="3961" y="355"/>
                </a:lnTo>
                <a:lnTo>
                  <a:pt x="3960" y="355"/>
                </a:lnTo>
                <a:lnTo>
                  <a:pt x="3960" y="361"/>
                </a:lnTo>
                <a:lnTo>
                  <a:pt x="3956" y="362"/>
                </a:lnTo>
                <a:lnTo>
                  <a:pt x="3952" y="363"/>
                </a:lnTo>
                <a:lnTo>
                  <a:pt x="3949" y="363"/>
                </a:lnTo>
                <a:lnTo>
                  <a:pt x="3945" y="364"/>
                </a:lnTo>
                <a:lnTo>
                  <a:pt x="3943" y="378"/>
                </a:lnTo>
                <a:lnTo>
                  <a:pt x="3941" y="387"/>
                </a:lnTo>
                <a:lnTo>
                  <a:pt x="3940" y="392"/>
                </a:lnTo>
                <a:lnTo>
                  <a:pt x="3939" y="392"/>
                </a:lnTo>
                <a:lnTo>
                  <a:pt x="3938" y="391"/>
                </a:lnTo>
                <a:lnTo>
                  <a:pt x="3936" y="389"/>
                </a:lnTo>
                <a:lnTo>
                  <a:pt x="3935" y="389"/>
                </a:lnTo>
                <a:lnTo>
                  <a:pt x="3934" y="389"/>
                </a:lnTo>
                <a:lnTo>
                  <a:pt x="3933" y="390"/>
                </a:lnTo>
                <a:lnTo>
                  <a:pt x="3931" y="393"/>
                </a:lnTo>
                <a:lnTo>
                  <a:pt x="3930" y="396"/>
                </a:lnTo>
                <a:lnTo>
                  <a:pt x="3929" y="397"/>
                </a:lnTo>
                <a:lnTo>
                  <a:pt x="3924" y="399"/>
                </a:lnTo>
                <a:lnTo>
                  <a:pt x="3917" y="401"/>
                </a:lnTo>
                <a:lnTo>
                  <a:pt x="3911" y="402"/>
                </a:lnTo>
                <a:lnTo>
                  <a:pt x="3906" y="403"/>
                </a:lnTo>
                <a:lnTo>
                  <a:pt x="3904" y="397"/>
                </a:lnTo>
                <a:lnTo>
                  <a:pt x="3900" y="389"/>
                </a:lnTo>
                <a:lnTo>
                  <a:pt x="3899" y="385"/>
                </a:lnTo>
                <a:lnTo>
                  <a:pt x="3898" y="382"/>
                </a:lnTo>
                <a:lnTo>
                  <a:pt x="3897" y="378"/>
                </a:lnTo>
                <a:lnTo>
                  <a:pt x="3898" y="375"/>
                </a:lnTo>
                <a:lnTo>
                  <a:pt x="3898" y="374"/>
                </a:lnTo>
                <a:lnTo>
                  <a:pt x="3900" y="372"/>
                </a:lnTo>
                <a:lnTo>
                  <a:pt x="3902" y="369"/>
                </a:lnTo>
                <a:lnTo>
                  <a:pt x="3903" y="366"/>
                </a:lnTo>
                <a:lnTo>
                  <a:pt x="3912" y="365"/>
                </a:lnTo>
                <a:lnTo>
                  <a:pt x="3917" y="364"/>
                </a:lnTo>
                <a:lnTo>
                  <a:pt x="3926" y="364"/>
                </a:lnTo>
                <a:lnTo>
                  <a:pt x="3915" y="345"/>
                </a:lnTo>
                <a:lnTo>
                  <a:pt x="3912" y="340"/>
                </a:lnTo>
                <a:lnTo>
                  <a:pt x="3909" y="335"/>
                </a:lnTo>
                <a:lnTo>
                  <a:pt x="3906" y="332"/>
                </a:lnTo>
                <a:lnTo>
                  <a:pt x="3903" y="330"/>
                </a:lnTo>
                <a:lnTo>
                  <a:pt x="3901" y="329"/>
                </a:lnTo>
                <a:lnTo>
                  <a:pt x="3899" y="329"/>
                </a:lnTo>
                <a:lnTo>
                  <a:pt x="3895" y="329"/>
                </a:lnTo>
                <a:lnTo>
                  <a:pt x="3890" y="330"/>
                </a:lnTo>
                <a:lnTo>
                  <a:pt x="3886" y="330"/>
                </a:lnTo>
                <a:lnTo>
                  <a:pt x="3882" y="328"/>
                </a:lnTo>
                <a:lnTo>
                  <a:pt x="3877" y="326"/>
                </a:lnTo>
                <a:lnTo>
                  <a:pt x="3867" y="321"/>
                </a:lnTo>
                <a:lnTo>
                  <a:pt x="3875" y="333"/>
                </a:lnTo>
                <a:lnTo>
                  <a:pt x="3877" y="338"/>
                </a:lnTo>
                <a:lnTo>
                  <a:pt x="3878" y="340"/>
                </a:lnTo>
                <a:lnTo>
                  <a:pt x="3878" y="342"/>
                </a:lnTo>
                <a:lnTo>
                  <a:pt x="3879" y="346"/>
                </a:lnTo>
                <a:lnTo>
                  <a:pt x="3878" y="350"/>
                </a:lnTo>
                <a:lnTo>
                  <a:pt x="3877" y="353"/>
                </a:lnTo>
                <a:lnTo>
                  <a:pt x="3875" y="357"/>
                </a:lnTo>
                <a:lnTo>
                  <a:pt x="3870" y="366"/>
                </a:lnTo>
                <a:lnTo>
                  <a:pt x="3867" y="369"/>
                </a:lnTo>
                <a:lnTo>
                  <a:pt x="3865" y="371"/>
                </a:lnTo>
                <a:lnTo>
                  <a:pt x="3866" y="372"/>
                </a:lnTo>
                <a:lnTo>
                  <a:pt x="3867" y="372"/>
                </a:lnTo>
                <a:lnTo>
                  <a:pt x="3869" y="373"/>
                </a:lnTo>
                <a:lnTo>
                  <a:pt x="3871" y="374"/>
                </a:lnTo>
                <a:lnTo>
                  <a:pt x="3873" y="375"/>
                </a:lnTo>
                <a:lnTo>
                  <a:pt x="3874" y="377"/>
                </a:lnTo>
                <a:lnTo>
                  <a:pt x="3874" y="378"/>
                </a:lnTo>
                <a:lnTo>
                  <a:pt x="3874" y="380"/>
                </a:lnTo>
                <a:lnTo>
                  <a:pt x="3874" y="384"/>
                </a:lnTo>
                <a:lnTo>
                  <a:pt x="3872" y="389"/>
                </a:lnTo>
                <a:lnTo>
                  <a:pt x="3870" y="393"/>
                </a:lnTo>
                <a:lnTo>
                  <a:pt x="3867" y="400"/>
                </a:lnTo>
                <a:lnTo>
                  <a:pt x="3861" y="409"/>
                </a:lnTo>
                <a:lnTo>
                  <a:pt x="3862" y="410"/>
                </a:lnTo>
                <a:lnTo>
                  <a:pt x="3862" y="411"/>
                </a:lnTo>
                <a:lnTo>
                  <a:pt x="3862" y="412"/>
                </a:lnTo>
                <a:lnTo>
                  <a:pt x="3861" y="414"/>
                </a:lnTo>
                <a:lnTo>
                  <a:pt x="3858" y="417"/>
                </a:lnTo>
                <a:lnTo>
                  <a:pt x="3857" y="413"/>
                </a:lnTo>
                <a:lnTo>
                  <a:pt x="3855" y="409"/>
                </a:lnTo>
                <a:lnTo>
                  <a:pt x="3853" y="405"/>
                </a:lnTo>
                <a:lnTo>
                  <a:pt x="3851" y="404"/>
                </a:lnTo>
                <a:lnTo>
                  <a:pt x="3850" y="403"/>
                </a:lnTo>
                <a:lnTo>
                  <a:pt x="3849" y="403"/>
                </a:lnTo>
                <a:lnTo>
                  <a:pt x="3848" y="403"/>
                </a:lnTo>
                <a:lnTo>
                  <a:pt x="3846" y="403"/>
                </a:lnTo>
                <a:lnTo>
                  <a:pt x="3844" y="403"/>
                </a:lnTo>
                <a:lnTo>
                  <a:pt x="3843" y="403"/>
                </a:lnTo>
                <a:lnTo>
                  <a:pt x="3841" y="403"/>
                </a:lnTo>
                <a:lnTo>
                  <a:pt x="3840" y="402"/>
                </a:lnTo>
                <a:lnTo>
                  <a:pt x="3840" y="401"/>
                </a:lnTo>
                <a:lnTo>
                  <a:pt x="3839" y="399"/>
                </a:lnTo>
                <a:lnTo>
                  <a:pt x="3838" y="398"/>
                </a:lnTo>
                <a:lnTo>
                  <a:pt x="3837" y="398"/>
                </a:lnTo>
                <a:lnTo>
                  <a:pt x="3833" y="397"/>
                </a:lnTo>
                <a:lnTo>
                  <a:pt x="3828" y="401"/>
                </a:lnTo>
                <a:lnTo>
                  <a:pt x="3817" y="409"/>
                </a:lnTo>
                <a:lnTo>
                  <a:pt x="3799" y="423"/>
                </a:lnTo>
                <a:lnTo>
                  <a:pt x="3800" y="425"/>
                </a:lnTo>
                <a:lnTo>
                  <a:pt x="3800" y="427"/>
                </a:lnTo>
                <a:lnTo>
                  <a:pt x="3800" y="432"/>
                </a:lnTo>
                <a:lnTo>
                  <a:pt x="3801" y="436"/>
                </a:lnTo>
                <a:lnTo>
                  <a:pt x="3801" y="438"/>
                </a:lnTo>
                <a:lnTo>
                  <a:pt x="3802" y="440"/>
                </a:lnTo>
                <a:lnTo>
                  <a:pt x="3806" y="444"/>
                </a:lnTo>
                <a:lnTo>
                  <a:pt x="3813" y="450"/>
                </a:lnTo>
                <a:lnTo>
                  <a:pt x="3815" y="453"/>
                </a:lnTo>
                <a:lnTo>
                  <a:pt x="3815" y="454"/>
                </a:lnTo>
                <a:lnTo>
                  <a:pt x="3815" y="455"/>
                </a:lnTo>
                <a:lnTo>
                  <a:pt x="3814" y="456"/>
                </a:lnTo>
                <a:lnTo>
                  <a:pt x="3813" y="456"/>
                </a:lnTo>
                <a:lnTo>
                  <a:pt x="3808" y="456"/>
                </a:lnTo>
                <a:lnTo>
                  <a:pt x="3802" y="455"/>
                </a:lnTo>
                <a:lnTo>
                  <a:pt x="3796" y="453"/>
                </a:lnTo>
                <a:lnTo>
                  <a:pt x="3782" y="446"/>
                </a:lnTo>
                <a:lnTo>
                  <a:pt x="3768" y="438"/>
                </a:lnTo>
                <a:lnTo>
                  <a:pt x="3757" y="431"/>
                </a:lnTo>
                <a:lnTo>
                  <a:pt x="3755" y="440"/>
                </a:lnTo>
                <a:lnTo>
                  <a:pt x="3754" y="449"/>
                </a:lnTo>
                <a:lnTo>
                  <a:pt x="3755" y="453"/>
                </a:lnTo>
                <a:lnTo>
                  <a:pt x="3756" y="455"/>
                </a:lnTo>
                <a:lnTo>
                  <a:pt x="3756" y="457"/>
                </a:lnTo>
                <a:lnTo>
                  <a:pt x="3759" y="460"/>
                </a:lnTo>
                <a:lnTo>
                  <a:pt x="3763" y="462"/>
                </a:lnTo>
                <a:lnTo>
                  <a:pt x="3765" y="462"/>
                </a:lnTo>
                <a:lnTo>
                  <a:pt x="3767" y="462"/>
                </a:lnTo>
                <a:lnTo>
                  <a:pt x="3769" y="461"/>
                </a:lnTo>
                <a:lnTo>
                  <a:pt x="3771" y="462"/>
                </a:lnTo>
                <a:lnTo>
                  <a:pt x="3771" y="467"/>
                </a:lnTo>
                <a:lnTo>
                  <a:pt x="3771" y="472"/>
                </a:lnTo>
                <a:lnTo>
                  <a:pt x="3772" y="477"/>
                </a:lnTo>
                <a:lnTo>
                  <a:pt x="3772" y="479"/>
                </a:lnTo>
                <a:lnTo>
                  <a:pt x="3771" y="482"/>
                </a:lnTo>
                <a:lnTo>
                  <a:pt x="3768" y="484"/>
                </a:lnTo>
                <a:lnTo>
                  <a:pt x="3767" y="485"/>
                </a:lnTo>
                <a:lnTo>
                  <a:pt x="3766" y="486"/>
                </a:lnTo>
                <a:lnTo>
                  <a:pt x="3765" y="487"/>
                </a:lnTo>
                <a:lnTo>
                  <a:pt x="3761" y="487"/>
                </a:lnTo>
                <a:lnTo>
                  <a:pt x="3760" y="487"/>
                </a:lnTo>
                <a:lnTo>
                  <a:pt x="3759" y="486"/>
                </a:lnTo>
                <a:lnTo>
                  <a:pt x="3760" y="485"/>
                </a:lnTo>
                <a:lnTo>
                  <a:pt x="3753" y="483"/>
                </a:lnTo>
                <a:lnTo>
                  <a:pt x="3745" y="482"/>
                </a:lnTo>
                <a:lnTo>
                  <a:pt x="3737" y="482"/>
                </a:lnTo>
                <a:lnTo>
                  <a:pt x="3735" y="482"/>
                </a:lnTo>
                <a:lnTo>
                  <a:pt x="3734" y="476"/>
                </a:lnTo>
                <a:lnTo>
                  <a:pt x="3735" y="470"/>
                </a:lnTo>
                <a:lnTo>
                  <a:pt x="3731" y="470"/>
                </a:lnTo>
                <a:lnTo>
                  <a:pt x="3729" y="470"/>
                </a:lnTo>
                <a:lnTo>
                  <a:pt x="3727" y="470"/>
                </a:lnTo>
                <a:lnTo>
                  <a:pt x="3723" y="470"/>
                </a:lnTo>
                <a:lnTo>
                  <a:pt x="3721" y="464"/>
                </a:lnTo>
                <a:lnTo>
                  <a:pt x="3719" y="458"/>
                </a:lnTo>
                <a:lnTo>
                  <a:pt x="3717" y="452"/>
                </a:lnTo>
                <a:lnTo>
                  <a:pt x="3716" y="446"/>
                </a:lnTo>
                <a:lnTo>
                  <a:pt x="3715" y="440"/>
                </a:lnTo>
                <a:lnTo>
                  <a:pt x="3715" y="434"/>
                </a:lnTo>
                <a:lnTo>
                  <a:pt x="3715" y="420"/>
                </a:lnTo>
                <a:lnTo>
                  <a:pt x="3707" y="416"/>
                </a:lnTo>
                <a:lnTo>
                  <a:pt x="3703" y="414"/>
                </a:lnTo>
                <a:lnTo>
                  <a:pt x="3699" y="413"/>
                </a:lnTo>
                <a:lnTo>
                  <a:pt x="3691" y="411"/>
                </a:lnTo>
                <a:lnTo>
                  <a:pt x="3681" y="409"/>
                </a:lnTo>
                <a:lnTo>
                  <a:pt x="3684" y="400"/>
                </a:lnTo>
                <a:lnTo>
                  <a:pt x="3682" y="400"/>
                </a:lnTo>
                <a:lnTo>
                  <a:pt x="3678" y="400"/>
                </a:lnTo>
                <a:lnTo>
                  <a:pt x="3673" y="400"/>
                </a:lnTo>
                <a:lnTo>
                  <a:pt x="3673" y="396"/>
                </a:lnTo>
                <a:lnTo>
                  <a:pt x="3673" y="392"/>
                </a:lnTo>
                <a:lnTo>
                  <a:pt x="3670" y="386"/>
                </a:lnTo>
                <a:lnTo>
                  <a:pt x="3659" y="369"/>
                </a:lnTo>
                <a:lnTo>
                  <a:pt x="3681" y="383"/>
                </a:lnTo>
                <a:lnTo>
                  <a:pt x="3683" y="383"/>
                </a:lnTo>
                <a:lnTo>
                  <a:pt x="3684" y="381"/>
                </a:lnTo>
                <a:lnTo>
                  <a:pt x="3685" y="380"/>
                </a:lnTo>
                <a:lnTo>
                  <a:pt x="3687" y="380"/>
                </a:lnTo>
                <a:lnTo>
                  <a:pt x="3688" y="382"/>
                </a:lnTo>
                <a:lnTo>
                  <a:pt x="3690" y="383"/>
                </a:lnTo>
                <a:lnTo>
                  <a:pt x="3693" y="388"/>
                </a:lnTo>
                <a:lnTo>
                  <a:pt x="3696" y="392"/>
                </a:lnTo>
                <a:lnTo>
                  <a:pt x="3698" y="395"/>
                </a:lnTo>
                <a:lnTo>
                  <a:pt x="3699" y="392"/>
                </a:lnTo>
                <a:lnTo>
                  <a:pt x="3700" y="389"/>
                </a:lnTo>
                <a:lnTo>
                  <a:pt x="3701" y="387"/>
                </a:lnTo>
                <a:lnTo>
                  <a:pt x="3703" y="386"/>
                </a:lnTo>
                <a:lnTo>
                  <a:pt x="3704" y="386"/>
                </a:lnTo>
                <a:lnTo>
                  <a:pt x="3706" y="386"/>
                </a:lnTo>
                <a:lnTo>
                  <a:pt x="3706" y="395"/>
                </a:lnTo>
                <a:lnTo>
                  <a:pt x="3723" y="400"/>
                </a:lnTo>
                <a:lnTo>
                  <a:pt x="3744" y="406"/>
                </a:lnTo>
                <a:lnTo>
                  <a:pt x="3755" y="409"/>
                </a:lnTo>
                <a:lnTo>
                  <a:pt x="3765" y="411"/>
                </a:lnTo>
                <a:lnTo>
                  <a:pt x="3770" y="411"/>
                </a:lnTo>
                <a:lnTo>
                  <a:pt x="3774" y="412"/>
                </a:lnTo>
                <a:lnTo>
                  <a:pt x="3779" y="412"/>
                </a:lnTo>
                <a:lnTo>
                  <a:pt x="3782" y="411"/>
                </a:lnTo>
                <a:lnTo>
                  <a:pt x="3786" y="410"/>
                </a:lnTo>
                <a:lnTo>
                  <a:pt x="3791" y="406"/>
                </a:lnTo>
                <a:lnTo>
                  <a:pt x="3799" y="400"/>
                </a:lnTo>
                <a:lnTo>
                  <a:pt x="3803" y="397"/>
                </a:lnTo>
                <a:lnTo>
                  <a:pt x="3808" y="394"/>
                </a:lnTo>
                <a:lnTo>
                  <a:pt x="3812" y="389"/>
                </a:lnTo>
                <a:lnTo>
                  <a:pt x="3815" y="385"/>
                </a:lnTo>
                <a:lnTo>
                  <a:pt x="3817" y="382"/>
                </a:lnTo>
                <a:lnTo>
                  <a:pt x="3818" y="380"/>
                </a:lnTo>
                <a:lnTo>
                  <a:pt x="3819" y="377"/>
                </a:lnTo>
                <a:lnTo>
                  <a:pt x="3819" y="374"/>
                </a:lnTo>
                <a:lnTo>
                  <a:pt x="3819" y="371"/>
                </a:lnTo>
                <a:lnTo>
                  <a:pt x="3819" y="368"/>
                </a:lnTo>
                <a:lnTo>
                  <a:pt x="3818" y="364"/>
                </a:lnTo>
                <a:lnTo>
                  <a:pt x="3816" y="361"/>
                </a:lnTo>
                <a:lnTo>
                  <a:pt x="3810" y="361"/>
                </a:lnTo>
                <a:lnTo>
                  <a:pt x="3810" y="355"/>
                </a:lnTo>
                <a:lnTo>
                  <a:pt x="3805" y="353"/>
                </a:lnTo>
                <a:lnTo>
                  <a:pt x="3800" y="351"/>
                </a:lnTo>
                <a:lnTo>
                  <a:pt x="3796" y="349"/>
                </a:lnTo>
                <a:lnTo>
                  <a:pt x="3791" y="347"/>
                </a:lnTo>
                <a:lnTo>
                  <a:pt x="3791" y="341"/>
                </a:lnTo>
                <a:lnTo>
                  <a:pt x="3790" y="341"/>
                </a:lnTo>
                <a:lnTo>
                  <a:pt x="3789" y="341"/>
                </a:lnTo>
                <a:lnTo>
                  <a:pt x="3787" y="341"/>
                </a:lnTo>
                <a:lnTo>
                  <a:pt x="3785" y="341"/>
                </a:lnTo>
                <a:lnTo>
                  <a:pt x="3783" y="341"/>
                </a:lnTo>
                <a:lnTo>
                  <a:pt x="3782" y="341"/>
                </a:lnTo>
                <a:lnTo>
                  <a:pt x="3782" y="335"/>
                </a:lnTo>
                <a:lnTo>
                  <a:pt x="3759" y="323"/>
                </a:lnTo>
                <a:lnTo>
                  <a:pt x="3747" y="317"/>
                </a:lnTo>
                <a:lnTo>
                  <a:pt x="3742" y="315"/>
                </a:lnTo>
                <a:lnTo>
                  <a:pt x="3737" y="313"/>
                </a:lnTo>
                <a:lnTo>
                  <a:pt x="3732" y="312"/>
                </a:lnTo>
                <a:lnTo>
                  <a:pt x="3729" y="312"/>
                </a:lnTo>
                <a:lnTo>
                  <a:pt x="3726" y="313"/>
                </a:lnTo>
                <a:lnTo>
                  <a:pt x="3723" y="313"/>
                </a:lnTo>
                <a:lnTo>
                  <a:pt x="3722" y="311"/>
                </a:lnTo>
                <a:lnTo>
                  <a:pt x="3720" y="309"/>
                </a:lnTo>
                <a:lnTo>
                  <a:pt x="3719" y="306"/>
                </a:lnTo>
                <a:lnTo>
                  <a:pt x="3718" y="304"/>
                </a:lnTo>
                <a:lnTo>
                  <a:pt x="3715" y="304"/>
                </a:lnTo>
                <a:lnTo>
                  <a:pt x="3712" y="304"/>
                </a:lnTo>
                <a:lnTo>
                  <a:pt x="3709" y="305"/>
                </a:lnTo>
                <a:lnTo>
                  <a:pt x="3706" y="304"/>
                </a:lnTo>
                <a:lnTo>
                  <a:pt x="3704" y="299"/>
                </a:lnTo>
                <a:lnTo>
                  <a:pt x="3698" y="297"/>
                </a:lnTo>
                <a:lnTo>
                  <a:pt x="3693" y="296"/>
                </a:lnTo>
                <a:lnTo>
                  <a:pt x="3681" y="294"/>
                </a:lnTo>
                <a:lnTo>
                  <a:pt x="3670" y="294"/>
                </a:lnTo>
                <a:lnTo>
                  <a:pt x="3661" y="293"/>
                </a:lnTo>
                <a:lnTo>
                  <a:pt x="3661" y="288"/>
                </a:lnTo>
                <a:lnTo>
                  <a:pt x="3667" y="287"/>
                </a:lnTo>
                <a:lnTo>
                  <a:pt x="3670" y="286"/>
                </a:lnTo>
                <a:lnTo>
                  <a:pt x="3671" y="286"/>
                </a:lnTo>
                <a:lnTo>
                  <a:pt x="3671" y="285"/>
                </a:lnTo>
                <a:lnTo>
                  <a:pt x="3670" y="284"/>
                </a:lnTo>
                <a:lnTo>
                  <a:pt x="3665" y="282"/>
                </a:lnTo>
                <a:lnTo>
                  <a:pt x="3659" y="279"/>
                </a:lnTo>
                <a:lnTo>
                  <a:pt x="3658" y="279"/>
                </a:lnTo>
                <a:lnTo>
                  <a:pt x="3656" y="279"/>
                </a:lnTo>
                <a:lnTo>
                  <a:pt x="3653" y="280"/>
                </a:lnTo>
                <a:lnTo>
                  <a:pt x="3651" y="280"/>
                </a:lnTo>
                <a:lnTo>
                  <a:pt x="3647" y="280"/>
                </a:lnTo>
                <a:lnTo>
                  <a:pt x="3640" y="278"/>
                </a:lnTo>
                <a:lnTo>
                  <a:pt x="3635" y="277"/>
                </a:lnTo>
                <a:lnTo>
                  <a:pt x="3633" y="276"/>
                </a:lnTo>
                <a:lnTo>
                  <a:pt x="3630" y="276"/>
                </a:lnTo>
                <a:lnTo>
                  <a:pt x="3628" y="282"/>
                </a:lnTo>
                <a:lnTo>
                  <a:pt x="3622" y="283"/>
                </a:lnTo>
                <a:lnTo>
                  <a:pt x="3619" y="283"/>
                </a:lnTo>
                <a:lnTo>
                  <a:pt x="3614" y="285"/>
                </a:lnTo>
                <a:lnTo>
                  <a:pt x="3612" y="282"/>
                </a:lnTo>
                <a:lnTo>
                  <a:pt x="3611" y="278"/>
                </a:lnTo>
                <a:lnTo>
                  <a:pt x="3610" y="276"/>
                </a:lnTo>
                <a:lnTo>
                  <a:pt x="3608" y="274"/>
                </a:lnTo>
                <a:lnTo>
                  <a:pt x="3611" y="273"/>
                </a:lnTo>
                <a:lnTo>
                  <a:pt x="3615" y="274"/>
                </a:lnTo>
                <a:lnTo>
                  <a:pt x="3619" y="274"/>
                </a:lnTo>
                <a:lnTo>
                  <a:pt x="3620" y="274"/>
                </a:lnTo>
                <a:lnTo>
                  <a:pt x="3622" y="274"/>
                </a:lnTo>
                <a:lnTo>
                  <a:pt x="3623" y="272"/>
                </a:lnTo>
                <a:lnTo>
                  <a:pt x="3625" y="269"/>
                </a:lnTo>
                <a:lnTo>
                  <a:pt x="3626" y="266"/>
                </a:lnTo>
                <a:lnTo>
                  <a:pt x="3628" y="265"/>
                </a:lnTo>
                <a:lnTo>
                  <a:pt x="3630" y="265"/>
                </a:lnTo>
                <a:lnTo>
                  <a:pt x="3631" y="265"/>
                </a:lnTo>
                <a:lnTo>
                  <a:pt x="3633" y="266"/>
                </a:lnTo>
                <a:lnTo>
                  <a:pt x="3635" y="268"/>
                </a:lnTo>
                <a:lnTo>
                  <a:pt x="3637" y="268"/>
                </a:lnTo>
                <a:lnTo>
                  <a:pt x="3639" y="268"/>
                </a:lnTo>
                <a:lnTo>
                  <a:pt x="3637" y="265"/>
                </a:lnTo>
                <a:lnTo>
                  <a:pt x="3636" y="261"/>
                </a:lnTo>
                <a:lnTo>
                  <a:pt x="3635" y="257"/>
                </a:lnTo>
                <a:lnTo>
                  <a:pt x="3633" y="254"/>
                </a:lnTo>
                <a:lnTo>
                  <a:pt x="3631" y="254"/>
                </a:lnTo>
                <a:lnTo>
                  <a:pt x="3630" y="254"/>
                </a:lnTo>
                <a:lnTo>
                  <a:pt x="3630" y="255"/>
                </a:lnTo>
                <a:lnTo>
                  <a:pt x="3630" y="257"/>
                </a:lnTo>
                <a:lnTo>
                  <a:pt x="3626" y="257"/>
                </a:lnTo>
                <a:lnTo>
                  <a:pt x="3622" y="257"/>
                </a:lnTo>
                <a:lnTo>
                  <a:pt x="3623" y="254"/>
                </a:lnTo>
                <a:lnTo>
                  <a:pt x="3625" y="251"/>
                </a:lnTo>
                <a:lnTo>
                  <a:pt x="3626" y="249"/>
                </a:lnTo>
                <a:lnTo>
                  <a:pt x="3626" y="248"/>
                </a:lnTo>
                <a:lnTo>
                  <a:pt x="3623" y="249"/>
                </a:lnTo>
                <a:lnTo>
                  <a:pt x="3620" y="252"/>
                </a:lnTo>
                <a:lnTo>
                  <a:pt x="3618" y="254"/>
                </a:lnTo>
                <a:lnTo>
                  <a:pt x="3616" y="254"/>
                </a:lnTo>
                <a:lnTo>
                  <a:pt x="3616" y="248"/>
                </a:lnTo>
                <a:lnTo>
                  <a:pt x="3611" y="248"/>
                </a:lnTo>
                <a:lnTo>
                  <a:pt x="3611" y="247"/>
                </a:lnTo>
                <a:lnTo>
                  <a:pt x="3612" y="245"/>
                </a:lnTo>
                <a:lnTo>
                  <a:pt x="3614" y="243"/>
                </a:lnTo>
                <a:lnTo>
                  <a:pt x="3612" y="243"/>
                </a:lnTo>
                <a:lnTo>
                  <a:pt x="3611" y="243"/>
                </a:lnTo>
                <a:lnTo>
                  <a:pt x="3611" y="242"/>
                </a:lnTo>
                <a:lnTo>
                  <a:pt x="3610" y="241"/>
                </a:lnTo>
                <a:lnTo>
                  <a:pt x="3610" y="240"/>
                </a:lnTo>
                <a:lnTo>
                  <a:pt x="3609" y="239"/>
                </a:lnTo>
                <a:lnTo>
                  <a:pt x="3607" y="239"/>
                </a:lnTo>
                <a:lnTo>
                  <a:pt x="3605" y="240"/>
                </a:lnTo>
                <a:lnTo>
                  <a:pt x="3604" y="240"/>
                </a:lnTo>
                <a:lnTo>
                  <a:pt x="3604" y="241"/>
                </a:lnTo>
                <a:lnTo>
                  <a:pt x="3603" y="244"/>
                </a:lnTo>
                <a:lnTo>
                  <a:pt x="3603" y="247"/>
                </a:lnTo>
                <a:lnTo>
                  <a:pt x="3603" y="248"/>
                </a:lnTo>
                <a:lnTo>
                  <a:pt x="3602" y="248"/>
                </a:lnTo>
                <a:lnTo>
                  <a:pt x="3598" y="249"/>
                </a:lnTo>
                <a:lnTo>
                  <a:pt x="3594" y="250"/>
                </a:lnTo>
                <a:lnTo>
                  <a:pt x="3591" y="251"/>
                </a:lnTo>
                <a:lnTo>
                  <a:pt x="3591" y="245"/>
                </a:lnTo>
                <a:lnTo>
                  <a:pt x="3591" y="240"/>
                </a:lnTo>
                <a:lnTo>
                  <a:pt x="3595" y="240"/>
                </a:lnTo>
                <a:lnTo>
                  <a:pt x="3597" y="239"/>
                </a:lnTo>
                <a:lnTo>
                  <a:pt x="3598" y="238"/>
                </a:lnTo>
                <a:lnTo>
                  <a:pt x="3598" y="237"/>
                </a:lnTo>
                <a:lnTo>
                  <a:pt x="3598" y="236"/>
                </a:lnTo>
                <a:lnTo>
                  <a:pt x="3597" y="235"/>
                </a:lnTo>
                <a:lnTo>
                  <a:pt x="3595" y="234"/>
                </a:lnTo>
                <a:lnTo>
                  <a:pt x="3594" y="234"/>
                </a:lnTo>
                <a:lnTo>
                  <a:pt x="3595" y="234"/>
                </a:lnTo>
                <a:lnTo>
                  <a:pt x="3594" y="234"/>
                </a:lnTo>
                <a:lnTo>
                  <a:pt x="3591" y="232"/>
                </a:lnTo>
                <a:lnTo>
                  <a:pt x="3587" y="230"/>
                </a:lnTo>
                <a:lnTo>
                  <a:pt x="3583" y="229"/>
                </a:lnTo>
                <a:lnTo>
                  <a:pt x="3580" y="237"/>
                </a:lnTo>
                <a:lnTo>
                  <a:pt x="3574" y="240"/>
                </a:lnTo>
                <a:lnTo>
                  <a:pt x="3577" y="248"/>
                </a:lnTo>
                <a:lnTo>
                  <a:pt x="3571" y="253"/>
                </a:lnTo>
                <a:lnTo>
                  <a:pt x="3566" y="257"/>
                </a:lnTo>
                <a:lnTo>
                  <a:pt x="3566" y="259"/>
                </a:lnTo>
                <a:lnTo>
                  <a:pt x="3564" y="259"/>
                </a:lnTo>
                <a:lnTo>
                  <a:pt x="3563" y="259"/>
                </a:lnTo>
                <a:lnTo>
                  <a:pt x="3563" y="257"/>
                </a:lnTo>
                <a:lnTo>
                  <a:pt x="3563" y="255"/>
                </a:lnTo>
                <a:lnTo>
                  <a:pt x="3563" y="251"/>
                </a:lnTo>
                <a:lnTo>
                  <a:pt x="3563" y="248"/>
                </a:lnTo>
                <a:lnTo>
                  <a:pt x="3565" y="248"/>
                </a:lnTo>
                <a:lnTo>
                  <a:pt x="3566" y="247"/>
                </a:lnTo>
                <a:lnTo>
                  <a:pt x="3566" y="246"/>
                </a:lnTo>
                <a:lnTo>
                  <a:pt x="3566" y="245"/>
                </a:lnTo>
                <a:lnTo>
                  <a:pt x="3565" y="242"/>
                </a:lnTo>
                <a:lnTo>
                  <a:pt x="3563" y="240"/>
                </a:lnTo>
                <a:lnTo>
                  <a:pt x="3558" y="244"/>
                </a:lnTo>
                <a:lnTo>
                  <a:pt x="3556" y="247"/>
                </a:lnTo>
                <a:lnTo>
                  <a:pt x="3556" y="248"/>
                </a:lnTo>
                <a:lnTo>
                  <a:pt x="3557" y="248"/>
                </a:lnTo>
                <a:lnTo>
                  <a:pt x="3554" y="251"/>
                </a:lnTo>
                <a:lnTo>
                  <a:pt x="3550" y="255"/>
                </a:lnTo>
                <a:lnTo>
                  <a:pt x="3546" y="259"/>
                </a:lnTo>
                <a:lnTo>
                  <a:pt x="3544" y="261"/>
                </a:lnTo>
                <a:lnTo>
                  <a:pt x="3543" y="262"/>
                </a:lnTo>
                <a:lnTo>
                  <a:pt x="3543" y="263"/>
                </a:lnTo>
                <a:lnTo>
                  <a:pt x="3543" y="265"/>
                </a:lnTo>
                <a:lnTo>
                  <a:pt x="3543" y="267"/>
                </a:lnTo>
                <a:lnTo>
                  <a:pt x="3544" y="269"/>
                </a:lnTo>
                <a:lnTo>
                  <a:pt x="3544" y="270"/>
                </a:lnTo>
                <a:lnTo>
                  <a:pt x="3543" y="271"/>
                </a:lnTo>
                <a:lnTo>
                  <a:pt x="3542" y="272"/>
                </a:lnTo>
                <a:lnTo>
                  <a:pt x="3539" y="274"/>
                </a:lnTo>
                <a:lnTo>
                  <a:pt x="3536" y="275"/>
                </a:lnTo>
                <a:lnTo>
                  <a:pt x="3535" y="276"/>
                </a:lnTo>
                <a:lnTo>
                  <a:pt x="3536" y="271"/>
                </a:lnTo>
                <a:lnTo>
                  <a:pt x="3537" y="267"/>
                </a:lnTo>
                <a:lnTo>
                  <a:pt x="3537" y="262"/>
                </a:lnTo>
                <a:lnTo>
                  <a:pt x="3538" y="257"/>
                </a:lnTo>
                <a:lnTo>
                  <a:pt x="3543" y="256"/>
                </a:lnTo>
                <a:lnTo>
                  <a:pt x="3545" y="255"/>
                </a:lnTo>
                <a:lnTo>
                  <a:pt x="3546" y="254"/>
                </a:lnTo>
                <a:lnTo>
                  <a:pt x="3540" y="240"/>
                </a:lnTo>
                <a:lnTo>
                  <a:pt x="3538" y="241"/>
                </a:lnTo>
                <a:lnTo>
                  <a:pt x="3537" y="243"/>
                </a:lnTo>
                <a:lnTo>
                  <a:pt x="3537" y="244"/>
                </a:lnTo>
                <a:lnTo>
                  <a:pt x="3538" y="245"/>
                </a:lnTo>
                <a:lnTo>
                  <a:pt x="3535" y="244"/>
                </a:lnTo>
                <a:lnTo>
                  <a:pt x="3534" y="243"/>
                </a:lnTo>
                <a:lnTo>
                  <a:pt x="3534" y="241"/>
                </a:lnTo>
                <a:lnTo>
                  <a:pt x="3532" y="240"/>
                </a:lnTo>
                <a:lnTo>
                  <a:pt x="3531" y="240"/>
                </a:lnTo>
                <a:lnTo>
                  <a:pt x="3530" y="240"/>
                </a:lnTo>
                <a:lnTo>
                  <a:pt x="3527" y="239"/>
                </a:lnTo>
                <a:lnTo>
                  <a:pt x="3524" y="237"/>
                </a:lnTo>
                <a:lnTo>
                  <a:pt x="3524" y="246"/>
                </a:lnTo>
                <a:lnTo>
                  <a:pt x="3524" y="251"/>
                </a:lnTo>
                <a:lnTo>
                  <a:pt x="3524" y="253"/>
                </a:lnTo>
                <a:lnTo>
                  <a:pt x="3524" y="254"/>
                </a:lnTo>
                <a:lnTo>
                  <a:pt x="3518" y="251"/>
                </a:lnTo>
                <a:lnTo>
                  <a:pt x="3519" y="250"/>
                </a:lnTo>
                <a:lnTo>
                  <a:pt x="3519" y="248"/>
                </a:lnTo>
                <a:lnTo>
                  <a:pt x="3519" y="247"/>
                </a:lnTo>
                <a:lnTo>
                  <a:pt x="3517" y="247"/>
                </a:lnTo>
                <a:lnTo>
                  <a:pt x="3512" y="245"/>
                </a:lnTo>
                <a:lnTo>
                  <a:pt x="3512" y="247"/>
                </a:lnTo>
                <a:lnTo>
                  <a:pt x="3512" y="249"/>
                </a:lnTo>
                <a:lnTo>
                  <a:pt x="3512" y="252"/>
                </a:lnTo>
                <a:lnTo>
                  <a:pt x="3512" y="254"/>
                </a:lnTo>
                <a:lnTo>
                  <a:pt x="3495" y="268"/>
                </a:lnTo>
                <a:lnTo>
                  <a:pt x="3489" y="263"/>
                </a:lnTo>
                <a:lnTo>
                  <a:pt x="3482" y="259"/>
                </a:lnTo>
                <a:lnTo>
                  <a:pt x="3474" y="255"/>
                </a:lnTo>
                <a:lnTo>
                  <a:pt x="3470" y="254"/>
                </a:lnTo>
                <a:lnTo>
                  <a:pt x="3467" y="254"/>
                </a:lnTo>
                <a:lnTo>
                  <a:pt x="3464" y="258"/>
                </a:lnTo>
                <a:lnTo>
                  <a:pt x="3462" y="262"/>
                </a:lnTo>
                <a:lnTo>
                  <a:pt x="3466" y="262"/>
                </a:lnTo>
                <a:lnTo>
                  <a:pt x="3470" y="262"/>
                </a:lnTo>
                <a:lnTo>
                  <a:pt x="3471" y="269"/>
                </a:lnTo>
                <a:lnTo>
                  <a:pt x="3471" y="271"/>
                </a:lnTo>
                <a:lnTo>
                  <a:pt x="3473" y="274"/>
                </a:lnTo>
                <a:lnTo>
                  <a:pt x="3466" y="271"/>
                </a:lnTo>
                <a:lnTo>
                  <a:pt x="3459" y="268"/>
                </a:lnTo>
                <a:lnTo>
                  <a:pt x="3462" y="279"/>
                </a:lnTo>
                <a:lnTo>
                  <a:pt x="3457" y="279"/>
                </a:lnTo>
                <a:lnTo>
                  <a:pt x="3453" y="279"/>
                </a:lnTo>
                <a:lnTo>
                  <a:pt x="3455" y="272"/>
                </a:lnTo>
                <a:lnTo>
                  <a:pt x="3455" y="269"/>
                </a:lnTo>
                <a:lnTo>
                  <a:pt x="3453" y="268"/>
                </a:lnTo>
                <a:lnTo>
                  <a:pt x="3449" y="276"/>
                </a:lnTo>
                <a:lnTo>
                  <a:pt x="3448" y="279"/>
                </a:lnTo>
                <a:lnTo>
                  <a:pt x="3447" y="280"/>
                </a:lnTo>
                <a:lnTo>
                  <a:pt x="3446" y="280"/>
                </a:lnTo>
                <a:lnTo>
                  <a:pt x="3445" y="278"/>
                </a:lnTo>
                <a:lnTo>
                  <a:pt x="3442" y="268"/>
                </a:lnTo>
                <a:lnTo>
                  <a:pt x="3441" y="269"/>
                </a:lnTo>
                <a:lnTo>
                  <a:pt x="3441" y="271"/>
                </a:lnTo>
                <a:lnTo>
                  <a:pt x="3441" y="274"/>
                </a:lnTo>
                <a:lnTo>
                  <a:pt x="3440" y="276"/>
                </a:lnTo>
                <a:lnTo>
                  <a:pt x="3440" y="278"/>
                </a:lnTo>
                <a:lnTo>
                  <a:pt x="3439" y="279"/>
                </a:lnTo>
                <a:lnTo>
                  <a:pt x="3437" y="281"/>
                </a:lnTo>
                <a:lnTo>
                  <a:pt x="3434" y="282"/>
                </a:lnTo>
                <a:lnTo>
                  <a:pt x="3430" y="283"/>
                </a:lnTo>
                <a:lnTo>
                  <a:pt x="3428" y="285"/>
                </a:lnTo>
                <a:lnTo>
                  <a:pt x="3427" y="283"/>
                </a:lnTo>
                <a:lnTo>
                  <a:pt x="3426" y="282"/>
                </a:lnTo>
                <a:lnTo>
                  <a:pt x="3427" y="280"/>
                </a:lnTo>
                <a:lnTo>
                  <a:pt x="3427" y="279"/>
                </a:lnTo>
                <a:lnTo>
                  <a:pt x="3426" y="278"/>
                </a:lnTo>
                <a:lnTo>
                  <a:pt x="3425" y="277"/>
                </a:lnTo>
                <a:lnTo>
                  <a:pt x="3422" y="276"/>
                </a:lnTo>
                <a:lnTo>
                  <a:pt x="3420" y="288"/>
                </a:lnTo>
                <a:lnTo>
                  <a:pt x="3422" y="287"/>
                </a:lnTo>
                <a:lnTo>
                  <a:pt x="3425" y="288"/>
                </a:lnTo>
                <a:lnTo>
                  <a:pt x="3425" y="289"/>
                </a:lnTo>
                <a:lnTo>
                  <a:pt x="3424" y="290"/>
                </a:lnTo>
                <a:lnTo>
                  <a:pt x="3422" y="290"/>
                </a:lnTo>
                <a:lnTo>
                  <a:pt x="3416" y="292"/>
                </a:lnTo>
                <a:lnTo>
                  <a:pt x="3414" y="293"/>
                </a:lnTo>
                <a:lnTo>
                  <a:pt x="3415" y="293"/>
                </a:lnTo>
                <a:lnTo>
                  <a:pt x="3417" y="293"/>
                </a:lnTo>
                <a:lnTo>
                  <a:pt x="3417" y="299"/>
                </a:lnTo>
                <a:lnTo>
                  <a:pt x="3413" y="299"/>
                </a:lnTo>
                <a:lnTo>
                  <a:pt x="3411" y="297"/>
                </a:lnTo>
                <a:lnTo>
                  <a:pt x="3409" y="296"/>
                </a:lnTo>
                <a:lnTo>
                  <a:pt x="3408" y="296"/>
                </a:lnTo>
                <a:lnTo>
                  <a:pt x="3405" y="296"/>
                </a:lnTo>
                <a:lnTo>
                  <a:pt x="3405" y="304"/>
                </a:lnTo>
                <a:lnTo>
                  <a:pt x="3403" y="304"/>
                </a:lnTo>
                <a:lnTo>
                  <a:pt x="3402" y="304"/>
                </a:lnTo>
                <a:lnTo>
                  <a:pt x="3401" y="303"/>
                </a:lnTo>
                <a:lnTo>
                  <a:pt x="3401" y="302"/>
                </a:lnTo>
                <a:lnTo>
                  <a:pt x="3401" y="301"/>
                </a:lnTo>
                <a:lnTo>
                  <a:pt x="3401" y="297"/>
                </a:lnTo>
                <a:lnTo>
                  <a:pt x="3402" y="293"/>
                </a:lnTo>
                <a:lnTo>
                  <a:pt x="3403" y="289"/>
                </a:lnTo>
                <a:lnTo>
                  <a:pt x="3402" y="287"/>
                </a:lnTo>
                <a:lnTo>
                  <a:pt x="3402" y="286"/>
                </a:lnTo>
                <a:lnTo>
                  <a:pt x="3401" y="286"/>
                </a:lnTo>
                <a:lnTo>
                  <a:pt x="3400" y="286"/>
                </a:lnTo>
                <a:lnTo>
                  <a:pt x="3397" y="286"/>
                </a:lnTo>
                <a:lnTo>
                  <a:pt x="3394" y="288"/>
                </a:lnTo>
                <a:lnTo>
                  <a:pt x="3391" y="290"/>
                </a:lnTo>
                <a:lnTo>
                  <a:pt x="3389" y="291"/>
                </a:lnTo>
                <a:lnTo>
                  <a:pt x="3386" y="293"/>
                </a:lnTo>
                <a:lnTo>
                  <a:pt x="3386" y="304"/>
                </a:lnTo>
                <a:lnTo>
                  <a:pt x="3387" y="306"/>
                </a:lnTo>
                <a:lnTo>
                  <a:pt x="3387" y="307"/>
                </a:lnTo>
                <a:lnTo>
                  <a:pt x="3388" y="307"/>
                </a:lnTo>
                <a:lnTo>
                  <a:pt x="3391" y="307"/>
                </a:lnTo>
                <a:lnTo>
                  <a:pt x="3394" y="306"/>
                </a:lnTo>
                <a:lnTo>
                  <a:pt x="3400" y="304"/>
                </a:lnTo>
                <a:lnTo>
                  <a:pt x="3397" y="317"/>
                </a:lnTo>
                <a:lnTo>
                  <a:pt x="3396" y="321"/>
                </a:lnTo>
                <a:lnTo>
                  <a:pt x="3394" y="325"/>
                </a:lnTo>
                <a:lnTo>
                  <a:pt x="3392" y="327"/>
                </a:lnTo>
                <a:lnTo>
                  <a:pt x="3389" y="330"/>
                </a:lnTo>
                <a:lnTo>
                  <a:pt x="3384" y="332"/>
                </a:lnTo>
                <a:lnTo>
                  <a:pt x="3377" y="335"/>
                </a:lnTo>
                <a:lnTo>
                  <a:pt x="3378" y="339"/>
                </a:lnTo>
                <a:lnTo>
                  <a:pt x="3379" y="340"/>
                </a:lnTo>
                <a:lnTo>
                  <a:pt x="3380" y="340"/>
                </a:lnTo>
                <a:lnTo>
                  <a:pt x="3381" y="340"/>
                </a:lnTo>
                <a:lnTo>
                  <a:pt x="3383" y="341"/>
                </a:lnTo>
                <a:lnTo>
                  <a:pt x="3383" y="352"/>
                </a:lnTo>
                <a:lnTo>
                  <a:pt x="3375" y="348"/>
                </a:lnTo>
                <a:lnTo>
                  <a:pt x="3366" y="344"/>
                </a:lnTo>
                <a:lnTo>
                  <a:pt x="3368" y="349"/>
                </a:lnTo>
                <a:lnTo>
                  <a:pt x="3369" y="352"/>
                </a:lnTo>
                <a:lnTo>
                  <a:pt x="3372" y="356"/>
                </a:lnTo>
                <a:lnTo>
                  <a:pt x="3374" y="361"/>
                </a:lnTo>
                <a:lnTo>
                  <a:pt x="3377" y="369"/>
                </a:lnTo>
                <a:lnTo>
                  <a:pt x="3376" y="370"/>
                </a:lnTo>
                <a:lnTo>
                  <a:pt x="3374" y="370"/>
                </a:lnTo>
                <a:lnTo>
                  <a:pt x="3370" y="369"/>
                </a:lnTo>
                <a:lnTo>
                  <a:pt x="3366" y="369"/>
                </a:lnTo>
                <a:lnTo>
                  <a:pt x="3365" y="369"/>
                </a:lnTo>
                <a:lnTo>
                  <a:pt x="3363" y="369"/>
                </a:lnTo>
                <a:lnTo>
                  <a:pt x="3363" y="371"/>
                </a:lnTo>
                <a:lnTo>
                  <a:pt x="3363" y="375"/>
                </a:lnTo>
                <a:lnTo>
                  <a:pt x="3363" y="380"/>
                </a:lnTo>
                <a:lnTo>
                  <a:pt x="3355" y="386"/>
                </a:lnTo>
                <a:lnTo>
                  <a:pt x="3350" y="388"/>
                </a:lnTo>
                <a:lnTo>
                  <a:pt x="3348" y="389"/>
                </a:lnTo>
                <a:lnTo>
                  <a:pt x="3346" y="389"/>
                </a:lnTo>
                <a:lnTo>
                  <a:pt x="3346" y="388"/>
                </a:lnTo>
                <a:lnTo>
                  <a:pt x="3346" y="386"/>
                </a:lnTo>
                <a:lnTo>
                  <a:pt x="3346" y="385"/>
                </a:lnTo>
                <a:lnTo>
                  <a:pt x="3345" y="385"/>
                </a:lnTo>
                <a:lnTo>
                  <a:pt x="3344" y="386"/>
                </a:lnTo>
                <a:lnTo>
                  <a:pt x="3342" y="388"/>
                </a:lnTo>
                <a:lnTo>
                  <a:pt x="3341" y="392"/>
                </a:lnTo>
                <a:lnTo>
                  <a:pt x="3339" y="395"/>
                </a:lnTo>
                <a:lnTo>
                  <a:pt x="3338" y="397"/>
                </a:lnTo>
                <a:lnTo>
                  <a:pt x="3336" y="397"/>
                </a:lnTo>
                <a:lnTo>
                  <a:pt x="3333" y="397"/>
                </a:lnTo>
                <a:lnTo>
                  <a:pt x="3331" y="397"/>
                </a:lnTo>
                <a:lnTo>
                  <a:pt x="3329" y="397"/>
                </a:lnTo>
                <a:lnTo>
                  <a:pt x="3329" y="403"/>
                </a:lnTo>
                <a:lnTo>
                  <a:pt x="3335" y="403"/>
                </a:lnTo>
                <a:lnTo>
                  <a:pt x="3332" y="405"/>
                </a:lnTo>
                <a:lnTo>
                  <a:pt x="3331" y="406"/>
                </a:lnTo>
                <a:lnTo>
                  <a:pt x="3331" y="407"/>
                </a:lnTo>
                <a:lnTo>
                  <a:pt x="3331" y="408"/>
                </a:lnTo>
                <a:lnTo>
                  <a:pt x="3331" y="409"/>
                </a:lnTo>
                <a:lnTo>
                  <a:pt x="3332" y="411"/>
                </a:lnTo>
                <a:lnTo>
                  <a:pt x="3333" y="413"/>
                </a:lnTo>
                <a:lnTo>
                  <a:pt x="3333" y="415"/>
                </a:lnTo>
                <a:lnTo>
                  <a:pt x="3332" y="417"/>
                </a:lnTo>
                <a:lnTo>
                  <a:pt x="3332" y="418"/>
                </a:lnTo>
                <a:lnTo>
                  <a:pt x="3331" y="418"/>
                </a:lnTo>
                <a:lnTo>
                  <a:pt x="3329" y="419"/>
                </a:lnTo>
                <a:lnTo>
                  <a:pt x="3326" y="419"/>
                </a:lnTo>
                <a:lnTo>
                  <a:pt x="3324" y="420"/>
                </a:lnTo>
                <a:lnTo>
                  <a:pt x="3316" y="424"/>
                </a:lnTo>
                <a:lnTo>
                  <a:pt x="3313" y="426"/>
                </a:lnTo>
                <a:lnTo>
                  <a:pt x="3310" y="428"/>
                </a:lnTo>
                <a:lnTo>
                  <a:pt x="3308" y="431"/>
                </a:lnTo>
                <a:lnTo>
                  <a:pt x="3307" y="432"/>
                </a:lnTo>
                <a:lnTo>
                  <a:pt x="3307" y="434"/>
                </a:lnTo>
                <a:lnTo>
                  <a:pt x="3305" y="439"/>
                </a:lnTo>
                <a:lnTo>
                  <a:pt x="3304" y="445"/>
                </a:lnTo>
                <a:lnTo>
                  <a:pt x="3301" y="444"/>
                </a:lnTo>
                <a:lnTo>
                  <a:pt x="3298" y="443"/>
                </a:lnTo>
                <a:lnTo>
                  <a:pt x="3295" y="441"/>
                </a:lnTo>
                <a:lnTo>
                  <a:pt x="3293" y="440"/>
                </a:lnTo>
                <a:lnTo>
                  <a:pt x="3292" y="441"/>
                </a:lnTo>
                <a:lnTo>
                  <a:pt x="3290" y="443"/>
                </a:lnTo>
                <a:lnTo>
                  <a:pt x="3286" y="450"/>
                </a:lnTo>
                <a:lnTo>
                  <a:pt x="3282" y="456"/>
                </a:lnTo>
                <a:lnTo>
                  <a:pt x="3279" y="459"/>
                </a:lnTo>
                <a:lnTo>
                  <a:pt x="3276" y="460"/>
                </a:lnTo>
                <a:lnTo>
                  <a:pt x="3274" y="460"/>
                </a:lnTo>
                <a:lnTo>
                  <a:pt x="3272" y="461"/>
                </a:lnTo>
                <a:lnTo>
                  <a:pt x="3271" y="461"/>
                </a:lnTo>
                <a:lnTo>
                  <a:pt x="3270" y="462"/>
                </a:lnTo>
                <a:lnTo>
                  <a:pt x="3268" y="465"/>
                </a:lnTo>
                <a:lnTo>
                  <a:pt x="3267" y="469"/>
                </a:lnTo>
                <a:lnTo>
                  <a:pt x="3266" y="472"/>
                </a:lnTo>
                <a:lnTo>
                  <a:pt x="3265" y="476"/>
                </a:lnTo>
                <a:lnTo>
                  <a:pt x="3262" y="476"/>
                </a:lnTo>
                <a:lnTo>
                  <a:pt x="3260" y="477"/>
                </a:lnTo>
                <a:lnTo>
                  <a:pt x="3259" y="478"/>
                </a:lnTo>
                <a:lnTo>
                  <a:pt x="3259" y="479"/>
                </a:lnTo>
                <a:lnTo>
                  <a:pt x="3260" y="481"/>
                </a:lnTo>
                <a:lnTo>
                  <a:pt x="3262" y="481"/>
                </a:lnTo>
                <a:lnTo>
                  <a:pt x="3265" y="482"/>
                </a:lnTo>
                <a:lnTo>
                  <a:pt x="3268" y="482"/>
                </a:lnTo>
                <a:lnTo>
                  <a:pt x="3268" y="481"/>
                </a:lnTo>
                <a:lnTo>
                  <a:pt x="3270" y="480"/>
                </a:lnTo>
                <a:lnTo>
                  <a:pt x="3272" y="477"/>
                </a:lnTo>
                <a:lnTo>
                  <a:pt x="3275" y="475"/>
                </a:lnTo>
                <a:lnTo>
                  <a:pt x="3276" y="473"/>
                </a:lnTo>
                <a:lnTo>
                  <a:pt x="3279" y="473"/>
                </a:lnTo>
                <a:lnTo>
                  <a:pt x="3282" y="475"/>
                </a:lnTo>
                <a:lnTo>
                  <a:pt x="3283" y="475"/>
                </a:lnTo>
                <a:lnTo>
                  <a:pt x="3283" y="477"/>
                </a:lnTo>
                <a:lnTo>
                  <a:pt x="3283" y="478"/>
                </a:lnTo>
                <a:lnTo>
                  <a:pt x="3282" y="479"/>
                </a:lnTo>
                <a:lnTo>
                  <a:pt x="3279" y="481"/>
                </a:lnTo>
                <a:lnTo>
                  <a:pt x="3276" y="482"/>
                </a:lnTo>
                <a:lnTo>
                  <a:pt x="3270" y="485"/>
                </a:lnTo>
                <a:lnTo>
                  <a:pt x="3270" y="490"/>
                </a:lnTo>
                <a:lnTo>
                  <a:pt x="3265" y="489"/>
                </a:lnTo>
                <a:lnTo>
                  <a:pt x="3262" y="489"/>
                </a:lnTo>
                <a:lnTo>
                  <a:pt x="3259" y="490"/>
                </a:lnTo>
                <a:lnTo>
                  <a:pt x="3256" y="490"/>
                </a:lnTo>
                <a:lnTo>
                  <a:pt x="3256" y="487"/>
                </a:lnTo>
                <a:lnTo>
                  <a:pt x="3256" y="483"/>
                </a:lnTo>
                <a:lnTo>
                  <a:pt x="3255" y="480"/>
                </a:lnTo>
                <a:lnTo>
                  <a:pt x="3254" y="479"/>
                </a:lnTo>
                <a:lnTo>
                  <a:pt x="3252" y="479"/>
                </a:lnTo>
                <a:lnTo>
                  <a:pt x="3251" y="479"/>
                </a:lnTo>
                <a:lnTo>
                  <a:pt x="3250" y="481"/>
                </a:lnTo>
                <a:lnTo>
                  <a:pt x="3249" y="483"/>
                </a:lnTo>
                <a:lnTo>
                  <a:pt x="3248" y="485"/>
                </a:lnTo>
                <a:lnTo>
                  <a:pt x="3240" y="480"/>
                </a:lnTo>
                <a:lnTo>
                  <a:pt x="3234" y="476"/>
                </a:lnTo>
                <a:lnTo>
                  <a:pt x="3231" y="481"/>
                </a:lnTo>
                <a:lnTo>
                  <a:pt x="3230" y="483"/>
                </a:lnTo>
                <a:lnTo>
                  <a:pt x="3228" y="485"/>
                </a:lnTo>
                <a:lnTo>
                  <a:pt x="3231" y="485"/>
                </a:lnTo>
                <a:lnTo>
                  <a:pt x="3232" y="485"/>
                </a:lnTo>
                <a:lnTo>
                  <a:pt x="3233" y="484"/>
                </a:lnTo>
                <a:lnTo>
                  <a:pt x="3235" y="483"/>
                </a:lnTo>
                <a:lnTo>
                  <a:pt x="3237" y="482"/>
                </a:lnTo>
                <a:lnTo>
                  <a:pt x="3236" y="486"/>
                </a:lnTo>
                <a:lnTo>
                  <a:pt x="3237" y="487"/>
                </a:lnTo>
                <a:lnTo>
                  <a:pt x="3237" y="488"/>
                </a:lnTo>
                <a:lnTo>
                  <a:pt x="3238" y="490"/>
                </a:lnTo>
                <a:lnTo>
                  <a:pt x="3239" y="493"/>
                </a:lnTo>
                <a:lnTo>
                  <a:pt x="3237" y="494"/>
                </a:lnTo>
                <a:lnTo>
                  <a:pt x="3237" y="495"/>
                </a:lnTo>
                <a:lnTo>
                  <a:pt x="3237" y="496"/>
                </a:lnTo>
                <a:lnTo>
                  <a:pt x="3237" y="499"/>
                </a:lnTo>
                <a:lnTo>
                  <a:pt x="3232" y="498"/>
                </a:lnTo>
                <a:lnTo>
                  <a:pt x="3228" y="499"/>
                </a:lnTo>
                <a:lnTo>
                  <a:pt x="3227" y="501"/>
                </a:lnTo>
                <a:lnTo>
                  <a:pt x="3225" y="504"/>
                </a:lnTo>
                <a:lnTo>
                  <a:pt x="3223" y="510"/>
                </a:lnTo>
                <a:lnTo>
                  <a:pt x="3218" y="511"/>
                </a:lnTo>
                <a:lnTo>
                  <a:pt x="3213" y="510"/>
                </a:lnTo>
                <a:lnTo>
                  <a:pt x="3208" y="510"/>
                </a:lnTo>
                <a:lnTo>
                  <a:pt x="3205" y="510"/>
                </a:lnTo>
                <a:lnTo>
                  <a:pt x="3203" y="510"/>
                </a:lnTo>
                <a:lnTo>
                  <a:pt x="3203" y="515"/>
                </a:lnTo>
                <a:lnTo>
                  <a:pt x="3205" y="514"/>
                </a:lnTo>
                <a:lnTo>
                  <a:pt x="3206" y="514"/>
                </a:lnTo>
                <a:lnTo>
                  <a:pt x="3207" y="515"/>
                </a:lnTo>
                <a:lnTo>
                  <a:pt x="3208" y="516"/>
                </a:lnTo>
                <a:lnTo>
                  <a:pt x="3209" y="521"/>
                </a:lnTo>
                <a:lnTo>
                  <a:pt x="3202" y="524"/>
                </a:lnTo>
                <a:lnTo>
                  <a:pt x="3200" y="525"/>
                </a:lnTo>
                <a:lnTo>
                  <a:pt x="3199" y="525"/>
                </a:lnTo>
                <a:lnTo>
                  <a:pt x="3200" y="524"/>
                </a:lnTo>
                <a:lnTo>
                  <a:pt x="3189" y="524"/>
                </a:lnTo>
                <a:lnTo>
                  <a:pt x="3189" y="532"/>
                </a:lnTo>
                <a:lnTo>
                  <a:pt x="3196" y="531"/>
                </a:lnTo>
                <a:lnTo>
                  <a:pt x="3198" y="532"/>
                </a:lnTo>
                <a:lnTo>
                  <a:pt x="3197" y="533"/>
                </a:lnTo>
                <a:lnTo>
                  <a:pt x="3192" y="535"/>
                </a:lnTo>
                <a:lnTo>
                  <a:pt x="3182" y="538"/>
                </a:lnTo>
                <a:lnTo>
                  <a:pt x="3176" y="540"/>
                </a:lnTo>
                <a:lnTo>
                  <a:pt x="3166" y="541"/>
                </a:lnTo>
                <a:lnTo>
                  <a:pt x="3166" y="546"/>
                </a:lnTo>
                <a:lnTo>
                  <a:pt x="3178" y="549"/>
                </a:lnTo>
                <a:lnTo>
                  <a:pt x="3185" y="551"/>
                </a:lnTo>
                <a:lnTo>
                  <a:pt x="3180" y="551"/>
                </a:lnTo>
                <a:lnTo>
                  <a:pt x="3171" y="550"/>
                </a:lnTo>
                <a:lnTo>
                  <a:pt x="3166" y="549"/>
                </a:lnTo>
                <a:lnTo>
                  <a:pt x="3164" y="549"/>
                </a:lnTo>
                <a:lnTo>
                  <a:pt x="3158" y="555"/>
                </a:lnTo>
                <a:lnTo>
                  <a:pt x="3160" y="563"/>
                </a:lnTo>
                <a:lnTo>
                  <a:pt x="3161" y="565"/>
                </a:lnTo>
                <a:lnTo>
                  <a:pt x="3163" y="567"/>
                </a:lnTo>
                <a:lnTo>
                  <a:pt x="3164" y="567"/>
                </a:lnTo>
                <a:lnTo>
                  <a:pt x="3167" y="567"/>
                </a:lnTo>
                <a:lnTo>
                  <a:pt x="3175" y="566"/>
                </a:lnTo>
                <a:lnTo>
                  <a:pt x="3168" y="569"/>
                </a:lnTo>
                <a:lnTo>
                  <a:pt x="3161" y="572"/>
                </a:lnTo>
                <a:lnTo>
                  <a:pt x="3162" y="575"/>
                </a:lnTo>
                <a:lnTo>
                  <a:pt x="3163" y="576"/>
                </a:lnTo>
                <a:lnTo>
                  <a:pt x="3164" y="577"/>
                </a:lnTo>
                <a:lnTo>
                  <a:pt x="3169" y="577"/>
                </a:lnTo>
                <a:lnTo>
                  <a:pt x="3169" y="583"/>
                </a:lnTo>
                <a:lnTo>
                  <a:pt x="3161" y="586"/>
                </a:lnTo>
                <a:lnTo>
                  <a:pt x="3169" y="589"/>
                </a:lnTo>
                <a:lnTo>
                  <a:pt x="3172" y="589"/>
                </a:lnTo>
                <a:lnTo>
                  <a:pt x="3173" y="589"/>
                </a:lnTo>
                <a:lnTo>
                  <a:pt x="3173" y="591"/>
                </a:lnTo>
                <a:lnTo>
                  <a:pt x="3172" y="593"/>
                </a:lnTo>
                <a:lnTo>
                  <a:pt x="3169" y="597"/>
                </a:lnTo>
                <a:lnTo>
                  <a:pt x="3175" y="599"/>
                </a:lnTo>
                <a:lnTo>
                  <a:pt x="3176" y="599"/>
                </a:lnTo>
                <a:lnTo>
                  <a:pt x="3175" y="599"/>
                </a:lnTo>
                <a:lnTo>
                  <a:pt x="3174" y="599"/>
                </a:lnTo>
                <a:lnTo>
                  <a:pt x="3175" y="600"/>
                </a:lnTo>
                <a:lnTo>
                  <a:pt x="3178" y="603"/>
                </a:lnTo>
                <a:lnTo>
                  <a:pt x="3180" y="600"/>
                </a:lnTo>
                <a:lnTo>
                  <a:pt x="3182" y="598"/>
                </a:lnTo>
                <a:lnTo>
                  <a:pt x="3186" y="591"/>
                </a:lnTo>
                <a:lnTo>
                  <a:pt x="3192" y="593"/>
                </a:lnTo>
                <a:lnTo>
                  <a:pt x="3194" y="593"/>
                </a:lnTo>
                <a:lnTo>
                  <a:pt x="3195" y="593"/>
                </a:lnTo>
                <a:lnTo>
                  <a:pt x="3195" y="594"/>
                </a:lnTo>
                <a:lnTo>
                  <a:pt x="3194" y="594"/>
                </a:lnTo>
                <a:lnTo>
                  <a:pt x="3189" y="594"/>
                </a:lnTo>
                <a:lnTo>
                  <a:pt x="3183" y="605"/>
                </a:lnTo>
                <a:lnTo>
                  <a:pt x="3178" y="617"/>
                </a:lnTo>
                <a:lnTo>
                  <a:pt x="3172" y="616"/>
                </a:lnTo>
                <a:lnTo>
                  <a:pt x="3169" y="616"/>
                </a:lnTo>
                <a:lnTo>
                  <a:pt x="3166" y="617"/>
                </a:lnTo>
                <a:lnTo>
                  <a:pt x="3167" y="618"/>
                </a:lnTo>
                <a:lnTo>
                  <a:pt x="3167" y="621"/>
                </a:lnTo>
                <a:lnTo>
                  <a:pt x="3166" y="623"/>
                </a:lnTo>
                <a:lnTo>
                  <a:pt x="3166" y="625"/>
                </a:lnTo>
                <a:lnTo>
                  <a:pt x="3170" y="628"/>
                </a:lnTo>
                <a:lnTo>
                  <a:pt x="3173" y="629"/>
                </a:lnTo>
                <a:lnTo>
                  <a:pt x="3175" y="631"/>
                </a:lnTo>
                <a:lnTo>
                  <a:pt x="3176" y="626"/>
                </a:lnTo>
                <a:lnTo>
                  <a:pt x="3177" y="625"/>
                </a:lnTo>
                <a:lnTo>
                  <a:pt x="3177" y="624"/>
                </a:lnTo>
                <a:lnTo>
                  <a:pt x="3177" y="625"/>
                </a:lnTo>
                <a:lnTo>
                  <a:pt x="3178" y="625"/>
                </a:lnTo>
                <a:lnTo>
                  <a:pt x="3183" y="625"/>
                </a:lnTo>
                <a:lnTo>
                  <a:pt x="3184" y="628"/>
                </a:lnTo>
                <a:lnTo>
                  <a:pt x="3185" y="631"/>
                </a:lnTo>
                <a:lnTo>
                  <a:pt x="3185" y="634"/>
                </a:lnTo>
                <a:lnTo>
                  <a:pt x="3184" y="634"/>
                </a:lnTo>
                <a:lnTo>
                  <a:pt x="3183" y="634"/>
                </a:lnTo>
                <a:lnTo>
                  <a:pt x="3181" y="637"/>
                </a:lnTo>
                <a:lnTo>
                  <a:pt x="3178" y="640"/>
                </a:lnTo>
                <a:lnTo>
                  <a:pt x="3175" y="642"/>
                </a:lnTo>
                <a:lnTo>
                  <a:pt x="3174" y="645"/>
                </a:lnTo>
                <a:lnTo>
                  <a:pt x="3175" y="648"/>
                </a:lnTo>
                <a:lnTo>
                  <a:pt x="3175" y="651"/>
                </a:lnTo>
                <a:lnTo>
                  <a:pt x="3175" y="652"/>
                </a:lnTo>
                <a:lnTo>
                  <a:pt x="3175" y="653"/>
                </a:lnTo>
                <a:lnTo>
                  <a:pt x="3180" y="653"/>
                </a:lnTo>
                <a:lnTo>
                  <a:pt x="3183" y="662"/>
                </a:lnTo>
                <a:lnTo>
                  <a:pt x="3185" y="662"/>
                </a:lnTo>
                <a:lnTo>
                  <a:pt x="3187" y="662"/>
                </a:lnTo>
                <a:lnTo>
                  <a:pt x="3190" y="662"/>
                </a:lnTo>
                <a:lnTo>
                  <a:pt x="3195" y="659"/>
                </a:lnTo>
                <a:lnTo>
                  <a:pt x="3196" y="659"/>
                </a:lnTo>
                <a:lnTo>
                  <a:pt x="3197" y="659"/>
                </a:lnTo>
                <a:lnTo>
                  <a:pt x="3197" y="667"/>
                </a:lnTo>
                <a:lnTo>
                  <a:pt x="3202" y="667"/>
                </a:lnTo>
                <a:lnTo>
                  <a:pt x="3207" y="666"/>
                </a:lnTo>
                <a:lnTo>
                  <a:pt x="3213" y="665"/>
                </a:lnTo>
                <a:lnTo>
                  <a:pt x="3218" y="663"/>
                </a:lnTo>
                <a:lnTo>
                  <a:pt x="3228" y="658"/>
                </a:lnTo>
                <a:lnTo>
                  <a:pt x="3237" y="653"/>
                </a:lnTo>
                <a:lnTo>
                  <a:pt x="3238" y="652"/>
                </a:lnTo>
                <a:lnTo>
                  <a:pt x="3239" y="649"/>
                </a:lnTo>
                <a:lnTo>
                  <a:pt x="3241" y="646"/>
                </a:lnTo>
                <a:lnTo>
                  <a:pt x="3242" y="645"/>
                </a:lnTo>
                <a:lnTo>
                  <a:pt x="3245" y="644"/>
                </a:lnTo>
                <a:lnTo>
                  <a:pt x="3248" y="645"/>
                </a:lnTo>
                <a:lnTo>
                  <a:pt x="3251" y="645"/>
                </a:lnTo>
                <a:lnTo>
                  <a:pt x="3254" y="645"/>
                </a:lnTo>
                <a:lnTo>
                  <a:pt x="3256" y="644"/>
                </a:lnTo>
                <a:lnTo>
                  <a:pt x="3259" y="642"/>
                </a:lnTo>
                <a:lnTo>
                  <a:pt x="3265" y="639"/>
                </a:lnTo>
                <a:lnTo>
                  <a:pt x="3271" y="634"/>
                </a:lnTo>
                <a:lnTo>
                  <a:pt x="3276" y="631"/>
                </a:lnTo>
                <a:lnTo>
                  <a:pt x="3277" y="633"/>
                </a:lnTo>
                <a:lnTo>
                  <a:pt x="3277" y="634"/>
                </a:lnTo>
                <a:lnTo>
                  <a:pt x="3278" y="636"/>
                </a:lnTo>
                <a:lnTo>
                  <a:pt x="3279" y="638"/>
                </a:lnTo>
                <a:lnTo>
                  <a:pt x="3279" y="647"/>
                </a:lnTo>
                <a:lnTo>
                  <a:pt x="3279" y="656"/>
                </a:lnTo>
                <a:lnTo>
                  <a:pt x="3284" y="656"/>
                </a:lnTo>
                <a:lnTo>
                  <a:pt x="3285" y="659"/>
                </a:lnTo>
                <a:lnTo>
                  <a:pt x="3285" y="661"/>
                </a:lnTo>
                <a:lnTo>
                  <a:pt x="3283" y="665"/>
                </a:lnTo>
                <a:lnTo>
                  <a:pt x="3282" y="669"/>
                </a:lnTo>
                <a:lnTo>
                  <a:pt x="3282" y="671"/>
                </a:lnTo>
                <a:lnTo>
                  <a:pt x="3282" y="673"/>
                </a:lnTo>
                <a:lnTo>
                  <a:pt x="3286" y="679"/>
                </a:lnTo>
                <a:lnTo>
                  <a:pt x="3294" y="688"/>
                </a:lnTo>
                <a:lnTo>
                  <a:pt x="3310" y="704"/>
                </a:lnTo>
                <a:lnTo>
                  <a:pt x="3307" y="709"/>
                </a:lnTo>
                <a:lnTo>
                  <a:pt x="3304" y="715"/>
                </a:lnTo>
                <a:lnTo>
                  <a:pt x="3299" y="715"/>
                </a:lnTo>
                <a:lnTo>
                  <a:pt x="3298" y="716"/>
                </a:lnTo>
                <a:lnTo>
                  <a:pt x="3298" y="718"/>
                </a:lnTo>
                <a:lnTo>
                  <a:pt x="3299" y="721"/>
                </a:lnTo>
                <a:lnTo>
                  <a:pt x="3299" y="724"/>
                </a:lnTo>
                <a:lnTo>
                  <a:pt x="3299" y="726"/>
                </a:lnTo>
                <a:lnTo>
                  <a:pt x="3302" y="728"/>
                </a:lnTo>
                <a:lnTo>
                  <a:pt x="3304" y="729"/>
                </a:lnTo>
                <a:lnTo>
                  <a:pt x="3305" y="733"/>
                </a:lnTo>
                <a:lnTo>
                  <a:pt x="3304" y="734"/>
                </a:lnTo>
                <a:lnTo>
                  <a:pt x="3303" y="736"/>
                </a:lnTo>
                <a:lnTo>
                  <a:pt x="3301" y="738"/>
                </a:lnTo>
                <a:lnTo>
                  <a:pt x="3315" y="738"/>
                </a:lnTo>
                <a:lnTo>
                  <a:pt x="3323" y="738"/>
                </a:lnTo>
                <a:lnTo>
                  <a:pt x="3329" y="738"/>
                </a:lnTo>
                <a:lnTo>
                  <a:pt x="3330" y="734"/>
                </a:lnTo>
                <a:lnTo>
                  <a:pt x="3329" y="731"/>
                </a:lnTo>
                <a:lnTo>
                  <a:pt x="3329" y="727"/>
                </a:lnTo>
                <a:lnTo>
                  <a:pt x="3329" y="725"/>
                </a:lnTo>
                <a:lnTo>
                  <a:pt x="3329" y="724"/>
                </a:lnTo>
                <a:lnTo>
                  <a:pt x="3331" y="721"/>
                </a:lnTo>
                <a:lnTo>
                  <a:pt x="3333" y="719"/>
                </a:lnTo>
                <a:lnTo>
                  <a:pt x="3338" y="712"/>
                </a:lnTo>
                <a:lnTo>
                  <a:pt x="3346" y="714"/>
                </a:lnTo>
                <a:lnTo>
                  <a:pt x="3355" y="715"/>
                </a:lnTo>
                <a:lnTo>
                  <a:pt x="3360" y="716"/>
                </a:lnTo>
                <a:lnTo>
                  <a:pt x="3364" y="715"/>
                </a:lnTo>
                <a:lnTo>
                  <a:pt x="3368" y="714"/>
                </a:lnTo>
                <a:lnTo>
                  <a:pt x="3370" y="713"/>
                </a:lnTo>
                <a:lnTo>
                  <a:pt x="3372" y="712"/>
                </a:lnTo>
                <a:lnTo>
                  <a:pt x="3373" y="710"/>
                </a:lnTo>
                <a:lnTo>
                  <a:pt x="3375" y="706"/>
                </a:lnTo>
                <a:lnTo>
                  <a:pt x="3376" y="701"/>
                </a:lnTo>
                <a:lnTo>
                  <a:pt x="3377" y="698"/>
                </a:lnTo>
                <a:lnTo>
                  <a:pt x="3376" y="699"/>
                </a:lnTo>
                <a:lnTo>
                  <a:pt x="3375" y="699"/>
                </a:lnTo>
                <a:lnTo>
                  <a:pt x="3374" y="701"/>
                </a:lnTo>
                <a:lnTo>
                  <a:pt x="3372" y="703"/>
                </a:lnTo>
                <a:lnTo>
                  <a:pt x="3372" y="704"/>
                </a:lnTo>
                <a:lnTo>
                  <a:pt x="3370" y="703"/>
                </a:lnTo>
                <a:lnTo>
                  <a:pt x="3370" y="701"/>
                </a:lnTo>
                <a:lnTo>
                  <a:pt x="3370" y="695"/>
                </a:lnTo>
                <a:lnTo>
                  <a:pt x="3371" y="687"/>
                </a:lnTo>
                <a:lnTo>
                  <a:pt x="3372" y="681"/>
                </a:lnTo>
                <a:lnTo>
                  <a:pt x="3374" y="675"/>
                </a:lnTo>
                <a:lnTo>
                  <a:pt x="3377" y="665"/>
                </a:lnTo>
                <a:lnTo>
                  <a:pt x="3378" y="659"/>
                </a:lnTo>
                <a:lnTo>
                  <a:pt x="3378" y="654"/>
                </a:lnTo>
                <a:lnTo>
                  <a:pt x="3377" y="650"/>
                </a:lnTo>
                <a:lnTo>
                  <a:pt x="3376" y="649"/>
                </a:lnTo>
                <a:lnTo>
                  <a:pt x="3374" y="648"/>
                </a:lnTo>
                <a:lnTo>
                  <a:pt x="3378" y="645"/>
                </a:lnTo>
                <a:lnTo>
                  <a:pt x="3379" y="644"/>
                </a:lnTo>
                <a:lnTo>
                  <a:pt x="3379" y="643"/>
                </a:lnTo>
                <a:lnTo>
                  <a:pt x="3378" y="642"/>
                </a:lnTo>
                <a:lnTo>
                  <a:pt x="3377" y="641"/>
                </a:lnTo>
                <a:lnTo>
                  <a:pt x="3378" y="640"/>
                </a:lnTo>
                <a:lnTo>
                  <a:pt x="3380" y="639"/>
                </a:lnTo>
                <a:lnTo>
                  <a:pt x="3383" y="638"/>
                </a:lnTo>
                <a:lnTo>
                  <a:pt x="3386" y="638"/>
                </a:lnTo>
                <a:lnTo>
                  <a:pt x="3391" y="638"/>
                </a:lnTo>
                <a:lnTo>
                  <a:pt x="3395" y="640"/>
                </a:lnTo>
                <a:lnTo>
                  <a:pt x="3398" y="640"/>
                </a:lnTo>
                <a:lnTo>
                  <a:pt x="3400" y="639"/>
                </a:lnTo>
                <a:lnTo>
                  <a:pt x="3408" y="628"/>
                </a:lnTo>
                <a:lnTo>
                  <a:pt x="3414" y="628"/>
                </a:lnTo>
                <a:lnTo>
                  <a:pt x="3414" y="626"/>
                </a:lnTo>
                <a:lnTo>
                  <a:pt x="3414" y="625"/>
                </a:lnTo>
                <a:lnTo>
                  <a:pt x="3413" y="624"/>
                </a:lnTo>
                <a:lnTo>
                  <a:pt x="3412" y="622"/>
                </a:lnTo>
                <a:lnTo>
                  <a:pt x="3410" y="621"/>
                </a:lnTo>
                <a:lnTo>
                  <a:pt x="3408" y="620"/>
                </a:lnTo>
                <a:lnTo>
                  <a:pt x="3414" y="617"/>
                </a:lnTo>
                <a:lnTo>
                  <a:pt x="3418" y="615"/>
                </a:lnTo>
                <a:lnTo>
                  <a:pt x="3420" y="614"/>
                </a:lnTo>
                <a:lnTo>
                  <a:pt x="3420" y="608"/>
                </a:lnTo>
                <a:lnTo>
                  <a:pt x="3412" y="598"/>
                </a:lnTo>
                <a:lnTo>
                  <a:pt x="3409" y="594"/>
                </a:lnTo>
                <a:lnTo>
                  <a:pt x="3405" y="590"/>
                </a:lnTo>
                <a:lnTo>
                  <a:pt x="3402" y="588"/>
                </a:lnTo>
                <a:lnTo>
                  <a:pt x="3397" y="586"/>
                </a:lnTo>
                <a:lnTo>
                  <a:pt x="3392" y="584"/>
                </a:lnTo>
                <a:lnTo>
                  <a:pt x="3386" y="583"/>
                </a:lnTo>
                <a:lnTo>
                  <a:pt x="3386" y="573"/>
                </a:lnTo>
                <a:lnTo>
                  <a:pt x="3387" y="566"/>
                </a:lnTo>
                <a:lnTo>
                  <a:pt x="3387" y="559"/>
                </a:lnTo>
                <a:lnTo>
                  <a:pt x="3388" y="552"/>
                </a:lnTo>
                <a:lnTo>
                  <a:pt x="3387" y="546"/>
                </a:lnTo>
                <a:lnTo>
                  <a:pt x="3386" y="543"/>
                </a:lnTo>
                <a:lnTo>
                  <a:pt x="3386" y="541"/>
                </a:lnTo>
                <a:lnTo>
                  <a:pt x="3384" y="539"/>
                </a:lnTo>
                <a:lnTo>
                  <a:pt x="3383" y="538"/>
                </a:lnTo>
                <a:lnTo>
                  <a:pt x="3389" y="538"/>
                </a:lnTo>
                <a:lnTo>
                  <a:pt x="3389" y="533"/>
                </a:lnTo>
                <a:lnTo>
                  <a:pt x="3390" y="531"/>
                </a:lnTo>
                <a:lnTo>
                  <a:pt x="3391" y="530"/>
                </a:lnTo>
                <a:lnTo>
                  <a:pt x="3389" y="526"/>
                </a:lnTo>
                <a:lnTo>
                  <a:pt x="3388" y="524"/>
                </a:lnTo>
                <a:lnTo>
                  <a:pt x="3388" y="522"/>
                </a:lnTo>
                <a:lnTo>
                  <a:pt x="3389" y="521"/>
                </a:lnTo>
                <a:lnTo>
                  <a:pt x="3390" y="520"/>
                </a:lnTo>
                <a:lnTo>
                  <a:pt x="3394" y="520"/>
                </a:lnTo>
                <a:lnTo>
                  <a:pt x="3397" y="519"/>
                </a:lnTo>
                <a:lnTo>
                  <a:pt x="3400" y="518"/>
                </a:lnTo>
                <a:lnTo>
                  <a:pt x="3401" y="517"/>
                </a:lnTo>
                <a:lnTo>
                  <a:pt x="3401" y="515"/>
                </a:lnTo>
                <a:lnTo>
                  <a:pt x="3401" y="513"/>
                </a:lnTo>
                <a:lnTo>
                  <a:pt x="3401" y="512"/>
                </a:lnTo>
                <a:lnTo>
                  <a:pt x="3400" y="508"/>
                </a:lnTo>
                <a:lnTo>
                  <a:pt x="3400" y="507"/>
                </a:lnTo>
                <a:lnTo>
                  <a:pt x="3402" y="506"/>
                </a:lnTo>
                <a:lnTo>
                  <a:pt x="3406" y="506"/>
                </a:lnTo>
                <a:lnTo>
                  <a:pt x="3409" y="505"/>
                </a:lnTo>
                <a:lnTo>
                  <a:pt x="3410" y="505"/>
                </a:lnTo>
                <a:lnTo>
                  <a:pt x="3411" y="504"/>
                </a:lnTo>
                <a:lnTo>
                  <a:pt x="3412" y="502"/>
                </a:lnTo>
                <a:lnTo>
                  <a:pt x="3413" y="499"/>
                </a:lnTo>
                <a:lnTo>
                  <a:pt x="3413" y="494"/>
                </a:lnTo>
                <a:lnTo>
                  <a:pt x="3414" y="488"/>
                </a:lnTo>
                <a:lnTo>
                  <a:pt x="3415" y="486"/>
                </a:lnTo>
                <a:lnTo>
                  <a:pt x="3417" y="485"/>
                </a:lnTo>
                <a:lnTo>
                  <a:pt x="3419" y="483"/>
                </a:lnTo>
                <a:lnTo>
                  <a:pt x="3423" y="482"/>
                </a:lnTo>
                <a:lnTo>
                  <a:pt x="3432" y="480"/>
                </a:lnTo>
                <a:lnTo>
                  <a:pt x="3441" y="479"/>
                </a:lnTo>
                <a:lnTo>
                  <a:pt x="3445" y="477"/>
                </a:lnTo>
                <a:lnTo>
                  <a:pt x="3448" y="476"/>
                </a:lnTo>
                <a:lnTo>
                  <a:pt x="3449" y="475"/>
                </a:lnTo>
                <a:lnTo>
                  <a:pt x="3450" y="473"/>
                </a:lnTo>
                <a:lnTo>
                  <a:pt x="3452" y="469"/>
                </a:lnTo>
                <a:lnTo>
                  <a:pt x="3454" y="464"/>
                </a:lnTo>
                <a:lnTo>
                  <a:pt x="3455" y="463"/>
                </a:lnTo>
                <a:lnTo>
                  <a:pt x="3456" y="462"/>
                </a:lnTo>
                <a:lnTo>
                  <a:pt x="3462" y="462"/>
                </a:lnTo>
                <a:lnTo>
                  <a:pt x="3463" y="458"/>
                </a:lnTo>
                <a:lnTo>
                  <a:pt x="3463" y="455"/>
                </a:lnTo>
                <a:lnTo>
                  <a:pt x="3462" y="453"/>
                </a:lnTo>
                <a:lnTo>
                  <a:pt x="3461" y="450"/>
                </a:lnTo>
                <a:lnTo>
                  <a:pt x="3460" y="448"/>
                </a:lnTo>
                <a:lnTo>
                  <a:pt x="3459" y="445"/>
                </a:lnTo>
                <a:lnTo>
                  <a:pt x="3458" y="441"/>
                </a:lnTo>
                <a:lnTo>
                  <a:pt x="3459" y="437"/>
                </a:lnTo>
                <a:lnTo>
                  <a:pt x="3460" y="434"/>
                </a:lnTo>
                <a:lnTo>
                  <a:pt x="3463" y="431"/>
                </a:lnTo>
                <a:lnTo>
                  <a:pt x="3466" y="428"/>
                </a:lnTo>
                <a:lnTo>
                  <a:pt x="3467" y="426"/>
                </a:lnTo>
                <a:lnTo>
                  <a:pt x="3467" y="425"/>
                </a:lnTo>
                <a:lnTo>
                  <a:pt x="3467" y="420"/>
                </a:lnTo>
                <a:lnTo>
                  <a:pt x="3470" y="419"/>
                </a:lnTo>
                <a:lnTo>
                  <a:pt x="3473" y="418"/>
                </a:lnTo>
                <a:lnTo>
                  <a:pt x="3476" y="418"/>
                </a:lnTo>
                <a:lnTo>
                  <a:pt x="3479" y="417"/>
                </a:lnTo>
                <a:lnTo>
                  <a:pt x="3481" y="414"/>
                </a:lnTo>
                <a:lnTo>
                  <a:pt x="3481" y="411"/>
                </a:lnTo>
                <a:lnTo>
                  <a:pt x="3481" y="409"/>
                </a:lnTo>
                <a:lnTo>
                  <a:pt x="3481" y="407"/>
                </a:lnTo>
                <a:lnTo>
                  <a:pt x="3481" y="405"/>
                </a:lnTo>
                <a:lnTo>
                  <a:pt x="3482" y="404"/>
                </a:lnTo>
                <a:lnTo>
                  <a:pt x="3485" y="403"/>
                </a:lnTo>
                <a:lnTo>
                  <a:pt x="3490" y="403"/>
                </a:lnTo>
                <a:lnTo>
                  <a:pt x="3493" y="409"/>
                </a:lnTo>
                <a:lnTo>
                  <a:pt x="3505" y="409"/>
                </a:lnTo>
                <a:lnTo>
                  <a:pt x="3516" y="410"/>
                </a:lnTo>
                <a:lnTo>
                  <a:pt x="3529" y="411"/>
                </a:lnTo>
                <a:lnTo>
                  <a:pt x="3531" y="424"/>
                </a:lnTo>
                <a:lnTo>
                  <a:pt x="3532" y="430"/>
                </a:lnTo>
                <a:lnTo>
                  <a:pt x="3532" y="434"/>
                </a:lnTo>
                <a:lnTo>
                  <a:pt x="3531" y="436"/>
                </a:lnTo>
                <a:lnTo>
                  <a:pt x="3529" y="438"/>
                </a:lnTo>
                <a:lnTo>
                  <a:pt x="3524" y="442"/>
                </a:lnTo>
                <a:lnTo>
                  <a:pt x="3519" y="447"/>
                </a:lnTo>
                <a:lnTo>
                  <a:pt x="3515" y="451"/>
                </a:lnTo>
                <a:lnTo>
                  <a:pt x="3513" y="456"/>
                </a:lnTo>
                <a:lnTo>
                  <a:pt x="3511" y="461"/>
                </a:lnTo>
                <a:lnTo>
                  <a:pt x="3509" y="466"/>
                </a:lnTo>
                <a:lnTo>
                  <a:pt x="3508" y="468"/>
                </a:lnTo>
                <a:lnTo>
                  <a:pt x="3507" y="470"/>
                </a:lnTo>
                <a:lnTo>
                  <a:pt x="3502" y="474"/>
                </a:lnTo>
                <a:lnTo>
                  <a:pt x="3495" y="478"/>
                </a:lnTo>
                <a:lnTo>
                  <a:pt x="3484" y="485"/>
                </a:lnTo>
                <a:lnTo>
                  <a:pt x="3484" y="486"/>
                </a:lnTo>
                <a:lnTo>
                  <a:pt x="3484" y="487"/>
                </a:lnTo>
                <a:lnTo>
                  <a:pt x="3484" y="490"/>
                </a:lnTo>
                <a:lnTo>
                  <a:pt x="3485" y="493"/>
                </a:lnTo>
                <a:lnTo>
                  <a:pt x="3484" y="496"/>
                </a:lnTo>
                <a:lnTo>
                  <a:pt x="3483" y="495"/>
                </a:lnTo>
                <a:lnTo>
                  <a:pt x="3481" y="493"/>
                </a:lnTo>
                <a:lnTo>
                  <a:pt x="3479" y="490"/>
                </a:lnTo>
                <a:lnTo>
                  <a:pt x="3476" y="494"/>
                </a:lnTo>
                <a:lnTo>
                  <a:pt x="3474" y="499"/>
                </a:lnTo>
                <a:lnTo>
                  <a:pt x="3470" y="507"/>
                </a:lnTo>
                <a:lnTo>
                  <a:pt x="3467" y="507"/>
                </a:lnTo>
                <a:lnTo>
                  <a:pt x="3467" y="511"/>
                </a:lnTo>
                <a:lnTo>
                  <a:pt x="3468" y="514"/>
                </a:lnTo>
                <a:lnTo>
                  <a:pt x="3471" y="521"/>
                </a:lnTo>
                <a:lnTo>
                  <a:pt x="3474" y="528"/>
                </a:lnTo>
                <a:lnTo>
                  <a:pt x="3475" y="530"/>
                </a:lnTo>
                <a:lnTo>
                  <a:pt x="3476" y="532"/>
                </a:lnTo>
                <a:lnTo>
                  <a:pt x="3476" y="537"/>
                </a:lnTo>
                <a:lnTo>
                  <a:pt x="3475" y="542"/>
                </a:lnTo>
                <a:lnTo>
                  <a:pt x="3474" y="546"/>
                </a:lnTo>
                <a:lnTo>
                  <a:pt x="3473" y="549"/>
                </a:lnTo>
                <a:lnTo>
                  <a:pt x="3473" y="552"/>
                </a:lnTo>
                <a:lnTo>
                  <a:pt x="3473" y="553"/>
                </a:lnTo>
                <a:lnTo>
                  <a:pt x="3473" y="558"/>
                </a:lnTo>
                <a:lnTo>
                  <a:pt x="3473" y="566"/>
                </a:lnTo>
                <a:lnTo>
                  <a:pt x="3476" y="564"/>
                </a:lnTo>
                <a:lnTo>
                  <a:pt x="3477" y="563"/>
                </a:lnTo>
                <a:lnTo>
                  <a:pt x="3479" y="563"/>
                </a:lnTo>
                <a:lnTo>
                  <a:pt x="3479" y="564"/>
                </a:lnTo>
                <a:lnTo>
                  <a:pt x="3479" y="565"/>
                </a:lnTo>
                <a:lnTo>
                  <a:pt x="3479" y="569"/>
                </a:lnTo>
                <a:lnTo>
                  <a:pt x="3478" y="572"/>
                </a:lnTo>
                <a:lnTo>
                  <a:pt x="3479" y="575"/>
                </a:lnTo>
                <a:lnTo>
                  <a:pt x="3484" y="572"/>
                </a:lnTo>
                <a:lnTo>
                  <a:pt x="3488" y="571"/>
                </a:lnTo>
                <a:lnTo>
                  <a:pt x="3489" y="571"/>
                </a:lnTo>
                <a:lnTo>
                  <a:pt x="3487" y="572"/>
                </a:lnTo>
                <a:lnTo>
                  <a:pt x="3493" y="575"/>
                </a:lnTo>
                <a:lnTo>
                  <a:pt x="3496" y="577"/>
                </a:lnTo>
                <a:lnTo>
                  <a:pt x="3499" y="579"/>
                </a:lnTo>
                <a:lnTo>
                  <a:pt x="3500" y="580"/>
                </a:lnTo>
                <a:lnTo>
                  <a:pt x="3500" y="581"/>
                </a:lnTo>
                <a:lnTo>
                  <a:pt x="3499" y="582"/>
                </a:lnTo>
                <a:lnTo>
                  <a:pt x="3498" y="582"/>
                </a:lnTo>
                <a:lnTo>
                  <a:pt x="3496" y="583"/>
                </a:lnTo>
                <a:lnTo>
                  <a:pt x="3490" y="583"/>
                </a:lnTo>
                <a:lnTo>
                  <a:pt x="3487" y="594"/>
                </a:lnTo>
                <a:lnTo>
                  <a:pt x="3489" y="594"/>
                </a:lnTo>
                <a:lnTo>
                  <a:pt x="3491" y="594"/>
                </a:lnTo>
                <a:lnTo>
                  <a:pt x="3495" y="594"/>
                </a:lnTo>
                <a:lnTo>
                  <a:pt x="3494" y="594"/>
                </a:lnTo>
                <a:lnTo>
                  <a:pt x="3494" y="593"/>
                </a:lnTo>
                <a:lnTo>
                  <a:pt x="3494" y="592"/>
                </a:lnTo>
                <a:lnTo>
                  <a:pt x="3495" y="590"/>
                </a:lnTo>
                <a:lnTo>
                  <a:pt x="3498" y="589"/>
                </a:lnTo>
                <a:lnTo>
                  <a:pt x="3500" y="588"/>
                </a:lnTo>
                <a:lnTo>
                  <a:pt x="3502" y="587"/>
                </a:lnTo>
                <a:lnTo>
                  <a:pt x="3501" y="589"/>
                </a:lnTo>
                <a:lnTo>
                  <a:pt x="3504" y="589"/>
                </a:lnTo>
                <a:lnTo>
                  <a:pt x="3504" y="593"/>
                </a:lnTo>
                <a:lnTo>
                  <a:pt x="3504" y="597"/>
                </a:lnTo>
                <a:lnTo>
                  <a:pt x="3505" y="598"/>
                </a:lnTo>
                <a:lnTo>
                  <a:pt x="3506" y="598"/>
                </a:lnTo>
                <a:lnTo>
                  <a:pt x="3508" y="599"/>
                </a:lnTo>
                <a:lnTo>
                  <a:pt x="3511" y="599"/>
                </a:lnTo>
                <a:lnTo>
                  <a:pt x="3512" y="600"/>
                </a:lnTo>
                <a:lnTo>
                  <a:pt x="3517" y="599"/>
                </a:lnTo>
                <a:lnTo>
                  <a:pt x="3521" y="598"/>
                </a:lnTo>
                <a:lnTo>
                  <a:pt x="3524" y="597"/>
                </a:lnTo>
                <a:lnTo>
                  <a:pt x="3529" y="590"/>
                </a:lnTo>
                <a:lnTo>
                  <a:pt x="3534" y="586"/>
                </a:lnTo>
                <a:lnTo>
                  <a:pt x="3536" y="584"/>
                </a:lnTo>
                <a:lnTo>
                  <a:pt x="3538" y="583"/>
                </a:lnTo>
                <a:lnTo>
                  <a:pt x="3540" y="583"/>
                </a:lnTo>
                <a:lnTo>
                  <a:pt x="3542" y="583"/>
                </a:lnTo>
                <a:lnTo>
                  <a:pt x="3544" y="583"/>
                </a:lnTo>
                <a:lnTo>
                  <a:pt x="3546" y="583"/>
                </a:lnTo>
                <a:lnTo>
                  <a:pt x="3544" y="580"/>
                </a:lnTo>
                <a:lnTo>
                  <a:pt x="3543" y="577"/>
                </a:lnTo>
                <a:lnTo>
                  <a:pt x="3550" y="576"/>
                </a:lnTo>
                <a:lnTo>
                  <a:pt x="3555" y="576"/>
                </a:lnTo>
                <a:lnTo>
                  <a:pt x="3559" y="576"/>
                </a:lnTo>
                <a:lnTo>
                  <a:pt x="3563" y="576"/>
                </a:lnTo>
                <a:lnTo>
                  <a:pt x="3569" y="577"/>
                </a:lnTo>
                <a:lnTo>
                  <a:pt x="3572" y="577"/>
                </a:lnTo>
                <a:lnTo>
                  <a:pt x="3575" y="577"/>
                </a:lnTo>
                <a:lnTo>
                  <a:pt x="3581" y="575"/>
                </a:lnTo>
                <a:lnTo>
                  <a:pt x="3588" y="572"/>
                </a:lnTo>
                <a:lnTo>
                  <a:pt x="3589" y="573"/>
                </a:lnTo>
                <a:lnTo>
                  <a:pt x="3589" y="574"/>
                </a:lnTo>
                <a:lnTo>
                  <a:pt x="3588" y="576"/>
                </a:lnTo>
                <a:lnTo>
                  <a:pt x="3585" y="580"/>
                </a:lnTo>
                <a:lnTo>
                  <a:pt x="3589" y="584"/>
                </a:lnTo>
                <a:lnTo>
                  <a:pt x="3594" y="588"/>
                </a:lnTo>
                <a:lnTo>
                  <a:pt x="3599" y="592"/>
                </a:lnTo>
                <a:lnTo>
                  <a:pt x="3602" y="594"/>
                </a:lnTo>
                <a:lnTo>
                  <a:pt x="3604" y="594"/>
                </a:lnTo>
                <a:lnTo>
                  <a:pt x="3608" y="592"/>
                </a:lnTo>
                <a:lnTo>
                  <a:pt x="3612" y="591"/>
                </a:lnTo>
                <a:lnTo>
                  <a:pt x="3614" y="591"/>
                </a:lnTo>
                <a:lnTo>
                  <a:pt x="3616" y="591"/>
                </a:lnTo>
                <a:lnTo>
                  <a:pt x="3618" y="593"/>
                </a:lnTo>
                <a:lnTo>
                  <a:pt x="3619" y="596"/>
                </a:lnTo>
                <a:lnTo>
                  <a:pt x="3621" y="598"/>
                </a:lnTo>
                <a:lnTo>
                  <a:pt x="3622" y="600"/>
                </a:lnTo>
                <a:lnTo>
                  <a:pt x="3624" y="600"/>
                </a:lnTo>
                <a:lnTo>
                  <a:pt x="3626" y="600"/>
                </a:lnTo>
                <a:lnTo>
                  <a:pt x="3628" y="599"/>
                </a:lnTo>
                <a:lnTo>
                  <a:pt x="3629" y="599"/>
                </a:lnTo>
                <a:lnTo>
                  <a:pt x="3630" y="600"/>
                </a:lnTo>
                <a:lnTo>
                  <a:pt x="3621" y="601"/>
                </a:lnTo>
                <a:lnTo>
                  <a:pt x="3608" y="603"/>
                </a:lnTo>
                <a:lnTo>
                  <a:pt x="3605" y="608"/>
                </a:lnTo>
                <a:lnTo>
                  <a:pt x="3599" y="608"/>
                </a:lnTo>
                <a:lnTo>
                  <a:pt x="3594" y="607"/>
                </a:lnTo>
                <a:lnTo>
                  <a:pt x="3589" y="606"/>
                </a:lnTo>
                <a:lnTo>
                  <a:pt x="3585" y="606"/>
                </a:lnTo>
                <a:lnTo>
                  <a:pt x="3584" y="616"/>
                </a:lnTo>
                <a:lnTo>
                  <a:pt x="3584" y="617"/>
                </a:lnTo>
                <a:lnTo>
                  <a:pt x="3584" y="618"/>
                </a:lnTo>
                <a:lnTo>
                  <a:pt x="3583" y="620"/>
                </a:lnTo>
                <a:lnTo>
                  <a:pt x="3580" y="620"/>
                </a:lnTo>
                <a:lnTo>
                  <a:pt x="3575" y="619"/>
                </a:lnTo>
                <a:lnTo>
                  <a:pt x="3564" y="616"/>
                </a:lnTo>
                <a:lnTo>
                  <a:pt x="3552" y="612"/>
                </a:lnTo>
                <a:lnTo>
                  <a:pt x="3547" y="611"/>
                </a:lnTo>
                <a:lnTo>
                  <a:pt x="3543" y="611"/>
                </a:lnTo>
                <a:lnTo>
                  <a:pt x="3542" y="611"/>
                </a:lnTo>
                <a:lnTo>
                  <a:pt x="3541" y="612"/>
                </a:lnTo>
                <a:lnTo>
                  <a:pt x="3540" y="614"/>
                </a:lnTo>
                <a:lnTo>
                  <a:pt x="3539" y="616"/>
                </a:lnTo>
                <a:lnTo>
                  <a:pt x="3538" y="617"/>
                </a:lnTo>
                <a:lnTo>
                  <a:pt x="3534" y="617"/>
                </a:lnTo>
                <a:lnTo>
                  <a:pt x="3531" y="617"/>
                </a:lnTo>
                <a:lnTo>
                  <a:pt x="3527" y="617"/>
                </a:lnTo>
                <a:lnTo>
                  <a:pt x="3524" y="617"/>
                </a:lnTo>
                <a:lnTo>
                  <a:pt x="3519" y="618"/>
                </a:lnTo>
                <a:lnTo>
                  <a:pt x="3514" y="621"/>
                </a:lnTo>
                <a:lnTo>
                  <a:pt x="3509" y="623"/>
                </a:lnTo>
                <a:lnTo>
                  <a:pt x="3504" y="625"/>
                </a:lnTo>
                <a:lnTo>
                  <a:pt x="3504" y="635"/>
                </a:lnTo>
                <a:lnTo>
                  <a:pt x="3504" y="648"/>
                </a:lnTo>
                <a:lnTo>
                  <a:pt x="3512" y="651"/>
                </a:lnTo>
                <a:lnTo>
                  <a:pt x="3513" y="657"/>
                </a:lnTo>
                <a:lnTo>
                  <a:pt x="3514" y="663"/>
                </a:lnTo>
                <a:lnTo>
                  <a:pt x="3513" y="667"/>
                </a:lnTo>
                <a:lnTo>
                  <a:pt x="3513" y="671"/>
                </a:lnTo>
                <a:lnTo>
                  <a:pt x="3511" y="679"/>
                </a:lnTo>
                <a:lnTo>
                  <a:pt x="3509" y="685"/>
                </a:lnTo>
                <a:lnTo>
                  <a:pt x="3507" y="690"/>
                </a:lnTo>
                <a:lnTo>
                  <a:pt x="3503" y="689"/>
                </a:lnTo>
                <a:lnTo>
                  <a:pt x="3498" y="689"/>
                </a:lnTo>
                <a:lnTo>
                  <a:pt x="3490" y="690"/>
                </a:lnTo>
                <a:lnTo>
                  <a:pt x="3484" y="679"/>
                </a:lnTo>
                <a:lnTo>
                  <a:pt x="3481" y="673"/>
                </a:lnTo>
                <a:lnTo>
                  <a:pt x="3479" y="667"/>
                </a:lnTo>
                <a:lnTo>
                  <a:pt x="3467" y="673"/>
                </a:lnTo>
                <a:lnTo>
                  <a:pt x="3467" y="675"/>
                </a:lnTo>
                <a:lnTo>
                  <a:pt x="3467" y="677"/>
                </a:lnTo>
                <a:lnTo>
                  <a:pt x="3467" y="681"/>
                </a:lnTo>
                <a:lnTo>
                  <a:pt x="3467" y="686"/>
                </a:lnTo>
                <a:lnTo>
                  <a:pt x="3467" y="690"/>
                </a:lnTo>
                <a:lnTo>
                  <a:pt x="3467" y="692"/>
                </a:lnTo>
                <a:lnTo>
                  <a:pt x="3465" y="694"/>
                </a:lnTo>
                <a:lnTo>
                  <a:pt x="3462" y="698"/>
                </a:lnTo>
                <a:lnTo>
                  <a:pt x="3458" y="703"/>
                </a:lnTo>
                <a:lnTo>
                  <a:pt x="3456" y="707"/>
                </a:lnTo>
                <a:lnTo>
                  <a:pt x="3455" y="711"/>
                </a:lnTo>
                <a:lnTo>
                  <a:pt x="3455" y="715"/>
                </a:lnTo>
                <a:lnTo>
                  <a:pt x="3453" y="720"/>
                </a:lnTo>
                <a:lnTo>
                  <a:pt x="3453" y="724"/>
                </a:lnTo>
                <a:lnTo>
                  <a:pt x="3453" y="731"/>
                </a:lnTo>
                <a:lnTo>
                  <a:pt x="3453" y="739"/>
                </a:lnTo>
                <a:lnTo>
                  <a:pt x="3453" y="746"/>
                </a:lnTo>
                <a:lnTo>
                  <a:pt x="3450" y="747"/>
                </a:lnTo>
                <a:lnTo>
                  <a:pt x="3447" y="749"/>
                </a:lnTo>
                <a:lnTo>
                  <a:pt x="3442" y="752"/>
                </a:lnTo>
                <a:lnTo>
                  <a:pt x="3445" y="743"/>
                </a:lnTo>
                <a:lnTo>
                  <a:pt x="3439" y="743"/>
                </a:lnTo>
                <a:lnTo>
                  <a:pt x="3437" y="746"/>
                </a:lnTo>
                <a:lnTo>
                  <a:pt x="3435" y="748"/>
                </a:lnTo>
                <a:lnTo>
                  <a:pt x="3432" y="750"/>
                </a:lnTo>
                <a:lnTo>
                  <a:pt x="3431" y="752"/>
                </a:lnTo>
                <a:lnTo>
                  <a:pt x="3430" y="755"/>
                </a:lnTo>
                <a:lnTo>
                  <a:pt x="3430" y="759"/>
                </a:lnTo>
                <a:lnTo>
                  <a:pt x="3431" y="762"/>
                </a:lnTo>
                <a:lnTo>
                  <a:pt x="3431" y="766"/>
                </a:lnTo>
                <a:lnTo>
                  <a:pt x="3429" y="769"/>
                </a:lnTo>
                <a:lnTo>
                  <a:pt x="3427" y="773"/>
                </a:lnTo>
                <a:lnTo>
                  <a:pt x="3424" y="772"/>
                </a:lnTo>
                <a:lnTo>
                  <a:pt x="3422" y="772"/>
                </a:lnTo>
                <a:lnTo>
                  <a:pt x="3421" y="771"/>
                </a:lnTo>
                <a:lnTo>
                  <a:pt x="3421" y="770"/>
                </a:lnTo>
                <a:lnTo>
                  <a:pt x="3422" y="770"/>
                </a:lnTo>
                <a:lnTo>
                  <a:pt x="3422" y="769"/>
                </a:lnTo>
                <a:lnTo>
                  <a:pt x="3421" y="769"/>
                </a:lnTo>
                <a:lnTo>
                  <a:pt x="3420" y="769"/>
                </a:lnTo>
                <a:lnTo>
                  <a:pt x="3414" y="774"/>
                </a:lnTo>
                <a:lnTo>
                  <a:pt x="3409" y="776"/>
                </a:lnTo>
                <a:lnTo>
                  <a:pt x="3405" y="777"/>
                </a:lnTo>
                <a:lnTo>
                  <a:pt x="3403" y="769"/>
                </a:lnTo>
                <a:lnTo>
                  <a:pt x="3405" y="769"/>
                </a:lnTo>
                <a:lnTo>
                  <a:pt x="3406" y="769"/>
                </a:lnTo>
                <a:lnTo>
                  <a:pt x="3407" y="768"/>
                </a:lnTo>
                <a:lnTo>
                  <a:pt x="3406" y="767"/>
                </a:lnTo>
                <a:lnTo>
                  <a:pt x="3405" y="765"/>
                </a:lnTo>
                <a:lnTo>
                  <a:pt x="3403" y="764"/>
                </a:lnTo>
                <a:lnTo>
                  <a:pt x="3400" y="763"/>
                </a:lnTo>
                <a:lnTo>
                  <a:pt x="3397" y="763"/>
                </a:lnTo>
                <a:lnTo>
                  <a:pt x="3391" y="764"/>
                </a:lnTo>
                <a:lnTo>
                  <a:pt x="3384" y="767"/>
                </a:lnTo>
                <a:lnTo>
                  <a:pt x="3377" y="771"/>
                </a:lnTo>
                <a:lnTo>
                  <a:pt x="3370" y="775"/>
                </a:lnTo>
                <a:lnTo>
                  <a:pt x="3362" y="779"/>
                </a:lnTo>
                <a:lnTo>
                  <a:pt x="3354" y="782"/>
                </a:lnTo>
                <a:lnTo>
                  <a:pt x="3346" y="784"/>
                </a:lnTo>
                <a:lnTo>
                  <a:pt x="3342" y="785"/>
                </a:lnTo>
                <a:lnTo>
                  <a:pt x="3338" y="786"/>
                </a:lnTo>
                <a:lnTo>
                  <a:pt x="3333" y="786"/>
                </a:lnTo>
                <a:lnTo>
                  <a:pt x="3331" y="786"/>
                </a:lnTo>
                <a:lnTo>
                  <a:pt x="3329" y="786"/>
                </a:lnTo>
                <a:lnTo>
                  <a:pt x="3321" y="783"/>
                </a:lnTo>
                <a:lnTo>
                  <a:pt x="3313" y="780"/>
                </a:lnTo>
                <a:lnTo>
                  <a:pt x="3310" y="774"/>
                </a:lnTo>
                <a:lnTo>
                  <a:pt x="3306" y="774"/>
                </a:lnTo>
                <a:lnTo>
                  <a:pt x="3301" y="774"/>
                </a:lnTo>
                <a:lnTo>
                  <a:pt x="3297" y="775"/>
                </a:lnTo>
                <a:lnTo>
                  <a:pt x="3293" y="774"/>
                </a:lnTo>
                <a:lnTo>
                  <a:pt x="3290" y="779"/>
                </a:lnTo>
                <a:lnTo>
                  <a:pt x="3289" y="781"/>
                </a:lnTo>
                <a:lnTo>
                  <a:pt x="3287" y="783"/>
                </a:lnTo>
                <a:lnTo>
                  <a:pt x="3285" y="783"/>
                </a:lnTo>
                <a:lnTo>
                  <a:pt x="3283" y="783"/>
                </a:lnTo>
                <a:lnTo>
                  <a:pt x="3281" y="782"/>
                </a:lnTo>
                <a:lnTo>
                  <a:pt x="3280" y="782"/>
                </a:lnTo>
                <a:lnTo>
                  <a:pt x="3279" y="783"/>
                </a:lnTo>
                <a:lnTo>
                  <a:pt x="3280" y="784"/>
                </a:lnTo>
                <a:lnTo>
                  <a:pt x="3280" y="785"/>
                </a:lnTo>
                <a:lnTo>
                  <a:pt x="3279" y="786"/>
                </a:lnTo>
                <a:lnTo>
                  <a:pt x="3279" y="788"/>
                </a:lnTo>
                <a:lnTo>
                  <a:pt x="3276" y="791"/>
                </a:lnTo>
                <a:lnTo>
                  <a:pt x="3273" y="786"/>
                </a:lnTo>
                <a:lnTo>
                  <a:pt x="3270" y="780"/>
                </a:lnTo>
                <a:lnTo>
                  <a:pt x="3267" y="780"/>
                </a:lnTo>
                <a:lnTo>
                  <a:pt x="3263" y="780"/>
                </a:lnTo>
                <a:lnTo>
                  <a:pt x="3259" y="781"/>
                </a:lnTo>
                <a:lnTo>
                  <a:pt x="3258" y="780"/>
                </a:lnTo>
                <a:lnTo>
                  <a:pt x="3256" y="780"/>
                </a:lnTo>
                <a:lnTo>
                  <a:pt x="3256" y="774"/>
                </a:lnTo>
                <a:lnTo>
                  <a:pt x="3255" y="771"/>
                </a:lnTo>
                <a:lnTo>
                  <a:pt x="3252" y="768"/>
                </a:lnTo>
                <a:lnTo>
                  <a:pt x="3248" y="763"/>
                </a:lnTo>
                <a:lnTo>
                  <a:pt x="3250" y="759"/>
                </a:lnTo>
                <a:lnTo>
                  <a:pt x="3254" y="755"/>
                </a:lnTo>
                <a:lnTo>
                  <a:pt x="3245" y="755"/>
                </a:lnTo>
                <a:lnTo>
                  <a:pt x="3245" y="752"/>
                </a:lnTo>
                <a:lnTo>
                  <a:pt x="3246" y="749"/>
                </a:lnTo>
                <a:lnTo>
                  <a:pt x="3249" y="744"/>
                </a:lnTo>
                <a:lnTo>
                  <a:pt x="3251" y="742"/>
                </a:lnTo>
                <a:lnTo>
                  <a:pt x="3251" y="741"/>
                </a:lnTo>
                <a:lnTo>
                  <a:pt x="3252" y="742"/>
                </a:lnTo>
                <a:lnTo>
                  <a:pt x="3251" y="746"/>
                </a:lnTo>
                <a:lnTo>
                  <a:pt x="3254" y="749"/>
                </a:lnTo>
                <a:lnTo>
                  <a:pt x="3256" y="752"/>
                </a:lnTo>
                <a:lnTo>
                  <a:pt x="3262" y="752"/>
                </a:lnTo>
                <a:lnTo>
                  <a:pt x="3265" y="759"/>
                </a:lnTo>
                <a:lnTo>
                  <a:pt x="3268" y="766"/>
                </a:lnTo>
                <a:lnTo>
                  <a:pt x="3265" y="751"/>
                </a:lnTo>
                <a:lnTo>
                  <a:pt x="3262" y="738"/>
                </a:lnTo>
                <a:lnTo>
                  <a:pt x="3259" y="738"/>
                </a:lnTo>
                <a:lnTo>
                  <a:pt x="3258" y="739"/>
                </a:lnTo>
                <a:lnTo>
                  <a:pt x="3257" y="739"/>
                </a:lnTo>
                <a:lnTo>
                  <a:pt x="3254" y="738"/>
                </a:lnTo>
                <a:lnTo>
                  <a:pt x="3255" y="732"/>
                </a:lnTo>
                <a:lnTo>
                  <a:pt x="3256" y="726"/>
                </a:lnTo>
                <a:lnTo>
                  <a:pt x="3257" y="721"/>
                </a:lnTo>
                <a:lnTo>
                  <a:pt x="3259" y="715"/>
                </a:lnTo>
                <a:lnTo>
                  <a:pt x="3263" y="718"/>
                </a:lnTo>
                <a:lnTo>
                  <a:pt x="3264" y="719"/>
                </a:lnTo>
                <a:lnTo>
                  <a:pt x="3265" y="719"/>
                </a:lnTo>
                <a:lnTo>
                  <a:pt x="3266" y="719"/>
                </a:lnTo>
                <a:lnTo>
                  <a:pt x="3268" y="718"/>
                </a:lnTo>
                <a:lnTo>
                  <a:pt x="3267" y="716"/>
                </a:lnTo>
                <a:lnTo>
                  <a:pt x="3267" y="714"/>
                </a:lnTo>
                <a:lnTo>
                  <a:pt x="3268" y="710"/>
                </a:lnTo>
                <a:lnTo>
                  <a:pt x="3259" y="710"/>
                </a:lnTo>
                <a:lnTo>
                  <a:pt x="3259" y="707"/>
                </a:lnTo>
                <a:lnTo>
                  <a:pt x="3258" y="705"/>
                </a:lnTo>
                <a:lnTo>
                  <a:pt x="3259" y="700"/>
                </a:lnTo>
                <a:lnTo>
                  <a:pt x="3259" y="695"/>
                </a:lnTo>
                <a:lnTo>
                  <a:pt x="3259" y="690"/>
                </a:lnTo>
                <a:lnTo>
                  <a:pt x="3252" y="689"/>
                </a:lnTo>
                <a:lnTo>
                  <a:pt x="3250" y="689"/>
                </a:lnTo>
                <a:lnTo>
                  <a:pt x="3248" y="687"/>
                </a:lnTo>
                <a:lnTo>
                  <a:pt x="3251" y="686"/>
                </a:lnTo>
                <a:lnTo>
                  <a:pt x="3253" y="686"/>
                </a:lnTo>
                <a:lnTo>
                  <a:pt x="3257" y="686"/>
                </a:lnTo>
                <a:lnTo>
                  <a:pt x="3258" y="686"/>
                </a:lnTo>
                <a:lnTo>
                  <a:pt x="3259" y="685"/>
                </a:lnTo>
                <a:lnTo>
                  <a:pt x="3262" y="681"/>
                </a:lnTo>
                <a:lnTo>
                  <a:pt x="3263" y="677"/>
                </a:lnTo>
                <a:lnTo>
                  <a:pt x="3264" y="672"/>
                </a:lnTo>
                <a:lnTo>
                  <a:pt x="3263" y="667"/>
                </a:lnTo>
                <a:lnTo>
                  <a:pt x="3263" y="666"/>
                </a:lnTo>
                <a:lnTo>
                  <a:pt x="3262" y="665"/>
                </a:lnTo>
                <a:lnTo>
                  <a:pt x="3255" y="669"/>
                </a:lnTo>
                <a:lnTo>
                  <a:pt x="3251" y="671"/>
                </a:lnTo>
                <a:lnTo>
                  <a:pt x="3248" y="673"/>
                </a:lnTo>
                <a:lnTo>
                  <a:pt x="3247" y="674"/>
                </a:lnTo>
                <a:lnTo>
                  <a:pt x="3246" y="676"/>
                </a:lnTo>
                <a:lnTo>
                  <a:pt x="3245" y="679"/>
                </a:lnTo>
                <a:lnTo>
                  <a:pt x="3244" y="682"/>
                </a:lnTo>
                <a:lnTo>
                  <a:pt x="3243" y="683"/>
                </a:lnTo>
                <a:lnTo>
                  <a:pt x="3242" y="684"/>
                </a:lnTo>
                <a:lnTo>
                  <a:pt x="3239" y="685"/>
                </a:lnTo>
                <a:lnTo>
                  <a:pt x="3235" y="685"/>
                </a:lnTo>
                <a:lnTo>
                  <a:pt x="3232" y="684"/>
                </a:lnTo>
                <a:lnTo>
                  <a:pt x="3228" y="684"/>
                </a:lnTo>
                <a:lnTo>
                  <a:pt x="3227" y="685"/>
                </a:lnTo>
                <a:lnTo>
                  <a:pt x="3225" y="686"/>
                </a:lnTo>
                <a:lnTo>
                  <a:pt x="3222" y="689"/>
                </a:lnTo>
                <a:lnTo>
                  <a:pt x="3220" y="693"/>
                </a:lnTo>
                <a:lnTo>
                  <a:pt x="3217" y="696"/>
                </a:lnTo>
                <a:lnTo>
                  <a:pt x="3218" y="697"/>
                </a:lnTo>
                <a:lnTo>
                  <a:pt x="3219" y="699"/>
                </a:lnTo>
                <a:lnTo>
                  <a:pt x="3220" y="701"/>
                </a:lnTo>
                <a:lnTo>
                  <a:pt x="3221" y="701"/>
                </a:lnTo>
                <a:lnTo>
                  <a:pt x="3223" y="701"/>
                </a:lnTo>
                <a:lnTo>
                  <a:pt x="3225" y="693"/>
                </a:lnTo>
                <a:lnTo>
                  <a:pt x="3231" y="693"/>
                </a:lnTo>
                <a:lnTo>
                  <a:pt x="3230" y="695"/>
                </a:lnTo>
                <a:lnTo>
                  <a:pt x="3229" y="698"/>
                </a:lnTo>
                <a:lnTo>
                  <a:pt x="3228" y="700"/>
                </a:lnTo>
                <a:lnTo>
                  <a:pt x="3228" y="701"/>
                </a:lnTo>
                <a:lnTo>
                  <a:pt x="3229" y="702"/>
                </a:lnTo>
                <a:lnTo>
                  <a:pt x="3231" y="701"/>
                </a:lnTo>
                <a:lnTo>
                  <a:pt x="3232" y="700"/>
                </a:lnTo>
                <a:lnTo>
                  <a:pt x="3233" y="699"/>
                </a:lnTo>
                <a:lnTo>
                  <a:pt x="3233" y="697"/>
                </a:lnTo>
                <a:lnTo>
                  <a:pt x="3233" y="695"/>
                </a:lnTo>
                <a:lnTo>
                  <a:pt x="3233" y="693"/>
                </a:lnTo>
                <a:lnTo>
                  <a:pt x="3233" y="691"/>
                </a:lnTo>
                <a:lnTo>
                  <a:pt x="3232" y="690"/>
                </a:lnTo>
                <a:lnTo>
                  <a:pt x="3231" y="690"/>
                </a:lnTo>
                <a:lnTo>
                  <a:pt x="3237" y="690"/>
                </a:lnTo>
                <a:lnTo>
                  <a:pt x="3240" y="690"/>
                </a:lnTo>
                <a:lnTo>
                  <a:pt x="3242" y="690"/>
                </a:lnTo>
                <a:lnTo>
                  <a:pt x="3242" y="691"/>
                </a:lnTo>
                <a:lnTo>
                  <a:pt x="3242" y="692"/>
                </a:lnTo>
                <a:lnTo>
                  <a:pt x="3242" y="695"/>
                </a:lnTo>
                <a:lnTo>
                  <a:pt x="3243" y="699"/>
                </a:lnTo>
                <a:lnTo>
                  <a:pt x="3243" y="700"/>
                </a:lnTo>
                <a:lnTo>
                  <a:pt x="3242" y="701"/>
                </a:lnTo>
                <a:lnTo>
                  <a:pt x="3241" y="702"/>
                </a:lnTo>
                <a:lnTo>
                  <a:pt x="3240" y="700"/>
                </a:lnTo>
                <a:lnTo>
                  <a:pt x="3239" y="699"/>
                </a:lnTo>
                <a:lnTo>
                  <a:pt x="3238" y="698"/>
                </a:lnTo>
                <a:lnTo>
                  <a:pt x="3237" y="698"/>
                </a:lnTo>
                <a:lnTo>
                  <a:pt x="3235" y="700"/>
                </a:lnTo>
                <a:lnTo>
                  <a:pt x="3233" y="704"/>
                </a:lnTo>
                <a:lnTo>
                  <a:pt x="3231" y="710"/>
                </a:lnTo>
                <a:lnTo>
                  <a:pt x="3214" y="710"/>
                </a:lnTo>
                <a:lnTo>
                  <a:pt x="3215" y="711"/>
                </a:lnTo>
                <a:lnTo>
                  <a:pt x="3216" y="712"/>
                </a:lnTo>
                <a:lnTo>
                  <a:pt x="3216" y="715"/>
                </a:lnTo>
                <a:lnTo>
                  <a:pt x="3214" y="721"/>
                </a:lnTo>
                <a:lnTo>
                  <a:pt x="3219" y="722"/>
                </a:lnTo>
                <a:lnTo>
                  <a:pt x="3221" y="722"/>
                </a:lnTo>
                <a:lnTo>
                  <a:pt x="3223" y="724"/>
                </a:lnTo>
                <a:lnTo>
                  <a:pt x="3223" y="729"/>
                </a:lnTo>
                <a:lnTo>
                  <a:pt x="3222" y="729"/>
                </a:lnTo>
                <a:lnTo>
                  <a:pt x="3222" y="730"/>
                </a:lnTo>
                <a:lnTo>
                  <a:pt x="3221" y="734"/>
                </a:lnTo>
                <a:lnTo>
                  <a:pt x="3220" y="743"/>
                </a:lnTo>
                <a:lnTo>
                  <a:pt x="3228" y="746"/>
                </a:lnTo>
                <a:lnTo>
                  <a:pt x="3229" y="750"/>
                </a:lnTo>
                <a:lnTo>
                  <a:pt x="3229" y="751"/>
                </a:lnTo>
                <a:lnTo>
                  <a:pt x="3229" y="752"/>
                </a:lnTo>
                <a:lnTo>
                  <a:pt x="3226" y="757"/>
                </a:lnTo>
                <a:lnTo>
                  <a:pt x="3225" y="760"/>
                </a:lnTo>
                <a:lnTo>
                  <a:pt x="3225" y="763"/>
                </a:lnTo>
                <a:lnTo>
                  <a:pt x="3231" y="763"/>
                </a:lnTo>
                <a:lnTo>
                  <a:pt x="3231" y="769"/>
                </a:lnTo>
                <a:lnTo>
                  <a:pt x="3232" y="773"/>
                </a:lnTo>
                <a:lnTo>
                  <a:pt x="3233" y="780"/>
                </a:lnTo>
                <a:lnTo>
                  <a:pt x="3234" y="788"/>
                </a:lnTo>
                <a:lnTo>
                  <a:pt x="3234" y="791"/>
                </a:lnTo>
                <a:lnTo>
                  <a:pt x="3234" y="794"/>
                </a:lnTo>
                <a:lnTo>
                  <a:pt x="3233" y="795"/>
                </a:lnTo>
                <a:lnTo>
                  <a:pt x="3233" y="796"/>
                </a:lnTo>
                <a:lnTo>
                  <a:pt x="3232" y="794"/>
                </a:lnTo>
                <a:lnTo>
                  <a:pt x="3231" y="791"/>
                </a:lnTo>
                <a:lnTo>
                  <a:pt x="3230" y="791"/>
                </a:lnTo>
                <a:lnTo>
                  <a:pt x="3229" y="792"/>
                </a:lnTo>
                <a:lnTo>
                  <a:pt x="3227" y="796"/>
                </a:lnTo>
                <a:lnTo>
                  <a:pt x="3225" y="802"/>
                </a:lnTo>
                <a:lnTo>
                  <a:pt x="3223" y="802"/>
                </a:lnTo>
                <a:lnTo>
                  <a:pt x="3221" y="802"/>
                </a:lnTo>
                <a:lnTo>
                  <a:pt x="3220" y="801"/>
                </a:lnTo>
                <a:lnTo>
                  <a:pt x="3219" y="801"/>
                </a:lnTo>
                <a:lnTo>
                  <a:pt x="3216" y="799"/>
                </a:lnTo>
                <a:lnTo>
                  <a:pt x="3214" y="799"/>
                </a:lnTo>
                <a:lnTo>
                  <a:pt x="3211" y="800"/>
                </a:lnTo>
                <a:lnTo>
                  <a:pt x="3210" y="801"/>
                </a:lnTo>
                <a:lnTo>
                  <a:pt x="3208" y="802"/>
                </a:lnTo>
                <a:lnTo>
                  <a:pt x="3205" y="804"/>
                </a:lnTo>
                <a:lnTo>
                  <a:pt x="3203" y="805"/>
                </a:lnTo>
                <a:lnTo>
                  <a:pt x="3203" y="808"/>
                </a:lnTo>
                <a:lnTo>
                  <a:pt x="3200" y="808"/>
                </a:lnTo>
                <a:lnTo>
                  <a:pt x="3197" y="807"/>
                </a:lnTo>
                <a:lnTo>
                  <a:pt x="3189" y="806"/>
                </a:lnTo>
                <a:lnTo>
                  <a:pt x="3185" y="805"/>
                </a:lnTo>
                <a:lnTo>
                  <a:pt x="3180" y="804"/>
                </a:lnTo>
                <a:lnTo>
                  <a:pt x="3176" y="804"/>
                </a:lnTo>
                <a:lnTo>
                  <a:pt x="3172" y="805"/>
                </a:lnTo>
                <a:lnTo>
                  <a:pt x="3169" y="814"/>
                </a:lnTo>
                <a:lnTo>
                  <a:pt x="3166" y="815"/>
                </a:lnTo>
                <a:lnTo>
                  <a:pt x="3163" y="815"/>
                </a:lnTo>
                <a:lnTo>
                  <a:pt x="3161" y="815"/>
                </a:lnTo>
                <a:lnTo>
                  <a:pt x="3158" y="817"/>
                </a:lnTo>
                <a:lnTo>
                  <a:pt x="3157" y="818"/>
                </a:lnTo>
                <a:lnTo>
                  <a:pt x="3156" y="819"/>
                </a:lnTo>
                <a:lnTo>
                  <a:pt x="3155" y="821"/>
                </a:lnTo>
                <a:lnTo>
                  <a:pt x="3154" y="823"/>
                </a:lnTo>
                <a:lnTo>
                  <a:pt x="3151" y="833"/>
                </a:lnTo>
                <a:lnTo>
                  <a:pt x="3150" y="844"/>
                </a:lnTo>
                <a:lnTo>
                  <a:pt x="3149" y="853"/>
                </a:lnTo>
                <a:lnTo>
                  <a:pt x="3132" y="854"/>
                </a:lnTo>
                <a:lnTo>
                  <a:pt x="3119" y="856"/>
                </a:lnTo>
                <a:lnTo>
                  <a:pt x="3108" y="859"/>
                </a:lnTo>
                <a:lnTo>
                  <a:pt x="3093" y="864"/>
                </a:lnTo>
                <a:lnTo>
                  <a:pt x="3095" y="875"/>
                </a:lnTo>
                <a:lnTo>
                  <a:pt x="3096" y="888"/>
                </a:lnTo>
                <a:lnTo>
                  <a:pt x="3093" y="889"/>
                </a:lnTo>
                <a:lnTo>
                  <a:pt x="3091" y="889"/>
                </a:lnTo>
                <a:lnTo>
                  <a:pt x="3085" y="890"/>
                </a:lnTo>
                <a:lnTo>
                  <a:pt x="3083" y="890"/>
                </a:lnTo>
                <a:lnTo>
                  <a:pt x="3081" y="891"/>
                </a:lnTo>
                <a:lnTo>
                  <a:pt x="3078" y="892"/>
                </a:lnTo>
                <a:lnTo>
                  <a:pt x="3076" y="893"/>
                </a:lnTo>
                <a:lnTo>
                  <a:pt x="3075" y="896"/>
                </a:lnTo>
                <a:lnTo>
                  <a:pt x="3075" y="899"/>
                </a:lnTo>
                <a:lnTo>
                  <a:pt x="3074" y="905"/>
                </a:lnTo>
                <a:lnTo>
                  <a:pt x="3072" y="906"/>
                </a:lnTo>
                <a:lnTo>
                  <a:pt x="3070" y="906"/>
                </a:lnTo>
                <a:lnTo>
                  <a:pt x="3066" y="907"/>
                </a:lnTo>
                <a:lnTo>
                  <a:pt x="3058" y="907"/>
                </a:lnTo>
                <a:lnTo>
                  <a:pt x="3051" y="906"/>
                </a:lnTo>
                <a:lnTo>
                  <a:pt x="3045" y="905"/>
                </a:lnTo>
                <a:lnTo>
                  <a:pt x="3045" y="896"/>
                </a:lnTo>
                <a:lnTo>
                  <a:pt x="3043" y="896"/>
                </a:lnTo>
                <a:lnTo>
                  <a:pt x="3041" y="896"/>
                </a:lnTo>
                <a:lnTo>
                  <a:pt x="3038" y="897"/>
                </a:lnTo>
                <a:lnTo>
                  <a:pt x="3036" y="898"/>
                </a:lnTo>
                <a:lnTo>
                  <a:pt x="3035" y="899"/>
                </a:lnTo>
                <a:lnTo>
                  <a:pt x="3034" y="900"/>
                </a:lnTo>
                <a:lnTo>
                  <a:pt x="3033" y="901"/>
                </a:lnTo>
                <a:lnTo>
                  <a:pt x="3034" y="902"/>
                </a:lnTo>
                <a:lnTo>
                  <a:pt x="3038" y="913"/>
                </a:lnTo>
                <a:lnTo>
                  <a:pt x="3041" y="919"/>
                </a:lnTo>
                <a:lnTo>
                  <a:pt x="3043" y="924"/>
                </a:lnTo>
                <a:lnTo>
                  <a:pt x="3043" y="930"/>
                </a:lnTo>
                <a:lnTo>
                  <a:pt x="3040" y="930"/>
                </a:lnTo>
                <a:lnTo>
                  <a:pt x="3038" y="929"/>
                </a:lnTo>
                <a:lnTo>
                  <a:pt x="3034" y="928"/>
                </a:lnTo>
                <a:lnTo>
                  <a:pt x="3031" y="927"/>
                </a:lnTo>
                <a:lnTo>
                  <a:pt x="3026" y="927"/>
                </a:lnTo>
                <a:lnTo>
                  <a:pt x="3017" y="933"/>
                </a:lnTo>
                <a:lnTo>
                  <a:pt x="3015" y="933"/>
                </a:lnTo>
                <a:lnTo>
                  <a:pt x="3014" y="932"/>
                </a:lnTo>
                <a:lnTo>
                  <a:pt x="3013" y="932"/>
                </a:lnTo>
                <a:lnTo>
                  <a:pt x="3012" y="931"/>
                </a:lnTo>
                <a:lnTo>
                  <a:pt x="3012" y="930"/>
                </a:lnTo>
                <a:lnTo>
                  <a:pt x="3012" y="929"/>
                </a:lnTo>
                <a:lnTo>
                  <a:pt x="3011" y="928"/>
                </a:lnTo>
                <a:lnTo>
                  <a:pt x="3010" y="927"/>
                </a:lnTo>
                <a:lnTo>
                  <a:pt x="3009" y="927"/>
                </a:lnTo>
                <a:lnTo>
                  <a:pt x="3007" y="927"/>
                </a:lnTo>
                <a:lnTo>
                  <a:pt x="3000" y="928"/>
                </a:lnTo>
                <a:lnTo>
                  <a:pt x="2991" y="930"/>
                </a:lnTo>
                <a:lnTo>
                  <a:pt x="2987" y="932"/>
                </a:lnTo>
                <a:lnTo>
                  <a:pt x="2984" y="933"/>
                </a:lnTo>
                <a:lnTo>
                  <a:pt x="2981" y="933"/>
                </a:lnTo>
                <a:lnTo>
                  <a:pt x="2989" y="939"/>
                </a:lnTo>
                <a:lnTo>
                  <a:pt x="2987" y="939"/>
                </a:lnTo>
                <a:lnTo>
                  <a:pt x="2985" y="940"/>
                </a:lnTo>
                <a:lnTo>
                  <a:pt x="2983" y="940"/>
                </a:lnTo>
                <a:lnTo>
                  <a:pt x="2981" y="941"/>
                </a:lnTo>
                <a:lnTo>
                  <a:pt x="2982" y="946"/>
                </a:lnTo>
                <a:lnTo>
                  <a:pt x="2982" y="950"/>
                </a:lnTo>
                <a:lnTo>
                  <a:pt x="2981" y="951"/>
                </a:lnTo>
                <a:lnTo>
                  <a:pt x="2981" y="953"/>
                </a:lnTo>
                <a:lnTo>
                  <a:pt x="2990" y="953"/>
                </a:lnTo>
                <a:lnTo>
                  <a:pt x="2994" y="953"/>
                </a:lnTo>
                <a:lnTo>
                  <a:pt x="2998" y="955"/>
                </a:lnTo>
                <a:lnTo>
                  <a:pt x="3006" y="958"/>
                </a:lnTo>
                <a:lnTo>
                  <a:pt x="3006" y="964"/>
                </a:lnTo>
                <a:lnTo>
                  <a:pt x="3017" y="958"/>
                </a:lnTo>
                <a:lnTo>
                  <a:pt x="3014" y="967"/>
                </a:lnTo>
                <a:lnTo>
                  <a:pt x="3018" y="968"/>
                </a:lnTo>
                <a:lnTo>
                  <a:pt x="3019" y="968"/>
                </a:lnTo>
                <a:lnTo>
                  <a:pt x="3020" y="972"/>
                </a:lnTo>
                <a:lnTo>
                  <a:pt x="3024" y="972"/>
                </a:lnTo>
                <a:lnTo>
                  <a:pt x="3029" y="972"/>
                </a:lnTo>
                <a:lnTo>
                  <a:pt x="3027" y="975"/>
                </a:lnTo>
                <a:lnTo>
                  <a:pt x="3026" y="979"/>
                </a:lnTo>
                <a:lnTo>
                  <a:pt x="3025" y="982"/>
                </a:lnTo>
                <a:lnTo>
                  <a:pt x="3025" y="984"/>
                </a:lnTo>
                <a:lnTo>
                  <a:pt x="3025" y="987"/>
                </a:lnTo>
                <a:lnTo>
                  <a:pt x="3026" y="989"/>
                </a:lnTo>
                <a:lnTo>
                  <a:pt x="3028" y="992"/>
                </a:lnTo>
                <a:lnTo>
                  <a:pt x="3030" y="994"/>
                </a:lnTo>
                <a:lnTo>
                  <a:pt x="3033" y="996"/>
                </a:lnTo>
                <a:lnTo>
                  <a:pt x="3037" y="998"/>
                </a:lnTo>
                <a:lnTo>
                  <a:pt x="3051" y="1003"/>
                </a:lnTo>
                <a:lnTo>
                  <a:pt x="3052" y="1024"/>
                </a:lnTo>
                <a:lnTo>
                  <a:pt x="3052" y="1032"/>
                </a:lnTo>
                <a:lnTo>
                  <a:pt x="3051" y="1040"/>
                </a:lnTo>
                <a:lnTo>
                  <a:pt x="3050" y="1047"/>
                </a:lnTo>
                <a:lnTo>
                  <a:pt x="3049" y="1054"/>
                </a:lnTo>
                <a:lnTo>
                  <a:pt x="3045" y="1071"/>
                </a:lnTo>
                <a:close/>
              </a:path>
            </a:pathLst>
          </a:custGeom>
          <a:solidFill>
            <a:schemeClr val="bg1">
              <a:lumMod val="85000"/>
            </a:schemeClr>
          </a:solidFill>
          <a:ln>
            <a:noFill/>
          </a:ln>
        </p:spPr>
        <p:txBody>
          <a:bodyPr vert="horz" wrap="square" lIns="68562" tIns="34281" rIns="68562" bIns="34281" numCol="1" anchor="t" anchorCtr="0" compatLnSpc="1">
            <a:prstTxWarp prst="textNoShape">
              <a:avLst/>
            </a:prstTxWarp>
          </a:bodyPr>
          <a:lstStyle/>
          <a:p>
            <a:endParaRPr lang="fi-FI" sz="1012"/>
          </a:p>
        </p:txBody>
      </p:sp>
      <p:sp>
        <p:nvSpPr>
          <p:cNvPr id="2" name="Title 1"/>
          <p:cNvSpPr>
            <a:spLocks noGrp="1"/>
          </p:cNvSpPr>
          <p:nvPr>
            <p:ph type="title" hasCustomPrompt="1"/>
          </p:nvPr>
        </p:nvSpPr>
        <p:spPr>
          <a:xfrm>
            <a:off x="1" y="573882"/>
            <a:ext cx="8729770" cy="456902"/>
          </a:xfrm>
        </p:spPr>
        <p:txBody>
          <a:bodyPr/>
          <a:lstStyle>
            <a:lvl1pPr>
              <a:defRPr sz="2249"/>
            </a:lvl1pPr>
          </a:lstStyle>
          <a:p>
            <a:r>
              <a:rPr lang="en-US" dirty="0"/>
              <a:t>Click to add title</a:t>
            </a:r>
          </a:p>
        </p:txBody>
      </p:sp>
      <p:sp>
        <p:nvSpPr>
          <p:cNvPr id="4" name="Date Placeholder 3"/>
          <p:cNvSpPr>
            <a:spLocks noGrp="1"/>
          </p:cNvSpPr>
          <p:nvPr>
            <p:ph type="dt" sz="half" idx="10"/>
          </p:nvPr>
        </p:nvSpPr>
        <p:spPr/>
        <p:txBody>
          <a:bodyPr/>
          <a:lstStyle/>
          <a:p>
            <a:fld id="{49DAB92B-1CD9-4A3D-B9E1-A0D421768470}" type="datetime1">
              <a:rPr lang="fi-FI" smtClean="0"/>
              <a:t>5.11.2023</a:t>
            </a:fld>
            <a:endParaRPr lang="en-US"/>
          </a:p>
        </p:txBody>
      </p:sp>
      <p:sp>
        <p:nvSpPr>
          <p:cNvPr id="5" name="Footer Placeholder 4"/>
          <p:cNvSpPr>
            <a:spLocks noGrp="1"/>
          </p:cNvSpPr>
          <p:nvPr>
            <p:ph type="ftr" sz="quarter" idx="11"/>
          </p:nvPr>
        </p:nvSpPr>
        <p:spPr/>
        <p:txBody>
          <a:bodyPr/>
          <a:lstStyle/>
          <a:p>
            <a:r>
              <a:rPr lang="en-US"/>
              <a:t>© Aalto University Executive Education</a:t>
            </a:r>
          </a:p>
        </p:txBody>
      </p:sp>
      <p:sp>
        <p:nvSpPr>
          <p:cNvPr id="6" name="Slide Number Placeholder 5"/>
          <p:cNvSpPr>
            <a:spLocks noGrp="1"/>
          </p:cNvSpPr>
          <p:nvPr>
            <p:ph type="sldNum" sz="quarter" idx="12"/>
          </p:nvPr>
        </p:nvSpPr>
        <p:spPr/>
        <p:txBody>
          <a:bodyPr/>
          <a:lstStyle/>
          <a:p>
            <a:fld id="{FCCA222D-FCF7-48C1-A274-EBDDEF75DC66}" type="slidenum">
              <a:rPr lang="en-US" smtClean="0"/>
              <a:t>‹#›</a:t>
            </a:fld>
            <a:endParaRPr lang="en-US"/>
          </a:p>
        </p:txBody>
      </p:sp>
    </p:spTree>
    <p:extLst>
      <p:ext uri="{BB962C8B-B14F-4D97-AF65-F5344CB8AC3E}">
        <p14:creationId xmlns:p14="http://schemas.microsoft.com/office/powerpoint/2010/main" val="3871429639"/>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Four content">
    <p:spTree>
      <p:nvGrpSpPr>
        <p:cNvPr id="1" name=""/>
        <p:cNvGrpSpPr/>
        <p:nvPr/>
      </p:nvGrpSpPr>
      <p:grpSpPr>
        <a:xfrm>
          <a:off x="0" y="0"/>
          <a:ext cx="0" cy="0"/>
          <a:chOff x="0" y="0"/>
          <a:chExt cx="0" cy="0"/>
        </a:xfrm>
      </p:grpSpPr>
      <p:sp>
        <p:nvSpPr>
          <p:cNvPr id="10" name="Date Placeholder 9"/>
          <p:cNvSpPr>
            <a:spLocks noGrp="1"/>
          </p:cNvSpPr>
          <p:nvPr>
            <p:ph type="dt" sz="half" idx="29"/>
          </p:nvPr>
        </p:nvSpPr>
        <p:spPr/>
        <p:txBody>
          <a:bodyPr/>
          <a:lstStyle>
            <a:lvl1pPr>
              <a:defRPr>
                <a:noFill/>
              </a:defRPr>
            </a:lvl1pPr>
          </a:lstStyle>
          <a:p>
            <a:fld id="{EE827FF4-EA26-4F38-8B0B-147625CE7045}" type="datetime1">
              <a:rPr lang="fi-FI" smtClean="0"/>
              <a:t>5.11.2023</a:t>
            </a:fld>
            <a:endParaRPr lang="en-US" dirty="0"/>
          </a:p>
        </p:txBody>
      </p:sp>
      <p:sp>
        <p:nvSpPr>
          <p:cNvPr id="11" name="Footer Placeholder 10"/>
          <p:cNvSpPr>
            <a:spLocks noGrp="1"/>
          </p:cNvSpPr>
          <p:nvPr>
            <p:ph type="ftr" sz="quarter" idx="30"/>
          </p:nvPr>
        </p:nvSpPr>
        <p:spPr/>
        <p:txBody>
          <a:bodyPr/>
          <a:lstStyle>
            <a:lvl1pPr>
              <a:defRPr>
                <a:noFill/>
              </a:defRPr>
            </a:lvl1pPr>
          </a:lstStyle>
          <a:p>
            <a:r>
              <a:rPr lang="en-US"/>
              <a:t>© Aalto University Executive Education</a:t>
            </a:r>
            <a:endParaRPr lang="en-US" dirty="0"/>
          </a:p>
        </p:txBody>
      </p:sp>
      <p:sp>
        <p:nvSpPr>
          <p:cNvPr id="12" name="Slide Number Placeholder 11"/>
          <p:cNvSpPr>
            <a:spLocks noGrp="1"/>
          </p:cNvSpPr>
          <p:nvPr>
            <p:ph type="sldNum" sz="quarter" idx="31"/>
          </p:nvPr>
        </p:nvSpPr>
        <p:spPr/>
        <p:txBody>
          <a:bodyPr/>
          <a:lstStyle>
            <a:lvl1pPr>
              <a:defRPr>
                <a:noFill/>
              </a:defRPr>
            </a:lvl1pPr>
          </a:lstStyle>
          <a:p>
            <a:fld id="{FCCA222D-FCF7-48C1-A274-EBDDEF75DC66}" type="slidenum">
              <a:rPr lang="en-US" smtClean="0"/>
              <a:pPr/>
              <a:t>‹#›</a:t>
            </a:fld>
            <a:endParaRPr lang="en-US" dirty="0"/>
          </a:p>
        </p:txBody>
      </p:sp>
      <p:sp>
        <p:nvSpPr>
          <p:cNvPr id="21" name="Rectangle 20"/>
          <p:cNvSpPr/>
          <p:nvPr userDrawn="1"/>
        </p:nvSpPr>
        <p:spPr>
          <a:xfrm>
            <a:off x="4572000" y="2571750"/>
            <a:ext cx="4572000" cy="2571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012"/>
          </a:p>
        </p:txBody>
      </p:sp>
      <p:sp>
        <p:nvSpPr>
          <p:cNvPr id="20" name="Rectangle 19"/>
          <p:cNvSpPr/>
          <p:nvPr userDrawn="1"/>
        </p:nvSpPr>
        <p:spPr>
          <a:xfrm>
            <a:off x="0" y="2571750"/>
            <a:ext cx="4572000" cy="257175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012"/>
          </a:p>
        </p:txBody>
      </p:sp>
      <p:sp>
        <p:nvSpPr>
          <p:cNvPr id="13" name="Content Placeholder 12"/>
          <p:cNvSpPr>
            <a:spLocks noGrp="1"/>
          </p:cNvSpPr>
          <p:nvPr>
            <p:ph sz="quarter" idx="14" hasCustomPrompt="1"/>
          </p:nvPr>
        </p:nvSpPr>
        <p:spPr>
          <a:xfrm>
            <a:off x="413461" y="1248967"/>
            <a:ext cx="3726455" cy="971746"/>
          </a:xfrm>
        </p:spPr>
        <p:txBody>
          <a:bodyPr/>
          <a:lstStyle>
            <a:lvl1pPr marL="0" indent="0">
              <a:buNone/>
              <a:defRPr sz="1050"/>
            </a:lvl1pPr>
          </a:lstStyle>
          <a:p>
            <a:pPr lvl="0"/>
            <a:r>
              <a:rPr lang="en-US" dirty="0"/>
              <a:t>Click to add text</a:t>
            </a:r>
          </a:p>
        </p:txBody>
      </p:sp>
      <p:sp>
        <p:nvSpPr>
          <p:cNvPr id="2" name="Rectangle 1"/>
          <p:cNvSpPr/>
          <p:nvPr userDrawn="1"/>
        </p:nvSpPr>
        <p:spPr>
          <a:xfrm>
            <a:off x="4572000" y="0"/>
            <a:ext cx="4572000" cy="257175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012"/>
          </a:p>
        </p:txBody>
      </p:sp>
      <p:sp>
        <p:nvSpPr>
          <p:cNvPr id="22" name="Text Placeholder 6"/>
          <p:cNvSpPr>
            <a:spLocks noGrp="1"/>
          </p:cNvSpPr>
          <p:nvPr>
            <p:ph type="body" sz="quarter" idx="18" hasCustomPrompt="1"/>
          </p:nvPr>
        </p:nvSpPr>
        <p:spPr>
          <a:xfrm>
            <a:off x="414230" y="303436"/>
            <a:ext cx="3725686" cy="242999"/>
          </a:xfrm>
        </p:spPr>
        <p:txBody>
          <a:bodyPr anchor="t"/>
          <a:lstStyle>
            <a:lvl1pPr marL="0" indent="0">
              <a:buNone/>
              <a:defRPr sz="1200" b="1">
                <a:solidFill>
                  <a:schemeClr val="bg2"/>
                </a:solidFill>
              </a:defRPr>
            </a:lvl1pPr>
          </a:lstStyle>
          <a:p>
            <a:pPr lvl="0"/>
            <a:r>
              <a:rPr lang="en-US" dirty="0"/>
              <a:t>Click to add text</a:t>
            </a:r>
          </a:p>
        </p:txBody>
      </p:sp>
      <p:sp>
        <p:nvSpPr>
          <p:cNvPr id="24" name="Content Placeholder 12"/>
          <p:cNvSpPr>
            <a:spLocks noGrp="1"/>
          </p:cNvSpPr>
          <p:nvPr>
            <p:ph sz="quarter" idx="19" hasCustomPrompt="1"/>
          </p:nvPr>
        </p:nvSpPr>
        <p:spPr>
          <a:xfrm>
            <a:off x="5004085" y="1248968"/>
            <a:ext cx="3725686" cy="971746"/>
          </a:xfrm>
        </p:spPr>
        <p:txBody>
          <a:bodyPr/>
          <a:lstStyle>
            <a:lvl1pPr marL="0" indent="0">
              <a:buNone/>
              <a:defRPr sz="1050"/>
            </a:lvl1pPr>
          </a:lstStyle>
          <a:p>
            <a:pPr lvl="0"/>
            <a:r>
              <a:rPr lang="en-US" dirty="0"/>
              <a:t>Click to add text</a:t>
            </a:r>
          </a:p>
        </p:txBody>
      </p:sp>
      <p:sp>
        <p:nvSpPr>
          <p:cNvPr id="25" name="Text Placeholder 6"/>
          <p:cNvSpPr>
            <a:spLocks noGrp="1"/>
          </p:cNvSpPr>
          <p:nvPr>
            <p:ph type="body" sz="quarter" idx="20" hasCustomPrompt="1"/>
          </p:nvPr>
        </p:nvSpPr>
        <p:spPr>
          <a:xfrm>
            <a:off x="5004085" y="303500"/>
            <a:ext cx="3725686" cy="242999"/>
          </a:xfrm>
        </p:spPr>
        <p:txBody>
          <a:bodyPr anchor="t"/>
          <a:lstStyle>
            <a:lvl1pPr marL="0" indent="0">
              <a:buNone/>
              <a:defRPr sz="1200" b="1">
                <a:solidFill>
                  <a:schemeClr val="bg2">
                    <a:lumMod val="75000"/>
                  </a:schemeClr>
                </a:solidFill>
              </a:defRPr>
            </a:lvl1pPr>
          </a:lstStyle>
          <a:p>
            <a:pPr lvl="0"/>
            <a:r>
              <a:rPr lang="en-US" dirty="0"/>
              <a:t>Click to add text</a:t>
            </a:r>
          </a:p>
        </p:txBody>
      </p:sp>
      <p:sp>
        <p:nvSpPr>
          <p:cNvPr id="26" name="Text Placeholder 25"/>
          <p:cNvSpPr>
            <a:spLocks noGrp="1"/>
          </p:cNvSpPr>
          <p:nvPr>
            <p:ph type="body" sz="quarter" idx="21" hasCustomPrompt="1"/>
          </p:nvPr>
        </p:nvSpPr>
        <p:spPr>
          <a:xfrm>
            <a:off x="5003947" y="546851"/>
            <a:ext cx="3725823" cy="647700"/>
          </a:xfrm>
          <a:noFill/>
        </p:spPr>
        <p:txBody>
          <a:bodyPr vert="horz" wrap="square" lIns="36000" tIns="36000" rIns="36000" bIns="36000" rtlCol="0" anchor="t" anchorCtr="0">
            <a:noAutofit/>
          </a:bodyPr>
          <a:lstStyle>
            <a:lvl1pPr marL="0" indent="0" algn="l">
              <a:lnSpc>
                <a:spcPct val="100000"/>
              </a:lnSpc>
              <a:buNone/>
              <a:defRPr lang="en-US" sz="2099" b="1" spc="-22" baseline="0" dirty="0" smtClean="0">
                <a:latin typeface="+mj-lt"/>
                <a:ea typeface="+mj-ea"/>
                <a:cs typeface="+mj-cs"/>
              </a:defRPr>
            </a:lvl1pPr>
          </a:lstStyle>
          <a:p>
            <a:pPr lvl="0">
              <a:lnSpc>
                <a:spcPct val="90000"/>
              </a:lnSpc>
              <a:spcBef>
                <a:spcPct val="0"/>
              </a:spcBef>
            </a:pPr>
            <a:r>
              <a:rPr lang="en-US" dirty="0"/>
              <a:t>Click to add text</a:t>
            </a:r>
          </a:p>
        </p:txBody>
      </p:sp>
      <p:sp>
        <p:nvSpPr>
          <p:cNvPr id="30" name="Content Placeholder 12"/>
          <p:cNvSpPr>
            <a:spLocks noGrp="1"/>
          </p:cNvSpPr>
          <p:nvPr>
            <p:ph sz="quarter" idx="22" hasCustomPrompt="1"/>
          </p:nvPr>
        </p:nvSpPr>
        <p:spPr>
          <a:xfrm>
            <a:off x="414428" y="3814253"/>
            <a:ext cx="3725488" cy="971746"/>
          </a:xfrm>
        </p:spPr>
        <p:txBody>
          <a:bodyPr/>
          <a:lstStyle>
            <a:lvl1pPr marL="0" indent="0">
              <a:buNone/>
              <a:defRPr sz="1050"/>
            </a:lvl1pPr>
          </a:lstStyle>
          <a:p>
            <a:pPr lvl="0"/>
            <a:r>
              <a:rPr lang="en-US" dirty="0"/>
              <a:t>Click to add text</a:t>
            </a:r>
          </a:p>
        </p:txBody>
      </p:sp>
      <p:sp>
        <p:nvSpPr>
          <p:cNvPr id="31" name="Text Placeholder 6"/>
          <p:cNvSpPr>
            <a:spLocks noGrp="1"/>
          </p:cNvSpPr>
          <p:nvPr>
            <p:ph type="body" sz="quarter" idx="23" hasCustomPrompt="1"/>
          </p:nvPr>
        </p:nvSpPr>
        <p:spPr>
          <a:xfrm>
            <a:off x="414428" y="2868785"/>
            <a:ext cx="3725488" cy="242999"/>
          </a:xfrm>
        </p:spPr>
        <p:txBody>
          <a:bodyPr anchor="t"/>
          <a:lstStyle>
            <a:lvl1pPr marL="0" indent="0">
              <a:buNone/>
              <a:defRPr sz="1200" b="1">
                <a:solidFill>
                  <a:schemeClr val="bg2">
                    <a:lumMod val="75000"/>
                  </a:schemeClr>
                </a:solidFill>
              </a:defRPr>
            </a:lvl1pPr>
          </a:lstStyle>
          <a:p>
            <a:pPr lvl="0"/>
            <a:r>
              <a:rPr lang="en-US" dirty="0"/>
              <a:t>Click to add text</a:t>
            </a:r>
          </a:p>
        </p:txBody>
      </p:sp>
      <p:sp>
        <p:nvSpPr>
          <p:cNvPr id="32" name="Text Placeholder 25"/>
          <p:cNvSpPr>
            <a:spLocks noGrp="1"/>
          </p:cNvSpPr>
          <p:nvPr>
            <p:ph type="body" sz="quarter" idx="24" hasCustomPrompt="1"/>
          </p:nvPr>
        </p:nvSpPr>
        <p:spPr>
          <a:xfrm>
            <a:off x="414230" y="3112136"/>
            <a:ext cx="3725686" cy="647700"/>
          </a:xfrm>
          <a:noFill/>
        </p:spPr>
        <p:txBody>
          <a:bodyPr vert="horz" wrap="square" lIns="36000" tIns="36000" rIns="36000" bIns="36000" rtlCol="0" anchor="t" anchorCtr="0">
            <a:noAutofit/>
          </a:bodyPr>
          <a:lstStyle>
            <a:lvl1pPr marL="0" indent="0" algn="l">
              <a:lnSpc>
                <a:spcPct val="100000"/>
              </a:lnSpc>
              <a:buNone/>
              <a:defRPr lang="en-US" sz="2099" b="1" spc="-22" baseline="0" dirty="0" smtClean="0">
                <a:latin typeface="+mj-lt"/>
                <a:ea typeface="+mj-ea"/>
                <a:cs typeface="+mj-cs"/>
              </a:defRPr>
            </a:lvl1pPr>
          </a:lstStyle>
          <a:p>
            <a:pPr lvl="0">
              <a:lnSpc>
                <a:spcPct val="90000"/>
              </a:lnSpc>
              <a:spcBef>
                <a:spcPct val="0"/>
              </a:spcBef>
            </a:pPr>
            <a:r>
              <a:rPr lang="en-US" dirty="0"/>
              <a:t>Click to add text</a:t>
            </a:r>
          </a:p>
        </p:txBody>
      </p:sp>
      <p:sp>
        <p:nvSpPr>
          <p:cNvPr id="33" name="Content Placeholder 12"/>
          <p:cNvSpPr>
            <a:spLocks noGrp="1"/>
          </p:cNvSpPr>
          <p:nvPr>
            <p:ph sz="quarter" idx="25" hasCustomPrompt="1"/>
          </p:nvPr>
        </p:nvSpPr>
        <p:spPr>
          <a:xfrm>
            <a:off x="5004085" y="3814253"/>
            <a:ext cx="3725685" cy="971746"/>
          </a:xfrm>
        </p:spPr>
        <p:txBody>
          <a:bodyPr/>
          <a:lstStyle>
            <a:lvl1pPr marL="0" indent="0">
              <a:buNone/>
              <a:defRPr sz="1050">
                <a:solidFill>
                  <a:schemeClr val="bg1"/>
                </a:solidFill>
              </a:defRPr>
            </a:lvl1pPr>
          </a:lstStyle>
          <a:p>
            <a:pPr lvl="0"/>
            <a:r>
              <a:rPr lang="en-US" dirty="0"/>
              <a:t>Click to add text</a:t>
            </a:r>
          </a:p>
        </p:txBody>
      </p:sp>
      <p:sp>
        <p:nvSpPr>
          <p:cNvPr id="34" name="Text Placeholder 6"/>
          <p:cNvSpPr>
            <a:spLocks noGrp="1"/>
          </p:cNvSpPr>
          <p:nvPr>
            <p:ph type="body" sz="quarter" idx="26" hasCustomPrompt="1"/>
          </p:nvPr>
        </p:nvSpPr>
        <p:spPr>
          <a:xfrm>
            <a:off x="5004085" y="2868785"/>
            <a:ext cx="3725685" cy="242999"/>
          </a:xfrm>
        </p:spPr>
        <p:txBody>
          <a:bodyPr anchor="t"/>
          <a:lstStyle>
            <a:lvl1pPr marL="0" indent="0">
              <a:buNone/>
              <a:defRPr sz="1200" b="1">
                <a:solidFill>
                  <a:schemeClr val="bg1"/>
                </a:solidFill>
              </a:defRPr>
            </a:lvl1pPr>
          </a:lstStyle>
          <a:p>
            <a:pPr lvl="0"/>
            <a:r>
              <a:rPr lang="en-US" dirty="0"/>
              <a:t>Click to add text</a:t>
            </a:r>
          </a:p>
        </p:txBody>
      </p:sp>
      <p:sp>
        <p:nvSpPr>
          <p:cNvPr id="35" name="Text Placeholder 25"/>
          <p:cNvSpPr>
            <a:spLocks noGrp="1"/>
          </p:cNvSpPr>
          <p:nvPr>
            <p:ph type="body" sz="quarter" idx="27" hasCustomPrompt="1"/>
          </p:nvPr>
        </p:nvSpPr>
        <p:spPr>
          <a:xfrm>
            <a:off x="5004085" y="3112136"/>
            <a:ext cx="3725686" cy="647700"/>
          </a:xfrm>
          <a:noFill/>
        </p:spPr>
        <p:txBody>
          <a:bodyPr vert="horz" wrap="square" lIns="36000" tIns="36000" rIns="36000" bIns="36000" rtlCol="0" anchor="t" anchorCtr="0">
            <a:noAutofit/>
          </a:bodyPr>
          <a:lstStyle>
            <a:lvl1pPr marL="0" indent="0" algn="l">
              <a:lnSpc>
                <a:spcPct val="100000"/>
              </a:lnSpc>
              <a:buNone/>
              <a:defRPr lang="en-US" sz="2099" b="1" spc="-22" baseline="0" dirty="0" smtClean="0">
                <a:solidFill>
                  <a:schemeClr val="bg1"/>
                </a:solidFill>
                <a:latin typeface="+mj-lt"/>
                <a:ea typeface="+mj-ea"/>
                <a:cs typeface="+mj-cs"/>
              </a:defRPr>
            </a:lvl1pPr>
          </a:lstStyle>
          <a:p>
            <a:pPr lvl="0">
              <a:lnSpc>
                <a:spcPct val="90000"/>
              </a:lnSpc>
              <a:spcBef>
                <a:spcPct val="0"/>
              </a:spcBef>
            </a:pPr>
            <a:r>
              <a:rPr lang="en-US" dirty="0"/>
              <a:t>Click to add text</a:t>
            </a:r>
          </a:p>
        </p:txBody>
      </p:sp>
      <p:sp>
        <p:nvSpPr>
          <p:cNvPr id="36" name="Text Placeholder 25"/>
          <p:cNvSpPr>
            <a:spLocks noGrp="1"/>
          </p:cNvSpPr>
          <p:nvPr>
            <p:ph type="body" sz="quarter" idx="28" hasCustomPrompt="1"/>
          </p:nvPr>
        </p:nvSpPr>
        <p:spPr>
          <a:xfrm>
            <a:off x="414230" y="546497"/>
            <a:ext cx="3725687" cy="647700"/>
          </a:xfrm>
          <a:noFill/>
        </p:spPr>
        <p:txBody>
          <a:bodyPr vert="horz" wrap="square" lIns="36000" tIns="36000" rIns="36000" bIns="36000" rtlCol="0" anchor="t" anchorCtr="0">
            <a:noAutofit/>
          </a:bodyPr>
          <a:lstStyle>
            <a:lvl1pPr marL="0" indent="0" algn="l">
              <a:lnSpc>
                <a:spcPct val="100000"/>
              </a:lnSpc>
              <a:buNone/>
              <a:defRPr lang="en-US" sz="2099" b="1" spc="-22" baseline="0" dirty="0" smtClean="0">
                <a:latin typeface="+mj-lt"/>
                <a:ea typeface="+mj-ea"/>
                <a:cs typeface="+mj-cs"/>
              </a:defRPr>
            </a:lvl1pPr>
          </a:lstStyle>
          <a:p>
            <a:pPr lvl="0">
              <a:lnSpc>
                <a:spcPct val="90000"/>
              </a:lnSpc>
              <a:spcBef>
                <a:spcPct val="0"/>
              </a:spcBef>
            </a:pPr>
            <a:r>
              <a:rPr lang="en-US" dirty="0"/>
              <a:t>Click to add text</a:t>
            </a:r>
          </a:p>
        </p:txBody>
      </p:sp>
    </p:spTree>
    <p:extLst>
      <p:ext uri="{BB962C8B-B14F-4D97-AF65-F5344CB8AC3E}">
        <p14:creationId xmlns:p14="http://schemas.microsoft.com/office/powerpoint/2010/main" val="3594359542"/>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Bio">
    <p:spTree>
      <p:nvGrpSpPr>
        <p:cNvPr id="1" name=""/>
        <p:cNvGrpSpPr/>
        <p:nvPr/>
      </p:nvGrpSpPr>
      <p:grpSpPr>
        <a:xfrm>
          <a:off x="0" y="0"/>
          <a:ext cx="0" cy="0"/>
          <a:chOff x="0" y="0"/>
          <a:chExt cx="0" cy="0"/>
        </a:xfrm>
      </p:grpSpPr>
      <p:sp>
        <p:nvSpPr>
          <p:cNvPr id="12" name="Rectangle 11"/>
          <p:cNvSpPr/>
          <p:nvPr userDrawn="1"/>
        </p:nvSpPr>
        <p:spPr>
          <a:xfrm>
            <a:off x="6083774" y="2571750"/>
            <a:ext cx="3060226" cy="2571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012"/>
          </a:p>
        </p:txBody>
      </p:sp>
      <p:sp>
        <p:nvSpPr>
          <p:cNvPr id="3" name="Date Placeholder 2"/>
          <p:cNvSpPr>
            <a:spLocks noGrp="1"/>
          </p:cNvSpPr>
          <p:nvPr>
            <p:ph type="dt" sz="half" idx="10"/>
          </p:nvPr>
        </p:nvSpPr>
        <p:spPr/>
        <p:txBody>
          <a:bodyPr/>
          <a:lstStyle/>
          <a:p>
            <a:fld id="{D4559940-DECE-47F4-9CFC-F8FA3E09F4F2}" type="datetime1">
              <a:rPr lang="fi-FI" smtClean="0"/>
              <a:t>5.11.2023</a:t>
            </a:fld>
            <a:endParaRPr lang="en-US"/>
          </a:p>
        </p:txBody>
      </p:sp>
      <p:sp>
        <p:nvSpPr>
          <p:cNvPr id="4" name="Footer Placeholder 3"/>
          <p:cNvSpPr>
            <a:spLocks noGrp="1"/>
          </p:cNvSpPr>
          <p:nvPr>
            <p:ph type="ftr" sz="quarter" idx="11"/>
          </p:nvPr>
        </p:nvSpPr>
        <p:spPr/>
        <p:txBody>
          <a:bodyPr/>
          <a:lstStyle/>
          <a:p>
            <a:r>
              <a:rPr lang="en-US"/>
              <a:t>© Aalto University Executive Education</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FCCA222D-FCF7-48C1-A274-EBDDEF75DC66}" type="slidenum">
              <a:rPr lang="en-US" smtClean="0"/>
              <a:pPr/>
              <a:t>‹#›</a:t>
            </a:fld>
            <a:endParaRPr lang="en-US" dirty="0"/>
          </a:p>
        </p:txBody>
      </p:sp>
      <p:sp>
        <p:nvSpPr>
          <p:cNvPr id="9" name="Picture Placeholder 2"/>
          <p:cNvSpPr>
            <a:spLocks noGrp="1"/>
          </p:cNvSpPr>
          <p:nvPr>
            <p:ph type="pic" idx="13"/>
          </p:nvPr>
        </p:nvSpPr>
        <p:spPr>
          <a:xfrm>
            <a:off x="6083774" y="2"/>
            <a:ext cx="3060226" cy="2571749"/>
          </a:xfrm>
          <a:solidFill>
            <a:schemeClr val="bg2">
              <a:lumMod val="20000"/>
              <a:lumOff val="80000"/>
            </a:schemeClr>
          </a:solidFill>
        </p:spPr>
        <p:txBody>
          <a:bodyPr/>
          <a:lstStyle>
            <a:lvl1pPr marL="0" indent="0">
              <a:buNone/>
              <a:defRPr sz="1050"/>
            </a:lvl1pPr>
            <a:lvl2pPr marL="342809" indent="0">
              <a:buNone/>
              <a:defRPr sz="2099"/>
            </a:lvl2pPr>
            <a:lvl3pPr marL="685617" indent="0">
              <a:buNone/>
              <a:defRPr sz="1800"/>
            </a:lvl3pPr>
            <a:lvl4pPr marL="1028426" indent="0">
              <a:buNone/>
              <a:defRPr sz="1500"/>
            </a:lvl4pPr>
            <a:lvl5pPr marL="1371234" indent="0">
              <a:buNone/>
              <a:defRPr sz="1500"/>
            </a:lvl5pPr>
            <a:lvl6pPr marL="1714043" indent="0">
              <a:buNone/>
              <a:defRPr sz="1500"/>
            </a:lvl6pPr>
            <a:lvl7pPr marL="2056851" indent="0">
              <a:buNone/>
              <a:defRPr sz="1500"/>
            </a:lvl7pPr>
            <a:lvl8pPr marL="2399660" indent="0">
              <a:buNone/>
              <a:defRPr sz="1500"/>
            </a:lvl8pPr>
            <a:lvl9pPr marL="2742468" indent="0">
              <a:buNone/>
              <a:defRPr sz="1500"/>
            </a:lvl9pPr>
          </a:lstStyle>
          <a:p>
            <a:r>
              <a:rPr lang="en-US"/>
              <a:t>Click icon to add picture</a:t>
            </a:r>
            <a:endParaRPr lang="en-US" dirty="0"/>
          </a:p>
        </p:txBody>
      </p:sp>
      <p:sp>
        <p:nvSpPr>
          <p:cNvPr id="13" name="Content Placeholder 12"/>
          <p:cNvSpPr>
            <a:spLocks noGrp="1"/>
          </p:cNvSpPr>
          <p:nvPr>
            <p:ph sz="quarter" idx="14" hasCustomPrompt="1"/>
          </p:nvPr>
        </p:nvSpPr>
        <p:spPr>
          <a:xfrm>
            <a:off x="414229" y="1221564"/>
            <a:ext cx="5453613" cy="3186131"/>
          </a:xfrm>
        </p:spPr>
        <p:txBody>
          <a:bodyPr/>
          <a:lstStyle>
            <a:lvl1pPr marL="0" indent="0">
              <a:buFontTx/>
              <a:buNone/>
              <a:defRPr sz="1050"/>
            </a:lvl1pPr>
            <a:lvl2pPr marL="199972" indent="-199972">
              <a:buFont typeface="Arial" panose="020B0604020202020204" pitchFamily="34" charset="0"/>
              <a:buChar char="•"/>
              <a:defRPr sz="900"/>
            </a:lvl2pPr>
            <a:lvl3pPr marL="404705" indent="-204733">
              <a:buFont typeface="Arial" panose="020B0604020202020204" pitchFamily="34" charset="0"/>
              <a:buChar char="–"/>
              <a:defRPr sz="825"/>
            </a:lvl3pPr>
            <a:lvl4pPr marL="604676" indent="-199972">
              <a:buFont typeface="Arial" panose="020B0604020202020204" pitchFamily="34" charset="0"/>
              <a:buChar char="•"/>
              <a:defRPr sz="750"/>
            </a:lvl4pPr>
            <a:lvl5pPr marL="803458" indent="-198782">
              <a:buFont typeface="Arial" panose="020B0604020202020204" pitchFamily="34" charset="0"/>
              <a:buChar char="–"/>
              <a:defRPr sz="75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5" hasCustomPrompt="1"/>
          </p:nvPr>
        </p:nvSpPr>
        <p:spPr>
          <a:xfrm>
            <a:off x="6353733" y="2895796"/>
            <a:ext cx="2537920" cy="1511899"/>
          </a:xfrm>
          <a:prstGeom prst="rect">
            <a:avLst/>
          </a:prstGeom>
        </p:spPr>
        <p:txBody>
          <a:bodyPr lIns="0" tIns="0" rIns="0" bIns="0"/>
          <a:lstStyle>
            <a:lvl1pPr marL="0" indent="0">
              <a:buFontTx/>
              <a:buNone/>
              <a:defRPr sz="1200" b="1">
                <a:solidFill>
                  <a:schemeClr val="bg1"/>
                </a:solidFill>
              </a:defRPr>
            </a:lvl1pPr>
            <a:lvl2pPr marL="136886" indent="-136886">
              <a:buFont typeface="Arial" panose="020B0604020202020204" pitchFamily="34" charset="0"/>
              <a:buChar char="•"/>
              <a:defRPr sz="1050" b="1">
                <a:solidFill>
                  <a:schemeClr val="bg1"/>
                </a:solidFill>
              </a:defRPr>
            </a:lvl2pPr>
            <a:lvl3pPr marL="267820" indent="-130934">
              <a:defRPr sz="900" b="1">
                <a:solidFill>
                  <a:schemeClr val="bg1"/>
                </a:solidFill>
              </a:defRPr>
            </a:lvl3pPr>
            <a:lvl4pPr marL="404705" indent="-136886">
              <a:defRPr sz="825" b="1">
                <a:solidFill>
                  <a:schemeClr val="bg1"/>
                </a:solidFill>
              </a:defRPr>
            </a:lvl4pPr>
            <a:lvl5pPr marL="535638" indent="-130934">
              <a:defRPr sz="825" b="1">
                <a:solidFill>
                  <a:schemeClr val="bg1"/>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Isosceles Triangle 7"/>
          <p:cNvSpPr/>
          <p:nvPr userDrawn="1"/>
        </p:nvSpPr>
        <p:spPr>
          <a:xfrm flipV="1">
            <a:off x="7406747" y="2571750"/>
            <a:ext cx="432060" cy="162023"/>
          </a:xfrm>
          <a:prstGeom prst="triangle">
            <a:avLst/>
          </a:prstGeom>
          <a:solidFill>
            <a:srgbClr val="E09B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2"/>
          </a:p>
        </p:txBody>
      </p:sp>
      <p:sp>
        <p:nvSpPr>
          <p:cNvPr id="2" name="Title 1"/>
          <p:cNvSpPr>
            <a:spLocks noGrp="1"/>
          </p:cNvSpPr>
          <p:nvPr>
            <p:ph type="title" hasCustomPrompt="1"/>
          </p:nvPr>
        </p:nvSpPr>
        <p:spPr>
          <a:xfrm>
            <a:off x="0" y="573882"/>
            <a:ext cx="5867842" cy="456902"/>
          </a:xfrm>
          <a:solidFill>
            <a:srgbClr val="B1059D"/>
          </a:solidFill>
        </p:spPr>
        <p:txBody>
          <a:bodyPr/>
          <a:lstStyle>
            <a:lvl1pPr>
              <a:defRPr sz="2249"/>
            </a:lvl1pPr>
          </a:lstStyle>
          <a:p>
            <a:r>
              <a:rPr lang="en-US" dirty="0"/>
              <a:t>Insert Name</a:t>
            </a:r>
            <a:endParaRPr lang="fi-FI" dirty="0"/>
          </a:p>
        </p:txBody>
      </p:sp>
    </p:spTree>
    <p:extLst>
      <p:ext uri="{BB962C8B-B14F-4D97-AF65-F5344CB8AC3E}">
        <p14:creationId xmlns:p14="http://schemas.microsoft.com/office/powerpoint/2010/main" val="255887142"/>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Custom layout 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8175"/>
            <a:ext cx="2086323" cy="353155"/>
          </a:xfrm>
          <a:solidFill>
            <a:srgbClr val="B1059D"/>
          </a:solidFill>
        </p:spPr>
        <p:txBody>
          <a:bodyPr wrap="none" lIns="324000" rIns="324000" anchor="ctr"/>
          <a:lstStyle>
            <a:lvl1pPr>
              <a:defRPr sz="1500"/>
            </a:lvl1pPr>
          </a:lstStyle>
          <a:p>
            <a:r>
              <a:rPr lang="en-US" dirty="0"/>
              <a:t>Click to add title</a:t>
            </a:r>
          </a:p>
        </p:txBody>
      </p:sp>
      <p:sp>
        <p:nvSpPr>
          <p:cNvPr id="4" name="Date Placeholder 3"/>
          <p:cNvSpPr>
            <a:spLocks noGrp="1"/>
          </p:cNvSpPr>
          <p:nvPr>
            <p:ph type="dt" sz="half" idx="10"/>
          </p:nvPr>
        </p:nvSpPr>
        <p:spPr/>
        <p:txBody>
          <a:bodyPr/>
          <a:lstStyle/>
          <a:p>
            <a:fld id="{5F04A4A6-8F0B-4EE0-A205-F3CC694F274C}" type="datetime1">
              <a:rPr lang="fi-FI" smtClean="0"/>
              <a:t>5.11.2023</a:t>
            </a:fld>
            <a:endParaRPr lang="en-US"/>
          </a:p>
        </p:txBody>
      </p:sp>
      <p:sp>
        <p:nvSpPr>
          <p:cNvPr id="5" name="Footer Placeholder 4"/>
          <p:cNvSpPr>
            <a:spLocks noGrp="1"/>
          </p:cNvSpPr>
          <p:nvPr>
            <p:ph type="ftr" sz="quarter" idx="11"/>
          </p:nvPr>
        </p:nvSpPr>
        <p:spPr/>
        <p:txBody>
          <a:bodyPr/>
          <a:lstStyle/>
          <a:p>
            <a:r>
              <a:rPr lang="en-US"/>
              <a:t>© Aalto University Executive Education</a:t>
            </a:r>
          </a:p>
        </p:txBody>
      </p:sp>
      <p:sp>
        <p:nvSpPr>
          <p:cNvPr id="6" name="Slide Number Placeholder 5"/>
          <p:cNvSpPr>
            <a:spLocks noGrp="1"/>
          </p:cNvSpPr>
          <p:nvPr>
            <p:ph type="sldNum" sz="quarter" idx="12"/>
          </p:nvPr>
        </p:nvSpPr>
        <p:spPr/>
        <p:txBody>
          <a:bodyPr/>
          <a:lstStyle/>
          <a:p>
            <a:fld id="{FCCA222D-FCF7-48C1-A274-EBDDEF75DC66}" type="slidenum">
              <a:rPr lang="en-US" smtClean="0"/>
              <a:t>‹#›</a:t>
            </a:fld>
            <a:endParaRPr lang="en-US"/>
          </a:p>
        </p:txBody>
      </p:sp>
      <p:sp>
        <p:nvSpPr>
          <p:cNvPr id="7" name="Text Placeholder 6"/>
          <p:cNvSpPr>
            <a:spLocks noGrp="1"/>
          </p:cNvSpPr>
          <p:nvPr>
            <p:ph type="body" sz="quarter" idx="13" hasCustomPrompt="1"/>
          </p:nvPr>
        </p:nvSpPr>
        <p:spPr>
          <a:xfrm>
            <a:off x="1224407" y="1059230"/>
            <a:ext cx="2537692" cy="1080473"/>
          </a:xfrm>
          <a:solidFill>
            <a:schemeClr val="bg2">
              <a:lumMod val="20000"/>
              <a:lumOff val="80000"/>
            </a:schemeClr>
          </a:solidFill>
        </p:spPr>
        <p:txBody>
          <a:bodyPr lIns="144000" tIns="108000" rIns="144000" bIns="108000"/>
          <a:lstStyle>
            <a:lvl1pPr marL="0" indent="0">
              <a:spcAft>
                <a:spcPts val="300"/>
              </a:spcAft>
              <a:buNone/>
              <a:defRPr sz="750"/>
            </a:lvl1pPr>
            <a:lvl2pPr marL="136886" indent="-136886">
              <a:spcAft>
                <a:spcPts val="300"/>
              </a:spcAft>
              <a:buFont typeface="Arial" panose="020B0604020202020204" pitchFamily="34" charset="0"/>
              <a:buChar char="•"/>
              <a:defRPr sz="750"/>
            </a:lvl2pPr>
          </a:lstStyle>
          <a:p>
            <a:pPr lvl="0"/>
            <a:r>
              <a:rPr lang="en-US" dirty="0"/>
              <a:t>Click to add text</a:t>
            </a:r>
          </a:p>
          <a:p>
            <a:pPr lvl="1"/>
            <a:r>
              <a:rPr lang="en-US" dirty="0"/>
              <a:t>Second level</a:t>
            </a:r>
          </a:p>
        </p:txBody>
      </p:sp>
      <p:sp>
        <p:nvSpPr>
          <p:cNvPr id="11" name="Text Placeholder 10"/>
          <p:cNvSpPr>
            <a:spLocks noGrp="1"/>
          </p:cNvSpPr>
          <p:nvPr>
            <p:ph type="body" sz="quarter" idx="22"/>
          </p:nvPr>
        </p:nvSpPr>
        <p:spPr>
          <a:xfrm>
            <a:off x="252348" y="1059304"/>
            <a:ext cx="918065" cy="1079897"/>
          </a:xfrm>
        </p:spPr>
        <p:txBody>
          <a:bodyPr lIns="36000" tIns="36000" rIns="36000" bIns="36000"/>
          <a:lstStyle>
            <a:lvl1pPr marL="0" indent="0" algn="r">
              <a:buNone/>
              <a:defRPr sz="1050" b="1">
                <a:solidFill>
                  <a:schemeClr val="accent2"/>
                </a:solidFill>
              </a:defRPr>
            </a:lvl1pPr>
          </a:lstStyle>
          <a:p>
            <a:pPr lvl="0"/>
            <a:r>
              <a:rPr lang="en-US"/>
              <a:t>Edit Master text styles</a:t>
            </a:r>
          </a:p>
        </p:txBody>
      </p:sp>
      <p:sp>
        <p:nvSpPr>
          <p:cNvPr id="33" name="Text Placeholder 10"/>
          <p:cNvSpPr>
            <a:spLocks noGrp="1"/>
          </p:cNvSpPr>
          <p:nvPr>
            <p:ph type="body" sz="quarter" idx="23"/>
          </p:nvPr>
        </p:nvSpPr>
        <p:spPr>
          <a:xfrm>
            <a:off x="252348" y="2193356"/>
            <a:ext cx="918065" cy="1079897"/>
          </a:xfrm>
        </p:spPr>
        <p:txBody>
          <a:bodyPr lIns="36000" tIns="36000" rIns="36000" bIns="36000"/>
          <a:lstStyle>
            <a:lvl1pPr marL="0" indent="0" algn="r">
              <a:buNone/>
              <a:defRPr sz="1050" b="1">
                <a:solidFill>
                  <a:schemeClr val="accent2"/>
                </a:solidFill>
              </a:defRPr>
            </a:lvl1pPr>
          </a:lstStyle>
          <a:p>
            <a:pPr lvl="0"/>
            <a:r>
              <a:rPr lang="en-US"/>
              <a:t>Edit Master text styles</a:t>
            </a:r>
          </a:p>
        </p:txBody>
      </p:sp>
      <p:sp>
        <p:nvSpPr>
          <p:cNvPr id="34" name="Text Placeholder 10"/>
          <p:cNvSpPr>
            <a:spLocks noGrp="1"/>
          </p:cNvSpPr>
          <p:nvPr>
            <p:ph type="body" sz="quarter" idx="24"/>
          </p:nvPr>
        </p:nvSpPr>
        <p:spPr>
          <a:xfrm>
            <a:off x="252348" y="3327705"/>
            <a:ext cx="918065" cy="1079897"/>
          </a:xfrm>
        </p:spPr>
        <p:txBody>
          <a:bodyPr lIns="36000" tIns="36000" rIns="36000" bIns="36000"/>
          <a:lstStyle>
            <a:lvl1pPr marL="0" indent="0" algn="r">
              <a:buNone/>
              <a:defRPr sz="1050" b="1">
                <a:solidFill>
                  <a:schemeClr val="accent2"/>
                </a:solidFill>
              </a:defRPr>
            </a:lvl1pPr>
          </a:lstStyle>
          <a:p>
            <a:pPr lvl="0"/>
            <a:r>
              <a:rPr lang="en-US"/>
              <a:t>Edit Master text styles</a:t>
            </a:r>
          </a:p>
        </p:txBody>
      </p:sp>
      <p:sp>
        <p:nvSpPr>
          <p:cNvPr id="35" name="Text Placeholder 10"/>
          <p:cNvSpPr>
            <a:spLocks noGrp="1"/>
          </p:cNvSpPr>
          <p:nvPr>
            <p:ph type="body" sz="quarter" idx="25"/>
          </p:nvPr>
        </p:nvSpPr>
        <p:spPr>
          <a:xfrm>
            <a:off x="1224407" y="789503"/>
            <a:ext cx="2555506" cy="216030"/>
          </a:xfrm>
        </p:spPr>
        <p:txBody>
          <a:bodyPr lIns="36000" tIns="36000" rIns="36000" bIns="36000" anchor="b"/>
          <a:lstStyle>
            <a:lvl1pPr marL="0" indent="0" algn="ctr">
              <a:buNone/>
              <a:defRPr sz="1050" b="1">
                <a:solidFill>
                  <a:schemeClr val="accent2"/>
                </a:solidFill>
              </a:defRPr>
            </a:lvl1pPr>
          </a:lstStyle>
          <a:p>
            <a:pPr lvl="0"/>
            <a:r>
              <a:rPr lang="en-US"/>
              <a:t>Edit Master text styles</a:t>
            </a:r>
          </a:p>
        </p:txBody>
      </p:sp>
      <p:sp>
        <p:nvSpPr>
          <p:cNvPr id="36" name="Text Placeholder 10"/>
          <p:cNvSpPr>
            <a:spLocks noGrp="1"/>
          </p:cNvSpPr>
          <p:nvPr>
            <p:ph type="body" sz="quarter" idx="26"/>
          </p:nvPr>
        </p:nvSpPr>
        <p:spPr>
          <a:xfrm>
            <a:off x="3816091" y="789504"/>
            <a:ext cx="2484697" cy="216029"/>
          </a:xfrm>
        </p:spPr>
        <p:txBody>
          <a:bodyPr lIns="36000" tIns="36000" rIns="36000" bIns="36000" anchor="b"/>
          <a:lstStyle>
            <a:lvl1pPr marL="0" indent="0" algn="ctr">
              <a:buNone/>
              <a:defRPr sz="1050" b="1">
                <a:solidFill>
                  <a:schemeClr val="accent2"/>
                </a:solidFill>
              </a:defRPr>
            </a:lvl1pPr>
          </a:lstStyle>
          <a:p>
            <a:pPr lvl="0"/>
            <a:r>
              <a:rPr lang="en-US"/>
              <a:t>Edit Master text styles</a:t>
            </a:r>
          </a:p>
        </p:txBody>
      </p:sp>
      <p:sp>
        <p:nvSpPr>
          <p:cNvPr id="37" name="Text Placeholder 10"/>
          <p:cNvSpPr>
            <a:spLocks noGrp="1"/>
          </p:cNvSpPr>
          <p:nvPr>
            <p:ph type="body" sz="quarter" idx="27"/>
          </p:nvPr>
        </p:nvSpPr>
        <p:spPr>
          <a:xfrm>
            <a:off x="6372200" y="789504"/>
            <a:ext cx="2519453" cy="216029"/>
          </a:xfrm>
        </p:spPr>
        <p:txBody>
          <a:bodyPr lIns="36000" tIns="36000" rIns="36000" bIns="36000" anchor="b"/>
          <a:lstStyle>
            <a:lvl1pPr marL="0" indent="0" algn="ctr">
              <a:buNone/>
              <a:defRPr sz="1050" b="1">
                <a:solidFill>
                  <a:schemeClr val="accent2"/>
                </a:solidFill>
              </a:defRPr>
            </a:lvl1pPr>
          </a:lstStyle>
          <a:p>
            <a:pPr lvl="0"/>
            <a:r>
              <a:rPr lang="en-US"/>
              <a:t>Edit Master text styles</a:t>
            </a:r>
          </a:p>
        </p:txBody>
      </p:sp>
      <p:sp>
        <p:nvSpPr>
          <p:cNvPr id="50" name="Text Placeholder 6"/>
          <p:cNvSpPr>
            <a:spLocks noGrp="1"/>
          </p:cNvSpPr>
          <p:nvPr>
            <p:ph type="body" sz="quarter" idx="28" hasCustomPrompt="1"/>
          </p:nvPr>
        </p:nvSpPr>
        <p:spPr>
          <a:xfrm>
            <a:off x="3816092" y="1059230"/>
            <a:ext cx="2483697" cy="1080473"/>
          </a:xfrm>
          <a:solidFill>
            <a:schemeClr val="bg2">
              <a:lumMod val="20000"/>
              <a:lumOff val="80000"/>
            </a:schemeClr>
          </a:solidFill>
        </p:spPr>
        <p:txBody>
          <a:bodyPr lIns="144000" tIns="108000" rIns="144000" bIns="108000"/>
          <a:lstStyle>
            <a:lvl1pPr marL="0" indent="0">
              <a:spcAft>
                <a:spcPts val="300"/>
              </a:spcAft>
              <a:buNone/>
              <a:defRPr sz="750"/>
            </a:lvl1pPr>
            <a:lvl2pPr marL="136886" indent="-136886">
              <a:spcAft>
                <a:spcPts val="300"/>
              </a:spcAft>
              <a:buFont typeface="Arial" panose="020B0604020202020204" pitchFamily="34" charset="0"/>
              <a:buChar char="•"/>
              <a:defRPr sz="750"/>
            </a:lvl2pPr>
          </a:lstStyle>
          <a:p>
            <a:pPr lvl="0"/>
            <a:r>
              <a:rPr lang="en-US" dirty="0"/>
              <a:t>Click to add text</a:t>
            </a:r>
          </a:p>
          <a:p>
            <a:pPr lvl="1"/>
            <a:r>
              <a:rPr lang="en-US" dirty="0"/>
              <a:t>Second level</a:t>
            </a:r>
          </a:p>
        </p:txBody>
      </p:sp>
      <p:sp>
        <p:nvSpPr>
          <p:cNvPr id="51" name="Text Placeholder 6"/>
          <p:cNvSpPr>
            <a:spLocks noGrp="1"/>
          </p:cNvSpPr>
          <p:nvPr>
            <p:ph type="body" sz="quarter" idx="29" hasCustomPrompt="1"/>
          </p:nvPr>
        </p:nvSpPr>
        <p:spPr>
          <a:xfrm>
            <a:off x="6353783" y="1059230"/>
            <a:ext cx="2537870" cy="1080473"/>
          </a:xfrm>
          <a:solidFill>
            <a:schemeClr val="bg2">
              <a:lumMod val="20000"/>
              <a:lumOff val="80000"/>
            </a:schemeClr>
          </a:solidFill>
        </p:spPr>
        <p:txBody>
          <a:bodyPr lIns="144000" tIns="108000" rIns="144000" bIns="108000"/>
          <a:lstStyle>
            <a:lvl1pPr marL="0" indent="0">
              <a:spcAft>
                <a:spcPts val="300"/>
              </a:spcAft>
              <a:buNone/>
              <a:defRPr sz="750"/>
            </a:lvl1pPr>
            <a:lvl2pPr marL="136886" indent="-136886">
              <a:spcAft>
                <a:spcPts val="300"/>
              </a:spcAft>
              <a:buFont typeface="Arial" panose="020B0604020202020204" pitchFamily="34" charset="0"/>
              <a:buChar char="•"/>
              <a:defRPr sz="750"/>
            </a:lvl2pPr>
          </a:lstStyle>
          <a:p>
            <a:pPr lvl="0"/>
            <a:r>
              <a:rPr lang="en-US" dirty="0"/>
              <a:t>Click to add text</a:t>
            </a:r>
          </a:p>
          <a:p>
            <a:pPr lvl="1"/>
            <a:r>
              <a:rPr lang="en-US" dirty="0"/>
              <a:t>Second level</a:t>
            </a:r>
          </a:p>
        </p:txBody>
      </p:sp>
      <p:sp>
        <p:nvSpPr>
          <p:cNvPr id="52" name="Text Placeholder 6"/>
          <p:cNvSpPr>
            <a:spLocks noGrp="1"/>
          </p:cNvSpPr>
          <p:nvPr>
            <p:ph type="body" sz="quarter" idx="30" hasCustomPrompt="1"/>
          </p:nvPr>
        </p:nvSpPr>
        <p:spPr>
          <a:xfrm>
            <a:off x="1224407" y="2193356"/>
            <a:ext cx="2537692" cy="1080473"/>
          </a:xfrm>
          <a:solidFill>
            <a:schemeClr val="bg2">
              <a:lumMod val="20000"/>
              <a:lumOff val="80000"/>
            </a:schemeClr>
          </a:solidFill>
        </p:spPr>
        <p:txBody>
          <a:bodyPr lIns="144000" tIns="108000" rIns="144000" bIns="108000"/>
          <a:lstStyle>
            <a:lvl1pPr marL="0" indent="0">
              <a:spcAft>
                <a:spcPts val="300"/>
              </a:spcAft>
              <a:buNone/>
              <a:defRPr sz="750"/>
            </a:lvl1pPr>
            <a:lvl2pPr marL="136886" indent="-136886">
              <a:spcAft>
                <a:spcPts val="300"/>
              </a:spcAft>
              <a:buFont typeface="Arial" panose="020B0604020202020204" pitchFamily="34" charset="0"/>
              <a:buChar char="•"/>
              <a:defRPr sz="750"/>
            </a:lvl2pPr>
          </a:lstStyle>
          <a:p>
            <a:pPr lvl="0"/>
            <a:r>
              <a:rPr lang="en-US" dirty="0"/>
              <a:t>Click to add text</a:t>
            </a:r>
          </a:p>
          <a:p>
            <a:pPr lvl="1"/>
            <a:r>
              <a:rPr lang="en-US" dirty="0"/>
              <a:t>Second level</a:t>
            </a:r>
          </a:p>
        </p:txBody>
      </p:sp>
      <p:sp>
        <p:nvSpPr>
          <p:cNvPr id="53" name="Text Placeholder 6"/>
          <p:cNvSpPr>
            <a:spLocks noGrp="1"/>
          </p:cNvSpPr>
          <p:nvPr>
            <p:ph type="body" sz="quarter" idx="31" hasCustomPrompt="1"/>
          </p:nvPr>
        </p:nvSpPr>
        <p:spPr>
          <a:xfrm>
            <a:off x="3816092" y="2193356"/>
            <a:ext cx="2483699" cy="1080473"/>
          </a:xfrm>
          <a:solidFill>
            <a:schemeClr val="bg2">
              <a:lumMod val="20000"/>
              <a:lumOff val="80000"/>
            </a:schemeClr>
          </a:solidFill>
        </p:spPr>
        <p:txBody>
          <a:bodyPr lIns="144000" tIns="108000" rIns="144000" bIns="108000"/>
          <a:lstStyle>
            <a:lvl1pPr marL="0" indent="0">
              <a:spcAft>
                <a:spcPts val="300"/>
              </a:spcAft>
              <a:buNone/>
              <a:defRPr sz="750"/>
            </a:lvl1pPr>
            <a:lvl2pPr marL="136886" indent="-136886">
              <a:spcAft>
                <a:spcPts val="300"/>
              </a:spcAft>
              <a:buFont typeface="Arial" panose="020B0604020202020204" pitchFamily="34" charset="0"/>
              <a:buChar char="•"/>
              <a:defRPr sz="750"/>
            </a:lvl2pPr>
          </a:lstStyle>
          <a:p>
            <a:pPr lvl="0"/>
            <a:r>
              <a:rPr lang="en-US" dirty="0"/>
              <a:t>Click to add text</a:t>
            </a:r>
          </a:p>
          <a:p>
            <a:pPr lvl="1"/>
            <a:r>
              <a:rPr lang="en-US" dirty="0"/>
              <a:t>Second level</a:t>
            </a:r>
          </a:p>
        </p:txBody>
      </p:sp>
      <p:sp>
        <p:nvSpPr>
          <p:cNvPr id="54" name="Text Placeholder 6"/>
          <p:cNvSpPr>
            <a:spLocks noGrp="1"/>
          </p:cNvSpPr>
          <p:nvPr>
            <p:ph type="body" sz="quarter" idx="32" hasCustomPrompt="1"/>
          </p:nvPr>
        </p:nvSpPr>
        <p:spPr>
          <a:xfrm>
            <a:off x="6353783" y="2193356"/>
            <a:ext cx="2537870" cy="1080473"/>
          </a:xfrm>
          <a:solidFill>
            <a:schemeClr val="bg2">
              <a:lumMod val="20000"/>
              <a:lumOff val="80000"/>
            </a:schemeClr>
          </a:solidFill>
        </p:spPr>
        <p:txBody>
          <a:bodyPr lIns="144000" tIns="108000" rIns="144000" bIns="108000"/>
          <a:lstStyle>
            <a:lvl1pPr marL="0" indent="0">
              <a:spcAft>
                <a:spcPts val="300"/>
              </a:spcAft>
              <a:buNone/>
              <a:defRPr sz="750"/>
            </a:lvl1pPr>
            <a:lvl2pPr marL="136886" indent="-136886">
              <a:spcAft>
                <a:spcPts val="300"/>
              </a:spcAft>
              <a:buFont typeface="Arial" panose="020B0604020202020204" pitchFamily="34" charset="0"/>
              <a:buChar char="•"/>
              <a:defRPr sz="750"/>
            </a:lvl2pPr>
          </a:lstStyle>
          <a:p>
            <a:pPr lvl="0"/>
            <a:r>
              <a:rPr lang="en-US" dirty="0"/>
              <a:t>Click to add text</a:t>
            </a:r>
          </a:p>
          <a:p>
            <a:pPr lvl="1"/>
            <a:r>
              <a:rPr lang="en-US" dirty="0"/>
              <a:t>Second level</a:t>
            </a:r>
          </a:p>
        </p:txBody>
      </p:sp>
      <p:sp>
        <p:nvSpPr>
          <p:cNvPr id="55" name="Text Placeholder 6"/>
          <p:cNvSpPr>
            <a:spLocks noGrp="1"/>
          </p:cNvSpPr>
          <p:nvPr>
            <p:ph type="body" sz="quarter" idx="33" hasCustomPrompt="1"/>
          </p:nvPr>
        </p:nvSpPr>
        <p:spPr>
          <a:xfrm>
            <a:off x="1224407" y="3327482"/>
            <a:ext cx="2537691" cy="1080473"/>
          </a:xfrm>
          <a:solidFill>
            <a:schemeClr val="bg2">
              <a:lumMod val="20000"/>
              <a:lumOff val="80000"/>
            </a:schemeClr>
          </a:solidFill>
        </p:spPr>
        <p:txBody>
          <a:bodyPr lIns="144000" tIns="108000" rIns="144000" bIns="108000"/>
          <a:lstStyle>
            <a:lvl1pPr marL="0" indent="0">
              <a:spcAft>
                <a:spcPts val="300"/>
              </a:spcAft>
              <a:buNone/>
              <a:defRPr sz="750"/>
            </a:lvl1pPr>
            <a:lvl2pPr marL="136886" indent="-136886">
              <a:spcAft>
                <a:spcPts val="300"/>
              </a:spcAft>
              <a:buFont typeface="Arial" panose="020B0604020202020204" pitchFamily="34" charset="0"/>
              <a:buChar char="•"/>
              <a:defRPr sz="750"/>
            </a:lvl2pPr>
          </a:lstStyle>
          <a:p>
            <a:pPr lvl="0"/>
            <a:r>
              <a:rPr lang="en-US" dirty="0"/>
              <a:t>Click to add text</a:t>
            </a:r>
          </a:p>
          <a:p>
            <a:pPr lvl="1"/>
            <a:r>
              <a:rPr lang="en-US" dirty="0"/>
              <a:t>Second level</a:t>
            </a:r>
          </a:p>
        </p:txBody>
      </p:sp>
      <p:sp>
        <p:nvSpPr>
          <p:cNvPr id="56" name="Text Placeholder 6"/>
          <p:cNvSpPr>
            <a:spLocks noGrp="1"/>
          </p:cNvSpPr>
          <p:nvPr>
            <p:ph type="body" sz="quarter" idx="34" hasCustomPrompt="1"/>
          </p:nvPr>
        </p:nvSpPr>
        <p:spPr>
          <a:xfrm>
            <a:off x="3816092" y="3327482"/>
            <a:ext cx="2483698" cy="1080473"/>
          </a:xfrm>
          <a:solidFill>
            <a:schemeClr val="bg2">
              <a:lumMod val="20000"/>
              <a:lumOff val="80000"/>
            </a:schemeClr>
          </a:solidFill>
        </p:spPr>
        <p:txBody>
          <a:bodyPr lIns="144000" tIns="108000" rIns="144000" bIns="108000"/>
          <a:lstStyle>
            <a:lvl1pPr marL="0" indent="0">
              <a:spcAft>
                <a:spcPts val="300"/>
              </a:spcAft>
              <a:buNone/>
              <a:defRPr sz="750"/>
            </a:lvl1pPr>
            <a:lvl2pPr marL="136886" indent="-136886">
              <a:spcAft>
                <a:spcPts val="300"/>
              </a:spcAft>
              <a:buFont typeface="Arial" panose="020B0604020202020204" pitchFamily="34" charset="0"/>
              <a:buChar char="•"/>
              <a:defRPr sz="750"/>
            </a:lvl2pPr>
          </a:lstStyle>
          <a:p>
            <a:pPr lvl="0"/>
            <a:r>
              <a:rPr lang="en-US" dirty="0"/>
              <a:t>Click to add text</a:t>
            </a:r>
          </a:p>
          <a:p>
            <a:pPr lvl="1"/>
            <a:r>
              <a:rPr lang="en-US" dirty="0"/>
              <a:t>Second level</a:t>
            </a:r>
          </a:p>
        </p:txBody>
      </p:sp>
      <p:sp>
        <p:nvSpPr>
          <p:cNvPr id="57" name="Text Placeholder 6"/>
          <p:cNvSpPr>
            <a:spLocks noGrp="1"/>
          </p:cNvSpPr>
          <p:nvPr>
            <p:ph type="body" sz="quarter" idx="35" hasCustomPrompt="1"/>
          </p:nvPr>
        </p:nvSpPr>
        <p:spPr>
          <a:xfrm>
            <a:off x="6353783" y="3327482"/>
            <a:ext cx="2537870" cy="1080473"/>
          </a:xfrm>
          <a:solidFill>
            <a:schemeClr val="bg2">
              <a:lumMod val="20000"/>
              <a:lumOff val="80000"/>
            </a:schemeClr>
          </a:solidFill>
        </p:spPr>
        <p:txBody>
          <a:bodyPr lIns="144000" tIns="108000" rIns="144000" bIns="108000"/>
          <a:lstStyle>
            <a:lvl1pPr marL="0" indent="0">
              <a:spcAft>
                <a:spcPts val="300"/>
              </a:spcAft>
              <a:buNone/>
              <a:defRPr sz="750"/>
            </a:lvl1pPr>
            <a:lvl2pPr marL="136886" indent="-136886">
              <a:spcAft>
                <a:spcPts val="300"/>
              </a:spcAft>
              <a:buFont typeface="Arial" panose="020B0604020202020204" pitchFamily="34" charset="0"/>
              <a:buChar char="•"/>
              <a:defRPr sz="750"/>
            </a:lvl2pPr>
          </a:lstStyle>
          <a:p>
            <a:pPr lvl="0"/>
            <a:r>
              <a:rPr lang="en-US" dirty="0"/>
              <a:t>Click to add text</a:t>
            </a:r>
          </a:p>
          <a:p>
            <a:pPr lvl="1"/>
            <a:r>
              <a:rPr lang="en-US" dirty="0"/>
              <a:t>Second level</a:t>
            </a:r>
          </a:p>
        </p:txBody>
      </p:sp>
    </p:spTree>
    <p:extLst>
      <p:ext uri="{BB962C8B-B14F-4D97-AF65-F5344CB8AC3E}">
        <p14:creationId xmlns:p14="http://schemas.microsoft.com/office/powerpoint/2010/main" val="830925841"/>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 Body slide - 2 text columns ">
    <p:spTree>
      <p:nvGrpSpPr>
        <p:cNvPr id="1" name=""/>
        <p:cNvGrpSpPr/>
        <p:nvPr/>
      </p:nvGrpSpPr>
      <p:grpSpPr>
        <a:xfrm>
          <a:off x="0" y="0"/>
          <a:ext cx="0" cy="0"/>
          <a:chOff x="0" y="0"/>
          <a:chExt cx="0" cy="0"/>
        </a:xfrm>
      </p:grpSpPr>
      <p:sp>
        <p:nvSpPr>
          <p:cNvPr id="11" name="Text Placeholder 3"/>
          <p:cNvSpPr>
            <a:spLocks noGrp="1"/>
          </p:cNvSpPr>
          <p:nvPr>
            <p:ph type="body" sz="half" idx="10" hasCustomPrompt="1"/>
          </p:nvPr>
        </p:nvSpPr>
        <p:spPr>
          <a:xfrm>
            <a:off x="292880" y="294871"/>
            <a:ext cx="8497093" cy="748378"/>
          </a:xfrm>
          <a:prstGeom prst="rect">
            <a:avLst/>
          </a:prstGeom>
        </p:spPr>
        <p:txBody>
          <a:bodyPr lIns="0" tIns="0" rIns="0" bIns="0" anchor="t"/>
          <a:lstStyle>
            <a:lvl1pPr marL="0" indent="0">
              <a:lnSpc>
                <a:spcPct val="100000"/>
              </a:lnSpc>
              <a:buNone/>
              <a:defRPr sz="3600" b="1" baseline="0">
                <a:solidFill>
                  <a:schemeClr val="tx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Body slide title</a:t>
            </a:r>
          </a:p>
        </p:txBody>
      </p:sp>
      <p:sp>
        <p:nvSpPr>
          <p:cNvPr id="13" name="Text Placeholder 3"/>
          <p:cNvSpPr>
            <a:spLocks noGrp="1"/>
          </p:cNvSpPr>
          <p:nvPr>
            <p:ph type="body" sz="half" idx="11" hasCustomPrompt="1"/>
          </p:nvPr>
        </p:nvSpPr>
        <p:spPr>
          <a:xfrm>
            <a:off x="287339" y="1347789"/>
            <a:ext cx="4150122" cy="2936212"/>
          </a:xfrm>
          <a:prstGeom prst="rect">
            <a:avLst/>
          </a:prstGeom>
        </p:spPr>
        <p:txBody>
          <a:bodyPr lIns="0" tIns="0" rIns="0" bIns="0"/>
          <a:lstStyle>
            <a:lvl1pPr marL="342900" marR="0" indent="-342900" algn="l" defTabSz="685800" rtl="0" eaLnBrk="1" fontAlgn="auto" latinLnBrk="0" hangingPunct="1">
              <a:lnSpc>
                <a:spcPct val="100000"/>
              </a:lnSpc>
              <a:spcBef>
                <a:spcPts val="750"/>
              </a:spcBef>
              <a:spcAft>
                <a:spcPts val="0"/>
              </a:spcAft>
              <a:buClrTx/>
              <a:buSzTx/>
              <a:buFont typeface="Arial" panose="020B0604020202020204" pitchFamily="34" charset="0"/>
              <a:buChar char="•"/>
              <a:tabLst/>
              <a:defRPr sz="2100" b="1" baseline="0">
                <a:solidFill>
                  <a:schemeClr val="tx1"/>
                </a:solidFill>
              </a:defRPr>
            </a:lvl1pPr>
            <a:lvl2pPr marL="628650" indent="-285750">
              <a:buFont typeface="Arial" panose="020B0604020202020204" pitchFamily="34" charset="0"/>
              <a:buChar char="•"/>
              <a:defRPr sz="2100"/>
            </a:lvl2pPr>
            <a:lvl3pPr marL="804863" indent="-176213">
              <a:buFont typeface="Arial" panose="020B0604020202020204" pitchFamily="34" charset="0"/>
              <a:buChar char="•"/>
              <a:defRPr sz="16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Your text here</a:t>
            </a:r>
          </a:p>
          <a:p>
            <a:pPr lvl="1"/>
            <a:r>
              <a:rPr lang="fi-FI" dirty="0"/>
              <a:t>Second </a:t>
            </a:r>
            <a:r>
              <a:rPr lang="fi-FI" dirty="0" err="1"/>
              <a:t>level</a:t>
            </a:r>
            <a:endParaRPr lang="fi-FI" dirty="0"/>
          </a:p>
          <a:p>
            <a:pPr lvl="2"/>
            <a:r>
              <a:rPr lang="fi-FI" dirty="0"/>
              <a:t>Third </a:t>
            </a:r>
            <a:r>
              <a:rPr lang="fi-FI" dirty="0" err="1"/>
              <a:t>level</a:t>
            </a:r>
            <a:endParaRPr lang="fi-FI" dirty="0"/>
          </a:p>
        </p:txBody>
      </p:sp>
      <p:sp>
        <p:nvSpPr>
          <p:cNvPr id="21" name="Text Placeholder 3"/>
          <p:cNvSpPr>
            <a:spLocks noGrp="1"/>
          </p:cNvSpPr>
          <p:nvPr>
            <p:ph type="body" sz="half" idx="12" hasCustomPrompt="1"/>
          </p:nvPr>
        </p:nvSpPr>
        <p:spPr>
          <a:xfrm>
            <a:off x="4706541" y="1347789"/>
            <a:ext cx="4078684" cy="2936212"/>
          </a:xfrm>
          <a:prstGeom prst="rect">
            <a:avLst/>
          </a:prstGeom>
        </p:spPr>
        <p:txBody>
          <a:bodyPr lIns="0" tIns="0" rIns="0" bIns="0"/>
          <a:lstStyle>
            <a:lvl1pPr marL="342900" marR="0" indent="-342900" algn="l" defTabSz="685800" rtl="0" eaLnBrk="1" fontAlgn="auto" latinLnBrk="0" hangingPunct="1">
              <a:lnSpc>
                <a:spcPct val="100000"/>
              </a:lnSpc>
              <a:spcBef>
                <a:spcPts val="750"/>
              </a:spcBef>
              <a:spcAft>
                <a:spcPts val="0"/>
              </a:spcAft>
              <a:buClrTx/>
              <a:buSzTx/>
              <a:buFont typeface="Arial" panose="020B0604020202020204" pitchFamily="34" charset="0"/>
              <a:buChar char="•"/>
              <a:tabLst/>
              <a:defRPr sz="2100" b="1" baseline="0">
                <a:solidFill>
                  <a:schemeClr val="tx1"/>
                </a:solidFill>
              </a:defRPr>
            </a:lvl1pPr>
            <a:lvl2pPr marL="628650" indent="-285750">
              <a:buFont typeface="Arial" panose="020B0604020202020204" pitchFamily="34" charset="0"/>
              <a:buChar char="•"/>
              <a:defRPr sz="2100"/>
            </a:lvl2pPr>
            <a:lvl3pPr marL="804863" indent="-176213">
              <a:buFont typeface="Arial" panose="020B0604020202020204" pitchFamily="34" charset="0"/>
              <a:buChar char="•"/>
              <a:defRPr sz="16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Your text here</a:t>
            </a:r>
          </a:p>
          <a:p>
            <a:pPr lvl="1"/>
            <a:r>
              <a:rPr lang="fi-FI" dirty="0"/>
              <a:t>Second </a:t>
            </a:r>
            <a:r>
              <a:rPr lang="fi-FI" dirty="0" err="1"/>
              <a:t>level</a:t>
            </a:r>
            <a:endParaRPr lang="fi-FI" dirty="0"/>
          </a:p>
          <a:p>
            <a:pPr lvl="2"/>
            <a:r>
              <a:rPr lang="fi-FI" dirty="0"/>
              <a:t>Third </a:t>
            </a:r>
            <a:r>
              <a:rPr lang="fi-FI" dirty="0" err="1"/>
              <a:t>level</a:t>
            </a:r>
            <a:endParaRPr lang="fi-FI" dirty="0"/>
          </a:p>
        </p:txBody>
      </p:sp>
      <p:sp>
        <p:nvSpPr>
          <p:cNvPr id="3" name="Päivämäärän paikkamerkki 2">
            <a:extLst>
              <a:ext uri="{FF2B5EF4-FFF2-40B4-BE49-F238E27FC236}">
                <a16:creationId xmlns:a16="http://schemas.microsoft.com/office/drawing/2014/main" id="{0ACE9B33-D0C7-4AF1-A02A-1559773A78AC}"/>
              </a:ext>
            </a:extLst>
          </p:cNvPr>
          <p:cNvSpPr>
            <a:spLocks noGrp="1"/>
          </p:cNvSpPr>
          <p:nvPr>
            <p:ph type="dt" sz="half" idx="13"/>
          </p:nvPr>
        </p:nvSpPr>
        <p:spPr/>
        <p:txBody>
          <a:bodyPr/>
          <a:lstStyle/>
          <a:p>
            <a:r>
              <a:rPr lang="fi-FI" dirty="0"/>
              <a:t>dd.mm.yyyy</a:t>
            </a:r>
            <a:endParaRPr lang="en-US" dirty="0"/>
          </a:p>
        </p:txBody>
      </p:sp>
      <p:sp>
        <p:nvSpPr>
          <p:cNvPr id="4" name="Alatunnisteen paikkamerkki 3">
            <a:extLst>
              <a:ext uri="{FF2B5EF4-FFF2-40B4-BE49-F238E27FC236}">
                <a16:creationId xmlns:a16="http://schemas.microsoft.com/office/drawing/2014/main" id="{8F7430A1-7AEB-4722-97B3-51719F60574B}"/>
              </a:ext>
            </a:extLst>
          </p:cNvPr>
          <p:cNvSpPr>
            <a:spLocks noGrp="1"/>
          </p:cNvSpPr>
          <p:nvPr>
            <p:ph type="ftr" sz="quarter" idx="14"/>
          </p:nvPr>
        </p:nvSpPr>
        <p:spPr/>
        <p:txBody>
          <a:bodyPr/>
          <a:lstStyle/>
          <a:p>
            <a:r>
              <a:rPr lang="fi-FI" dirty="0"/>
              <a:t>Your text here</a:t>
            </a:r>
          </a:p>
        </p:txBody>
      </p:sp>
      <p:sp>
        <p:nvSpPr>
          <p:cNvPr id="5" name="Dian numeron paikkamerkki 4">
            <a:extLst>
              <a:ext uri="{FF2B5EF4-FFF2-40B4-BE49-F238E27FC236}">
                <a16:creationId xmlns:a16="http://schemas.microsoft.com/office/drawing/2014/main" id="{75B56DD1-CE07-4F8B-9EEB-5CFC86C5CCF2}"/>
              </a:ext>
            </a:extLst>
          </p:cNvPr>
          <p:cNvSpPr>
            <a:spLocks noGrp="1"/>
          </p:cNvSpPr>
          <p:nvPr>
            <p:ph type="sldNum" sz="quarter" idx="15"/>
          </p:nvPr>
        </p:nvSpPr>
        <p:spPr/>
        <p:txBody>
          <a:bodyPr/>
          <a:lstStyle/>
          <a:p>
            <a:fld id="{28F7F04C-F568-F649-A2AE-EA61C66B69B4}" type="slidenum">
              <a:rPr lang="en-US" smtClean="0"/>
              <a:pPr/>
              <a:t>‹#›</a:t>
            </a:fld>
            <a:endParaRPr lang="en-US" dirty="0"/>
          </a:p>
        </p:txBody>
      </p:sp>
      <p:pic>
        <p:nvPicPr>
          <p:cNvPr id="12" name="Kuva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8790"/>
            <a:ext cx="2073704" cy="856800"/>
          </a:xfrm>
          <a:prstGeom prst="rect">
            <a:avLst/>
          </a:prstGeom>
        </p:spPr>
      </p:pic>
    </p:spTree>
  </p:cSld>
  <p:clrMapOvr>
    <a:masterClrMapping/>
  </p:clrMapOvr>
  <p:extLst>
    <p:ext uri="{DCECCB84-F9BA-43D5-87BE-67443E8EF086}">
      <p15:sldGuideLst xmlns:p15="http://schemas.microsoft.com/office/powerpoint/2012/main">
        <p15:guide id="4" pos="5534" userDrawn="1">
          <p15:clr>
            <a:srgbClr val="FBAE40"/>
          </p15:clr>
        </p15:guide>
        <p15:guide id="5" orient="horz" pos="327" userDrawn="1">
          <p15:clr>
            <a:srgbClr val="FBAE40"/>
          </p15:clr>
        </p15:guide>
        <p15:guide id="6" pos="2795" userDrawn="1">
          <p15:clr>
            <a:srgbClr val="FBAE40"/>
          </p15:clr>
        </p15:guide>
        <p15:guide id="7" pos="2965" userDrawn="1">
          <p15:clr>
            <a:srgbClr val="FBAE40"/>
          </p15:clr>
        </p15:guide>
        <p15:guide id="8" pos="181" userDrawn="1">
          <p15:clr>
            <a:srgbClr val="FBAE40"/>
          </p15:clr>
        </p15:guide>
        <p15:guide id="9" orient="horz" pos="849"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DFDAFA6-A79C-4473-9965-FC0B670A98FB}" type="datetime1">
              <a:rPr lang="fi-FI" smtClean="0"/>
              <a:t>5.11.2023</a:t>
            </a:fld>
            <a:endParaRPr lang="en-US"/>
          </a:p>
        </p:txBody>
      </p:sp>
      <p:sp>
        <p:nvSpPr>
          <p:cNvPr id="3" name="Footer Placeholder 2"/>
          <p:cNvSpPr>
            <a:spLocks noGrp="1"/>
          </p:cNvSpPr>
          <p:nvPr>
            <p:ph type="ftr" sz="quarter" idx="11"/>
          </p:nvPr>
        </p:nvSpPr>
        <p:spPr/>
        <p:txBody>
          <a:bodyPr/>
          <a:lstStyle/>
          <a:p>
            <a:r>
              <a:rPr lang="en-US"/>
              <a:t>© Aalto University Executive Education</a:t>
            </a:r>
          </a:p>
        </p:txBody>
      </p:sp>
      <p:sp>
        <p:nvSpPr>
          <p:cNvPr id="4" name="Slide Number Placeholder 3"/>
          <p:cNvSpPr>
            <a:spLocks noGrp="1"/>
          </p:cNvSpPr>
          <p:nvPr>
            <p:ph type="sldNum" sz="quarter" idx="12"/>
          </p:nvPr>
        </p:nvSpPr>
        <p:spPr/>
        <p:txBody>
          <a:bodyPr/>
          <a:lstStyle/>
          <a:p>
            <a:fld id="{FCCA222D-FCF7-48C1-A274-EBDDEF75DC66}" type="slidenum">
              <a:rPr lang="en-US" smtClean="0"/>
              <a:t>‹#›</a:t>
            </a:fld>
            <a:endParaRPr lang="en-US"/>
          </a:p>
        </p:txBody>
      </p:sp>
    </p:spTree>
    <p:extLst>
      <p:ext uri="{BB962C8B-B14F-4D97-AF65-F5344CB8AC3E}">
        <p14:creationId xmlns:p14="http://schemas.microsoft.com/office/powerpoint/2010/main" val="3807633771"/>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title">
  <p:cSld name="2_Title Slide">
    <p:spTree>
      <p:nvGrpSpPr>
        <p:cNvPr id="1" name=""/>
        <p:cNvGrpSpPr/>
        <p:nvPr/>
      </p:nvGrpSpPr>
      <p:grpSpPr>
        <a:xfrm>
          <a:off x="0" y="0"/>
          <a:ext cx="0" cy="0"/>
          <a:chOff x="0" y="0"/>
          <a:chExt cx="0" cy="0"/>
        </a:xfrm>
      </p:grpSpPr>
      <p:pic>
        <p:nvPicPr>
          <p:cNvPr id="2" name="Picture 19" descr="logo_title_RGB"/>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51" y="411956"/>
            <a:ext cx="44799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1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40226" y="1226345"/>
            <a:ext cx="4803775" cy="391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5251166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userDrawn="1">
  <p:cSld name="Title and Content Green">
    <p:spTree>
      <p:nvGrpSpPr>
        <p:cNvPr id="1" name=""/>
        <p:cNvGrpSpPr/>
        <p:nvPr/>
      </p:nvGrpSpPr>
      <p:grpSpPr>
        <a:xfrm>
          <a:off x="0" y="0"/>
          <a:ext cx="0" cy="0"/>
          <a:chOff x="0" y="0"/>
          <a:chExt cx="0" cy="0"/>
        </a:xfrm>
      </p:grpSpPr>
      <p:cxnSp>
        <p:nvCxnSpPr>
          <p:cNvPr id="4" name="Straight Connector 3"/>
          <p:cNvCxnSpPr/>
          <p:nvPr userDrawn="1"/>
        </p:nvCxnSpPr>
        <p:spPr>
          <a:xfrm>
            <a:off x="228600" y="584597"/>
            <a:ext cx="4302125" cy="0"/>
          </a:xfrm>
          <a:prstGeom prst="line">
            <a:avLst/>
          </a:prstGeom>
          <a:ln w="28575" cmpd="sng">
            <a:solidFill>
              <a:srgbClr val="00CA9B"/>
            </a:solidFill>
          </a:ln>
        </p:spPr>
        <p:style>
          <a:lnRef idx="1">
            <a:schemeClr val="accent1"/>
          </a:lnRef>
          <a:fillRef idx="0">
            <a:schemeClr val="accent1"/>
          </a:fillRef>
          <a:effectRef idx="0">
            <a:schemeClr val="accent1"/>
          </a:effectRef>
          <a:fontRef idx="minor">
            <a:schemeClr val="tx1"/>
          </a:fontRef>
        </p:style>
      </p:cxnSp>
      <p:sp>
        <p:nvSpPr>
          <p:cNvPr id="5" name="Oval 4"/>
          <p:cNvSpPr/>
          <p:nvPr userDrawn="1"/>
        </p:nvSpPr>
        <p:spPr>
          <a:xfrm>
            <a:off x="228600" y="4722020"/>
            <a:ext cx="311150" cy="31194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id-ID" sz="1012" dirty="0"/>
          </a:p>
        </p:txBody>
      </p:sp>
      <p:sp>
        <p:nvSpPr>
          <p:cNvPr id="6" name="TextBox 5"/>
          <p:cNvSpPr txBox="1"/>
          <p:nvPr userDrawn="1"/>
        </p:nvSpPr>
        <p:spPr>
          <a:xfrm>
            <a:off x="212725" y="4767264"/>
            <a:ext cx="338138" cy="184547"/>
          </a:xfrm>
          <a:prstGeom prst="rect">
            <a:avLst/>
          </a:prstGeom>
        </p:spPr>
        <p:txBody>
          <a:bodyPr anchor="ctr"/>
          <a:lstStyle>
            <a:defPPr>
              <a:defRPr lang="id-ID"/>
            </a:defPPr>
            <a:lvl1pPr algn="ctr">
              <a:defRPr sz="1000" b="1">
                <a:solidFill>
                  <a:schemeClr val="bg1"/>
                </a:solidFill>
              </a:defRPr>
            </a:lvl1pPr>
          </a:lstStyle>
          <a:p>
            <a:pPr>
              <a:defRPr/>
            </a:pPr>
            <a:fld id="{6589890B-BD98-4D8C-B8F1-4375E47E2841}" type="slidenum">
              <a:rPr lang="en-US" sz="750" smtClean="0"/>
              <a:pPr>
                <a:defRPr/>
              </a:pPr>
              <a:t>‹#›</a:t>
            </a:fld>
            <a:endParaRPr lang="en-US" sz="750" dirty="0"/>
          </a:p>
        </p:txBody>
      </p:sp>
      <p:pic>
        <p:nvPicPr>
          <p:cNvPr id="7" name="Picture 9" descr="mw_logo_landscape.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720013" y="301230"/>
            <a:ext cx="1249362" cy="145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itle 1"/>
          <p:cNvSpPr>
            <a:spLocks noGrp="1"/>
          </p:cNvSpPr>
          <p:nvPr>
            <p:ph type="title"/>
          </p:nvPr>
        </p:nvSpPr>
        <p:spPr>
          <a:xfrm>
            <a:off x="228195" y="221900"/>
            <a:ext cx="7886700" cy="322723"/>
          </a:xfrm>
          <a:ln>
            <a:noFill/>
          </a:ln>
        </p:spPr>
        <p:txBody>
          <a:bodyPr>
            <a:normAutofit/>
          </a:bodyPr>
          <a:lstStyle>
            <a:lvl1pPr algn="l">
              <a:defRPr sz="1800"/>
            </a:lvl1pPr>
          </a:lstStyle>
          <a:p>
            <a:r>
              <a:rPr lang="en-US"/>
              <a:t>Click to edit Master title style</a:t>
            </a:r>
            <a:endParaRPr lang="en-US" dirty="0"/>
          </a:p>
        </p:txBody>
      </p:sp>
      <p:sp>
        <p:nvSpPr>
          <p:cNvPr id="10" name="Content Placeholder 11"/>
          <p:cNvSpPr>
            <a:spLocks noGrp="1"/>
          </p:cNvSpPr>
          <p:nvPr>
            <p:ph sz="quarter" idx="13"/>
          </p:nvPr>
        </p:nvSpPr>
        <p:spPr>
          <a:xfrm>
            <a:off x="213088" y="988423"/>
            <a:ext cx="7315200" cy="3175397"/>
          </a:xfrm>
        </p:spPr>
        <p:txBody>
          <a:bodyPr>
            <a:normAutofit/>
          </a:bodyPr>
          <a:lstStyle>
            <a:lvl1pPr>
              <a:buClr>
                <a:srgbClr val="00CA9B"/>
              </a:buClr>
              <a:defRPr sz="1800"/>
            </a:lvl1pPr>
            <a:lvl2pPr>
              <a:defRPr sz="1500"/>
            </a:lvl2pPr>
            <a:lvl3pPr>
              <a:defRPr sz="1500"/>
            </a:lvl3pPr>
            <a:lvl4pPr>
              <a:defRPr sz="1500"/>
            </a:lvl4pPr>
            <a:lvl5pPr>
              <a:defRPr sz="1500"/>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428163599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9D22E3-FE4B-4803-93CF-DB5DAA67C633}"/>
              </a:ext>
            </a:extLst>
          </p:cNvPr>
          <p:cNvSpPr>
            <a:spLocks noGrp="1"/>
          </p:cNvSpPr>
          <p:nvPr>
            <p:ph type="ctrTitle"/>
          </p:nvPr>
        </p:nvSpPr>
        <p:spPr>
          <a:xfrm>
            <a:off x="1143000" y="1240827"/>
            <a:ext cx="6858000" cy="1391645"/>
          </a:xfrm>
        </p:spPr>
        <p:txBody>
          <a:bodyPr anchor="b"/>
          <a:lstStyle>
            <a:lvl1pPr algn="ctr">
              <a:defRPr sz="4499"/>
            </a:lvl1pPr>
          </a:lstStyle>
          <a:p>
            <a:r>
              <a:rPr lang="en-US"/>
              <a:t>Click to edit Master title style</a:t>
            </a:r>
            <a:endParaRPr lang="LID4096"/>
          </a:p>
        </p:txBody>
      </p:sp>
      <p:sp>
        <p:nvSpPr>
          <p:cNvPr id="3" name="Subtitle 2">
            <a:extLst>
              <a:ext uri="{FF2B5EF4-FFF2-40B4-BE49-F238E27FC236}">
                <a16:creationId xmlns:a16="http://schemas.microsoft.com/office/drawing/2014/main" id="{604013CF-DE0A-4B98-BCD8-2ABC9A828FD0}"/>
              </a:ext>
            </a:extLst>
          </p:cNvPr>
          <p:cNvSpPr>
            <a:spLocks noGrp="1"/>
          </p:cNvSpPr>
          <p:nvPr>
            <p:ph type="subTitle" idx="1"/>
          </p:nvPr>
        </p:nvSpPr>
        <p:spPr>
          <a:xfrm>
            <a:off x="1143000" y="2701528"/>
            <a:ext cx="6858000" cy="1241822"/>
          </a:xfrm>
        </p:spPr>
        <p:txBody>
          <a:bodyPr/>
          <a:lstStyle>
            <a:lvl1pPr marL="0" indent="0" algn="ctr">
              <a:buNone/>
              <a:defRPr sz="1800"/>
            </a:lvl1pPr>
            <a:lvl2pPr marL="342809" indent="0" algn="ctr">
              <a:buNone/>
              <a:defRPr sz="1500"/>
            </a:lvl2pPr>
            <a:lvl3pPr marL="685617" indent="0" algn="ctr">
              <a:buNone/>
              <a:defRPr sz="1350"/>
            </a:lvl3pPr>
            <a:lvl4pPr marL="1028426" indent="0" algn="ctr">
              <a:buNone/>
              <a:defRPr sz="1200"/>
            </a:lvl4pPr>
            <a:lvl5pPr marL="1371234" indent="0" algn="ctr">
              <a:buNone/>
              <a:defRPr sz="1200"/>
            </a:lvl5pPr>
            <a:lvl6pPr marL="1714043" indent="0" algn="ctr">
              <a:buNone/>
              <a:defRPr sz="1200"/>
            </a:lvl6pPr>
            <a:lvl7pPr marL="2056851" indent="0" algn="ctr">
              <a:buNone/>
              <a:defRPr sz="1200"/>
            </a:lvl7pPr>
            <a:lvl8pPr marL="2399660" indent="0" algn="ctr">
              <a:buNone/>
              <a:defRPr sz="1200"/>
            </a:lvl8pPr>
            <a:lvl9pPr marL="2742468" indent="0" algn="ctr">
              <a:buNone/>
              <a:defRPr sz="1200"/>
            </a:lvl9pPr>
          </a:lstStyle>
          <a:p>
            <a:r>
              <a:rPr lang="en-US"/>
              <a:t>Click to edit Master subtitle style</a:t>
            </a:r>
            <a:endParaRPr lang="LID4096"/>
          </a:p>
        </p:txBody>
      </p:sp>
      <p:sp>
        <p:nvSpPr>
          <p:cNvPr id="4" name="Date Placeholder 3">
            <a:extLst>
              <a:ext uri="{FF2B5EF4-FFF2-40B4-BE49-F238E27FC236}">
                <a16:creationId xmlns:a16="http://schemas.microsoft.com/office/drawing/2014/main" id="{98B03B7F-F46D-46BF-8DDD-25D977B4DF02}"/>
              </a:ext>
            </a:extLst>
          </p:cNvPr>
          <p:cNvSpPr>
            <a:spLocks noGrp="1"/>
          </p:cNvSpPr>
          <p:nvPr>
            <p:ph type="dt" sz="half" idx="10"/>
          </p:nvPr>
        </p:nvSpPr>
        <p:spPr/>
        <p:txBody>
          <a:bodyPr/>
          <a:lstStyle/>
          <a:p>
            <a:fld id="{A836C3FD-1432-4E81-8E55-96D3F9D8DDA2}" type="datetimeFigureOut">
              <a:rPr lang="LID4096" smtClean="0"/>
              <a:t>11/05/2023</a:t>
            </a:fld>
            <a:endParaRPr lang="LID4096"/>
          </a:p>
        </p:txBody>
      </p:sp>
      <p:sp>
        <p:nvSpPr>
          <p:cNvPr id="5" name="Footer Placeholder 4">
            <a:extLst>
              <a:ext uri="{FF2B5EF4-FFF2-40B4-BE49-F238E27FC236}">
                <a16:creationId xmlns:a16="http://schemas.microsoft.com/office/drawing/2014/main" id="{D08346FD-0A35-4D8D-AA77-26274F9B3E79}"/>
              </a:ext>
            </a:extLst>
          </p:cNvPr>
          <p:cNvSpPr>
            <a:spLocks noGrp="1"/>
          </p:cNvSpPr>
          <p:nvPr>
            <p:ph type="ftr" sz="quarter" idx="11"/>
          </p:nvPr>
        </p:nvSpPr>
        <p:spPr/>
        <p:txBody>
          <a:bodyPr/>
          <a:lstStyle/>
          <a:p>
            <a:endParaRPr lang="LID4096"/>
          </a:p>
        </p:txBody>
      </p:sp>
      <p:sp>
        <p:nvSpPr>
          <p:cNvPr id="6" name="Slide Number Placeholder 5">
            <a:extLst>
              <a:ext uri="{FF2B5EF4-FFF2-40B4-BE49-F238E27FC236}">
                <a16:creationId xmlns:a16="http://schemas.microsoft.com/office/drawing/2014/main" id="{0FA3AA79-228E-4E98-A1D2-5F0E2C062B02}"/>
              </a:ext>
            </a:extLst>
          </p:cNvPr>
          <p:cNvSpPr>
            <a:spLocks noGrp="1"/>
          </p:cNvSpPr>
          <p:nvPr>
            <p:ph type="sldNum" sz="quarter" idx="12"/>
          </p:nvPr>
        </p:nvSpPr>
        <p:spPr/>
        <p:txBody>
          <a:bodyPr/>
          <a:lstStyle/>
          <a:p>
            <a:fld id="{59F0011D-B26C-474C-80F4-1667695A632B}" type="slidenum">
              <a:rPr lang="LID4096" smtClean="0"/>
              <a:t>‹#›</a:t>
            </a:fld>
            <a:endParaRPr lang="LID4096"/>
          </a:p>
        </p:txBody>
      </p:sp>
    </p:spTree>
    <p:extLst>
      <p:ext uri="{BB962C8B-B14F-4D97-AF65-F5344CB8AC3E}">
        <p14:creationId xmlns:p14="http://schemas.microsoft.com/office/powerpoint/2010/main" val="72822974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 Header Slide - Red">
    <p:spTree>
      <p:nvGrpSpPr>
        <p:cNvPr id="1" name=""/>
        <p:cNvGrpSpPr/>
        <p:nvPr/>
      </p:nvGrpSpPr>
      <p:grpSpPr>
        <a:xfrm>
          <a:off x="0" y="0"/>
          <a:ext cx="0" cy="0"/>
          <a:chOff x="0" y="0"/>
          <a:chExt cx="0" cy="0"/>
        </a:xfrm>
      </p:grpSpPr>
      <p:sp>
        <p:nvSpPr>
          <p:cNvPr id="5" name="Rectangle 4"/>
          <p:cNvSpPr/>
          <p:nvPr userDrawn="1"/>
        </p:nvSpPr>
        <p:spPr>
          <a:xfrm>
            <a:off x="0"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7" name="Text Placeholder 3"/>
          <p:cNvSpPr>
            <a:spLocks noGrp="1"/>
          </p:cNvSpPr>
          <p:nvPr>
            <p:ph type="body" sz="half" idx="11" hasCustomPrompt="1"/>
          </p:nvPr>
        </p:nvSpPr>
        <p:spPr>
          <a:xfrm>
            <a:off x="431800" y="1638135"/>
            <a:ext cx="7948556" cy="663264"/>
          </a:xfrm>
          <a:prstGeom prst="rect">
            <a:avLst/>
          </a:prstGeom>
        </p:spPr>
        <p:txBody>
          <a:bodyPr lIns="0" rIns="0" anchor="b"/>
          <a:lstStyle>
            <a:lvl1pPr marL="0" indent="0">
              <a:lnSpc>
                <a:spcPct val="100000"/>
              </a:lnSpc>
              <a:buNone/>
              <a:defRPr sz="4400" b="1" baseline="0">
                <a:solidFill>
                  <a:schemeClr val="bg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Headline</a:t>
            </a:r>
          </a:p>
        </p:txBody>
      </p:sp>
      <p:sp>
        <p:nvSpPr>
          <p:cNvPr id="8" name="Text Placeholder 3"/>
          <p:cNvSpPr>
            <a:spLocks noGrp="1"/>
          </p:cNvSpPr>
          <p:nvPr>
            <p:ph type="body" sz="half" idx="2" hasCustomPrompt="1"/>
          </p:nvPr>
        </p:nvSpPr>
        <p:spPr>
          <a:xfrm>
            <a:off x="431800" y="2571750"/>
            <a:ext cx="7998597" cy="501388"/>
          </a:xfrm>
          <a:prstGeom prst="rect">
            <a:avLst/>
          </a:prstGeom>
        </p:spPr>
        <p:txBody>
          <a:bodyPr lIns="0" rIns="0"/>
          <a:lstStyle>
            <a:lvl1pPr marL="0" indent="0">
              <a:lnSpc>
                <a:spcPct val="100000"/>
              </a:lnSpc>
              <a:buNone/>
              <a:defRPr sz="24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No Image - Sub</a:t>
            </a:r>
          </a:p>
        </p:txBody>
      </p:sp>
      <p:sp>
        <p:nvSpPr>
          <p:cNvPr id="9" name="Text Placeholder 3"/>
          <p:cNvSpPr>
            <a:spLocks noGrp="1"/>
          </p:cNvSpPr>
          <p:nvPr>
            <p:ph type="body" sz="half" idx="12" hasCustomPrompt="1"/>
          </p:nvPr>
        </p:nvSpPr>
        <p:spPr>
          <a:xfrm>
            <a:off x="5966372" y="4215388"/>
            <a:ext cx="2464025" cy="294419"/>
          </a:xfrm>
          <a:prstGeom prst="rect">
            <a:avLst/>
          </a:prstGeom>
        </p:spPr>
        <p:txBody>
          <a:bodyPr/>
          <a:lstStyle>
            <a:lvl1pPr marL="0" indent="0">
              <a:buNone/>
              <a:defRPr sz="135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Name</a:t>
            </a:r>
          </a:p>
        </p:txBody>
      </p:sp>
      <p:sp>
        <p:nvSpPr>
          <p:cNvPr id="11" name="Text Placeholder 3"/>
          <p:cNvSpPr>
            <a:spLocks noGrp="1"/>
          </p:cNvSpPr>
          <p:nvPr>
            <p:ph type="body" sz="half" idx="13" hasCustomPrompt="1"/>
          </p:nvPr>
        </p:nvSpPr>
        <p:spPr>
          <a:xfrm>
            <a:off x="5966372" y="4509807"/>
            <a:ext cx="2464025" cy="294419"/>
          </a:xfrm>
          <a:prstGeom prst="rect">
            <a:avLst/>
          </a:prstGeom>
        </p:spPr>
        <p:txBody>
          <a:bodyPr/>
          <a:lstStyle>
            <a:lvl1pPr marL="0" indent="0">
              <a:buNone/>
              <a:defRPr sz="135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Date</a:t>
            </a:r>
          </a:p>
        </p:txBody>
      </p:sp>
      <p:pic>
        <p:nvPicPr>
          <p:cNvPr id="4" name="Kuva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66" y="3501900"/>
            <a:ext cx="1850304" cy="1641600"/>
          </a:xfrm>
          <a:prstGeom prst="rect">
            <a:avLst/>
          </a:prstGeom>
        </p:spPr>
      </p:pic>
    </p:spTree>
    <p:extLst>
      <p:ext uri="{BB962C8B-B14F-4D97-AF65-F5344CB8AC3E}">
        <p14:creationId xmlns:p14="http://schemas.microsoft.com/office/powerpoint/2010/main" val="2073823447"/>
      </p:ext>
    </p:extLst>
  </p:cSld>
  <p:clrMapOvr>
    <a:masterClrMapping/>
  </p:clrMapOvr>
  <p:extLst>
    <p:ext uri="{DCECCB84-F9BA-43D5-87BE-67443E8EF086}">
      <p15:sldGuideLst xmlns:p15="http://schemas.microsoft.com/office/powerpoint/2012/main">
        <p15:guide id="1" orient="horz" pos="2958">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 Header Slide - Red - Image ">
    <p:spTree>
      <p:nvGrpSpPr>
        <p:cNvPr id="1" name=""/>
        <p:cNvGrpSpPr/>
        <p:nvPr/>
      </p:nvGrpSpPr>
      <p:grpSpPr>
        <a:xfrm>
          <a:off x="0" y="0"/>
          <a:ext cx="0" cy="0"/>
          <a:chOff x="0" y="0"/>
          <a:chExt cx="0" cy="0"/>
        </a:xfrm>
      </p:grpSpPr>
      <p:sp>
        <p:nvSpPr>
          <p:cNvPr id="11" name="Rectangle 10"/>
          <p:cNvSpPr/>
          <p:nvPr userDrawn="1"/>
        </p:nvSpPr>
        <p:spPr>
          <a:xfrm>
            <a:off x="0"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13" dirty="0"/>
          </a:p>
        </p:txBody>
      </p:sp>
      <p:sp>
        <p:nvSpPr>
          <p:cNvPr id="9" name="Title 8"/>
          <p:cNvSpPr>
            <a:spLocks noGrp="1"/>
          </p:cNvSpPr>
          <p:nvPr>
            <p:ph type="title" hasCustomPrompt="1"/>
          </p:nvPr>
        </p:nvSpPr>
        <p:spPr>
          <a:xfrm>
            <a:off x="442398" y="896699"/>
            <a:ext cx="3869137" cy="570773"/>
          </a:xfrm>
          <a:prstGeom prst="rect">
            <a:avLst/>
          </a:prstGeom>
        </p:spPr>
        <p:txBody>
          <a:bodyPr lIns="0" tIns="0" rIns="0" bIns="0" anchor="b"/>
          <a:lstStyle>
            <a:lvl1pPr>
              <a:lnSpc>
                <a:spcPct val="100000"/>
              </a:lnSpc>
              <a:defRPr sz="4000" b="1" baseline="0">
                <a:solidFill>
                  <a:schemeClr val="bg1"/>
                </a:solidFill>
              </a:defRPr>
            </a:lvl1pPr>
          </a:lstStyle>
          <a:p>
            <a:r>
              <a:rPr lang="en-US" dirty="0"/>
              <a:t>Headline</a:t>
            </a:r>
          </a:p>
        </p:txBody>
      </p:sp>
      <p:sp>
        <p:nvSpPr>
          <p:cNvPr id="13" name="Text Placeholder 3"/>
          <p:cNvSpPr>
            <a:spLocks noGrp="1"/>
          </p:cNvSpPr>
          <p:nvPr>
            <p:ph type="body" sz="half" idx="2" hasCustomPrompt="1"/>
          </p:nvPr>
        </p:nvSpPr>
        <p:spPr>
          <a:xfrm>
            <a:off x="442398" y="1781298"/>
            <a:ext cx="3869137" cy="351692"/>
          </a:xfrm>
          <a:prstGeom prst="rect">
            <a:avLst/>
          </a:prstGeom>
        </p:spPr>
        <p:txBody>
          <a:bodyPr lIns="0" tIns="0" rIns="0" bIns="0"/>
          <a:lstStyle>
            <a:lvl1pPr marL="0" indent="0">
              <a:lnSpc>
                <a:spcPct val="100000"/>
              </a:lnSpc>
              <a:buNone/>
              <a:defRPr sz="2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Sub Headline</a:t>
            </a:r>
          </a:p>
        </p:txBody>
      </p:sp>
      <p:sp>
        <p:nvSpPr>
          <p:cNvPr id="12" name="Text Placeholder 3"/>
          <p:cNvSpPr>
            <a:spLocks noGrp="1"/>
          </p:cNvSpPr>
          <p:nvPr>
            <p:ph type="body" sz="half" idx="11" hasCustomPrompt="1"/>
          </p:nvPr>
        </p:nvSpPr>
        <p:spPr>
          <a:xfrm>
            <a:off x="442398" y="2794132"/>
            <a:ext cx="3869137" cy="294419"/>
          </a:xfrm>
          <a:prstGeom prst="rect">
            <a:avLst/>
          </a:prstGeom>
        </p:spPr>
        <p:txBody>
          <a:bodyPr lIns="0" tIns="0" rIns="0" bIns="0"/>
          <a:lstStyle>
            <a:lvl1pPr marL="0" indent="0">
              <a:lnSpc>
                <a:spcPct val="100000"/>
              </a:lnSpc>
              <a:buNone/>
              <a:defRPr sz="1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Name</a:t>
            </a:r>
          </a:p>
        </p:txBody>
      </p:sp>
      <p:sp>
        <p:nvSpPr>
          <p:cNvPr id="16" name="Text Placeholder 3"/>
          <p:cNvSpPr>
            <a:spLocks noGrp="1"/>
          </p:cNvSpPr>
          <p:nvPr>
            <p:ph type="body" sz="half" idx="12" hasCustomPrompt="1"/>
          </p:nvPr>
        </p:nvSpPr>
        <p:spPr>
          <a:xfrm>
            <a:off x="442398" y="3088551"/>
            <a:ext cx="3869137" cy="324054"/>
          </a:xfrm>
          <a:prstGeom prst="rect">
            <a:avLst/>
          </a:prstGeom>
        </p:spPr>
        <p:txBody>
          <a:bodyPr lIns="0" tIns="0" rIns="0" bIns="0"/>
          <a:lstStyle>
            <a:lvl1pPr marL="0" indent="0">
              <a:lnSpc>
                <a:spcPct val="100000"/>
              </a:lnSpc>
              <a:buNone/>
              <a:defRPr sz="1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Date</a:t>
            </a:r>
          </a:p>
        </p:txBody>
      </p:sp>
      <p:sp>
        <p:nvSpPr>
          <p:cNvPr id="14" name="Picture Placeholder 2"/>
          <p:cNvSpPr>
            <a:spLocks noGrp="1"/>
          </p:cNvSpPr>
          <p:nvPr>
            <p:ph type="pic" idx="13" hasCustomPrompt="1"/>
          </p:nvPr>
        </p:nvSpPr>
        <p:spPr>
          <a:xfrm>
            <a:off x="4564419" y="0"/>
            <a:ext cx="4579582" cy="5143500"/>
          </a:xfrm>
          <a:prstGeom prst="rect">
            <a:avLst/>
          </a:prstGeom>
        </p:spPr>
        <p:txBody>
          <a:bodyPr/>
          <a:lstStyle>
            <a:lvl1pPr marL="0" marR="0" indent="0" algn="l" defTabSz="685800" rtl="0" eaLnBrk="1" fontAlgn="auto" latinLnBrk="0" hangingPunct="1">
              <a:lnSpc>
                <a:spcPct val="90000"/>
              </a:lnSpc>
              <a:spcBef>
                <a:spcPts val="750"/>
              </a:spcBef>
              <a:spcAft>
                <a:spcPts val="0"/>
              </a:spcAft>
              <a:buClrTx/>
              <a:buSzTx/>
              <a:buFont typeface="Arial"/>
              <a:buNone/>
              <a:tabLst/>
              <a:defRPr sz="2400" b="1" i="0" baseline="0">
                <a:solidFill>
                  <a:schemeClr val="bg1">
                    <a:alpha val="62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Click icon to add image.</a:t>
            </a:r>
          </a:p>
          <a:p>
            <a:r>
              <a:rPr lang="fi-FI" dirty="0"/>
              <a:t>Fit the image to frame </a:t>
            </a:r>
            <a:br>
              <a:rPr lang="fi-FI" dirty="0"/>
            </a:br>
            <a:r>
              <a:rPr lang="fi-FI" dirty="0"/>
              <a:t>by choosing: </a:t>
            </a:r>
            <a:br>
              <a:rPr lang="fi-FI" dirty="0"/>
            </a:br>
            <a:r>
              <a:rPr lang="fi-FI" dirty="0"/>
              <a:t>crop&gt;fit / rajaa&gt;sovita</a:t>
            </a:r>
            <a:endParaRPr lang="en-US" dirty="0"/>
          </a:p>
        </p:txBody>
      </p:sp>
      <p:pic>
        <p:nvPicPr>
          <p:cNvPr id="17" name="Kuva 1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66" y="3501900"/>
            <a:ext cx="1850304" cy="1641600"/>
          </a:xfrm>
          <a:prstGeom prst="rect">
            <a:avLst/>
          </a:prstGeom>
        </p:spPr>
      </p:pic>
    </p:spTree>
    <p:extLst>
      <p:ext uri="{BB962C8B-B14F-4D97-AF65-F5344CB8AC3E}">
        <p14:creationId xmlns:p14="http://schemas.microsoft.com/office/powerpoint/2010/main" val="1224092726"/>
      </p:ext>
    </p:extLst>
  </p:cSld>
  <p:clrMapOvr>
    <a:masterClrMapping/>
  </p:clrMapOvr>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 Body slide - 1 wide column">
    <p:spTree>
      <p:nvGrpSpPr>
        <p:cNvPr id="1" name=""/>
        <p:cNvGrpSpPr/>
        <p:nvPr/>
      </p:nvGrpSpPr>
      <p:grpSpPr>
        <a:xfrm>
          <a:off x="0" y="0"/>
          <a:ext cx="0" cy="0"/>
          <a:chOff x="0" y="0"/>
          <a:chExt cx="0" cy="0"/>
        </a:xfrm>
      </p:grpSpPr>
      <p:sp>
        <p:nvSpPr>
          <p:cNvPr id="11" name="Text Placeholder 3"/>
          <p:cNvSpPr>
            <a:spLocks noGrp="1"/>
          </p:cNvSpPr>
          <p:nvPr>
            <p:ph type="body" sz="half" idx="10" hasCustomPrompt="1"/>
          </p:nvPr>
        </p:nvSpPr>
        <p:spPr>
          <a:xfrm>
            <a:off x="292328" y="294870"/>
            <a:ext cx="8492897" cy="733141"/>
          </a:xfrm>
          <a:prstGeom prst="rect">
            <a:avLst/>
          </a:prstGeom>
        </p:spPr>
        <p:txBody>
          <a:bodyPr lIns="0" tIns="0" rIns="0" bIns="0"/>
          <a:lstStyle>
            <a:lvl1pPr marL="0" indent="0">
              <a:lnSpc>
                <a:spcPct val="100000"/>
              </a:lnSpc>
              <a:buNone/>
              <a:defRPr sz="3200" b="1" baseline="0">
                <a:solidFill>
                  <a:schemeClr val="tx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Body slide title </a:t>
            </a:r>
          </a:p>
        </p:txBody>
      </p:sp>
      <p:sp>
        <p:nvSpPr>
          <p:cNvPr id="13" name="Text Placeholder 3"/>
          <p:cNvSpPr>
            <a:spLocks noGrp="1"/>
          </p:cNvSpPr>
          <p:nvPr>
            <p:ph type="body" sz="half" idx="11" hasCustomPrompt="1"/>
          </p:nvPr>
        </p:nvSpPr>
        <p:spPr>
          <a:xfrm>
            <a:off x="292328" y="1241467"/>
            <a:ext cx="8492897" cy="3049460"/>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2100" b="1" baseline="0">
                <a:solidFill>
                  <a:schemeClr val="tx1"/>
                </a:solidFill>
              </a:defRPr>
            </a:lvl1pPr>
            <a:lvl2pPr marL="628650" indent="-271463">
              <a:buFont typeface="Arial" panose="020B0604020202020204" pitchFamily="34" charset="0"/>
              <a:buChar char="•"/>
              <a:defRPr sz="2100"/>
            </a:lvl2pPr>
            <a:lvl3pPr marL="804863" indent="-176213">
              <a:buFont typeface="Arial" panose="020B0604020202020204" pitchFamily="34" charset="0"/>
              <a:buChar char="•"/>
              <a:defRPr sz="16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Your text here</a:t>
            </a:r>
          </a:p>
          <a:p>
            <a:pPr lvl="1"/>
            <a:r>
              <a:rPr lang="fi-FI" dirty="0"/>
              <a:t>Second </a:t>
            </a:r>
            <a:r>
              <a:rPr lang="fi-FI" dirty="0" err="1"/>
              <a:t>level</a:t>
            </a:r>
            <a:endParaRPr lang="fi-FI" dirty="0"/>
          </a:p>
          <a:p>
            <a:pPr lvl="2"/>
            <a:r>
              <a:rPr lang="fi-FI" dirty="0"/>
              <a:t>Third </a:t>
            </a:r>
            <a:r>
              <a:rPr lang="fi-FI" dirty="0" err="1"/>
              <a:t>level</a:t>
            </a:r>
            <a:endParaRPr lang="fi-FI" dirty="0"/>
          </a:p>
        </p:txBody>
      </p:sp>
      <p:sp>
        <p:nvSpPr>
          <p:cNvPr id="2" name="Päivämäärän paikkamerkki 1">
            <a:extLst>
              <a:ext uri="{FF2B5EF4-FFF2-40B4-BE49-F238E27FC236}">
                <a16:creationId xmlns:a16="http://schemas.microsoft.com/office/drawing/2014/main" id="{4C366827-B13F-41D2-9BB1-86D6952FE74F}"/>
              </a:ext>
            </a:extLst>
          </p:cNvPr>
          <p:cNvSpPr>
            <a:spLocks noGrp="1"/>
          </p:cNvSpPr>
          <p:nvPr>
            <p:ph type="dt" sz="half" idx="12"/>
          </p:nvPr>
        </p:nvSpPr>
        <p:spPr/>
        <p:txBody>
          <a:bodyPr/>
          <a:lstStyle/>
          <a:p>
            <a:r>
              <a:rPr lang="fi-FI" dirty="0"/>
              <a:t>dd.mm.yyyy</a:t>
            </a:r>
            <a:endParaRPr lang="en-US" dirty="0"/>
          </a:p>
        </p:txBody>
      </p:sp>
      <p:sp>
        <p:nvSpPr>
          <p:cNvPr id="3" name="Alatunnisteen paikkamerkki 2">
            <a:extLst>
              <a:ext uri="{FF2B5EF4-FFF2-40B4-BE49-F238E27FC236}">
                <a16:creationId xmlns:a16="http://schemas.microsoft.com/office/drawing/2014/main" id="{B081CECA-2419-49BC-A865-E26F838DFBF9}"/>
              </a:ext>
            </a:extLst>
          </p:cNvPr>
          <p:cNvSpPr>
            <a:spLocks noGrp="1"/>
          </p:cNvSpPr>
          <p:nvPr>
            <p:ph type="ftr" sz="quarter" idx="13"/>
          </p:nvPr>
        </p:nvSpPr>
        <p:spPr/>
        <p:txBody>
          <a:bodyPr/>
          <a:lstStyle/>
          <a:p>
            <a:r>
              <a:rPr lang="fi-FI" dirty="0"/>
              <a:t>Your text here</a:t>
            </a:r>
          </a:p>
        </p:txBody>
      </p:sp>
      <p:sp>
        <p:nvSpPr>
          <p:cNvPr id="4" name="Dian numeron paikkamerkki 3">
            <a:extLst>
              <a:ext uri="{FF2B5EF4-FFF2-40B4-BE49-F238E27FC236}">
                <a16:creationId xmlns:a16="http://schemas.microsoft.com/office/drawing/2014/main" id="{75CA6814-F1E3-4289-929D-E2AEACCAF6C2}"/>
              </a:ext>
            </a:extLst>
          </p:cNvPr>
          <p:cNvSpPr>
            <a:spLocks noGrp="1"/>
          </p:cNvSpPr>
          <p:nvPr>
            <p:ph type="sldNum" sz="quarter" idx="14"/>
          </p:nvPr>
        </p:nvSpPr>
        <p:spPr/>
        <p:txBody>
          <a:bodyPr/>
          <a:lstStyle/>
          <a:p>
            <a:fld id="{28F7F04C-F568-F649-A2AE-EA61C66B69B4}" type="slidenum">
              <a:rPr lang="en-US" smtClean="0"/>
              <a:pPr/>
              <a:t>‹#›</a:t>
            </a:fld>
            <a:endParaRPr lang="en-US" dirty="0"/>
          </a:p>
        </p:txBody>
      </p:sp>
      <p:pic>
        <p:nvPicPr>
          <p:cNvPr id="8" name="Kuva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8790"/>
            <a:ext cx="2073704" cy="856800"/>
          </a:xfrm>
          <a:prstGeom prst="rect">
            <a:avLst/>
          </a:prstGeom>
        </p:spPr>
      </p:pic>
    </p:spTree>
    <p:extLst>
      <p:ext uri="{BB962C8B-B14F-4D97-AF65-F5344CB8AC3E}">
        <p14:creationId xmlns:p14="http://schemas.microsoft.com/office/powerpoint/2010/main" val="1935461488"/>
      </p:ext>
    </p:extLst>
  </p:cSld>
  <p:clrMapOvr>
    <a:masterClrMapping/>
  </p:clrMapOvr>
  <p:extLst>
    <p:ext uri="{DCECCB84-F9BA-43D5-87BE-67443E8EF086}">
      <p15:sldGuideLst xmlns:p15="http://schemas.microsoft.com/office/powerpoint/2012/main">
        <p15:guide id="4" pos="5534">
          <p15:clr>
            <a:srgbClr val="FBAE40"/>
          </p15:clr>
        </p15:guide>
        <p15:guide id="5" orient="horz" pos="327">
          <p15:clr>
            <a:srgbClr val="FBAE40"/>
          </p15:clr>
        </p15:guide>
        <p15:guide id="6" pos="2795">
          <p15:clr>
            <a:srgbClr val="FBAE40"/>
          </p15:clr>
        </p15:guide>
        <p15:guide id="7" pos="2965">
          <p15:clr>
            <a:srgbClr val="FBAE40"/>
          </p15:clr>
        </p15:guide>
        <p15:guide id="8" orient="horz" pos="849">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4. Body slide with Subheadline">
    <p:spTree>
      <p:nvGrpSpPr>
        <p:cNvPr id="1" name=""/>
        <p:cNvGrpSpPr/>
        <p:nvPr/>
      </p:nvGrpSpPr>
      <p:grpSpPr>
        <a:xfrm>
          <a:off x="0" y="0"/>
          <a:ext cx="0" cy="0"/>
          <a:chOff x="0" y="0"/>
          <a:chExt cx="0" cy="0"/>
        </a:xfrm>
      </p:grpSpPr>
      <p:sp>
        <p:nvSpPr>
          <p:cNvPr id="11" name="Text Placeholder 3"/>
          <p:cNvSpPr>
            <a:spLocks noGrp="1"/>
          </p:cNvSpPr>
          <p:nvPr>
            <p:ph type="body" sz="half" idx="10" hasCustomPrompt="1"/>
          </p:nvPr>
        </p:nvSpPr>
        <p:spPr>
          <a:xfrm>
            <a:off x="292328" y="294871"/>
            <a:ext cx="8492897" cy="733140"/>
          </a:xfrm>
          <a:prstGeom prst="rect">
            <a:avLst/>
          </a:prstGeom>
        </p:spPr>
        <p:txBody>
          <a:bodyPr lIns="0" tIns="0" rIns="0" bIns="0"/>
          <a:lstStyle>
            <a:lvl1pPr marL="0" indent="0">
              <a:lnSpc>
                <a:spcPct val="100000"/>
              </a:lnSpc>
              <a:buNone/>
              <a:defRPr sz="3200" b="1" baseline="0">
                <a:solidFill>
                  <a:schemeClr val="tx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Body slide title </a:t>
            </a:r>
          </a:p>
        </p:txBody>
      </p:sp>
      <p:sp>
        <p:nvSpPr>
          <p:cNvPr id="13" name="Text Placeholder 3"/>
          <p:cNvSpPr>
            <a:spLocks noGrp="1"/>
          </p:cNvSpPr>
          <p:nvPr>
            <p:ph type="body" sz="half" idx="11" hasCustomPrompt="1"/>
          </p:nvPr>
        </p:nvSpPr>
        <p:spPr>
          <a:xfrm>
            <a:off x="292328" y="1635678"/>
            <a:ext cx="8492897" cy="2648322"/>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2000" b="1" baseline="0">
                <a:solidFill>
                  <a:schemeClr val="tx1"/>
                </a:solidFill>
              </a:defRPr>
            </a:lvl1pPr>
            <a:lvl2pPr marL="628650" indent="-271463">
              <a:buFont typeface="Arial" panose="020B0604020202020204" pitchFamily="34" charset="0"/>
              <a:buChar char="•"/>
              <a:defRPr sz="2000"/>
            </a:lvl2pPr>
            <a:lvl3pPr marL="804863" indent="-176213">
              <a:buFont typeface="Arial" panose="020B0604020202020204" pitchFamily="34" charset="0"/>
              <a:buChar char="•"/>
              <a:defRPr sz="14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Your text here</a:t>
            </a:r>
          </a:p>
          <a:p>
            <a:pPr lvl="1"/>
            <a:r>
              <a:rPr lang="fi-FI" dirty="0"/>
              <a:t>Second </a:t>
            </a:r>
            <a:r>
              <a:rPr lang="fi-FI" dirty="0" err="1"/>
              <a:t>level</a:t>
            </a:r>
            <a:endParaRPr lang="fi-FI" dirty="0"/>
          </a:p>
          <a:p>
            <a:pPr lvl="2"/>
            <a:r>
              <a:rPr lang="fi-FI" dirty="0"/>
              <a:t>Third </a:t>
            </a:r>
            <a:r>
              <a:rPr lang="fi-FI" dirty="0" err="1"/>
              <a:t>level</a:t>
            </a:r>
            <a:endParaRPr lang="fi-FI" dirty="0"/>
          </a:p>
        </p:txBody>
      </p:sp>
      <p:sp>
        <p:nvSpPr>
          <p:cNvPr id="7" name="Text Placeholder 3"/>
          <p:cNvSpPr>
            <a:spLocks noGrp="1"/>
          </p:cNvSpPr>
          <p:nvPr>
            <p:ph type="body" sz="half" idx="12" hasCustomPrompt="1"/>
          </p:nvPr>
        </p:nvSpPr>
        <p:spPr>
          <a:xfrm>
            <a:off x="292328" y="1028011"/>
            <a:ext cx="8492897" cy="607667"/>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Tx/>
              <a:buNone/>
              <a:tabLst/>
              <a:defRPr sz="2000" b="1" baseline="0">
                <a:solidFill>
                  <a:schemeClr val="tx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Sub Headline</a:t>
            </a:r>
          </a:p>
          <a:p>
            <a:pPr lvl="0"/>
            <a:endParaRPr lang="en-US" dirty="0"/>
          </a:p>
        </p:txBody>
      </p:sp>
      <p:sp>
        <p:nvSpPr>
          <p:cNvPr id="2" name="Päivämäärän paikkamerkki 1">
            <a:extLst>
              <a:ext uri="{FF2B5EF4-FFF2-40B4-BE49-F238E27FC236}">
                <a16:creationId xmlns:a16="http://schemas.microsoft.com/office/drawing/2014/main" id="{15F98E76-565B-438E-BE24-AF36CE784A61}"/>
              </a:ext>
            </a:extLst>
          </p:cNvPr>
          <p:cNvSpPr>
            <a:spLocks noGrp="1"/>
          </p:cNvSpPr>
          <p:nvPr>
            <p:ph type="dt" sz="half" idx="13"/>
          </p:nvPr>
        </p:nvSpPr>
        <p:spPr/>
        <p:txBody>
          <a:bodyPr/>
          <a:lstStyle/>
          <a:p>
            <a:r>
              <a:rPr lang="fi-FI" dirty="0"/>
              <a:t>dd.mm.yyyy</a:t>
            </a:r>
            <a:endParaRPr lang="en-US" dirty="0"/>
          </a:p>
        </p:txBody>
      </p:sp>
      <p:sp>
        <p:nvSpPr>
          <p:cNvPr id="3" name="Alatunnisteen paikkamerkki 2">
            <a:extLst>
              <a:ext uri="{FF2B5EF4-FFF2-40B4-BE49-F238E27FC236}">
                <a16:creationId xmlns:a16="http://schemas.microsoft.com/office/drawing/2014/main" id="{0477500B-A8BC-45B6-BA85-A082FC8528F3}"/>
              </a:ext>
            </a:extLst>
          </p:cNvPr>
          <p:cNvSpPr>
            <a:spLocks noGrp="1"/>
          </p:cNvSpPr>
          <p:nvPr>
            <p:ph type="ftr" sz="quarter" idx="14"/>
          </p:nvPr>
        </p:nvSpPr>
        <p:spPr/>
        <p:txBody>
          <a:bodyPr/>
          <a:lstStyle/>
          <a:p>
            <a:r>
              <a:rPr lang="fi-FI" dirty="0"/>
              <a:t>Your text here</a:t>
            </a:r>
          </a:p>
        </p:txBody>
      </p:sp>
      <p:sp>
        <p:nvSpPr>
          <p:cNvPr id="4" name="Dian numeron paikkamerkki 3">
            <a:extLst>
              <a:ext uri="{FF2B5EF4-FFF2-40B4-BE49-F238E27FC236}">
                <a16:creationId xmlns:a16="http://schemas.microsoft.com/office/drawing/2014/main" id="{4A736A4D-A5BC-4E4F-9FD0-C4BC6EEC989C}"/>
              </a:ext>
            </a:extLst>
          </p:cNvPr>
          <p:cNvSpPr>
            <a:spLocks noGrp="1"/>
          </p:cNvSpPr>
          <p:nvPr>
            <p:ph type="sldNum" sz="quarter" idx="15"/>
          </p:nvPr>
        </p:nvSpPr>
        <p:spPr/>
        <p:txBody>
          <a:bodyPr/>
          <a:lstStyle/>
          <a:p>
            <a:fld id="{28F7F04C-F568-F649-A2AE-EA61C66B69B4}" type="slidenum">
              <a:rPr lang="en-US" smtClean="0"/>
              <a:pPr/>
              <a:t>‹#›</a:t>
            </a:fld>
            <a:endParaRPr lang="en-US" dirty="0"/>
          </a:p>
        </p:txBody>
      </p:sp>
      <p:pic>
        <p:nvPicPr>
          <p:cNvPr id="12" name="Kuva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8790"/>
            <a:ext cx="2073704" cy="856800"/>
          </a:xfrm>
          <a:prstGeom prst="rect">
            <a:avLst/>
          </a:prstGeom>
        </p:spPr>
      </p:pic>
    </p:spTree>
    <p:extLst>
      <p:ext uri="{BB962C8B-B14F-4D97-AF65-F5344CB8AC3E}">
        <p14:creationId xmlns:p14="http://schemas.microsoft.com/office/powerpoint/2010/main" val="2118715812"/>
      </p:ext>
    </p:extLst>
  </p:cSld>
  <p:clrMapOvr>
    <a:masterClrMapping/>
  </p:clrMapOvr>
  <p:extLst>
    <p:ext uri="{DCECCB84-F9BA-43D5-87BE-67443E8EF086}">
      <p15:sldGuideLst xmlns:p15="http://schemas.microsoft.com/office/powerpoint/2012/main">
        <p15:guide id="4" pos="5534">
          <p15:clr>
            <a:srgbClr val="FBAE40"/>
          </p15:clr>
        </p15:guide>
        <p15:guide id="5" orient="horz" pos="327">
          <p15:clr>
            <a:srgbClr val="FBAE40"/>
          </p15:clr>
        </p15:guide>
        <p15:guide id="6" pos="2795">
          <p15:clr>
            <a:srgbClr val="FBAE40"/>
          </p15:clr>
        </p15:guide>
        <p15:guide id="7" pos="2965">
          <p15:clr>
            <a:srgbClr val="FBAE40"/>
          </p15:clr>
        </p15:guide>
        <p15:guide id="8" orient="horz" pos="849">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5. Body slide - 2 text columns ">
    <p:spTree>
      <p:nvGrpSpPr>
        <p:cNvPr id="1" name=""/>
        <p:cNvGrpSpPr/>
        <p:nvPr/>
      </p:nvGrpSpPr>
      <p:grpSpPr>
        <a:xfrm>
          <a:off x="0" y="0"/>
          <a:ext cx="0" cy="0"/>
          <a:chOff x="0" y="0"/>
          <a:chExt cx="0" cy="0"/>
        </a:xfrm>
      </p:grpSpPr>
      <p:sp>
        <p:nvSpPr>
          <p:cNvPr id="13" name="Text Placeholder 3"/>
          <p:cNvSpPr>
            <a:spLocks noGrp="1"/>
          </p:cNvSpPr>
          <p:nvPr>
            <p:ph type="body" sz="half" idx="11" hasCustomPrompt="1"/>
          </p:nvPr>
        </p:nvSpPr>
        <p:spPr>
          <a:xfrm>
            <a:off x="287339" y="1347789"/>
            <a:ext cx="4150122" cy="2936212"/>
          </a:xfrm>
          <a:prstGeom prst="rect">
            <a:avLst/>
          </a:prstGeom>
        </p:spPr>
        <p:txBody>
          <a:bodyPr lIns="0" tIns="0" rIns="0" bIns="0"/>
          <a:lstStyle>
            <a:lvl1pPr marL="342900" marR="0" indent="-342900" algn="l" defTabSz="685800" rtl="0" eaLnBrk="1" fontAlgn="auto" latinLnBrk="0" hangingPunct="1">
              <a:lnSpc>
                <a:spcPct val="100000"/>
              </a:lnSpc>
              <a:spcBef>
                <a:spcPts val="750"/>
              </a:spcBef>
              <a:spcAft>
                <a:spcPts val="0"/>
              </a:spcAft>
              <a:buClrTx/>
              <a:buSzTx/>
              <a:buFont typeface="Arial" panose="020B0604020202020204" pitchFamily="34" charset="0"/>
              <a:buChar char="•"/>
              <a:tabLst/>
              <a:defRPr sz="2100" b="1" baseline="0">
                <a:solidFill>
                  <a:schemeClr val="tx1"/>
                </a:solidFill>
              </a:defRPr>
            </a:lvl1pPr>
            <a:lvl2pPr marL="628650" indent="-285750">
              <a:buFont typeface="Arial" panose="020B0604020202020204" pitchFamily="34" charset="0"/>
              <a:buChar char="•"/>
              <a:defRPr sz="2100"/>
            </a:lvl2pPr>
            <a:lvl3pPr marL="804863" indent="-176213">
              <a:buFont typeface="Arial" panose="020B0604020202020204" pitchFamily="34" charset="0"/>
              <a:buChar char="•"/>
              <a:defRPr sz="16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Your text here</a:t>
            </a:r>
          </a:p>
          <a:p>
            <a:pPr lvl="1"/>
            <a:r>
              <a:rPr lang="fi-FI" dirty="0"/>
              <a:t>Second </a:t>
            </a:r>
            <a:r>
              <a:rPr lang="fi-FI" dirty="0" err="1"/>
              <a:t>level</a:t>
            </a:r>
            <a:endParaRPr lang="fi-FI" dirty="0"/>
          </a:p>
          <a:p>
            <a:pPr lvl="2"/>
            <a:r>
              <a:rPr lang="fi-FI" dirty="0"/>
              <a:t>Third </a:t>
            </a:r>
            <a:r>
              <a:rPr lang="fi-FI" dirty="0" err="1"/>
              <a:t>level</a:t>
            </a:r>
            <a:endParaRPr lang="fi-FI" dirty="0"/>
          </a:p>
        </p:txBody>
      </p:sp>
      <p:sp>
        <p:nvSpPr>
          <p:cNvPr id="21" name="Text Placeholder 3"/>
          <p:cNvSpPr>
            <a:spLocks noGrp="1"/>
          </p:cNvSpPr>
          <p:nvPr>
            <p:ph type="body" sz="half" idx="12" hasCustomPrompt="1"/>
          </p:nvPr>
        </p:nvSpPr>
        <p:spPr>
          <a:xfrm>
            <a:off x="4706541" y="1347789"/>
            <a:ext cx="4078684" cy="2936212"/>
          </a:xfrm>
          <a:prstGeom prst="rect">
            <a:avLst/>
          </a:prstGeom>
        </p:spPr>
        <p:txBody>
          <a:bodyPr lIns="0" tIns="0" rIns="0" bIns="0"/>
          <a:lstStyle>
            <a:lvl1pPr marL="342900" marR="0" indent="-342900" algn="l" defTabSz="685800" rtl="0" eaLnBrk="1" fontAlgn="auto" latinLnBrk="0" hangingPunct="1">
              <a:lnSpc>
                <a:spcPct val="100000"/>
              </a:lnSpc>
              <a:spcBef>
                <a:spcPts val="750"/>
              </a:spcBef>
              <a:spcAft>
                <a:spcPts val="0"/>
              </a:spcAft>
              <a:buClrTx/>
              <a:buSzTx/>
              <a:buFont typeface="Arial" panose="020B0604020202020204" pitchFamily="34" charset="0"/>
              <a:buChar char="•"/>
              <a:tabLst/>
              <a:defRPr sz="2100" b="1" baseline="0">
                <a:solidFill>
                  <a:schemeClr val="tx1"/>
                </a:solidFill>
              </a:defRPr>
            </a:lvl1pPr>
            <a:lvl2pPr marL="628650" indent="-285750">
              <a:buFont typeface="Arial" panose="020B0604020202020204" pitchFamily="34" charset="0"/>
              <a:buChar char="•"/>
              <a:defRPr sz="2100"/>
            </a:lvl2pPr>
            <a:lvl3pPr marL="804863" indent="-176213">
              <a:buFont typeface="Arial" panose="020B0604020202020204" pitchFamily="34" charset="0"/>
              <a:buChar char="•"/>
              <a:defRPr sz="16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Your text here</a:t>
            </a:r>
          </a:p>
          <a:p>
            <a:pPr lvl="1"/>
            <a:r>
              <a:rPr lang="fi-FI" dirty="0"/>
              <a:t>Second </a:t>
            </a:r>
            <a:r>
              <a:rPr lang="fi-FI" dirty="0" err="1"/>
              <a:t>level</a:t>
            </a:r>
            <a:endParaRPr lang="fi-FI" dirty="0"/>
          </a:p>
          <a:p>
            <a:pPr lvl="2"/>
            <a:r>
              <a:rPr lang="fi-FI" dirty="0"/>
              <a:t>Third </a:t>
            </a:r>
            <a:r>
              <a:rPr lang="fi-FI" dirty="0" err="1"/>
              <a:t>level</a:t>
            </a:r>
            <a:endParaRPr lang="fi-FI" dirty="0"/>
          </a:p>
        </p:txBody>
      </p:sp>
      <p:sp>
        <p:nvSpPr>
          <p:cNvPr id="3" name="Päivämäärän paikkamerkki 2">
            <a:extLst>
              <a:ext uri="{FF2B5EF4-FFF2-40B4-BE49-F238E27FC236}">
                <a16:creationId xmlns:a16="http://schemas.microsoft.com/office/drawing/2014/main" id="{0ACE9B33-D0C7-4AF1-A02A-1559773A78AC}"/>
              </a:ext>
            </a:extLst>
          </p:cNvPr>
          <p:cNvSpPr>
            <a:spLocks noGrp="1"/>
          </p:cNvSpPr>
          <p:nvPr>
            <p:ph type="dt" sz="half" idx="13"/>
          </p:nvPr>
        </p:nvSpPr>
        <p:spPr/>
        <p:txBody>
          <a:bodyPr/>
          <a:lstStyle/>
          <a:p>
            <a:r>
              <a:rPr lang="fi-FI" dirty="0"/>
              <a:t>dd.mm.yyyy</a:t>
            </a:r>
            <a:endParaRPr lang="en-US" dirty="0"/>
          </a:p>
        </p:txBody>
      </p:sp>
      <p:sp>
        <p:nvSpPr>
          <p:cNvPr id="4" name="Alatunnisteen paikkamerkki 3">
            <a:extLst>
              <a:ext uri="{FF2B5EF4-FFF2-40B4-BE49-F238E27FC236}">
                <a16:creationId xmlns:a16="http://schemas.microsoft.com/office/drawing/2014/main" id="{8F7430A1-7AEB-4722-97B3-51719F60574B}"/>
              </a:ext>
            </a:extLst>
          </p:cNvPr>
          <p:cNvSpPr>
            <a:spLocks noGrp="1"/>
          </p:cNvSpPr>
          <p:nvPr>
            <p:ph type="ftr" sz="quarter" idx="14"/>
          </p:nvPr>
        </p:nvSpPr>
        <p:spPr/>
        <p:txBody>
          <a:bodyPr/>
          <a:lstStyle/>
          <a:p>
            <a:r>
              <a:rPr lang="fi-FI" dirty="0"/>
              <a:t>Your text here</a:t>
            </a:r>
          </a:p>
        </p:txBody>
      </p:sp>
      <p:sp>
        <p:nvSpPr>
          <p:cNvPr id="5" name="Dian numeron paikkamerkki 4">
            <a:extLst>
              <a:ext uri="{FF2B5EF4-FFF2-40B4-BE49-F238E27FC236}">
                <a16:creationId xmlns:a16="http://schemas.microsoft.com/office/drawing/2014/main" id="{75B56DD1-CE07-4F8B-9EEB-5CFC86C5CCF2}"/>
              </a:ext>
            </a:extLst>
          </p:cNvPr>
          <p:cNvSpPr>
            <a:spLocks noGrp="1"/>
          </p:cNvSpPr>
          <p:nvPr>
            <p:ph type="sldNum" sz="quarter" idx="15"/>
          </p:nvPr>
        </p:nvSpPr>
        <p:spPr/>
        <p:txBody>
          <a:bodyPr/>
          <a:lstStyle/>
          <a:p>
            <a:fld id="{28F7F04C-F568-F649-A2AE-EA61C66B69B4}" type="slidenum">
              <a:rPr lang="en-US" smtClean="0"/>
              <a:pPr/>
              <a:t>‹#›</a:t>
            </a:fld>
            <a:endParaRPr lang="en-US" dirty="0"/>
          </a:p>
        </p:txBody>
      </p:sp>
      <p:pic>
        <p:nvPicPr>
          <p:cNvPr id="12" name="Kuva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8790"/>
            <a:ext cx="2073704" cy="856800"/>
          </a:xfrm>
          <a:prstGeom prst="rect">
            <a:avLst/>
          </a:prstGeom>
        </p:spPr>
      </p:pic>
      <p:sp>
        <p:nvSpPr>
          <p:cNvPr id="9" name="Text Placeholder 3">
            <a:extLst>
              <a:ext uri="{FF2B5EF4-FFF2-40B4-BE49-F238E27FC236}">
                <a16:creationId xmlns:a16="http://schemas.microsoft.com/office/drawing/2014/main" id="{0205D507-836E-42FE-B4E3-5A81DA77FB72}"/>
              </a:ext>
            </a:extLst>
          </p:cNvPr>
          <p:cNvSpPr>
            <a:spLocks noGrp="1"/>
          </p:cNvSpPr>
          <p:nvPr>
            <p:ph type="body" sz="half" idx="10" hasCustomPrompt="1"/>
          </p:nvPr>
        </p:nvSpPr>
        <p:spPr>
          <a:xfrm>
            <a:off x="292328" y="294870"/>
            <a:ext cx="8492897" cy="733141"/>
          </a:xfrm>
          <a:prstGeom prst="rect">
            <a:avLst/>
          </a:prstGeom>
        </p:spPr>
        <p:txBody>
          <a:bodyPr lIns="0" tIns="0" rIns="0" bIns="0"/>
          <a:lstStyle>
            <a:lvl1pPr marL="0" indent="0">
              <a:lnSpc>
                <a:spcPct val="100000"/>
              </a:lnSpc>
              <a:buNone/>
              <a:defRPr sz="3200" b="1" baseline="0">
                <a:solidFill>
                  <a:schemeClr val="tx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Body slide title </a:t>
            </a:r>
          </a:p>
        </p:txBody>
      </p:sp>
    </p:spTree>
    <p:extLst>
      <p:ext uri="{BB962C8B-B14F-4D97-AF65-F5344CB8AC3E}">
        <p14:creationId xmlns:p14="http://schemas.microsoft.com/office/powerpoint/2010/main" val="335181395"/>
      </p:ext>
    </p:extLst>
  </p:cSld>
  <p:clrMapOvr>
    <a:masterClrMapping/>
  </p:clrMapOvr>
  <p:extLst>
    <p:ext uri="{DCECCB84-F9BA-43D5-87BE-67443E8EF086}">
      <p15:sldGuideLst xmlns:p15="http://schemas.microsoft.com/office/powerpoint/2012/main">
        <p15:guide id="4" pos="5534">
          <p15:clr>
            <a:srgbClr val="FBAE40"/>
          </p15:clr>
        </p15:guide>
        <p15:guide id="5" orient="horz" pos="327">
          <p15:clr>
            <a:srgbClr val="FBAE40"/>
          </p15:clr>
        </p15:guide>
        <p15:guide id="6" pos="2795">
          <p15:clr>
            <a:srgbClr val="FBAE40"/>
          </p15:clr>
        </p15:guide>
        <p15:guide id="7" pos="2965">
          <p15:clr>
            <a:srgbClr val="FBAE40"/>
          </p15:clr>
        </p15:guide>
        <p15:guide id="8" pos="181">
          <p15:clr>
            <a:srgbClr val="FBAE40"/>
          </p15:clr>
        </p15:guide>
        <p15:guide id="9" orient="horz" pos="849">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6. Body slide - Black text - Image">
    <p:spTree>
      <p:nvGrpSpPr>
        <p:cNvPr id="1" name=""/>
        <p:cNvGrpSpPr/>
        <p:nvPr/>
      </p:nvGrpSpPr>
      <p:grpSpPr>
        <a:xfrm>
          <a:off x="0" y="0"/>
          <a:ext cx="0" cy="0"/>
          <a:chOff x="0" y="0"/>
          <a:chExt cx="0" cy="0"/>
        </a:xfrm>
      </p:grpSpPr>
      <p:sp>
        <p:nvSpPr>
          <p:cNvPr id="8" name="Picture Placeholder 2"/>
          <p:cNvSpPr>
            <a:spLocks noGrp="1"/>
          </p:cNvSpPr>
          <p:nvPr>
            <p:ph type="pic" idx="11" hasCustomPrompt="1"/>
          </p:nvPr>
        </p:nvSpPr>
        <p:spPr>
          <a:xfrm>
            <a:off x="4710793" y="0"/>
            <a:ext cx="4433207" cy="5143500"/>
          </a:xfrm>
          <a:prstGeom prst="rect">
            <a:avLst/>
          </a:prstGeom>
        </p:spPr>
        <p:txBody>
          <a:bodyPr/>
          <a:lstStyle>
            <a:lvl1pPr marL="0" indent="0">
              <a:buNone/>
              <a:defRPr sz="2400" b="1" baseline="0">
                <a:solidFill>
                  <a:schemeClr val="bg1">
                    <a:lumMod val="85000"/>
                    <a:alpha val="62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fi-FI" dirty="0"/>
              <a:t>Click icon to add image</a:t>
            </a:r>
            <a:br>
              <a:rPr lang="fi-FI" dirty="0"/>
            </a:br>
            <a:br>
              <a:rPr lang="fi-FI" dirty="0"/>
            </a:br>
            <a:r>
              <a:rPr lang="fi-FI" dirty="0"/>
              <a:t>Fit the image to frame </a:t>
            </a:r>
            <a:br>
              <a:rPr lang="fi-FI" dirty="0"/>
            </a:br>
            <a:r>
              <a:rPr lang="fi-FI" dirty="0"/>
              <a:t>by choosing: </a:t>
            </a:r>
            <a:br>
              <a:rPr lang="fi-FI" dirty="0"/>
            </a:br>
            <a:r>
              <a:rPr lang="fi-FI" dirty="0"/>
              <a:t>crop&gt;fit / rajaa&gt;sovita</a:t>
            </a:r>
            <a:endParaRPr lang="en-US" dirty="0"/>
          </a:p>
        </p:txBody>
      </p:sp>
      <p:sp>
        <p:nvSpPr>
          <p:cNvPr id="4" name="Text Placeholder 3"/>
          <p:cNvSpPr>
            <a:spLocks noGrp="1"/>
          </p:cNvSpPr>
          <p:nvPr>
            <p:ph type="body" sz="half" idx="2" hasCustomPrompt="1"/>
          </p:nvPr>
        </p:nvSpPr>
        <p:spPr>
          <a:xfrm>
            <a:off x="287338" y="1358537"/>
            <a:ext cx="4052221" cy="2925463"/>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Tx/>
              <a:buNone/>
              <a:tabLst/>
              <a:defRPr lang="en-GB" sz="2100" b="1" smtClean="0"/>
            </a:lvl1pPr>
            <a:lvl2pPr marL="342900" indent="0">
              <a:buFontTx/>
              <a:buNone/>
              <a:defRPr sz="2100"/>
            </a:lvl2pPr>
            <a:lvl3pPr marL="628650" indent="0">
              <a:buFontTx/>
              <a:buNone/>
              <a:defRPr sz="16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Your text here</a:t>
            </a:r>
          </a:p>
        </p:txBody>
      </p:sp>
      <p:sp>
        <p:nvSpPr>
          <p:cNvPr id="6" name="Päivämäärän paikkamerkki 5"/>
          <p:cNvSpPr>
            <a:spLocks noGrp="1"/>
          </p:cNvSpPr>
          <p:nvPr>
            <p:ph type="dt" sz="half" idx="12"/>
          </p:nvPr>
        </p:nvSpPr>
        <p:spPr/>
        <p:txBody>
          <a:bodyPr/>
          <a:lstStyle/>
          <a:p>
            <a:r>
              <a:rPr lang="fi-FI" dirty="0"/>
              <a:t>dd.mm.yyyy</a:t>
            </a:r>
            <a:endParaRPr lang="en-US" dirty="0"/>
          </a:p>
        </p:txBody>
      </p:sp>
      <p:sp>
        <p:nvSpPr>
          <p:cNvPr id="9" name="Alatunnisteen paikkamerkki 8"/>
          <p:cNvSpPr>
            <a:spLocks noGrp="1"/>
          </p:cNvSpPr>
          <p:nvPr>
            <p:ph type="ftr" sz="quarter" idx="13"/>
          </p:nvPr>
        </p:nvSpPr>
        <p:spPr/>
        <p:txBody>
          <a:bodyPr/>
          <a:lstStyle/>
          <a:p>
            <a:r>
              <a:rPr lang="fi-FI" dirty="0"/>
              <a:t>Your text here</a:t>
            </a:r>
          </a:p>
        </p:txBody>
      </p:sp>
      <p:sp>
        <p:nvSpPr>
          <p:cNvPr id="10" name="Dian numeron paikkamerkki 9"/>
          <p:cNvSpPr>
            <a:spLocks noGrp="1"/>
          </p:cNvSpPr>
          <p:nvPr>
            <p:ph type="sldNum" sz="quarter" idx="14"/>
          </p:nvPr>
        </p:nvSpPr>
        <p:spPr/>
        <p:txBody>
          <a:bodyPr/>
          <a:lstStyle/>
          <a:p>
            <a:fld id="{28F7F04C-F568-F649-A2AE-EA61C66B69B4}" type="slidenum">
              <a:rPr lang="en-US" smtClean="0"/>
              <a:pPr/>
              <a:t>‹#›</a:t>
            </a:fld>
            <a:endParaRPr lang="en-US" dirty="0"/>
          </a:p>
        </p:txBody>
      </p:sp>
      <p:pic>
        <p:nvPicPr>
          <p:cNvPr id="14" name="Kuva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8790"/>
            <a:ext cx="2073704" cy="856800"/>
          </a:xfrm>
          <a:prstGeom prst="rect">
            <a:avLst/>
          </a:prstGeom>
        </p:spPr>
      </p:pic>
      <p:sp>
        <p:nvSpPr>
          <p:cNvPr id="12" name="Text Placeholder 3">
            <a:extLst>
              <a:ext uri="{FF2B5EF4-FFF2-40B4-BE49-F238E27FC236}">
                <a16:creationId xmlns:a16="http://schemas.microsoft.com/office/drawing/2014/main" id="{9C4A373C-D8CA-4B4B-98A3-F9C815226BDA}"/>
              </a:ext>
            </a:extLst>
          </p:cNvPr>
          <p:cNvSpPr>
            <a:spLocks noGrp="1"/>
          </p:cNvSpPr>
          <p:nvPr>
            <p:ph type="body" sz="half" idx="10" hasCustomPrompt="1"/>
          </p:nvPr>
        </p:nvSpPr>
        <p:spPr>
          <a:xfrm>
            <a:off x="292329" y="294870"/>
            <a:ext cx="4047230" cy="733141"/>
          </a:xfrm>
          <a:prstGeom prst="rect">
            <a:avLst/>
          </a:prstGeom>
        </p:spPr>
        <p:txBody>
          <a:bodyPr lIns="0" tIns="0" rIns="0" bIns="0"/>
          <a:lstStyle>
            <a:lvl1pPr marL="0" indent="0">
              <a:lnSpc>
                <a:spcPct val="100000"/>
              </a:lnSpc>
              <a:buNone/>
              <a:defRPr sz="3200" b="1" baseline="0">
                <a:solidFill>
                  <a:schemeClr val="tx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Body slide title </a:t>
            </a:r>
          </a:p>
        </p:txBody>
      </p:sp>
    </p:spTree>
    <p:extLst>
      <p:ext uri="{BB962C8B-B14F-4D97-AF65-F5344CB8AC3E}">
        <p14:creationId xmlns:p14="http://schemas.microsoft.com/office/powerpoint/2010/main" val="3898590652"/>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 Body slide - Black text - Image">
    <p:spTree>
      <p:nvGrpSpPr>
        <p:cNvPr id="1" name=""/>
        <p:cNvGrpSpPr/>
        <p:nvPr/>
      </p:nvGrpSpPr>
      <p:grpSpPr>
        <a:xfrm>
          <a:off x="0" y="0"/>
          <a:ext cx="0" cy="0"/>
          <a:chOff x="0" y="0"/>
          <a:chExt cx="0" cy="0"/>
        </a:xfrm>
      </p:grpSpPr>
      <p:sp>
        <p:nvSpPr>
          <p:cNvPr id="8" name="Picture Placeholder 2"/>
          <p:cNvSpPr>
            <a:spLocks noGrp="1"/>
          </p:cNvSpPr>
          <p:nvPr>
            <p:ph type="pic" idx="11" hasCustomPrompt="1"/>
          </p:nvPr>
        </p:nvSpPr>
        <p:spPr>
          <a:xfrm>
            <a:off x="4710793" y="0"/>
            <a:ext cx="4433207" cy="5143500"/>
          </a:xfrm>
          <a:prstGeom prst="rect">
            <a:avLst/>
          </a:prstGeom>
        </p:spPr>
        <p:txBody>
          <a:bodyPr/>
          <a:lstStyle>
            <a:lvl1pPr marL="0" indent="0">
              <a:buNone/>
              <a:defRPr sz="2400" b="1" baseline="0">
                <a:solidFill>
                  <a:schemeClr val="bg1">
                    <a:lumMod val="85000"/>
                    <a:alpha val="62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fi-FI" dirty="0"/>
              <a:t>Click icon to add image</a:t>
            </a:r>
            <a:br>
              <a:rPr lang="fi-FI" dirty="0"/>
            </a:br>
            <a:br>
              <a:rPr lang="fi-FI" dirty="0"/>
            </a:br>
            <a:r>
              <a:rPr lang="fi-FI" dirty="0"/>
              <a:t>Fit the image to frame </a:t>
            </a:r>
            <a:br>
              <a:rPr lang="fi-FI" dirty="0"/>
            </a:br>
            <a:r>
              <a:rPr lang="fi-FI" dirty="0"/>
              <a:t>by choosing: </a:t>
            </a:r>
            <a:br>
              <a:rPr lang="fi-FI" dirty="0"/>
            </a:br>
            <a:r>
              <a:rPr lang="fi-FI" dirty="0"/>
              <a:t>crop&gt;fit / rajaa&gt;sovita</a:t>
            </a:r>
            <a:endParaRPr lang="en-US" dirty="0"/>
          </a:p>
        </p:txBody>
      </p:sp>
      <p:sp>
        <p:nvSpPr>
          <p:cNvPr id="4" name="Text Placeholder 3"/>
          <p:cNvSpPr>
            <a:spLocks noGrp="1"/>
          </p:cNvSpPr>
          <p:nvPr>
            <p:ph type="body" sz="half" idx="2" hasCustomPrompt="1"/>
          </p:nvPr>
        </p:nvSpPr>
        <p:spPr>
          <a:xfrm>
            <a:off x="287338" y="1358537"/>
            <a:ext cx="4052221" cy="2925463"/>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Tx/>
              <a:buNone/>
              <a:tabLst/>
              <a:defRPr lang="en-GB" sz="2100" b="1" smtClean="0"/>
            </a:lvl1pPr>
            <a:lvl2pPr marL="342900" indent="0">
              <a:buFontTx/>
              <a:buNone/>
              <a:defRPr sz="2100"/>
            </a:lvl2pPr>
            <a:lvl3pPr marL="628650" indent="0">
              <a:buFontTx/>
              <a:buNone/>
              <a:defRPr sz="16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Your text here</a:t>
            </a:r>
          </a:p>
        </p:txBody>
      </p:sp>
      <p:sp>
        <p:nvSpPr>
          <p:cNvPr id="11" name="Text Placeholder 3"/>
          <p:cNvSpPr>
            <a:spLocks noGrp="1"/>
          </p:cNvSpPr>
          <p:nvPr>
            <p:ph type="body" sz="half" idx="10" hasCustomPrompt="1"/>
          </p:nvPr>
        </p:nvSpPr>
        <p:spPr>
          <a:xfrm>
            <a:off x="287338" y="34800"/>
            <a:ext cx="4052221" cy="1041475"/>
          </a:xfrm>
          <a:prstGeom prst="rect">
            <a:avLst/>
          </a:prstGeom>
        </p:spPr>
        <p:txBody>
          <a:bodyPr lIns="0" tIns="0" rIns="0" bIns="0"/>
          <a:lstStyle>
            <a:lvl1pPr marL="0" indent="0">
              <a:lnSpc>
                <a:spcPct val="100000"/>
              </a:lnSpc>
              <a:buNone/>
              <a:defRPr sz="4000" b="1" baseline="0">
                <a:solidFill>
                  <a:schemeClr val="tx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Body slide title</a:t>
            </a:r>
          </a:p>
        </p:txBody>
      </p:sp>
      <p:sp>
        <p:nvSpPr>
          <p:cNvPr id="6" name="Päivämäärän paikkamerkki 5"/>
          <p:cNvSpPr>
            <a:spLocks noGrp="1"/>
          </p:cNvSpPr>
          <p:nvPr>
            <p:ph type="dt" sz="half" idx="12"/>
          </p:nvPr>
        </p:nvSpPr>
        <p:spPr/>
        <p:txBody>
          <a:bodyPr/>
          <a:lstStyle/>
          <a:p>
            <a:r>
              <a:rPr lang="fi-FI" dirty="0"/>
              <a:t>dd.mm.yyyy</a:t>
            </a:r>
            <a:endParaRPr lang="en-US" dirty="0"/>
          </a:p>
        </p:txBody>
      </p:sp>
      <p:sp>
        <p:nvSpPr>
          <p:cNvPr id="9" name="Alatunnisteen paikkamerkki 8"/>
          <p:cNvSpPr>
            <a:spLocks noGrp="1"/>
          </p:cNvSpPr>
          <p:nvPr>
            <p:ph type="ftr" sz="quarter" idx="13"/>
          </p:nvPr>
        </p:nvSpPr>
        <p:spPr/>
        <p:txBody>
          <a:bodyPr/>
          <a:lstStyle/>
          <a:p>
            <a:r>
              <a:rPr lang="fi-FI" dirty="0"/>
              <a:t>Your text here</a:t>
            </a:r>
          </a:p>
        </p:txBody>
      </p:sp>
      <p:sp>
        <p:nvSpPr>
          <p:cNvPr id="10" name="Dian numeron paikkamerkki 9"/>
          <p:cNvSpPr>
            <a:spLocks noGrp="1"/>
          </p:cNvSpPr>
          <p:nvPr>
            <p:ph type="sldNum" sz="quarter" idx="14"/>
          </p:nvPr>
        </p:nvSpPr>
        <p:spPr/>
        <p:txBody>
          <a:bodyPr/>
          <a:lstStyle/>
          <a:p>
            <a:fld id="{28F7F04C-F568-F649-A2AE-EA61C66B69B4}" type="slidenum">
              <a:rPr lang="en-US" smtClean="0"/>
              <a:pPr/>
              <a:t>‹#›</a:t>
            </a:fld>
            <a:endParaRPr lang="en-US" dirty="0"/>
          </a:p>
        </p:txBody>
      </p:sp>
      <p:pic>
        <p:nvPicPr>
          <p:cNvPr id="14" name="Kuva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8790"/>
            <a:ext cx="2073704" cy="856800"/>
          </a:xfrm>
          <a:prstGeom prst="rect">
            <a:avLst/>
          </a:prstGeom>
        </p:spPr>
      </p:pic>
    </p:spTree>
    <p:extLst>
      <p:ext uri="{BB962C8B-B14F-4D97-AF65-F5344CB8AC3E}">
        <p14:creationId xmlns:p14="http://schemas.microsoft.com/office/powerpoint/2010/main" val="4106515586"/>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7. Divider - Red - Text and image">
    <p:spTree>
      <p:nvGrpSpPr>
        <p:cNvPr id="1" name=""/>
        <p:cNvGrpSpPr/>
        <p:nvPr/>
      </p:nvGrpSpPr>
      <p:grpSpPr>
        <a:xfrm>
          <a:off x="0" y="0"/>
          <a:ext cx="0" cy="0"/>
          <a:chOff x="0" y="0"/>
          <a:chExt cx="0" cy="0"/>
        </a:xfrm>
      </p:grpSpPr>
      <p:sp>
        <p:nvSpPr>
          <p:cNvPr id="11" name="Rectangle 10"/>
          <p:cNvSpPr/>
          <p:nvPr userDrawn="1"/>
        </p:nvSpPr>
        <p:spPr>
          <a:xfrm>
            <a:off x="0"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13" dirty="0"/>
          </a:p>
        </p:txBody>
      </p:sp>
      <p:sp>
        <p:nvSpPr>
          <p:cNvPr id="6" name="Picture Placeholder 2"/>
          <p:cNvSpPr>
            <a:spLocks noGrp="1"/>
          </p:cNvSpPr>
          <p:nvPr>
            <p:ph type="pic" idx="11" hasCustomPrompt="1"/>
          </p:nvPr>
        </p:nvSpPr>
        <p:spPr>
          <a:xfrm>
            <a:off x="4710793" y="0"/>
            <a:ext cx="4433207" cy="5143500"/>
          </a:xfrm>
          <a:prstGeom prst="rect">
            <a:avLst/>
          </a:prstGeom>
        </p:spPr>
        <p:txBody>
          <a:bodyPr/>
          <a:lstStyle>
            <a:lvl1pPr marL="0" marR="0" indent="0" algn="l" defTabSz="685800" rtl="0" eaLnBrk="1" fontAlgn="auto" latinLnBrk="0" hangingPunct="1">
              <a:lnSpc>
                <a:spcPct val="90000"/>
              </a:lnSpc>
              <a:spcBef>
                <a:spcPts val="750"/>
              </a:spcBef>
              <a:spcAft>
                <a:spcPts val="0"/>
              </a:spcAft>
              <a:buClrTx/>
              <a:buSzTx/>
              <a:buFont typeface="Arial"/>
              <a:buNone/>
              <a:tabLst/>
              <a:defRPr sz="2400" b="1" baseline="0">
                <a:solidFill>
                  <a:schemeClr val="bg1">
                    <a:alpha val="62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Click icon to add image.</a:t>
            </a:r>
            <a:br>
              <a:rPr lang="en-US" dirty="0"/>
            </a:br>
            <a:br>
              <a:rPr lang="en-US" dirty="0"/>
            </a:br>
            <a:r>
              <a:rPr lang="fi-FI" dirty="0"/>
              <a:t>Fit the image to frame </a:t>
            </a:r>
            <a:br>
              <a:rPr lang="fi-FI" dirty="0"/>
            </a:br>
            <a:r>
              <a:rPr lang="fi-FI" dirty="0"/>
              <a:t>by choosing: </a:t>
            </a:r>
            <a:br>
              <a:rPr lang="fi-FI" dirty="0"/>
            </a:br>
            <a:r>
              <a:rPr lang="fi-FI" dirty="0"/>
              <a:t>crop&gt;fit / rajaa&gt;sovita</a:t>
            </a:r>
            <a:endParaRPr lang="en-US" dirty="0"/>
          </a:p>
        </p:txBody>
      </p:sp>
      <p:sp>
        <p:nvSpPr>
          <p:cNvPr id="4" name="Päivämäärän paikkamerkki 3">
            <a:extLst>
              <a:ext uri="{FF2B5EF4-FFF2-40B4-BE49-F238E27FC236}">
                <a16:creationId xmlns:a16="http://schemas.microsoft.com/office/drawing/2014/main" id="{04E326D0-D397-4DCF-88BA-ADD90C3D5C3E}"/>
              </a:ext>
            </a:extLst>
          </p:cNvPr>
          <p:cNvSpPr>
            <a:spLocks noGrp="1"/>
          </p:cNvSpPr>
          <p:nvPr>
            <p:ph type="dt" sz="half" idx="13"/>
          </p:nvPr>
        </p:nvSpPr>
        <p:spPr/>
        <p:txBody>
          <a:bodyPr/>
          <a:lstStyle>
            <a:lvl1pPr>
              <a:defRPr>
                <a:solidFill>
                  <a:srgbClr val="FFFFFF"/>
                </a:solidFill>
              </a:defRPr>
            </a:lvl1pPr>
          </a:lstStyle>
          <a:p>
            <a:r>
              <a:rPr lang="fi-FI" dirty="0"/>
              <a:t>dd.mm.yyyy</a:t>
            </a:r>
            <a:endParaRPr lang="en-US" dirty="0"/>
          </a:p>
        </p:txBody>
      </p:sp>
      <p:sp>
        <p:nvSpPr>
          <p:cNvPr id="5" name="Alatunnisteen paikkamerkki 4">
            <a:extLst>
              <a:ext uri="{FF2B5EF4-FFF2-40B4-BE49-F238E27FC236}">
                <a16:creationId xmlns:a16="http://schemas.microsoft.com/office/drawing/2014/main" id="{0B124AD7-04E5-4E26-A7E3-6E499B81497F}"/>
              </a:ext>
            </a:extLst>
          </p:cNvPr>
          <p:cNvSpPr>
            <a:spLocks noGrp="1"/>
          </p:cNvSpPr>
          <p:nvPr>
            <p:ph type="ftr" sz="quarter" idx="14"/>
          </p:nvPr>
        </p:nvSpPr>
        <p:spPr/>
        <p:txBody>
          <a:bodyPr/>
          <a:lstStyle>
            <a:lvl1pPr>
              <a:defRPr>
                <a:solidFill>
                  <a:srgbClr val="FFFFFF"/>
                </a:solidFill>
              </a:defRPr>
            </a:lvl1pPr>
          </a:lstStyle>
          <a:p>
            <a:r>
              <a:rPr lang="fi-FI" dirty="0"/>
              <a:t>Your text here</a:t>
            </a:r>
          </a:p>
        </p:txBody>
      </p:sp>
      <p:sp>
        <p:nvSpPr>
          <p:cNvPr id="10" name="Dian numeron paikkamerkki 9">
            <a:extLst>
              <a:ext uri="{FF2B5EF4-FFF2-40B4-BE49-F238E27FC236}">
                <a16:creationId xmlns:a16="http://schemas.microsoft.com/office/drawing/2014/main" id="{439BEBFE-6A3C-4862-B3C0-DF2EC5E8CBFB}"/>
              </a:ext>
            </a:extLst>
          </p:cNvPr>
          <p:cNvSpPr>
            <a:spLocks noGrp="1"/>
          </p:cNvSpPr>
          <p:nvPr>
            <p:ph type="sldNum" sz="quarter" idx="15"/>
          </p:nvPr>
        </p:nvSpPr>
        <p:spPr/>
        <p:txBody>
          <a:bodyPr/>
          <a:lstStyle>
            <a:lvl1pPr>
              <a:defRPr>
                <a:solidFill>
                  <a:srgbClr val="FFFFFF"/>
                </a:solidFill>
              </a:defRPr>
            </a:lvl1pPr>
          </a:lstStyle>
          <a:p>
            <a:fld id="{28F7F04C-F568-F649-A2AE-EA61C66B69B4}" type="slidenum">
              <a:rPr lang="en-US" smtClean="0"/>
              <a:pPr/>
              <a:t>‹#›</a:t>
            </a:fld>
            <a:endParaRPr lang="en-US" dirty="0"/>
          </a:p>
        </p:txBody>
      </p:sp>
      <p:sp>
        <p:nvSpPr>
          <p:cNvPr id="9" name="Text Placeholder 2">
            <a:extLst>
              <a:ext uri="{FF2B5EF4-FFF2-40B4-BE49-F238E27FC236}">
                <a16:creationId xmlns:a16="http://schemas.microsoft.com/office/drawing/2014/main" id="{3CC9C0A2-E518-4F61-BACC-25E3255118C4}"/>
              </a:ext>
            </a:extLst>
          </p:cNvPr>
          <p:cNvSpPr>
            <a:spLocks noGrp="1"/>
          </p:cNvSpPr>
          <p:nvPr>
            <p:ph type="body" sz="quarter" idx="12" hasCustomPrompt="1"/>
          </p:nvPr>
        </p:nvSpPr>
        <p:spPr>
          <a:xfrm>
            <a:off x="287338" y="519113"/>
            <a:ext cx="4218160" cy="3767587"/>
          </a:xfrm>
          <a:prstGeom prst="rect">
            <a:avLst/>
          </a:prstGeom>
        </p:spPr>
        <p:txBody>
          <a:bodyPr lIns="0" tIns="0" rIns="0" bIns="0"/>
          <a:lstStyle>
            <a:lvl1pPr marL="0" indent="0">
              <a:lnSpc>
                <a:spcPct val="100000"/>
              </a:lnSpc>
              <a:buNone/>
              <a:defRPr sz="3300" b="1">
                <a:solidFill>
                  <a:schemeClr val="bg1"/>
                </a:solidFill>
              </a:defRPr>
            </a:lvl1pPr>
          </a:lstStyle>
          <a:p>
            <a:r>
              <a:rPr lang="fi-FI" dirty="0"/>
              <a:t>Lorem </a:t>
            </a:r>
            <a:r>
              <a:rPr lang="fi-FI" dirty="0" err="1"/>
              <a:t>ipsum</a:t>
            </a:r>
            <a:r>
              <a:rPr lang="fi-FI" dirty="0"/>
              <a:t> </a:t>
            </a:r>
            <a:r>
              <a:rPr lang="fi-FI" dirty="0" err="1"/>
              <a:t>dolor</a:t>
            </a:r>
            <a:r>
              <a:rPr lang="fi-FI" dirty="0"/>
              <a:t> </a:t>
            </a:r>
            <a:r>
              <a:rPr lang="fi-FI" dirty="0" err="1"/>
              <a:t>sit</a:t>
            </a:r>
            <a:r>
              <a:rPr lang="fi-FI" dirty="0"/>
              <a:t> amet, </a:t>
            </a:r>
            <a:r>
              <a:rPr lang="fi-FI" dirty="0" err="1"/>
              <a:t>consectetur</a:t>
            </a:r>
            <a:r>
              <a:rPr lang="fi-FI" dirty="0"/>
              <a:t> adipiscing elit. </a:t>
            </a:r>
            <a:r>
              <a:rPr lang="fi-FI" dirty="0" err="1"/>
              <a:t>Maecenas</a:t>
            </a:r>
            <a:r>
              <a:rPr lang="fi-FI" dirty="0"/>
              <a:t> </a:t>
            </a:r>
            <a:r>
              <a:rPr lang="fi-FI" dirty="0" err="1"/>
              <a:t>velit</a:t>
            </a:r>
            <a:r>
              <a:rPr lang="fi-FI" dirty="0"/>
              <a:t> </a:t>
            </a:r>
            <a:r>
              <a:rPr lang="fi-FI" dirty="0" err="1"/>
              <a:t>velit</a:t>
            </a:r>
            <a:r>
              <a:rPr lang="fi-FI" dirty="0"/>
              <a:t>, </a:t>
            </a:r>
            <a:r>
              <a:rPr lang="fi-FI" dirty="0" err="1"/>
              <a:t>consequat</a:t>
            </a:r>
            <a:r>
              <a:rPr lang="fi-FI" dirty="0"/>
              <a:t> </a:t>
            </a:r>
            <a:r>
              <a:rPr lang="fi-FI" dirty="0" err="1"/>
              <a:t>eget</a:t>
            </a:r>
            <a:r>
              <a:rPr lang="fi-FI" dirty="0"/>
              <a:t> </a:t>
            </a:r>
            <a:r>
              <a:rPr lang="fi-FI" dirty="0" err="1"/>
              <a:t>ullamcorper</a:t>
            </a:r>
            <a:r>
              <a:rPr lang="fi-FI" dirty="0"/>
              <a:t> a, </a:t>
            </a:r>
            <a:r>
              <a:rPr lang="fi-FI" dirty="0" err="1"/>
              <a:t>maximus</a:t>
            </a:r>
            <a:r>
              <a:rPr lang="fi-FI" dirty="0"/>
              <a:t> </a:t>
            </a:r>
            <a:r>
              <a:rPr lang="fi-FI" dirty="0" err="1"/>
              <a:t>ac</a:t>
            </a:r>
            <a:r>
              <a:rPr lang="fi-FI" dirty="0"/>
              <a:t> ex.</a:t>
            </a:r>
          </a:p>
        </p:txBody>
      </p:sp>
      <p:pic>
        <p:nvPicPr>
          <p:cNvPr id="7" name="Kuva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1580"/>
            <a:ext cx="1991440" cy="856800"/>
          </a:xfrm>
          <a:prstGeom prst="rect">
            <a:avLst/>
          </a:prstGeom>
        </p:spPr>
      </p:pic>
    </p:spTree>
    <p:extLst>
      <p:ext uri="{BB962C8B-B14F-4D97-AF65-F5344CB8AC3E}">
        <p14:creationId xmlns:p14="http://schemas.microsoft.com/office/powerpoint/2010/main" val="2378625889"/>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8. Divider - Red">
    <p:spTree>
      <p:nvGrpSpPr>
        <p:cNvPr id="1" name=""/>
        <p:cNvGrpSpPr/>
        <p:nvPr/>
      </p:nvGrpSpPr>
      <p:grpSpPr>
        <a:xfrm>
          <a:off x="0" y="0"/>
          <a:ext cx="0" cy="0"/>
          <a:chOff x="0" y="0"/>
          <a:chExt cx="0" cy="0"/>
        </a:xfrm>
      </p:grpSpPr>
      <p:sp>
        <p:nvSpPr>
          <p:cNvPr id="5" name="Rectangle 4"/>
          <p:cNvSpPr/>
          <p:nvPr userDrawn="1"/>
        </p:nvSpPr>
        <p:spPr>
          <a:xfrm>
            <a:off x="-1066"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7" name="Text Placeholder 3"/>
          <p:cNvSpPr>
            <a:spLocks noGrp="1"/>
          </p:cNvSpPr>
          <p:nvPr>
            <p:ph type="body" sz="half" idx="11" hasCustomPrompt="1"/>
          </p:nvPr>
        </p:nvSpPr>
        <p:spPr>
          <a:xfrm>
            <a:off x="755650" y="1759425"/>
            <a:ext cx="7669159" cy="1352265"/>
          </a:xfrm>
          <a:prstGeom prst="rect">
            <a:avLst/>
          </a:prstGeom>
        </p:spPr>
        <p:txBody>
          <a:bodyPr lIns="0" rIns="0"/>
          <a:lstStyle>
            <a:lvl1pPr marL="0" indent="0" algn="l">
              <a:lnSpc>
                <a:spcPct val="100000"/>
              </a:lnSpc>
              <a:spcBef>
                <a:spcPts val="0"/>
              </a:spcBef>
              <a:buNone/>
              <a:defRPr sz="4000" b="1" baseline="0">
                <a:solidFill>
                  <a:schemeClr val="bg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Divider – Headline</a:t>
            </a:r>
          </a:p>
        </p:txBody>
      </p:sp>
      <p:sp>
        <p:nvSpPr>
          <p:cNvPr id="2" name="Päivämäärän paikkamerkki 1">
            <a:extLst>
              <a:ext uri="{FF2B5EF4-FFF2-40B4-BE49-F238E27FC236}">
                <a16:creationId xmlns:a16="http://schemas.microsoft.com/office/drawing/2014/main" id="{37C6C481-D72C-4B89-AA19-AC91EB21FEFA}"/>
              </a:ext>
            </a:extLst>
          </p:cNvPr>
          <p:cNvSpPr>
            <a:spLocks noGrp="1"/>
          </p:cNvSpPr>
          <p:nvPr>
            <p:ph type="dt" sz="half" idx="12"/>
          </p:nvPr>
        </p:nvSpPr>
        <p:spPr/>
        <p:txBody>
          <a:bodyPr/>
          <a:lstStyle>
            <a:lvl1pPr>
              <a:defRPr>
                <a:solidFill>
                  <a:srgbClr val="FFFFFF"/>
                </a:solidFill>
              </a:defRPr>
            </a:lvl1pPr>
          </a:lstStyle>
          <a:p>
            <a:r>
              <a:rPr lang="fi-FI" dirty="0"/>
              <a:t>dd.mm.yyyy</a:t>
            </a:r>
            <a:endParaRPr lang="en-US" dirty="0"/>
          </a:p>
        </p:txBody>
      </p:sp>
      <p:sp>
        <p:nvSpPr>
          <p:cNvPr id="3" name="Alatunnisteen paikkamerkki 2">
            <a:extLst>
              <a:ext uri="{FF2B5EF4-FFF2-40B4-BE49-F238E27FC236}">
                <a16:creationId xmlns:a16="http://schemas.microsoft.com/office/drawing/2014/main" id="{2A81A4FB-6563-4C02-8A9B-51D830F1EAB1}"/>
              </a:ext>
            </a:extLst>
          </p:cNvPr>
          <p:cNvSpPr>
            <a:spLocks noGrp="1"/>
          </p:cNvSpPr>
          <p:nvPr>
            <p:ph type="ftr" sz="quarter" idx="13"/>
          </p:nvPr>
        </p:nvSpPr>
        <p:spPr/>
        <p:txBody>
          <a:bodyPr/>
          <a:lstStyle>
            <a:lvl1pPr>
              <a:defRPr>
                <a:solidFill>
                  <a:srgbClr val="FFFFFF"/>
                </a:solidFill>
              </a:defRPr>
            </a:lvl1pPr>
          </a:lstStyle>
          <a:p>
            <a:r>
              <a:rPr lang="fi-FI" dirty="0"/>
              <a:t>Your text here</a:t>
            </a:r>
          </a:p>
        </p:txBody>
      </p:sp>
      <p:sp>
        <p:nvSpPr>
          <p:cNvPr id="4" name="Dian numeron paikkamerkki 3">
            <a:extLst>
              <a:ext uri="{FF2B5EF4-FFF2-40B4-BE49-F238E27FC236}">
                <a16:creationId xmlns:a16="http://schemas.microsoft.com/office/drawing/2014/main" id="{1F6A7C93-158F-48BA-8E95-EC2109A4B4DE}"/>
              </a:ext>
            </a:extLst>
          </p:cNvPr>
          <p:cNvSpPr>
            <a:spLocks noGrp="1"/>
          </p:cNvSpPr>
          <p:nvPr>
            <p:ph type="sldNum" sz="quarter" idx="14"/>
          </p:nvPr>
        </p:nvSpPr>
        <p:spPr/>
        <p:txBody>
          <a:bodyPr/>
          <a:lstStyle>
            <a:lvl1pPr>
              <a:defRPr>
                <a:solidFill>
                  <a:srgbClr val="FFFFFF"/>
                </a:solidFill>
              </a:defRPr>
            </a:lvl1pPr>
          </a:lstStyle>
          <a:p>
            <a:fld id="{28F7F04C-F568-F649-A2AE-EA61C66B69B4}" type="slidenum">
              <a:rPr lang="en-US" smtClean="0"/>
              <a:pPr/>
              <a:t>‹#›</a:t>
            </a:fld>
            <a:endParaRPr lang="en-US" dirty="0"/>
          </a:p>
        </p:txBody>
      </p:sp>
      <p:pic>
        <p:nvPicPr>
          <p:cNvPr id="10" name="Kuva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1580"/>
            <a:ext cx="1991440" cy="856800"/>
          </a:xfrm>
          <a:prstGeom prst="rect">
            <a:avLst/>
          </a:prstGeom>
        </p:spPr>
      </p:pic>
    </p:spTree>
    <p:extLst>
      <p:ext uri="{BB962C8B-B14F-4D97-AF65-F5344CB8AC3E}">
        <p14:creationId xmlns:p14="http://schemas.microsoft.com/office/powerpoint/2010/main" val="2039768444"/>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9. Body slide - Text - Red title left">
    <p:spTree>
      <p:nvGrpSpPr>
        <p:cNvPr id="1" name=""/>
        <p:cNvGrpSpPr/>
        <p:nvPr/>
      </p:nvGrpSpPr>
      <p:grpSpPr>
        <a:xfrm>
          <a:off x="0" y="0"/>
          <a:ext cx="0" cy="0"/>
          <a:chOff x="0" y="0"/>
          <a:chExt cx="0" cy="0"/>
        </a:xfrm>
      </p:grpSpPr>
      <p:sp>
        <p:nvSpPr>
          <p:cNvPr id="4" name="Text Placeholder 3"/>
          <p:cNvSpPr>
            <a:spLocks noGrp="1"/>
          </p:cNvSpPr>
          <p:nvPr>
            <p:ph type="body" sz="half" idx="2" hasCustomPrompt="1"/>
          </p:nvPr>
        </p:nvSpPr>
        <p:spPr>
          <a:xfrm>
            <a:off x="287339" y="2615909"/>
            <a:ext cx="3015456" cy="1645144"/>
          </a:xfrm>
          <a:prstGeom prst="rect">
            <a:avLst/>
          </a:prstGeom>
        </p:spPr>
        <p:txBody>
          <a:bodyPr lIns="0" tIns="0" rIns="0" bIns="0"/>
          <a:lstStyle>
            <a:lvl1pPr marL="0" indent="0">
              <a:lnSpc>
                <a:spcPct val="100000"/>
              </a:lnSpc>
              <a:spcBef>
                <a:spcPts val="0"/>
              </a:spcBef>
              <a:buNone/>
              <a:defRPr sz="2800" b="1" i="0" baseline="0">
                <a:solidFill>
                  <a:schemeClr val="tx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Sub Headline</a:t>
            </a:r>
          </a:p>
        </p:txBody>
      </p:sp>
      <p:sp>
        <p:nvSpPr>
          <p:cNvPr id="11" name="Text Placeholder 3"/>
          <p:cNvSpPr>
            <a:spLocks noGrp="1"/>
          </p:cNvSpPr>
          <p:nvPr>
            <p:ph type="body" sz="half" idx="10" hasCustomPrompt="1"/>
          </p:nvPr>
        </p:nvSpPr>
        <p:spPr>
          <a:xfrm>
            <a:off x="287339" y="401354"/>
            <a:ext cx="3015456" cy="1747969"/>
          </a:xfrm>
          <a:prstGeom prst="rect">
            <a:avLst/>
          </a:prstGeom>
        </p:spPr>
        <p:txBody>
          <a:bodyPr lIns="0" tIns="0" rIns="0" bIns="0"/>
          <a:lstStyle>
            <a:lvl1pPr marL="0" indent="0">
              <a:lnSpc>
                <a:spcPct val="100000"/>
              </a:lnSpc>
              <a:buNone/>
              <a:defRPr sz="4000" b="1" baseline="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Body slide title</a:t>
            </a:r>
          </a:p>
        </p:txBody>
      </p:sp>
      <p:sp>
        <p:nvSpPr>
          <p:cNvPr id="21" name="Text Placeholder 3"/>
          <p:cNvSpPr>
            <a:spLocks noGrp="1"/>
          </p:cNvSpPr>
          <p:nvPr>
            <p:ph type="body" sz="half" idx="12" hasCustomPrompt="1"/>
          </p:nvPr>
        </p:nvSpPr>
        <p:spPr>
          <a:xfrm>
            <a:off x="3654029" y="463696"/>
            <a:ext cx="5130402" cy="3797357"/>
          </a:xfrm>
          <a:prstGeom prst="rect">
            <a:avLst/>
          </a:prstGeom>
        </p:spPr>
        <p:txBody>
          <a:bodyPr wrap="square" lIns="0" tIns="0" rIns="0" bIns="0"/>
          <a:lstStyle>
            <a:lvl1pPr marL="0" marR="0" indent="0" algn="l" defTabSz="685800" rtl="0" eaLnBrk="1" fontAlgn="auto" latinLnBrk="0" hangingPunct="1">
              <a:lnSpc>
                <a:spcPct val="100000"/>
              </a:lnSpc>
              <a:spcBef>
                <a:spcPts val="750"/>
              </a:spcBef>
              <a:spcAft>
                <a:spcPts val="0"/>
              </a:spcAft>
              <a:buClrTx/>
              <a:buSzTx/>
              <a:buFontTx/>
              <a:buNone/>
              <a:tabLst/>
              <a:defRPr lang="en-US" sz="2100" b="1" kern="1200" dirty="0">
                <a:solidFill>
                  <a:schemeClr val="tx1"/>
                </a:solidFill>
                <a:latin typeface="+mn-lt"/>
                <a:ea typeface="+mn-ea"/>
                <a:cs typeface="+mn-cs"/>
              </a:defRPr>
            </a:lvl1pPr>
            <a:lvl2pPr marL="342900" indent="0">
              <a:buFontTx/>
              <a:buNone/>
              <a:defRPr sz="2100"/>
            </a:lvl2pPr>
            <a:lvl3pPr marL="628650" indent="0">
              <a:buFontTx/>
              <a:buNone/>
              <a:defRPr sz="16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Your text here</a:t>
            </a:r>
          </a:p>
        </p:txBody>
      </p:sp>
      <p:sp>
        <p:nvSpPr>
          <p:cNvPr id="6" name="Slide Number Placeholder 5">
            <a:extLst>
              <a:ext uri="{FF2B5EF4-FFF2-40B4-BE49-F238E27FC236}">
                <a16:creationId xmlns:a16="http://schemas.microsoft.com/office/drawing/2014/main" id="{479062E6-8B0E-4DB4-8209-4E7EB4F3FAA8}"/>
              </a:ext>
            </a:extLst>
          </p:cNvPr>
          <p:cNvSpPr>
            <a:spLocks noGrp="1"/>
          </p:cNvSpPr>
          <p:nvPr>
            <p:ph type="sldNum" sz="quarter" idx="4"/>
          </p:nvPr>
        </p:nvSpPr>
        <p:spPr>
          <a:xfrm>
            <a:off x="6678800" y="4848629"/>
            <a:ext cx="2057400" cy="172823"/>
          </a:xfrm>
          <a:prstGeom prst="rect">
            <a:avLst/>
          </a:prstGeom>
        </p:spPr>
        <p:txBody>
          <a:bodyPr vert="horz" lIns="91440" tIns="45720" rIns="91440" bIns="45720" rtlCol="0" anchor="ctr"/>
          <a:lstStyle>
            <a:lvl1pPr algn="r">
              <a:defRPr sz="900" baseline="0">
                <a:solidFill>
                  <a:schemeClr val="tx1"/>
                </a:solidFill>
              </a:defRPr>
            </a:lvl1pPr>
          </a:lstStyle>
          <a:p>
            <a:fld id="{28F7F04C-F568-F649-A2AE-EA61C66B69B4}" type="slidenum">
              <a:rPr lang="en-US" smtClean="0"/>
              <a:pPr/>
              <a:t>‹#›</a:t>
            </a:fld>
            <a:endParaRPr lang="en-US" dirty="0"/>
          </a:p>
        </p:txBody>
      </p:sp>
      <p:sp>
        <p:nvSpPr>
          <p:cNvPr id="8" name="Date Placeholder 3">
            <a:extLst>
              <a:ext uri="{FF2B5EF4-FFF2-40B4-BE49-F238E27FC236}">
                <a16:creationId xmlns:a16="http://schemas.microsoft.com/office/drawing/2014/main" id="{5DE37A55-AE2A-40CC-8240-F6FD4F5BD0F6}"/>
              </a:ext>
            </a:extLst>
          </p:cNvPr>
          <p:cNvSpPr>
            <a:spLocks noGrp="1"/>
          </p:cNvSpPr>
          <p:nvPr>
            <p:ph type="dt" sz="half" idx="13"/>
          </p:nvPr>
        </p:nvSpPr>
        <p:spPr>
          <a:xfrm>
            <a:off x="6678800" y="4672740"/>
            <a:ext cx="2057400" cy="175889"/>
          </a:xfrm>
          <a:prstGeom prst="rect">
            <a:avLst/>
          </a:prstGeom>
        </p:spPr>
        <p:txBody>
          <a:bodyPr vert="horz" lIns="91440" tIns="45720" rIns="91440" bIns="45720" rtlCol="0" anchor="ctr"/>
          <a:lstStyle>
            <a:lvl1pPr algn="r">
              <a:defRPr sz="900" baseline="0">
                <a:solidFill>
                  <a:schemeClr val="tx1"/>
                </a:solidFill>
              </a:defRPr>
            </a:lvl1pPr>
          </a:lstStyle>
          <a:p>
            <a:r>
              <a:rPr lang="fi-FI" dirty="0"/>
              <a:t>dd.mm.yyyy</a:t>
            </a:r>
            <a:endParaRPr lang="en-US" dirty="0"/>
          </a:p>
        </p:txBody>
      </p:sp>
      <p:sp>
        <p:nvSpPr>
          <p:cNvPr id="9" name="Alatunnisteen paikkamerkki 1">
            <a:extLst>
              <a:ext uri="{FF2B5EF4-FFF2-40B4-BE49-F238E27FC236}">
                <a16:creationId xmlns:a16="http://schemas.microsoft.com/office/drawing/2014/main" id="{AD81B084-A59A-450A-B69B-00DEBAF84E34}"/>
              </a:ext>
            </a:extLst>
          </p:cNvPr>
          <p:cNvSpPr>
            <a:spLocks noGrp="1"/>
          </p:cNvSpPr>
          <p:nvPr>
            <p:ph type="ftr" sz="quarter" idx="3"/>
          </p:nvPr>
        </p:nvSpPr>
        <p:spPr>
          <a:xfrm>
            <a:off x="3028950" y="4849200"/>
            <a:ext cx="3086100" cy="172800"/>
          </a:xfrm>
          <a:prstGeom prst="rect">
            <a:avLst/>
          </a:prstGeom>
        </p:spPr>
        <p:txBody>
          <a:bodyPr vert="horz" lIns="91440" tIns="45720" rIns="91440" bIns="45720" rtlCol="0" anchor="ctr"/>
          <a:lstStyle>
            <a:lvl1pPr algn="ctr">
              <a:defRPr sz="900">
                <a:solidFill>
                  <a:schemeClr val="tx1"/>
                </a:solidFill>
              </a:defRPr>
            </a:lvl1pPr>
          </a:lstStyle>
          <a:p>
            <a:r>
              <a:rPr lang="fi-FI" dirty="0"/>
              <a:t>Your text here</a:t>
            </a:r>
          </a:p>
        </p:txBody>
      </p:sp>
      <p:pic>
        <p:nvPicPr>
          <p:cNvPr id="13" name="Kuva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8790"/>
            <a:ext cx="2073704" cy="856800"/>
          </a:xfrm>
          <a:prstGeom prst="rect">
            <a:avLst/>
          </a:prstGeom>
        </p:spPr>
      </p:pic>
    </p:spTree>
    <p:extLst>
      <p:ext uri="{BB962C8B-B14F-4D97-AF65-F5344CB8AC3E}">
        <p14:creationId xmlns:p14="http://schemas.microsoft.com/office/powerpoint/2010/main" val="2123659658"/>
      </p:ext>
    </p:extLst>
  </p:cSld>
  <p:clrMapOvr>
    <a:masterClrMapping/>
  </p:clrMapOvr>
  <p:extLst>
    <p:ext uri="{DCECCB84-F9BA-43D5-87BE-67443E8EF086}">
      <p15:sldGuideLst xmlns:p15="http://schemas.microsoft.com/office/powerpoint/2012/main">
        <p15:guide id="1" pos="2081">
          <p15:clr>
            <a:srgbClr val="FBAE40"/>
          </p15:clr>
        </p15:guide>
        <p15:guide id="2" pos="2302">
          <p15:clr>
            <a:srgbClr val="FBAE40"/>
          </p15:clr>
        </p15:guide>
        <p15:guide id="3" pos="5534">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0. Body slide - Text - Full bleed image">
    <p:bg>
      <p:bgPr>
        <a:solidFill>
          <a:schemeClr val="bg1"/>
        </a:solidFill>
        <a:effectLst/>
      </p:bgPr>
    </p:bg>
    <p:spTree>
      <p:nvGrpSpPr>
        <p:cNvPr id="1" name=""/>
        <p:cNvGrpSpPr/>
        <p:nvPr/>
      </p:nvGrpSpPr>
      <p:grpSpPr>
        <a:xfrm>
          <a:off x="0" y="0"/>
          <a:ext cx="0" cy="0"/>
          <a:chOff x="0" y="0"/>
          <a:chExt cx="0" cy="0"/>
        </a:xfrm>
      </p:grpSpPr>
      <p:sp>
        <p:nvSpPr>
          <p:cNvPr id="12" name="Rectangle 4"/>
          <p:cNvSpPr/>
          <p:nvPr userDrawn="1"/>
        </p:nvSpPr>
        <p:spPr>
          <a:xfrm>
            <a:off x="-1066"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4" name="Text Placeholder 3"/>
          <p:cNvSpPr>
            <a:spLocks noGrp="1"/>
          </p:cNvSpPr>
          <p:nvPr>
            <p:ph type="body" sz="half" idx="2" hasCustomPrompt="1"/>
          </p:nvPr>
        </p:nvSpPr>
        <p:spPr>
          <a:xfrm>
            <a:off x="287339" y="1347789"/>
            <a:ext cx="4150122" cy="2938911"/>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Tx/>
              <a:buNone/>
              <a:tabLst/>
              <a:defRPr lang="en-GB" sz="2100" b="1" smtClean="0">
                <a:solidFill>
                  <a:srgbClr val="FFFFFF"/>
                </a:solidFill>
              </a:defRPr>
            </a:lvl1pPr>
            <a:lvl2pPr marL="628650" indent="-285750">
              <a:buFont typeface="Arial" panose="020B0604020202020204" pitchFamily="34" charset="0"/>
              <a:buChar char="•"/>
              <a:defRPr sz="2100">
                <a:solidFill>
                  <a:srgbClr val="FFFFFF"/>
                </a:solidFill>
              </a:defRPr>
            </a:lvl2pPr>
            <a:lvl3pPr marL="804863" indent="-176213">
              <a:buFont typeface="Arial" panose="020B0604020202020204" pitchFamily="34" charset="0"/>
              <a:buChar char="•"/>
              <a:defRPr sz="1600">
                <a:solidFill>
                  <a:srgbClr val="FFFFFF"/>
                </a:solidFill>
              </a:defRPr>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Your text here</a:t>
            </a:r>
          </a:p>
        </p:txBody>
      </p:sp>
      <p:sp>
        <p:nvSpPr>
          <p:cNvPr id="11" name="Text Placeholder 3"/>
          <p:cNvSpPr>
            <a:spLocks noGrp="1"/>
          </p:cNvSpPr>
          <p:nvPr>
            <p:ph type="body" sz="half" idx="10" hasCustomPrompt="1"/>
          </p:nvPr>
        </p:nvSpPr>
        <p:spPr>
          <a:xfrm>
            <a:off x="287338" y="21510"/>
            <a:ext cx="8497093" cy="1153455"/>
          </a:xfrm>
          <a:prstGeom prst="rect">
            <a:avLst/>
          </a:prstGeom>
        </p:spPr>
        <p:txBody>
          <a:bodyPr lIns="0" tIns="0" rIns="0" bIns="0"/>
          <a:lstStyle>
            <a:lvl1pPr marL="0" indent="0">
              <a:lnSpc>
                <a:spcPct val="100000"/>
              </a:lnSpc>
              <a:buNone/>
              <a:defRPr sz="4000" b="1" baseline="0">
                <a:solidFill>
                  <a:schemeClr val="bg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Body slide title</a:t>
            </a:r>
          </a:p>
        </p:txBody>
      </p:sp>
      <p:sp>
        <p:nvSpPr>
          <p:cNvPr id="8" name="Text Placeholder 3"/>
          <p:cNvSpPr>
            <a:spLocks noGrp="1"/>
          </p:cNvSpPr>
          <p:nvPr>
            <p:ph type="body" sz="half" idx="11" hasCustomPrompt="1"/>
          </p:nvPr>
        </p:nvSpPr>
        <p:spPr>
          <a:xfrm>
            <a:off x="4706540" y="1347788"/>
            <a:ext cx="4077891" cy="2940607"/>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Tx/>
              <a:buNone/>
              <a:tabLst/>
              <a:defRPr lang="en-GB" sz="2000" b="1">
                <a:solidFill>
                  <a:srgbClr val="FFFFFF"/>
                </a:solidFill>
              </a:defRPr>
            </a:lvl1pPr>
            <a:lvl2pPr marL="628650" indent="-285750">
              <a:buFont typeface="Arial" panose="020B0604020202020204" pitchFamily="34" charset="0"/>
              <a:buChar char="•"/>
              <a:defRPr sz="2100">
                <a:solidFill>
                  <a:srgbClr val="FFFFFF"/>
                </a:solidFill>
              </a:defRPr>
            </a:lvl2pPr>
            <a:lvl3pPr marL="804863" indent="-176213">
              <a:buFont typeface="Arial" panose="020B0604020202020204" pitchFamily="34" charset="0"/>
              <a:buChar char="•"/>
              <a:defRPr sz="1600">
                <a:solidFill>
                  <a:srgbClr val="FFFFFF"/>
                </a:solidFill>
              </a:defRPr>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Your text here</a:t>
            </a:r>
          </a:p>
        </p:txBody>
      </p:sp>
      <p:sp>
        <p:nvSpPr>
          <p:cNvPr id="2" name="Päivämäärän paikkamerkki 1">
            <a:extLst>
              <a:ext uri="{FF2B5EF4-FFF2-40B4-BE49-F238E27FC236}">
                <a16:creationId xmlns:a16="http://schemas.microsoft.com/office/drawing/2014/main" id="{62DDC196-D49A-4DB6-A68D-238E3C73DA3B}"/>
              </a:ext>
            </a:extLst>
          </p:cNvPr>
          <p:cNvSpPr>
            <a:spLocks noGrp="1"/>
          </p:cNvSpPr>
          <p:nvPr>
            <p:ph type="dt" sz="half" idx="13"/>
          </p:nvPr>
        </p:nvSpPr>
        <p:spPr/>
        <p:txBody>
          <a:bodyPr/>
          <a:lstStyle>
            <a:lvl1pPr>
              <a:defRPr>
                <a:solidFill>
                  <a:srgbClr val="FFFFFF"/>
                </a:solidFill>
              </a:defRPr>
            </a:lvl1pPr>
          </a:lstStyle>
          <a:p>
            <a:r>
              <a:rPr lang="fi-FI" dirty="0"/>
              <a:t>dd.mm.yyyy</a:t>
            </a:r>
            <a:endParaRPr lang="en-US" dirty="0"/>
          </a:p>
        </p:txBody>
      </p:sp>
      <p:sp>
        <p:nvSpPr>
          <p:cNvPr id="5" name="Alatunnisteen paikkamerkki 4">
            <a:extLst>
              <a:ext uri="{FF2B5EF4-FFF2-40B4-BE49-F238E27FC236}">
                <a16:creationId xmlns:a16="http://schemas.microsoft.com/office/drawing/2014/main" id="{51265EED-F2E6-43DA-B5C9-706015FF2F76}"/>
              </a:ext>
            </a:extLst>
          </p:cNvPr>
          <p:cNvSpPr>
            <a:spLocks noGrp="1"/>
          </p:cNvSpPr>
          <p:nvPr>
            <p:ph type="ftr" sz="quarter" idx="14"/>
          </p:nvPr>
        </p:nvSpPr>
        <p:spPr/>
        <p:txBody>
          <a:bodyPr/>
          <a:lstStyle>
            <a:lvl1pPr>
              <a:defRPr>
                <a:solidFill>
                  <a:srgbClr val="FFFFFF"/>
                </a:solidFill>
              </a:defRPr>
            </a:lvl1pPr>
          </a:lstStyle>
          <a:p>
            <a:r>
              <a:rPr lang="fi-FI" dirty="0"/>
              <a:t>Your text here</a:t>
            </a:r>
          </a:p>
        </p:txBody>
      </p:sp>
      <p:sp>
        <p:nvSpPr>
          <p:cNvPr id="6" name="Dian numeron paikkamerkki 5">
            <a:extLst>
              <a:ext uri="{FF2B5EF4-FFF2-40B4-BE49-F238E27FC236}">
                <a16:creationId xmlns:a16="http://schemas.microsoft.com/office/drawing/2014/main" id="{E5011BD5-68CE-472A-A314-532B85BA474D}"/>
              </a:ext>
            </a:extLst>
          </p:cNvPr>
          <p:cNvSpPr>
            <a:spLocks noGrp="1"/>
          </p:cNvSpPr>
          <p:nvPr>
            <p:ph type="sldNum" sz="quarter" idx="15"/>
          </p:nvPr>
        </p:nvSpPr>
        <p:spPr/>
        <p:txBody>
          <a:bodyPr/>
          <a:lstStyle>
            <a:lvl1pPr>
              <a:defRPr>
                <a:solidFill>
                  <a:srgbClr val="FFFFFF"/>
                </a:solidFill>
              </a:defRPr>
            </a:lvl1pPr>
          </a:lstStyle>
          <a:p>
            <a:fld id="{28F7F04C-F568-F649-A2AE-EA61C66B69B4}" type="slidenum">
              <a:rPr lang="en-US" smtClean="0"/>
              <a:pPr/>
              <a:t>‹#›</a:t>
            </a:fld>
            <a:endParaRPr lang="en-US" dirty="0"/>
          </a:p>
        </p:txBody>
      </p:sp>
      <p:pic>
        <p:nvPicPr>
          <p:cNvPr id="14" name="Kuva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1580"/>
            <a:ext cx="1991440" cy="856800"/>
          </a:xfrm>
          <a:prstGeom prst="rect">
            <a:avLst/>
          </a:prstGeom>
        </p:spPr>
      </p:pic>
    </p:spTree>
    <p:extLst>
      <p:ext uri="{BB962C8B-B14F-4D97-AF65-F5344CB8AC3E}">
        <p14:creationId xmlns:p14="http://schemas.microsoft.com/office/powerpoint/2010/main" val="52155714"/>
      </p:ext>
    </p:extLst>
  </p:cSld>
  <p:clrMapOvr>
    <a:masterClrMapping/>
  </p:clrMapOvr>
  <p:extLst>
    <p:ext uri="{DCECCB84-F9BA-43D5-87BE-67443E8EF086}">
      <p15:sldGuideLst xmlns:p15="http://schemas.microsoft.com/office/powerpoint/2012/main">
        <p15:guide id="1" pos="2795">
          <p15:clr>
            <a:srgbClr val="FBAE40"/>
          </p15:clr>
        </p15:guide>
        <p15:guide id="2" pos="2965">
          <p15:clr>
            <a:srgbClr val="FBAE40"/>
          </p15:clr>
        </p15:guide>
        <p15:guide id="3" orient="horz" pos="849">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1. Body slide - Table">
    <p:spTree>
      <p:nvGrpSpPr>
        <p:cNvPr id="1" name=""/>
        <p:cNvGrpSpPr/>
        <p:nvPr/>
      </p:nvGrpSpPr>
      <p:grpSpPr>
        <a:xfrm>
          <a:off x="0" y="0"/>
          <a:ext cx="0" cy="0"/>
          <a:chOff x="0" y="0"/>
          <a:chExt cx="0" cy="0"/>
        </a:xfrm>
      </p:grpSpPr>
      <p:sp>
        <p:nvSpPr>
          <p:cNvPr id="6" name="Table Placeholder 12">
            <a:extLst>
              <a:ext uri="{FF2B5EF4-FFF2-40B4-BE49-F238E27FC236}">
                <a16:creationId xmlns:a16="http://schemas.microsoft.com/office/drawing/2014/main" id="{D90CC8CD-0F46-F240-AF4E-99DE2A9ECF91}"/>
              </a:ext>
            </a:extLst>
          </p:cNvPr>
          <p:cNvSpPr>
            <a:spLocks noGrp="1"/>
          </p:cNvSpPr>
          <p:nvPr>
            <p:ph type="tbl" sz="quarter" idx="13" hasCustomPrompt="1"/>
          </p:nvPr>
        </p:nvSpPr>
        <p:spPr>
          <a:xfrm>
            <a:off x="287338" y="1208314"/>
            <a:ext cx="8497093" cy="3075686"/>
          </a:xfrm>
          <a:prstGeom prst="rect">
            <a:avLst/>
          </a:prstGeom>
        </p:spPr>
        <p:txBody>
          <a:bodyPr/>
          <a:lstStyle>
            <a:lvl1pPr marL="0" indent="0" algn="ctr">
              <a:buNone/>
              <a:defRPr b="1">
                <a:solidFill>
                  <a:schemeClr val="bg1">
                    <a:lumMod val="85000"/>
                  </a:schemeClr>
                </a:solidFill>
              </a:defRPr>
            </a:lvl1pPr>
          </a:lstStyle>
          <a:p>
            <a:r>
              <a:rPr lang="fi-FI" dirty="0"/>
              <a:t>Click icon to add table</a:t>
            </a:r>
          </a:p>
        </p:txBody>
      </p:sp>
      <p:sp>
        <p:nvSpPr>
          <p:cNvPr id="5" name="Slide Number Placeholder 5">
            <a:extLst>
              <a:ext uri="{FF2B5EF4-FFF2-40B4-BE49-F238E27FC236}">
                <a16:creationId xmlns:a16="http://schemas.microsoft.com/office/drawing/2014/main" id="{2D4CDEE4-AFAC-4BB1-B02E-FDE939F20DC1}"/>
              </a:ext>
            </a:extLst>
          </p:cNvPr>
          <p:cNvSpPr>
            <a:spLocks noGrp="1"/>
          </p:cNvSpPr>
          <p:nvPr>
            <p:ph type="sldNum" sz="quarter" idx="4"/>
          </p:nvPr>
        </p:nvSpPr>
        <p:spPr>
          <a:xfrm>
            <a:off x="6678800" y="4848629"/>
            <a:ext cx="2057400" cy="172823"/>
          </a:xfrm>
          <a:prstGeom prst="rect">
            <a:avLst/>
          </a:prstGeom>
        </p:spPr>
        <p:txBody>
          <a:bodyPr vert="horz" lIns="91440" tIns="45720" rIns="91440" bIns="45720" rtlCol="0" anchor="ctr"/>
          <a:lstStyle>
            <a:lvl1pPr algn="r">
              <a:defRPr sz="900" baseline="0">
                <a:solidFill>
                  <a:schemeClr val="tx1"/>
                </a:solidFill>
              </a:defRPr>
            </a:lvl1pPr>
          </a:lstStyle>
          <a:p>
            <a:fld id="{28F7F04C-F568-F649-A2AE-EA61C66B69B4}" type="slidenum">
              <a:rPr lang="en-US" smtClean="0"/>
              <a:pPr/>
              <a:t>‹#›</a:t>
            </a:fld>
            <a:endParaRPr lang="en-US" dirty="0"/>
          </a:p>
        </p:txBody>
      </p:sp>
      <p:sp>
        <p:nvSpPr>
          <p:cNvPr id="8" name="Date Placeholder 3">
            <a:extLst>
              <a:ext uri="{FF2B5EF4-FFF2-40B4-BE49-F238E27FC236}">
                <a16:creationId xmlns:a16="http://schemas.microsoft.com/office/drawing/2014/main" id="{32C686F0-0C1B-46BD-9DE7-A93BAA6AC898}"/>
              </a:ext>
            </a:extLst>
          </p:cNvPr>
          <p:cNvSpPr>
            <a:spLocks noGrp="1"/>
          </p:cNvSpPr>
          <p:nvPr>
            <p:ph type="dt" sz="half" idx="2"/>
          </p:nvPr>
        </p:nvSpPr>
        <p:spPr>
          <a:xfrm>
            <a:off x="6678800" y="4672740"/>
            <a:ext cx="2057400" cy="175889"/>
          </a:xfrm>
          <a:prstGeom prst="rect">
            <a:avLst/>
          </a:prstGeom>
        </p:spPr>
        <p:txBody>
          <a:bodyPr vert="horz" lIns="91440" tIns="45720" rIns="91440" bIns="45720" rtlCol="0" anchor="ctr"/>
          <a:lstStyle>
            <a:lvl1pPr algn="r">
              <a:defRPr sz="900" baseline="0">
                <a:solidFill>
                  <a:schemeClr val="tx1"/>
                </a:solidFill>
              </a:defRPr>
            </a:lvl1pPr>
          </a:lstStyle>
          <a:p>
            <a:r>
              <a:rPr lang="fi-FI" dirty="0"/>
              <a:t>dd.mm.yyyy</a:t>
            </a:r>
            <a:endParaRPr lang="en-US" dirty="0"/>
          </a:p>
        </p:txBody>
      </p:sp>
      <p:sp>
        <p:nvSpPr>
          <p:cNvPr id="9" name="Alatunnisteen paikkamerkki 1">
            <a:extLst>
              <a:ext uri="{FF2B5EF4-FFF2-40B4-BE49-F238E27FC236}">
                <a16:creationId xmlns:a16="http://schemas.microsoft.com/office/drawing/2014/main" id="{4338FCB4-9412-423F-84B9-91EDDBA25087}"/>
              </a:ext>
            </a:extLst>
          </p:cNvPr>
          <p:cNvSpPr>
            <a:spLocks noGrp="1"/>
          </p:cNvSpPr>
          <p:nvPr>
            <p:ph type="ftr" sz="quarter" idx="3"/>
          </p:nvPr>
        </p:nvSpPr>
        <p:spPr>
          <a:xfrm>
            <a:off x="3028950" y="4849200"/>
            <a:ext cx="3086100" cy="172800"/>
          </a:xfrm>
          <a:prstGeom prst="rect">
            <a:avLst/>
          </a:prstGeom>
        </p:spPr>
        <p:txBody>
          <a:bodyPr vert="horz" lIns="91440" tIns="45720" rIns="91440" bIns="45720" rtlCol="0" anchor="ctr"/>
          <a:lstStyle>
            <a:lvl1pPr algn="ctr">
              <a:defRPr sz="900">
                <a:solidFill>
                  <a:schemeClr val="tx1"/>
                </a:solidFill>
              </a:defRPr>
            </a:lvl1pPr>
          </a:lstStyle>
          <a:p>
            <a:r>
              <a:rPr lang="fi-FI" dirty="0"/>
              <a:t>Your text here</a:t>
            </a:r>
          </a:p>
        </p:txBody>
      </p:sp>
      <p:pic>
        <p:nvPicPr>
          <p:cNvPr id="13" name="Kuva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8790"/>
            <a:ext cx="2073704" cy="856800"/>
          </a:xfrm>
          <a:prstGeom prst="rect">
            <a:avLst/>
          </a:prstGeom>
        </p:spPr>
      </p:pic>
      <p:sp>
        <p:nvSpPr>
          <p:cNvPr id="10" name="Text Placeholder 3">
            <a:extLst>
              <a:ext uri="{FF2B5EF4-FFF2-40B4-BE49-F238E27FC236}">
                <a16:creationId xmlns:a16="http://schemas.microsoft.com/office/drawing/2014/main" id="{8584B93E-056F-4250-ABC4-7262B56069C0}"/>
              </a:ext>
            </a:extLst>
          </p:cNvPr>
          <p:cNvSpPr>
            <a:spLocks noGrp="1"/>
          </p:cNvSpPr>
          <p:nvPr>
            <p:ph type="body" sz="half" idx="10" hasCustomPrompt="1"/>
          </p:nvPr>
        </p:nvSpPr>
        <p:spPr>
          <a:xfrm>
            <a:off x="292328" y="294870"/>
            <a:ext cx="8492897" cy="733141"/>
          </a:xfrm>
          <a:prstGeom prst="rect">
            <a:avLst/>
          </a:prstGeom>
        </p:spPr>
        <p:txBody>
          <a:bodyPr lIns="0" tIns="0" rIns="0" bIns="0"/>
          <a:lstStyle>
            <a:lvl1pPr marL="0" indent="0">
              <a:lnSpc>
                <a:spcPct val="100000"/>
              </a:lnSpc>
              <a:buNone/>
              <a:defRPr sz="3200" b="1" baseline="0">
                <a:solidFill>
                  <a:schemeClr val="tx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Body slide title </a:t>
            </a:r>
          </a:p>
        </p:txBody>
      </p:sp>
    </p:spTree>
    <p:extLst>
      <p:ext uri="{BB962C8B-B14F-4D97-AF65-F5344CB8AC3E}">
        <p14:creationId xmlns:p14="http://schemas.microsoft.com/office/powerpoint/2010/main" val="1365029957"/>
      </p:ext>
    </p:extLst>
  </p:cSld>
  <p:clrMapOvr>
    <a:masterClrMapping/>
  </p:clrMapOvr>
  <p:extLst>
    <p:ext uri="{DCECCB84-F9BA-43D5-87BE-67443E8EF086}">
      <p15:sldGuideLst xmlns:p15="http://schemas.microsoft.com/office/powerpoint/2012/main">
        <p15:guide id="1" orient="horz" pos="3100">
          <p15:clr>
            <a:srgbClr val="FBAE40"/>
          </p15:clr>
        </p15:guide>
        <p15:guide id="4" pos="5534">
          <p15:clr>
            <a:srgbClr val="FBAE40"/>
          </p15:clr>
        </p15:guide>
        <p15:guide id="5" orient="horz" pos="327">
          <p15:clr>
            <a:srgbClr val="FBAE40"/>
          </p15:clr>
        </p15:guide>
        <p15:guide id="6" pos="2795">
          <p15:clr>
            <a:srgbClr val="FBAE40"/>
          </p15:clr>
        </p15:guide>
        <p15:guide id="7" pos="2965">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2. Body slide - 2 tables">
    <p:spTree>
      <p:nvGrpSpPr>
        <p:cNvPr id="1" name=""/>
        <p:cNvGrpSpPr/>
        <p:nvPr/>
      </p:nvGrpSpPr>
      <p:grpSpPr>
        <a:xfrm>
          <a:off x="0" y="0"/>
          <a:ext cx="0" cy="0"/>
          <a:chOff x="0" y="0"/>
          <a:chExt cx="0" cy="0"/>
        </a:xfrm>
      </p:grpSpPr>
      <p:sp>
        <p:nvSpPr>
          <p:cNvPr id="14" name="Table Placeholder 12">
            <a:extLst>
              <a:ext uri="{FF2B5EF4-FFF2-40B4-BE49-F238E27FC236}">
                <a16:creationId xmlns:a16="http://schemas.microsoft.com/office/drawing/2014/main" id="{BBBD8CFA-2274-400B-84ED-AD95B6C224E6}"/>
              </a:ext>
            </a:extLst>
          </p:cNvPr>
          <p:cNvSpPr>
            <a:spLocks noGrp="1"/>
          </p:cNvSpPr>
          <p:nvPr>
            <p:ph type="tbl" sz="quarter" idx="13" hasCustomPrompt="1"/>
          </p:nvPr>
        </p:nvSpPr>
        <p:spPr>
          <a:xfrm>
            <a:off x="287338" y="1198547"/>
            <a:ext cx="5486014" cy="1443772"/>
          </a:xfrm>
          <a:prstGeom prst="rect">
            <a:avLst/>
          </a:prstGeom>
        </p:spPr>
        <p:txBody>
          <a:bodyPr/>
          <a:lstStyle>
            <a:lvl1pPr marL="0" indent="0">
              <a:buNone/>
              <a:defRPr b="1">
                <a:solidFill>
                  <a:schemeClr val="bg1">
                    <a:lumMod val="85000"/>
                  </a:schemeClr>
                </a:solidFill>
              </a:defRPr>
            </a:lvl1pPr>
          </a:lstStyle>
          <a:p>
            <a:r>
              <a:rPr lang="fi-FI" dirty="0"/>
              <a:t>Click icon to add table</a:t>
            </a:r>
          </a:p>
        </p:txBody>
      </p:sp>
      <p:sp>
        <p:nvSpPr>
          <p:cNvPr id="13" name="Table Placeholder 12">
            <a:extLst>
              <a:ext uri="{FF2B5EF4-FFF2-40B4-BE49-F238E27FC236}">
                <a16:creationId xmlns:a16="http://schemas.microsoft.com/office/drawing/2014/main" id="{93B047F6-3228-402F-9203-526F72E0AFAD}"/>
              </a:ext>
            </a:extLst>
          </p:cNvPr>
          <p:cNvSpPr>
            <a:spLocks noGrp="1"/>
          </p:cNvSpPr>
          <p:nvPr>
            <p:ph type="tbl" sz="quarter" idx="12" hasCustomPrompt="1"/>
          </p:nvPr>
        </p:nvSpPr>
        <p:spPr>
          <a:xfrm>
            <a:off x="287338" y="2803849"/>
            <a:ext cx="5486014" cy="1480151"/>
          </a:xfrm>
          <a:prstGeom prst="rect">
            <a:avLst/>
          </a:prstGeom>
        </p:spPr>
        <p:txBody>
          <a:bodyPr/>
          <a:lstStyle>
            <a:lvl1pPr marL="0" indent="0">
              <a:buNone/>
              <a:defRPr b="1" baseline="0">
                <a:solidFill>
                  <a:schemeClr val="bg1">
                    <a:lumMod val="85000"/>
                  </a:schemeClr>
                </a:solidFill>
              </a:defRPr>
            </a:lvl1pPr>
          </a:lstStyle>
          <a:p>
            <a:r>
              <a:rPr lang="fi-FI" dirty="0"/>
              <a:t>Click icon to add table</a:t>
            </a:r>
          </a:p>
        </p:txBody>
      </p:sp>
      <p:sp>
        <p:nvSpPr>
          <p:cNvPr id="2" name="Suorakulmio 1"/>
          <p:cNvSpPr/>
          <p:nvPr userDrawn="1"/>
        </p:nvSpPr>
        <p:spPr>
          <a:xfrm>
            <a:off x="6288119" y="1198545"/>
            <a:ext cx="2167128" cy="31120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013" dirty="0"/>
          </a:p>
        </p:txBody>
      </p:sp>
      <p:sp>
        <p:nvSpPr>
          <p:cNvPr id="8" name="Text Placeholder 7">
            <a:extLst>
              <a:ext uri="{FF2B5EF4-FFF2-40B4-BE49-F238E27FC236}">
                <a16:creationId xmlns:a16="http://schemas.microsoft.com/office/drawing/2014/main" id="{B84722C4-26CA-4157-95A3-B7176EEF8B13}"/>
              </a:ext>
            </a:extLst>
          </p:cNvPr>
          <p:cNvSpPr>
            <a:spLocks noGrp="1"/>
          </p:cNvSpPr>
          <p:nvPr>
            <p:ph type="body" sz="quarter" idx="11" hasCustomPrompt="1"/>
          </p:nvPr>
        </p:nvSpPr>
        <p:spPr>
          <a:xfrm>
            <a:off x="6558279" y="1450909"/>
            <a:ext cx="1624668" cy="2623549"/>
          </a:xfrm>
          <a:prstGeom prst="rect">
            <a:avLst/>
          </a:prstGeom>
        </p:spPr>
        <p:txBody>
          <a:bodyPr lIns="0" tIns="0" rIns="0" bIns="0"/>
          <a:lstStyle>
            <a:lvl1pPr marL="0" indent="0">
              <a:lnSpc>
                <a:spcPct val="100000"/>
              </a:lnSpc>
              <a:buNone/>
              <a:defRPr lang="en-US" sz="1700" b="1" kern="1200" dirty="0" smtClean="0">
                <a:solidFill>
                  <a:schemeClr val="bg1"/>
                </a:solidFill>
                <a:latin typeface="+mn-lt"/>
                <a:ea typeface="Arial Hebrew Scholar" charset="-79"/>
                <a:cs typeface="Arial Hebrew Scholar" charset="-79"/>
              </a:defRPr>
            </a:lvl1pPr>
            <a:lvl2pPr>
              <a:defRPr lang="en-US" sz="1500" b="1" kern="1200" dirty="0" smtClean="0">
                <a:solidFill>
                  <a:schemeClr val="bg1"/>
                </a:solidFill>
                <a:latin typeface="+mn-lt"/>
                <a:ea typeface="Arial Hebrew Scholar" charset="-79"/>
                <a:cs typeface="Arial Hebrew Scholar" charset="-79"/>
              </a:defRPr>
            </a:lvl2pPr>
            <a:lvl3pPr>
              <a:defRPr lang="en-US" sz="1500" b="1" kern="1200" dirty="0" smtClean="0">
                <a:solidFill>
                  <a:schemeClr val="bg1"/>
                </a:solidFill>
                <a:latin typeface="+mn-lt"/>
                <a:ea typeface="Arial Hebrew Scholar" charset="-79"/>
                <a:cs typeface="Arial Hebrew Scholar" charset="-79"/>
              </a:defRPr>
            </a:lvl3pPr>
            <a:lvl4pPr>
              <a:defRPr lang="en-US" sz="1500" b="1" kern="1200" dirty="0" smtClean="0">
                <a:solidFill>
                  <a:schemeClr val="bg1"/>
                </a:solidFill>
                <a:latin typeface="+mn-lt"/>
                <a:ea typeface="Arial Hebrew Scholar" charset="-79"/>
                <a:cs typeface="Arial Hebrew Scholar" charset="-79"/>
              </a:defRPr>
            </a:lvl4pPr>
            <a:lvl5pPr>
              <a:defRPr lang="fi-FI" sz="1500" b="1" kern="1200" dirty="0">
                <a:solidFill>
                  <a:schemeClr val="bg1"/>
                </a:solidFill>
                <a:latin typeface="+mn-lt"/>
                <a:ea typeface="Arial Hebrew Scholar" charset="-79"/>
                <a:cs typeface="Arial Hebrew Scholar" charset="-79"/>
              </a:defRPr>
            </a:lvl5pPr>
          </a:lstStyle>
          <a:p>
            <a:pPr lvl="0"/>
            <a:r>
              <a:rPr lang="en-US" dirty="0"/>
              <a:t>Insert text here</a:t>
            </a:r>
          </a:p>
        </p:txBody>
      </p:sp>
      <p:sp>
        <p:nvSpPr>
          <p:cNvPr id="10" name="Slide Number Placeholder 5">
            <a:extLst>
              <a:ext uri="{FF2B5EF4-FFF2-40B4-BE49-F238E27FC236}">
                <a16:creationId xmlns:a16="http://schemas.microsoft.com/office/drawing/2014/main" id="{9ADAB2CE-4212-44E9-B137-C1C680FB619A}"/>
              </a:ext>
            </a:extLst>
          </p:cNvPr>
          <p:cNvSpPr>
            <a:spLocks noGrp="1"/>
          </p:cNvSpPr>
          <p:nvPr>
            <p:ph type="sldNum" sz="quarter" idx="4"/>
          </p:nvPr>
        </p:nvSpPr>
        <p:spPr>
          <a:xfrm>
            <a:off x="6678800" y="4848629"/>
            <a:ext cx="2057400" cy="172823"/>
          </a:xfrm>
          <a:prstGeom prst="rect">
            <a:avLst/>
          </a:prstGeom>
        </p:spPr>
        <p:txBody>
          <a:bodyPr vert="horz" lIns="91440" tIns="45720" rIns="91440" bIns="45720" rtlCol="0" anchor="ctr"/>
          <a:lstStyle>
            <a:lvl1pPr algn="r">
              <a:defRPr sz="900" baseline="0">
                <a:solidFill>
                  <a:schemeClr val="tx1"/>
                </a:solidFill>
              </a:defRPr>
            </a:lvl1pPr>
          </a:lstStyle>
          <a:p>
            <a:fld id="{28F7F04C-F568-F649-A2AE-EA61C66B69B4}" type="slidenum">
              <a:rPr lang="en-US" smtClean="0"/>
              <a:pPr/>
              <a:t>‹#›</a:t>
            </a:fld>
            <a:endParaRPr lang="en-US" dirty="0"/>
          </a:p>
        </p:txBody>
      </p:sp>
      <p:sp>
        <p:nvSpPr>
          <p:cNvPr id="12" name="Date Placeholder 3">
            <a:extLst>
              <a:ext uri="{FF2B5EF4-FFF2-40B4-BE49-F238E27FC236}">
                <a16:creationId xmlns:a16="http://schemas.microsoft.com/office/drawing/2014/main" id="{F4E096FB-FCA1-4B5C-ACD6-0CEFB3F91793}"/>
              </a:ext>
            </a:extLst>
          </p:cNvPr>
          <p:cNvSpPr>
            <a:spLocks noGrp="1"/>
          </p:cNvSpPr>
          <p:nvPr>
            <p:ph type="dt" sz="half" idx="2"/>
          </p:nvPr>
        </p:nvSpPr>
        <p:spPr>
          <a:xfrm>
            <a:off x="6678800" y="4672740"/>
            <a:ext cx="2057400" cy="175889"/>
          </a:xfrm>
          <a:prstGeom prst="rect">
            <a:avLst/>
          </a:prstGeom>
        </p:spPr>
        <p:txBody>
          <a:bodyPr vert="horz" lIns="91440" tIns="45720" rIns="91440" bIns="45720" rtlCol="0" anchor="ctr"/>
          <a:lstStyle>
            <a:lvl1pPr algn="r">
              <a:defRPr sz="900" baseline="0">
                <a:solidFill>
                  <a:schemeClr val="tx1"/>
                </a:solidFill>
              </a:defRPr>
            </a:lvl1pPr>
          </a:lstStyle>
          <a:p>
            <a:r>
              <a:rPr lang="fi-FI" dirty="0"/>
              <a:t>dd.mm.yyyy</a:t>
            </a:r>
            <a:endParaRPr lang="en-US" dirty="0"/>
          </a:p>
        </p:txBody>
      </p:sp>
      <p:sp>
        <p:nvSpPr>
          <p:cNvPr id="15" name="Alatunnisteen paikkamerkki 1">
            <a:extLst>
              <a:ext uri="{FF2B5EF4-FFF2-40B4-BE49-F238E27FC236}">
                <a16:creationId xmlns:a16="http://schemas.microsoft.com/office/drawing/2014/main" id="{3C30B25E-7918-4E31-B8C8-B2EDDFA118E6}"/>
              </a:ext>
            </a:extLst>
          </p:cNvPr>
          <p:cNvSpPr>
            <a:spLocks noGrp="1"/>
          </p:cNvSpPr>
          <p:nvPr>
            <p:ph type="ftr" sz="quarter" idx="3"/>
          </p:nvPr>
        </p:nvSpPr>
        <p:spPr>
          <a:xfrm>
            <a:off x="3028950" y="4849200"/>
            <a:ext cx="3086100" cy="172800"/>
          </a:xfrm>
          <a:prstGeom prst="rect">
            <a:avLst/>
          </a:prstGeom>
        </p:spPr>
        <p:txBody>
          <a:bodyPr vert="horz" lIns="91440" tIns="45720" rIns="91440" bIns="45720" rtlCol="0" anchor="ctr"/>
          <a:lstStyle>
            <a:lvl1pPr algn="ctr">
              <a:defRPr sz="900">
                <a:solidFill>
                  <a:schemeClr val="tx1"/>
                </a:solidFill>
              </a:defRPr>
            </a:lvl1pPr>
          </a:lstStyle>
          <a:p>
            <a:r>
              <a:rPr lang="fi-FI" dirty="0"/>
              <a:t>Your text here</a:t>
            </a:r>
          </a:p>
        </p:txBody>
      </p:sp>
      <p:pic>
        <p:nvPicPr>
          <p:cNvPr id="18" name="Kuva 1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8790"/>
            <a:ext cx="2073704" cy="856800"/>
          </a:xfrm>
          <a:prstGeom prst="rect">
            <a:avLst/>
          </a:prstGeom>
        </p:spPr>
      </p:pic>
      <p:sp>
        <p:nvSpPr>
          <p:cNvPr id="16" name="Text Placeholder 3">
            <a:extLst>
              <a:ext uri="{FF2B5EF4-FFF2-40B4-BE49-F238E27FC236}">
                <a16:creationId xmlns:a16="http://schemas.microsoft.com/office/drawing/2014/main" id="{B6534A76-76D5-4FCA-8B07-5925C06AC326}"/>
              </a:ext>
            </a:extLst>
          </p:cNvPr>
          <p:cNvSpPr>
            <a:spLocks noGrp="1"/>
          </p:cNvSpPr>
          <p:nvPr>
            <p:ph type="body" sz="half" idx="10" hasCustomPrompt="1"/>
          </p:nvPr>
        </p:nvSpPr>
        <p:spPr>
          <a:xfrm>
            <a:off x="292328" y="294870"/>
            <a:ext cx="8492897" cy="733141"/>
          </a:xfrm>
          <a:prstGeom prst="rect">
            <a:avLst/>
          </a:prstGeom>
        </p:spPr>
        <p:txBody>
          <a:bodyPr lIns="0" tIns="0" rIns="0" bIns="0"/>
          <a:lstStyle>
            <a:lvl1pPr marL="0" indent="0">
              <a:lnSpc>
                <a:spcPct val="100000"/>
              </a:lnSpc>
              <a:buNone/>
              <a:defRPr sz="3200" b="1" baseline="0">
                <a:solidFill>
                  <a:schemeClr val="tx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Body slide title </a:t>
            </a:r>
          </a:p>
        </p:txBody>
      </p:sp>
    </p:spTree>
    <p:extLst>
      <p:ext uri="{BB962C8B-B14F-4D97-AF65-F5344CB8AC3E}">
        <p14:creationId xmlns:p14="http://schemas.microsoft.com/office/powerpoint/2010/main" val="1574243465"/>
      </p:ext>
    </p:extLst>
  </p:cSld>
  <p:clrMapOvr>
    <a:masterClrMapping/>
  </p:clrMapOvr>
  <p:extLst>
    <p:ext uri="{DCECCB84-F9BA-43D5-87BE-67443E8EF086}">
      <p15:sldGuideLst xmlns:p15="http://schemas.microsoft.com/office/powerpoint/2012/main">
        <p15:guide id="1" pos="5534">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3. Body slide - Black and red text - Chart">
    <p:spTree>
      <p:nvGrpSpPr>
        <p:cNvPr id="1" name=""/>
        <p:cNvGrpSpPr/>
        <p:nvPr/>
      </p:nvGrpSpPr>
      <p:grpSpPr>
        <a:xfrm>
          <a:off x="0" y="0"/>
          <a:ext cx="0" cy="0"/>
          <a:chOff x="0" y="0"/>
          <a:chExt cx="0" cy="0"/>
        </a:xfrm>
      </p:grpSpPr>
      <p:sp>
        <p:nvSpPr>
          <p:cNvPr id="9" name="Slide Number Placeholder 5">
            <a:extLst>
              <a:ext uri="{FF2B5EF4-FFF2-40B4-BE49-F238E27FC236}">
                <a16:creationId xmlns:a16="http://schemas.microsoft.com/office/drawing/2014/main" id="{66B642BD-45BB-4F77-82AA-AE37473CB2B3}"/>
              </a:ext>
            </a:extLst>
          </p:cNvPr>
          <p:cNvSpPr>
            <a:spLocks noGrp="1"/>
          </p:cNvSpPr>
          <p:nvPr>
            <p:ph type="sldNum" sz="quarter" idx="4"/>
          </p:nvPr>
        </p:nvSpPr>
        <p:spPr>
          <a:xfrm>
            <a:off x="6678800" y="4848629"/>
            <a:ext cx="2057400" cy="172823"/>
          </a:xfrm>
          <a:prstGeom prst="rect">
            <a:avLst/>
          </a:prstGeom>
        </p:spPr>
        <p:txBody>
          <a:bodyPr vert="horz" lIns="91440" tIns="45720" rIns="91440" bIns="45720" rtlCol="0" anchor="ctr"/>
          <a:lstStyle>
            <a:lvl1pPr algn="r">
              <a:defRPr sz="900" baseline="0">
                <a:solidFill>
                  <a:schemeClr val="tx1"/>
                </a:solidFill>
              </a:defRPr>
            </a:lvl1pPr>
          </a:lstStyle>
          <a:p>
            <a:fld id="{28F7F04C-F568-F649-A2AE-EA61C66B69B4}" type="slidenum">
              <a:rPr lang="en-US" smtClean="0"/>
              <a:pPr/>
              <a:t>‹#›</a:t>
            </a:fld>
            <a:endParaRPr lang="en-US" dirty="0"/>
          </a:p>
        </p:txBody>
      </p:sp>
      <p:sp>
        <p:nvSpPr>
          <p:cNvPr id="11" name="Date Placeholder 3">
            <a:extLst>
              <a:ext uri="{FF2B5EF4-FFF2-40B4-BE49-F238E27FC236}">
                <a16:creationId xmlns:a16="http://schemas.microsoft.com/office/drawing/2014/main" id="{81652838-FE86-4ABD-9F9D-AFD4E96BB5D0}"/>
              </a:ext>
            </a:extLst>
          </p:cNvPr>
          <p:cNvSpPr>
            <a:spLocks noGrp="1"/>
          </p:cNvSpPr>
          <p:nvPr>
            <p:ph type="dt" sz="half" idx="13"/>
          </p:nvPr>
        </p:nvSpPr>
        <p:spPr>
          <a:xfrm>
            <a:off x="6678800" y="4672740"/>
            <a:ext cx="2057400" cy="175889"/>
          </a:xfrm>
          <a:prstGeom prst="rect">
            <a:avLst/>
          </a:prstGeom>
        </p:spPr>
        <p:txBody>
          <a:bodyPr vert="horz" lIns="91440" tIns="45720" rIns="91440" bIns="45720" rtlCol="0" anchor="ctr"/>
          <a:lstStyle>
            <a:lvl1pPr algn="r">
              <a:defRPr sz="900" baseline="0">
                <a:solidFill>
                  <a:schemeClr val="tx1"/>
                </a:solidFill>
              </a:defRPr>
            </a:lvl1pPr>
          </a:lstStyle>
          <a:p>
            <a:r>
              <a:rPr lang="fi-FI" dirty="0"/>
              <a:t>dd.mm.yyyy</a:t>
            </a:r>
            <a:endParaRPr lang="en-US" dirty="0"/>
          </a:p>
        </p:txBody>
      </p:sp>
      <p:sp>
        <p:nvSpPr>
          <p:cNvPr id="12" name="Alatunnisteen paikkamerkki 1">
            <a:extLst>
              <a:ext uri="{FF2B5EF4-FFF2-40B4-BE49-F238E27FC236}">
                <a16:creationId xmlns:a16="http://schemas.microsoft.com/office/drawing/2014/main" id="{0B96DB4D-EBEA-407A-A811-A01FA90FCD3C}"/>
              </a:ext>
            </a:extLst>
          </p:cNvPr>
          <p:cNvSpPr>
            <a:spLocks noGrp="1"/>
          </p:cNvSpPr>
          <p:nvPr>
            <p:ph type="ftr" sz="quarter" idx="3"/>
          </p:nvPr>
        </p:nvSpPr>
        <p:spPr>
          <a:xfrm>
            <a:off x="3028950" y="4849200"/>
            <a:ext cx="3086100" cy="172800"/>
          </a:xfrm>
          <a:prstGeom prst="rect">
            <a:avLst/>
          </a:prstGeom>
        </p:spPr>
        <p:txBody>
          <a:bodyPr vert="horz" lIns="91440" tIns="45720" rIns="91440" bIns="45720" rtlCol="0" anchor="ctr"/>
          <a:lstStyle>
            <a:lvl1pPr algn="ctr">
              <a:defRPr sz="900">
                <a:solidFill>
                  <a:schemeClr val="tx1"/>
                </a:solidFill>
              </a:defRPr>
            </a:lvl1pPr>
          </a:lstStyle>
          <a:p>
            <a:r>
              <a:rPr lang="fi-FI" dirty="0"/>
              <a:t>Your text here</a:t>
            </a:r>
          </a:p>
        </p:txBody>
      </p:sp>
      <p:sp>
        <p:nvSpPr>
          <p:cNvPr id="6" name="Chart Placeholder 2">
            <a:extLst>
              <a:ext uri="{FF2B5EF4-FFF2-40B4-BE49-F238E27FC236}">
                <a16:creationId xmlns:a16="http://schemas.microsoft.com/office/drawing/2014/main" id="{09161BE7-F8D2-4ACD-83CC-1D9839ED404B}"/>
              </a:ext>
            </a:extLst>
          </p:cNvPr>
          <p:cNvSpPr>
            <a:spLocks noGrp="1"/>
          </p:cNvSpPr>
          <p:nvPr>
            <p:ph type="chart" sz="quarter" idx="12" hasCustomPrompt="1"/>
          </p:nvPr>
        </p:nvSpPr>
        <p:spPr>
          <a:xfrm>
            <a:off x="3654028" y="519112"/>
            <a:ext cx="5130403" cy="4153628"/>
          </a:xfrm>
          <a:prstGeom prst="rect">
            <a:avLst/>
          </a:prstGeom>
        </p:spPr>
        <p:txBody>
          <a:bodyPr/>
          <a:lstStyle>
            <a:lvl1pPr marL="0" marR="0" indent="0" algn="l" defTabSz="685800" rtl="0" eaLnBrk="1" fontAlgn="auto" latinLnBrk="0" hangingPunct="1">
              <a:lnSpc>
                <a:spcPct val="90000"/>
              </a:lnSpc>
              <a:spcBef>
                <a:spcPts val="750"/>
              </a:spcBef>
              <a:spcAft>
                <a:spcPts val="0"/>
              </a:spcAft>
              <a:buClrTx/>
              <a:buSzTx/>
              <a:buFont typeface="Arial"/>
              <a:buNone/>
              <a:tabLst/>
              <a:defRPr b="1">
                <a:solidFill>
                  <a:schemeClr val="tx1">
                    <a:alpha val="17000"/>
                  </a:schemeClr>
                </a:solidFill>
              </a:defRPr>
            </a:lvl1pPr>
          </a:lstStyle>
          <a:p>
            <a:r>
              <a:rPr lang="fi-FI" dirty="0"/>
              <a:t>Click icon to add chart</a:t>
            </a:r>
          </a:p>
        </p:txBody>
      </p:sp>
      <p:sp>
        <p:nvSpPr>
          <p:cNvPr id="7" name="Text Placeholder 3">
            <a:extLst>
              <a:ext uri="{FF2B5EF4-FFF2-40B4-BE49-F238E27FC236}">
                <a16:creationId xmlns:a16="http://schemas.microsoft.com/office/drawing/2014/main" id="{9BF71F6C-31BF-8A4F-AA9D-13A108C26B84}"/>
              </a:ext>
            </a:extLst>
          </p:cNvPr>
          <p:cNvSpPr>
            <a:spLocks noGrp="1"/>
          </p:cNvSpPr>
          <p:nvPr>
            <p:ph type="body" sz="half" idx="2" hasCustomPrompt="1"/>
          </p:nvPr>
        </p:nvSpPr>
        <p:spPr>
          <a:xfrm>
            <a:off x="287339" y="2615909"/>
            <a:ext cx="3015455" cy="1668091"/>
          </a:xfrm>
          <a:prstGeom prst="rect">
            <a:avLst/>
          </a:prstGeom>
        </p:spPr>
        <p:txBody>
          <a:bodyPr lIns="0" tIns="0" rIns="0" bIns="0"/>
          <a:lstStyle>
            <a:lvl1pPr marL="0" indent="0">
              <a:lnSpc>
                <a:spcPct val="100000"/>
              </a:lnSpc>
              <a:spcBef>
                <a:spcPts val="0"/>
              </a:spcBef>
              <a:buNone/>
              <a:defRPr sz="2800" b="1" i="0" baseline="0">
                <a:solidFill>
                  <a:schemeClr val="tx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Sub Headline</a:t>
            </a:r>
          </a:p>
        </p:txBody>
      </p:sp>
      <p:sp>
        <p:nvSpPr>
          <p:cNvPr id="8" name="Text Placeholder 3">
            <a:extLst>
              <a:ext uri="{FF2B5EF4-FFF2-40B4-BE49-F238E27FC236}">
                <a16:creationId xmlns:a16="http://schemas.microsoft.com/office/drawing/2014/main" id="{8818ADAA-0D73-2649-A90F-A489016A1095}"/>
              </a:ext>
            </a:extLst>
          </p:cNvPr>
          <p:cNvSpPr>
            <a:spLocks noGrp="1"/>
          </p:cNvSpPr>
          <p:nvPr>
            <p:ph type="body" sz="half" idx="10" hasCustomPrompt="1"/>
          </p:nvPr>
        </p:nvSpPr>
        <p:spPr>
          <a:xfrm>
            <a:off x="287339" y="394855"/>
            <a:ext cx="3015456" cy="1872227"/>
          </a:xfrm>
          <a:prstGeom prst="rect">
            <a:avLst/>
          </a:prstGeom>
        </p:spPr>
        <p:txBody>
          <a:bodyPr lIns="0" tIns="0" rIns="0" bIns="0"/>
          <a:lstStyle>
            <a:lvl1pPr marL="0" indent="0">
              <a:lnSpc>
                <a:spcPct val="100000"/>
              </a:lnSpc>
              <a:buNone/>
              <a:defRPr sz="4000" b="1" baseline="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Body slide title</a:t>
            </a:r>
          </a:p>
        </p:txBody>
      </p:sp>
      <p:pic>
        <p:nvPicPr>
          <p:cNvPr id="15" name="Kuva 1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8790"/>
            <a:ext cx="2073704" cy="856800"/>
          </a:xfrm>
          <a:prstGeom prst="rect">
            <a:avLst/>
          </a:prstGeom>
        </p:spPr>
      </p:pic>
    </p:spTree>
    <p:extLst>
      <p:ext uri="{BB962C8B-B14F-4D97-AF65-F5344CB8AC3E}">
        <p14:creationId xmlns:p14="http://schemas.microsoft.com/office/powerpoint/2010/main" val="1289337874"/>
      </p:ext>
    </p:extLst>
  </p:cSld>
  <p:clrMapOvr>
    <a:masterClrMapping/>
  </p:clrMapOvr>
  <p:extLst>
    <p:ext uri="{DCECCB84-F9BA-43D5-87BE-67443E8EF086}">
      <p15:sldGuideLst xmlns:p15="http://schemas.microsoft.com/office/powerpoint/2012/main">
        <p15:guide id="1" pos="2081">
          <p15:clr>
            <a:srgbClr val="FBAE40"/>
          </p15:clr>
        </p15:guide>
        <p15:guide id="2" pos="2302">
          <p15:clr>
            <a:srgbClr val="FBAE40"/>
          </p15:clr>
        </p15:guide>
        <p15:guide id="3" pos="5534">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4. Process slide - Red">
    <p:bg>
      <p:bgPr>
        <a:solidFill>
          <a:schemeClr val="tx2"/>
        </a:solidFill>
        <a:effectLst/>
      </p:bgPr>
    </p:b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836A9AB-7FD4-4A4D-8EF5-3255560CFBFE}"/>
              </a:ext>
            </a:extLst>
          </p:cNvPr>
          <p:cNvSpPr>
            <a:spLocks noGrp="1"/>
          </p:cNvSpPr>
          <p:nvPr>
            <p:ph type="body" sz="quarter" idx="11" hasCustomPrompt="1"/>
          </p:nvPr>
        </p:nvSpPr>
        <p:spPr>
          <a:xfrm>
            <a:off x="290831" y="2534491"/>
            <a:ext cx="1539000" cy="1753903"/>
          </a:xfrm>
          <a:prstGeom prst="rect">
            <a:avLst/>
          </a:prstGeom>
        </p:spPr>
        <p:txBody>
          <a:bodyPr lIns="0" tIns="0" rIns="0" bIns="0"/>
          <a:lstStyle>
            <a:lvl1pPr marL="81000" indent="-81000" algn="l" defTabSz="514436" rtl="0" eaLnBrk="1" latinLnBrk="0" hangingPunct="1">
              <a:lnSpc>
                <a:spcPct val="100000"/>
              </a:lnSpc>
              <a:buFont typeface="Arial" charset="0"/>
              <a:buChar char="•"/>
              <a:defRPr sz="1400" b="1">
                <a:solidFill>
                  <a:schemeClr val="bg1"/>
                </a:solidFill>
              </a:defRPr>
            </a:lvl1pPr>
            <a:lvl2pPr marL="0" indent="0">
              <a:lnSpc>
                <a:spcPts val="1500"/>
              </a:lnSpc>
              <a:buNone/>
              <a:defRPr lang="en-US" sz="1350" b="1" kern="1200" dirty="0" smtClean="0">
                <a:solidFill>
                  <a:schemeClr val="bg1"/>
                </a:solidFill>
                <a:latin typeface="+mn-lt"/>
                <a:ea typeface="Arial" charset="0"/>
                <a:cs typeface="Arial" charset="0"/>
              </a:defRPr>
            </a:lvl2pPr>
            <a:lvl3pPr>
              <a:buClr>
                <a:schemeClr val="bg1"/>
              </a:buClr>
              <a:defRPr sz="788">
                <a:solidFill>
                  <a:schemeClr val="bg1"/>
                </a:solidFill>
              </a:defRPr>
            </a:lvl3pPr>
          </a:lstStyle>
          <a:p>
            <a:pPr marL="81000" lvl="0" indent="-81000" algn="l" defTabSz="514436" rtl="0" eaLnBrk="1" latinLnBrk="0" hangingPunct="1">
              <a:lnSpc>
                <a:spcPts val="975"/>
              </a:lnSpc>
              <a:buFont typeface="Arial" charset="0"/>
              <a:buChar char="•"/>
            </a:pPr>
            <a:r>
              <a:rPr lang="fi-FI" dirty="0"/>
              <a:t>Add text</a:t>
            </a:r>
          </a:p>
        </p:txBody>
      </p:sp>
      <p:sp>
        <p:nvSpPr>
          <p:cNvPr id="18" name="Text Placeholder 5">
            <a:extLst>
              <a:ext uri="{FF2B5EF4-FFF2-40B4-BE49-F238E27FC236}">
                <a16:creationId xmlns:a16="http://schemas.microsoft.com/office/drawing/2014/main" id="{89987C57-966C-4855-9310-5E356BB3CB9E}"/>
              </a:ext>
            </a:extLst>
          </p:cNvPr>
          <p:cNvSpPr>
            <a:spLocks noGrp="1"/>
          </p:cNvSpPr>
          <p:nvPr>
            <p:ph type="body" sz="quarter" idx="12" hasCustomPrompt="1"/>
          </p:nvPr>
        </p:nvSpPr>
        <p:spPr>
          <a:xfrm>
            <a:off x="2039978" y="2536756"/>
            <a:ext cx="1539000" cy="2007182"/>
          </a:xfrm>
          <a:prstGeom prst="rect">
            <a:avLst/>
          </a:prstGeom>
        </p:spPr>
        <p:txBody>
          <a:bodyPr lIns="0" tIns="0" rIns="0" bIns="0"/>
          <a:lstStyle>
            <a:lvl1pPr marL="81000" marR="0" indent="-81000" algn="l" defTabSz="514436" rtl="0" eaLnBrk="1" fontAlgn="auto" latinLnBrk="0" hangingPunct="1">
              <a:lnSpc>
                <a:spcPct val="100000"/>
              </a:lnSpc>
              <a:spcBef>
                <a:spcPts val="750"/>
              </a:spcBef>
              <a:spcAft>
                <a:spcPts val="0"/>
              </a:spcAft>
              <a:buClrTx/>
              <a:buSzTx/>
              <a:buFont typeface="Arial" charset="0"/>
              <a:buChar char="•"/>
              <a:tabLst/>
              <a:defRPr sz="1400" b="1">
                <a:solidFill>
                  <a:schemeClr val="bg1"/>
                </a:solidFill>
              </a:defRPr>
            </a:lvl1pPr>
            <a:lvl2pPr marL="128588" indent="-128588">
              <a:lnSpc>
                <a:spcPts val="1600"/>
              </a:lnSpc>
              <a:buClr>
                <a:schemeClr val="bg1"/>
              </a:buClr>
              <a:defRPr lang="en-US" sz="1350" b="1" kern="1200" dirty="0" smtClean="0">
                <a:solidFill>
                  <a:schemeClr val="bg1"/>
                </a:solidFill>
                <a:latin typeface="+mn-lt"/>
                <a:ea typeface="Arial" charset="0"/>
                <a:cs typeface="Arial" charset="0"/>
              </a:defRPr>
            </a:lvl2pPr>
          </a:lstStyle>
          <a:p>
            <a:pPr marL="81000" marR="0" lvl="0" indent="-81000" algn="l" defTabSz="514436" rtl="0" eaLnBrk="1" fontAlgn="auto" latinLnBrk="0" hangingPunct="1">
              <a:lnSpc>
                <a:spcPts val="975"/>
              </a:lnSpc>
              <a:spcBef>
                <a:spcPts val="750"/>
              </a:spcBef>
              <a:spcAft>
                <a:spcPts val="0"/>
              </a:spcAft>
              <a:buClrTx/>
              <a:buSzTx/>
              <a:buFont typeface="Arial" charset="0"/>
              <a:buChar char="•"/>
              <a:tabLst/>
              <a:defRPr/>
            </a:pPr>
            <a:r>
              <a:rPr lang="fi-FI" dirty="0"/>
              <a:t>Add text</a:t>
            </a:r>
          </a:p>
          <a:p>
            <a:pPr marL="81000" lvl="0" indent="-81000" algn="l" defTabSz="514436" rtl="0" eaLnBrk="1" latinLnBrk="0" hangingPunct="1">
              <a:lnSpc>
                <a:spcPts val="975"/>
              </a:lnSpc>
              <a:buFont typeface="Arial" charset="0"/>
              <a:buChar char="•"/>
            </a:pPr>
            <a:endParaRPr lang="fi-FI" dirty="0"/>
          </a:p>
        </p:txBody>
      </p:sp>
      <p:sp>
        <p:nvSpPr>
          <p:cNvPr id="24" name="Text Placeholder 23">
            <a:extLst>
              <a:ext uri="{FF2B5EF4-FFF2-40B4-BE49-F238E27FC236}">
                <a16:creationId xmlns:a16="http://schemas.microsoft.com/office/drawing/2014/main" id="{EAC2BD28-BA40-4C62-9684-204677B491A2}"/>
              </a:ext>
            </a:extLst>
          </p:cNvPr>
          <p:cNvSpPr>
            <a:spLocks noGrp="1"/>
          </p:cNvSpPr>
          <p:nvPr>
            <p:ph type="body" sz="quarter" idx="16" hasCustomPrompt="1"/>
          </p:nvPr>
        </p:nvSpPr>
        <p:spPr>
          <a:xfrm>
            <a:off x="460020" y="1152407"/>
            <a:ext cx="1200623" cy="119347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1875" b="1" smtClean="0">
                <a:solidFill>
                  <a:schemeClr val="tx2"/>
                </a:solidFill>
                <a:latin typeface="Arial"/>
              </a:defRPr>
            </a:lvl1pPr>
            <a:lvl2pPr>
              <a:defRPr lang="en-US" sz="1350" smtClean="0">
                <a:solidFill>
                  <a:schemeClr val="lt1"/>
                </a:solidFill>
              </a:defRPr>
            </a:lvl2pPr>
            <a:lvl3pPr>
              <a:defRPr lang="en-US" sz="135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514436"/>
            <a:r>
              <a:rPr lang="en-US" dirty="0"/>
              <a:t>2014</a:t>
            </a:r>
          </a:p>
        </p:txBody>
      </p:sp>
      <p:sp>
        <p:nvSpPr>
          <p:cNvPr id="26" name="Text Placeholder 23">
            <a:extLst>
              <a:ext uri="{FF2B5EF4-FFF2-40B4-BE49-F238E27FC236}">
                <a16:creationId xmlns:a16="http://schemas.microsoft.com/office/drawing/2014/main" id="{0E8425B5-2F4C-4E05-8123-3A8B01FC8702}"/>
              </a:ext>
            </a:extLst>
          </p:cNvPr>
          <p:cNvSpPr>
            <a:spLocks noGrp="1"/>
          </p:cNvSpPr>
          <p:nvPr>
            <p:ph type="body" sz="quarter" idx="17" hasCustomPrompt="1"/>
          </p:nvPr>
        </p:nvSpPr>
        <p:spPr>
          <a:xfrm>
            <a:off x="2209168" y="1152407"/>
            <a:ext cx="1200623" cy="119347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1875" b="1" smtClean="0">
                <a:solidFill>
                  <a:schemeClr val="tx2"/>
                </a:solidFill>
                <a:latin typeface="Arial"/>
              </a:defRPr>
            </a:lvl1pPr>
            <a:lvl2pPr>
              <a:defRPr lang="en-US" sz="1350" smtClean="0">
                <a:solidFill>
                  <a:schemeClr val="lt1"/>
                </a:solidFill>
              </a:defRPr>
            </a:lvl2pPr>
            <a:lvl3pPr>
              <a:defRPr lang="en-US" sz="135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514436"/>
            <a:r>
              <a:rPr lang="en-US" dirty="0"/>
              <a:t>2015</a:t>
            </a:r>
          </a:p>
        </p:txBody>
      </p:sp>
      <p:sp>
        <p:nvSpPr>
          <p:cNvPr id="27" name="Text Placeholder 23">
            <a:extLst>
              <a:ext uri="{FF2B5EF4-FFF2-40B4-BE49-F238E27FC236}">
                <a16:creationId xmlns:a16="http://schemas.microsoft.com/office/drawing/2014/main" id="{DC20D224-7563-4C76-AD81-513A7C8829B2}"/>
              </a:ext>
            </a:extLst>
          </p:cNvPr>
          <p:cNvSpPr>
            <a:spLocks noGrp="1"/>
          </p:cNvSpPr>
          <p:nvPr>
            <p:ph type="body" sz="quarter" idx="18" hasCustomPrompt="1"/>
          </p:nvPr>
        </p:nvSpPr>
        <p:spPr>
          <a:xfrm>
            <a:off x="3953649" y="1152407"/>
            <a:ext cx="1200623" cy="119347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1875" b="1" smtClean="0">
                <a:solidFill>
                  <a:schemeClr val="tx2"/>
                </a:solidFill>
                <a:latin typeface="Arial"/>
              </a:defRPr>
            </a:lvl1pPr>
            <a:lvl2pPr>
              <a:defRPr lang="en-US" sz="1350" smtClean="0">
                <a:solidFill>
                  <a:schemeClr val="lt1"/>
                </a:solidFill>
              </a:defRPr>
            </a:lvl2pPr>
            <a:lvl3pPr>
              <a:defRPr lang="en-US" sz="135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514436"/>
            <a:r>
              <a:rPr lang="en-US" dirty="0"/>
              <a:t>2016</a:t>
            </a:r>
          </a:p>
        </p:txBody>
      </p:sp>
      <p:sp>
        <p:nvSpPr>
          <p:cNvPr id="28" name="Text Placeholder 23">
            <a:extLst>
              <a:ext uri="{FF2B5EF4-FFF2-40B4-BE49-F238E27FC236}">
                <a16:creationId xmlns:a16="http://schemas.microsoft.com/office/drawing/2014/main" id="{E06BCED4-D727-4040-AD5B-6450A58ED4DF}"/>
              </a:ext>
            </a:extLst>
          </p:cNvPr>
          <p:cNvSpPr>
            <a:spLocks noGrp="1"/>
          </p:cNvSpPr>
          <p:nvPr>
            <p:ph type="body" sz="quarter" idx="19" hasCustomPrompt="1"/>
          </p:nvPr>
        </p:nvSpPr>
        <p:spPr>
          <a:xfrm>
            <a:off x="5684135" y="1152407"/>
            <a:ext cx="1200623" cy="119347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1875" b="1" smtClean="0">
                <a:solidFill>
                  <a:schemeClr val="tx2"/>
                </a:solidFill>
                <a:latin typeface="Arial"/>
              </a:defRPr>
            </a:lvl1pPr>
            <a:lvl2pPr>
              <a:defRPr lang="en-US" sz="1350" smtClean="0">
                <a:solidFill>
                  <a:schemeClr val="lt1"/>
                </a:solidFill>
              </a:defRPr>
            </a:lvl2pPr>
            <a:lvl3pPr>
              <a:defRPr lang="en-US" sz="135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514436"/>
            <a:r>
              <a:rPr lang="en-US" dirty="0"/>
              <a:t>2017</a:t>
            </a:r>
          </a:p>
        </p:txBody>
      </p:sp>
      <p:sp>
        <p:nvSpPr>
          <p:cNvPr id="29" name="Text Placeholder 23">
            <a:extLst>
              <a:ext uri="{FF2B5EF4-FFF2-40B4-BE49-F238E27FC236}">
                <a16:creationId xmlns:a16="http://schemas.microsoft.com/office/drawing/2014/main" id="{294EAA4E-E8D4-4CC5-BDD1-70053B25FE63}"/>
              </a:ext>
            </a:extLst>
          </p:cNvPr>
          <p:cNvSpPr>
            <a:spLocks noGrp="1"/>
          </p:cNvSpPr>
          <p:nvPr>
            <p:ph type="body" sz="quarter" idx="20" hasCustomPrompt="1"/>
          </p:nvPr>
        </p:nvSpPr>
        <p:spPr>
          <a:xfrm>
            <a:off x="7414621" y="1152407"/>
            <a:ext cx="1200623" cy="119347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1875" b="1" smtClean="0">
                <a:solidFill>
                  <a:schemeClr val="tx2"/>
                </a:solidFill>
                <a:latin typeface="Arial"/>
              </a:defRPr>
            </a:lvl1pPr>
            <a:lvl2pPr>
              <a:defRPr lang="en-US" sz="1350" smtClean="0">
                <a:solidFill>
                  <a:schemeClr val="lt1"/>
                </a:solidFill>
              </a:defRPr>
            </a:lvl2pPr>
            <a:lvl3pPr>
              <a:defRPr lang="en-US" sz="135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514436"/>
            <a:r>
              <a:rPr lang="en-US" dirty="0"/>
              <a:t>2018</a:t>
            </a:r>
          </a:p>
        </p:txBody>
      </p:sp>
      <p:sp>
        <p:nvSpPr>
          <p:cNvPr id="17" name="Text Placeholder 5">
            <a:extLst>
              <a:ext uri="{FF2B5EF4-FFF2-40B4-BE49-F238E27FC236}">
                <a16:creationId xmlns:a16="http://schemas.microsoft.com/office/drawing/2014/main" id="{A827BBD5-9E69-4D6A-ACDE-EC26CFE2F6DA}"/>
              </a:ext>
            </a:extLst>
          </p:cNvPr>
          <p:cNvSpPr>
            <a:spLocks noGrp="1"/>
          </p:cNvSpPr>
          <p:nvPr>
            <p:ph type="body" sz="quarter" idx="23" hasCustomPrompt="1"/>
          </p:nvPr>
        </p:nvSpPr>
        <p:spPr>
          <a:xfrm>
            <a:off x="3771501" y="2536756"/>
            <a:ext cx="1539000" cy="2007182"/>
          </a:xfrm>
          <a:prstGeom prst="rect">
            <a:avLst/>
          </a:prstGeom>
        </p:spPr>
        <p:txBody>
          <a:bodyPr lIns="0" tIns="0" rIns="0" bIns="0"/>
          <a:lstStyle>
            <a:lvl1pPr marL="81000" marR="0" indent="-81000" algn="l" defTabSz="514436" rtl="0" eaLnBrk="1" fontAlgn="auto" latinLnBrk="0" hangingPunct="1">
              <a:lnSpc>
                <a:spcPct val="100000"/>
              </a:lnSpc>
              <a:spcBef>
                <a:spcPts val="750"/>
              </a:spcBef>
              <a:spcAft>
                <a:spcPts val="0"/>
              </a:spcAft>
              <a:buClrTx/>
              <a:buSzTx/>
              <a:buFont typeface="Arial" charset="0"/>
              <a:buChar char="•"/>
              <a:tabLst/>
              <a:defRPr sz="1400" b="1">
                <a:solidFill>
                  <a:schemeClr val="bg1"/>
                </a:solidFill>
              </a:defRPr>
            </a:lvl1pPr>
            <a:lvl2pPr marL="128588" indent="-128588">
              <a:lnSpc>
                <a:spcPts val="1600"/>
              </a:lnSpc>
              <a:buClr>
                <a:schemeClr val="bg1"/>
              </a:buClr>
              <a:defRPr lang="en-US" sz="1350" b="1" kern="1200" dirty="0" smtClean="0">
                <a:solidFill>
                  <a:schemeClr val="bg1"/>
                </a:solidFill>
                <a:latin typeface="+mn-lt"/>
                <a:ea typeface="Arial" charset="0"/>
                <a:cs typeface="Arial" charset="0"/>
              </a:defRPr>
            </a:lvl2pPr>
          </a:lstStyle>
          <a:p>
            <a:pPr marL="81000" marR="0" lvl="0" indent="-81000" algn="l" defTabSz="514436" rtl="0" eaLnBrk="1" fontAlgn="auto" latinLnBrk="0" hangingPunct="1">
              <a:lnSpc>
                <a:spcPts val="975"/>
              </a:lnSpc>
              <a:spcBef>
                <a:spcPts val="750"/>
              </a:spcBef>
              <a:spcAft>
                <a:spcPts val="0"/>
              </a:spcAft>
              <a:buClrTx/>
              <a:buSzTx/>
              <a:buFont typeface="Arial" charset="0"/>
              <a:buChar char="•"/>
              <a:tabLst/>
              <a:defRPr/>
            </a:pPr>
            <a:r>
              <a:rPr lang="fi-FI" dirty="0"/>
              <a:t>Add text</a:t>
            </a:r>
          </a:p>
          <a:p>
            <a:pPr marL="81000" lvl="0" indent="-81000" algn="l" defTabSz="514436" rtl="0" eaLnBrk="1" latinLnBrk="0" hangingPunct="1">
              <a:lnSpc>
                <a:spcPts val="975"/>
              </a:lnSpc>
              <a:buFont typeface="Arial" charset="0"/>
              <a:buChar char="•"/>
            </a:pPr>
            <a:endParaRPr lang="fi-FI" dirty="0"/>
          </a:p>
        </p:txBody>
      </p:sp>
      <p:sp>
        <p:nvSpPr>
          <p:cNvPr id="22" name="Text Placeholder 5">
            <a:extLst>
              <a:ext uri="{FF2B5EF4-FFF2-40B4-BE49-F238E27FC236}">
                <a16:creationId xmlns:a16="http://schemas.microsoft.com/office/drawing/2014/main" id="{1BA48B8B-BD2C-4A39-82AF-63EB5DF45DE4}"/>
              </a:ext>
            </a:extLst>
          </p:cNvPr>
          <p:cNvSpPr>
            <a:spLocks noGrp="1"/>
          </p:cNvSpPr>
          <p:nvPr>
            <p:ph type="body" sz="quarter" idx="24" hasCustomPrompt="1"/>
          </p:nvPr>
        </p:nvSpPr>
        <p:spPr>
          <a:xfrm>
            <a:off x="5515995" y="2536756"/>
            <a:ext cx="1539000" cy="2007182"/>
          </a:xfrm>
          <a:prstGeom prst="rect">
            <a:avLst/>
          </a:prstGeom>
        </p:spPr>
        <p:txBody>
          <a:bodyPr lIns="0" tIns="0" rIns="0" bIns="0"/>
          <a:lstStyle>
            <a:lvl1pPr marL="81000" marR="0" indent="-81000" algn="l" defTabSz="514436" rtl="0" eaLnBrk="1" fontAlgn="auto" latinLnBrk="0" hangingPunct="1">
              <a:lnSpc>
                <a:spcPct val="100000"/>
              </a:lnSpc>
              <a:spcBef>
                <a:spcPts val="750"/>
              </a:spcBef>
              <a:spcAft>
                <a:spcPts val="0"/>
              </a:spcAft>
              <a:buClrTx/>
              <a:buSzTx/>
              <a:buFont typeface="Arial" charset="0"/>
              <a:buChar char="•"/>
              <a:tabLst/>
              <a:defRPr sz="1400" b="1">
                <a:solidFill>
                  <a:schemeClr val="bg1"/>
                </a:solidFill>
              </a:defRPr>
            </a:lvl1pPr>
            <a:lvl2pPr marL="128588" indent="-128588">
              <a:lnSpc>
                <a:spcPts val="1600"/>
              </a:lnSpc>
              <a:buClr>
                <a:schemeClr val="bg1"/>
              </a:buClr>
              <a:defRPr lang="en-US" sz="1350" b="1" kern="1200" dirty="0" smtClean="0">
                <a:solidFill>
                  <a:schemeClr val="bg1"/>
                </a:solidFill>
                <a:latin typeface="+mn-lt"/>
                <a:ea typeface="Arial" charset="0"/>
                <a:cs typeface="Arial" charset="0"/>
              </a:defRPr>
            </a:lvl2pPr>
          </a:lstStyle>
          <a:p>
            <a:pPr marL="81000" marR="0" lvl="0" indent="-81000" algn="l" defTabSz="514436" rtl="0" eaLnBrk="1" fontAlgn="auto" latinLnBrk="0" hangingPunct="1">
              <a:lnSpc>
                <a:spcPts val="975"/>
              </a:lnSpc>
              <a:spcBef>
                <a:spcPts val="750"/>
              </a:spcBef>
              <a:spcAft>
                <a:spcPts val="0"/>
              </a:spcAft>
              <a:buClrTx/>
              <a:buSzTx/>
              <a:buFont typeface="Arial" charset="0"/>
              <a:buChar char="•"/>
              <a:tabLst/>
              <a:defRPr/>
            </a:pPr>
            <a:r>
              <a:rPr lang="fi-FI" dirty="0"/>
              <a:t>Add text</a:t>
            </a:r>
          </a:p>
          <a:p>
            <a:pPr marL="81000" lvl="0" indent="-81000" algn="l" defTabSz="514436" rtl="0" eaLnBrk="1" latinLnBrk="0" hangingPunct="1">
              <a:lnSpc>
                <a:spcPts val="975"/>
              </a:lnSpc>
              <a:buFont typeface="Arial" charset="0"/>
              <a:buChar char="•"/>
            </a:pPr>
            <a:endParaRPr lang="fi-FI" dirty="0"/>
          </a:p>
        </p:txBody>
      </p:sp>
      <p:sp>
        <p:nvSpPr>
          <p:cNvPr id="23" name="Text Placeholder 5">
            <a:extLst>
              <a:ext uri="{FF2B5EF4-FFF2-40B4-BE49-F238E27FC236}">
                <a16:creationId xmlns:a16="http://schemas.microsoft.com/office/drawing/2014/main" id="{FDACDC4A-3163-4169-8C73-15CC127E50C8}"/>
              </a:ext>
            </a:extLst>
          </p:cNvPr>
          <p:cNvSpPr>
            <a:spLocks noGrp="1"/>
          </p:cNvSpPr>
          <p:nvPr>
            <p:ph type="body" sz="quarter" idx="25" hasCustomPrompt="1"/>
          </p:nvPr>
        </p:nvSpPr>
        <p:spPr>
          <a:xfrm>
            <a:off x="7247518" y="2536756"/>
            <a:ext cx="1539000" cy="2007182"/>
          </a:xfrm>
          <a:prstGeom prst="rect">
            <a:avLst/>
          </a:prstGeom>
        </p:spPr>
        <p:txBody>
          <a:bodyPr lIns="0" tIns="0" rIns="0" bIns="0"/>
          <a:lstStyle>
            <a:lvl1pPr marL="81000" marR="0" indent="-81000" algn="l" defTabSz="514436" rtl="0" eaLnBrk="1" fontAlgn="auto" latinLnBrk="0" hangingPunct="1">
              <a:lnSpc>
                <a:spcPct val="100000"/>
              </a:lnSpc>
              <a:spcBef>
                <a:spcPts val="750"/>
              </a:spcBef>
              <a:spcAft>
                <a:spcPts val="0"/>
              </a:spcAft>
              <a:buClrTx/>
              <a:buSzTx/>
              <a:buFont typeface="Arial" charset="0"/>
              <a:buChar char="•"/>
              <a:tabLst/>
              <a:defRPr sz="1400" b="1">
                <a:solidFill>
                  <a:schemeClr val="bg1"/>
                </a:solidFill>
              </a:defRPr>
            </a:lvl1pPr>
            <a:lvl2pPr marL="128588" indent="-128588">
              <a:lnSpc>
                <a:spcPts val="1600"/>
              </a:lnSpc>
              <a:buClr>
                <a:schemeClr val="bg1"/>
              </a:buClr>
              <a:defRPr lang="en-US" sz="1350" b="1" kern="1200" dirty="0" smtClean="0">
                <a:solidFill>
                  <a:schemeClr val="bg1"/>
                </a:solidFill>
                <a:latin typeface="+mn-lt"/>
                <a:ea typeface="Arial" charset="0"/>
                <a:cs typeface="Arial" charset="0"/>
              </a:defRPr>
            </a:lvl2pPr>
          </a:lstStyle>
          <a:p>
            <a:pPr marL="81000" marR="0" lvl="0" indent="-81000" algn="l" defTabSz="514436" rtl="0" eaLnBrk="1" fontAlgn="auto" latinLnBrk="0" hangingPunct="1">
              <a:lnSpc>
                <a:spcPts val="975"/>
              </a:lnSpc>
              <a:spcBef>
                <a:spcPts val="750"/>
              </a:spcBef>
              <a:spcAft>
                <a:spcPts val="0"/>
              </a:spcAft>
              <a:buClrTx/>
              <a:buSzTx/>
              <a:buFont typeface="Arial" charset="0"/>
              <a:buChar char="•"/>
              <a:tabLst/>
              <a:defRPr/>
            </a:pPr>
            <a:r>
              <a:rPr lang="fi-FI" dirty="0"/>
              <a:t>Add text</a:t>
            </a:r>
          </a:p>
          <a:p>
            <a:pPr marL="81000" lvl="0" indent="-81000" algn="l" defTabSz="514436" rtl="0" eaLnBrk="1" latinLnBrk="0" hangingPunct="1">
              <a:lnSpc>
                <a:spcPts val="975"/>
              </a:lnSpc>
              <a:buFont typeface="Arial" charset="0"/>
              <a:buChar char="•"/>
            </a:pPr>
            <a:endParaRPr lang="fi-FI" dirty="0"/>
          </a:p>
        </p:txBody>
      </p:sp>
      <p:sp>
        <p:nvSpPr>
          <p:cNvPr id="2" name="Päivämäärän paikkamerkki 1">
            <a:extLst>
              <a:ext uri="{FF2B5EF4-FFF2-40B4-BE49-F238E27FC236}">
                <a16:creationId xmlns:a16="http://schemas.microsoft.com/office/drawing/2014/main" id="{17A6B884-331F-40FA-8908-119224136FDB}"/>
              </a:ext>
            </a:extLst>
          </p:cNvPr>
          <p:cNvSpPr>
            <a:spLocks noGrp="1"/>
          </p:cNvSpPr>
          <p:nvPr>
            <p:ph type="dt" sz="half" idx="26"/>
          </p:nvPr>
        </p:nvSpPr>
        <p:spPr/>
        <p:txBody>
          <a:bodyPr/>
          <a:lstStyle>
            <a:lvl1pPr>
              <a:defRPr>
                <a:solidFill>
                  <a:srgbClr val="FFFFFF"/>
                </a:solidFill>
              </a:defRPr>
            </a:lvl1pPr>
          </a:lstStyle>
          <a:p>
            <a:r>
              <a:rPr lang="fi-FI" dirty="0"/>
              <a:t>dd.mm.yyyy</a:t>
            </a:r>
            <a:endParaRPr lang="en-US" dirty="0"/>
          </a:p>
        </p:txBody>
      </p:sp>
      <p:sp>
        <p:nvSpPr>
          <p:cNvPr id="3" name="Alatunnisteen paikkamerkki 2">
            <a:extLst>
              <a:ext uri="{FF2B5EF4-FFF2-40B4-BE49-F238E27FC236}">
                <a16:creationId xmlns:a16="http://schemas.microsoft.com/office/drawing/2014/main" id="{A749CABA-9FF3-45EA-9953-7B719CB699D9}"/>
              </a:ext>
            </a:extLst>
          </p:cNvPr>
          <p:cNvSpPr>
            <a:spLocks noGrp="1"/>
          </p:cNvSpPr>
          <p:nvPr>
            <p:ph type="ftr" sz="quarter" idx="27"/>
          </p:nvPr>
        </p:nvSpPr>
        <p:spPr/>
        <p:txBody>
          <a:bodyPr/>
          <a:lstStyle>
            <a:lvl1pPr>
              <a:defRPr>
                <a:solidFill>
                  <a:srgbClr val="FFFFFF"/>
                </a:solidFill>
              </a:defRPr>
            </a:lvl1pPr>
          </a:lstStyle>
          <a:p>
            <a:r>
              <a:rPr lang="fi-FI" dirty="0"/>
              <a:t>Your text here</a:t>
            </a:r>
          </a:p>
        </p:txBody>
      </p:sp>
      <p:sp>
        <p:nvSpPr>
          <p:cNvPr id="4" name="Dian numeron paikkamerkki 3">
            <a:extLst>
              <a:ext uri="{FF2B5EF4-FFF2-40B4-BE49-F238E27FC236}">
                <a16:creationId xmlns:a16="http://schemas.microsoft.com/office/drawing/2014/main" id="{FF271C0B-E7D3-474B-A483-3CBA7656076F}"/>
              </a:ext>
            </a:extLst>
          </p:cNvPr>
          <p:cNvSpPr>
            <a:spLocks noGrp="1"/>
          </p:cNvSpPr>
          <p:nvPr>
            <p:ph type="sldNum" sz="quarter" idx="28"/>
          </p:nvPr>
        </p:nvSpPr>
        <p:spPr/>
        <p:txBody>
          <a:bodyPr/>
          <a:lstStyle>
            <a:lvl1pPr>
              <a:defRPr>
                <a:solidFill>
                  <a:srgbClr val="FFFFFF"/>
                </a:solidFill>
              </a:defRPr>
            </a:lvl1pPr>
          </a:lstStyle>
          <a:p>
            <a:fld id="{28F7F04C-F568-F649-A2AE-EA61C66B69B4}" type="slidenum">
              <a:rPr lang="en-US" smtClean="0"/>
              <a:pPr/>
              <a:t>‹#›</a:t>
            </a:fld>
            <a:endParaRPr lang="en-US" dirty="0"/>
          </a:p>
        </p:txBody>
      </p:sp>
      <p:pic>
        <p:nvPicPr>
          <p:cNvPr id="20" name="Kuva 1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1580"/>
            <a:ext cx="1991440" cy="856800"/>
          </a:xfrm>
          <a:prstGeom prst="rect">
            <a:avLst/>
          </a:prstGeom>
        </p:spPr>
      </p:pic>
      <p:sp>
        <p:nvSpPr>
          <p:cNvPr id="19" name="Text Placeholder 3">
            <a:extLst>
              <a:ext uri="{FF2B5EF4-FFF2-40B4-BE49-F238E27FC236}">
                <a16:creationId xmlns:a16="http://schemas.microsoft.com/office/drawing/2014/main" id="{68BC71D3-693E-4C10-9279-0086C54FAE9E}"/>
              </a:ext>
            </a:extLst>
          </p:cNvPr>
          <p:cNvSpPr>
            <a:spLocks noGrp="1"/>
          </p:cNvSpPr>
          <p:nvPr>
            <p:ph type="body" sz="half" idx="10" hasCustomPrompt="1"/>
          </p:nvPr>
        </p:nvSpPr>
        <p:spPr>
          <a:xfrm>
            <a:off x="292328" y="294870"/>
            <a:ext cx="8492897" cy="733141"/>
          </a:xfrm>
          <a:prstGeom prst="rect">
            <a:avLst/>
          </a:prstGeom>
        </p:spPr>
        <p:txBody>
          <a:bodyPr lIns="0" tIns="0" rIns="0" bIns="0"/>
          <a:lstStyle>
            <a:lvl1pPr marL="0" indent="0">
              <a:lnSpc>
                <a:spcPct val="100000"/>
              </a:lnSpc>
              <a:buNone/>
              <a:defRPr sz="3200" b="1" baseline="0">
                <a:solidFill>
                  <a:schemeClr val="accent6"/>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Body slide title </a:t>
            </a:r>
          </a:p>
        </p:txBody>
      </p:sp>
    </p:spTree>
    <p:extLst>
      <p:ext uri="{BB962C8B-B14F-4D97-AF65-F5344CB8AC3E}">
        <p14:creationId xmlns:p14="http://schemas.microsoft.com/office/powerpoint/2010/main" val="642561098"/>
      </p:ext>
    </p:extLst>
  </p:cSld>
  <p:clrMapOvr>
    <a:masterClrMapping/>
  </p:clrMapOvr>
  <p:extLst>
    <p:ext uri="{DCECCB84-F9BA-43D5-87BE-67443E8EF086}">
      <p15:sldGuideLst xmlns:p15="http://schemas.microsoft.com/office/powerpoint/2012/main">
        <p15:guide id="1" pos="5534">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5. Process slide - White">
    <p:spTree>
      <p:nvGrpSpPr>
        <p:cNvPr id="1" name=""/>
        <p:cNvGrpSpPr/>
        <p:nvPr/>
      </p:nvGrpSpPr>
      <p:grpSpPr>
        <a:xfrm>
          <a:off x="0" y="0"/>
          <a:ext cx="0" cy="0"/>
          <a:chOff x="0" y="0"/>
          <a:chExt cx="0" cy="0"/>
        </a:xfrm>
      </p:grpSpPr>
      <p:sp>
        <p:nvSpPr>
          <p:cNvPr id="14" name="Slide Number Placeholder 5">
            <a:extLst>
              <a:ext uri="{FF2B5EF4-FFF2-40B4-BE49-F238E27FC236}">
                <a16:creationId xmlns:a16="http://schemas.microsoft.com/office/drawing/2014/main" id="{D9F47391-4AC0-4F7E-BFA1-6D69FD784378}"/>
              </a:ext>
            </a:extLst>
          </p:cNvPr>
          <p:cNvSpPr>
            <a:spLocks noGrp="1"/>
          </p:cNvSpPr>
          <p:nvPr>
            <p:ph type="sldNum" sz="quarter" idx="4"/>
          </p:nvPr>
        </p:nvSpPr>
        <p:spPr>
          <a:xfrm>
            <a:off x="6678800" y="4848629"/>
            <a:ext cx="2057400" cy="172823"/>
          </a:xfrm>
          <a:prstGeom prst="rect">
            <a:avLst/>
          </a:prstGeom>
        </p:spPr>
        <p:txBody>
          <a:bodyPr vert="horz" lIns="91440" tIns="45720" rIns="91440" bIns="45720" rtlCol="0" anchor="ctr"/>
          <a:lstStyle>
            <a:lvl1pPr algn="r">
              <a:defRPr sz="900" baseline="0">
                <a:solidFill>
                  <a:schemeClr val="tx1"/>
                </a:solidFill>
              </a:defRPr>
            </a:lvl1pPr>
          </a:lstStyle>
          <a:p>
            <a:fld id="{28F7F04C-F568-F649-A2AE-EA61C66B69B4}" type="slidenum">
              <a:rPr lang="en-US" smtClean="0"/>
              <a:pPr/>
              <a:t>‹#›</a:t>
            </a:fld>
            <a:endParaRPr lang="en-US" dirty="0"/>
          </a:p>
        </p:txBody>
      </p:sp>
      <p:sp>
        <p:nvSpPr>
          <p:cNvPr id="16" name="Date Placeholder 3">
            <a:extLst>
              <a:ext uri="{FF2B5EF4-FFF2-40B4-BE49-F238E27FC236}">
                <a16:creationId xmlns:a16="http://schemas.microsoft.com/office/drawing/2014/main" id="{FEF0705C-E100-4768-B5FA-237B27E15CFD}"/>
              </a:ext>
            </a:extLst>
          </p:cNvPr>
          <p:cNvSpPr>
            <a:spLocks noGrp="1"/>
          </p:cNvSpPr>
          <p:nvPr>
            <p:ph type="dt" sz="half" idx="25"/>
          </p:nvPr>
        </p:nvSpPr>
        <p:spPr>
          <a:xfrm>
            <a:off x="6678800" y="4672740"/>
            <a:ext cx="2057400" cy="175889"/>
          </a:xfrm>
          <a:prstGeom prst="rect">
            <a:avLst/>
          </a:prstGeom>
        </p:spPr>
        <p:txBody>
          <a:bodyPr vert="horz" lIns="91440" tIns="45720" rIns="91440" bIns="45720" rtlCol="0" anchor="ctr"/>
          <a:lstStyle>
            <a:lvl1pPr algn="r">
              <a:defRPr sz="900" baseline="0">
                <a:solidFill>
                  <a:schemeClr val="tx1"/>
                </a:solidFill>
              </a:defRPr>
            </a:lvl1pPr>
          </a:lstStyle>
          <a:p>
            <a:r>
              <a:rPr lang="fi-FI" dirty="0"/>
              <a:t>dd.mm.yyyy</a:t>
            </a:r>
            <a:endParaRPr lang="en-US" dirty="0"/>
          </a:p>
        </p:txBody>
      </p:sp>
      <p:sp>
        <p:nvSpPr>
          <p:cNvPr id="17" name="Alatunnisteen paikkamerkki 1">
            <a:extLst>
              <a:ext uri="{FF2B5EF4-FFF2-40B4-BE49-F238E27FC236}">
                <a16:creationId xmlns:a16="http://schemas.microsoft.com/office/drawing/2014/main" id="{84C2D171-9BD9-4BE0-A001-56E7273902C0}"/>
              </a:ext>
            </a:extLst>
          </p:cNvPr>
          <p:cNvSpPr>
            <a:spLocks noGrp="1"/>
          </p:cNvSpPr>
          <p:nvPr>
            <p:ph type="ftr" sz="quarter" idx="3"/>
          </p:nvPr>
        </p:nvSpPr>
        <p:spPr>
          <a:xfrm>
            <a:off x="3028950" y="4849200"/>
            <a:ext cx="3086100" cy="172800"/>
          </a:xfrm>
          <a:prstGeom prst="rect">
            <a:avLst/>
          </a:prstGeom>
        </p:spPr>
        <p:txBody>
          <a:bodyPr vert="horz" lIns="91440" tIns="45720" rIns="91440" bIns="45720" rtlCol="0" anchor="ctr"/>
          <a:lstStyle>
            <a:lvl1pPr algn="ctr">
              <a:defRPr sz="900">
                <a:solidFill>
                  <a:schemeClr val="tx1"/>
                </a:solidFill>
              </a:defRPr>
            </a:lvl1pPr>
          </a:lstStyle>
          <a:p>
            <a:r>
              <a:rPr lang="fi-FI" dirty="0"/>
              <a:t>Your text here</a:t>
            </a:r>
          </a:p>
        </p:txBody>
      </p:sp>
      <p:sp>
        <p:nvSpPr>
          <p:cNvPr id="24" name="Text Placeholder 23">
            <a:extLst>
              <a:ext uri="{FF2B5EF4-FFF2-40B4-BE49-F238E27FC236}">
                <a16:creationId xmlns:a16="http://schemas.microsoft.com/office/drawing/2014/main" id="{EAC2BD28-BA40-4C62-9684-204677B491A2}"/>
              </a:ext>
            </a:extLst>
          </p:cNvPr>
          <p:cNvSpPr>
            <a:spLocks noGrp="1" noChangeAspect="1"/>
          </p:cNvSpPr>
          <p:nvPr>
            <p:ph type="body" sz="quarter" idx="16" hasCustomPrompt="1"/>
          </p:nvPr>
        </p:nvSpPr>
        <p:spPr>
          <a:xfrm>
            <a:off x="631754" y="1312197"/>
            <a:ext cx="864000" cy="85885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3000" b="1" smtClean="0">
                <a:solidFill>
                  <a:schemeClr val="bg1"/>
                </a:solidFill>
                <a:latin typeface="Arial"/>
              </a:defRPr>
            </a:lvl1pPr>
            <a:lvl2pPr>
              <a:defRPr lang="en-US" sz="1350" smtClean="0">
                <a:solidFill>
                  <a:schemeClr val="lt1"/>
                </a:solidFill>
              </a:defRPr>
            </a:lvl2pPr>
            <a:lvl3pPr>
              <a:defRPr lang="en-US" sz="135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514436"/>
            <a:r>
              <a:rPr lang="en-US" dirty="0"/>
              <a:t>1</a:t>
            </a:r>
          </a:p>
        </p:txBody>
      </p:sp>
      <p:sp>
        <p:nvSpPr>
          <p:cNvPr id="26" name="Text Placeholder 23">
            <a:extLst>
              <a:ext uri="{FF2B5EF4-FFF2-40B4-BE49-F238E27FC236}">
                <a16:creationId xmlns:a16="http://schemas.microsoft.com/office/drawing/2014/main" id="{0E8425B5-2F4C-4E05-8123-3A8B01FC8702}"/>
              </a:ext>
            </a:extLst>
          </p:cNvPr>
          <p:cNvSpPr>
            <a:spLocks noGrp="1" noChangeAspect="1"/>
          </p:cNvSpPr>
          <p:nvPr>
            <p:ph type="body" sz="quarter" idx="17" hasCustomPrompt="1"/>
          </p:nvPr>
        </p:nvSpPr>
        <p:spPr>
          <a:xfrm>
            <a:off x="2385879" y="1312197"/>
            <a:ext cx="864000" cy="85885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3000" b="1" smtClean="0">
                <a:solidFill>
                  <a:schemeClr val="bg1"/>
                </a:solidFill>
                <a:latin typeface="Arial"/>
              </a:defRPr>
            </a:lvl1pPr>
            <a:lvl2pPr>
              <a:defRPr lang="en-US" sz="1350" smtClean="0">
                <a:solidFill>
                  <a:schemeClr val="lt1"/>
                </a:solidFill>
              </a:defRPr>
            </a:lvl2pPr>
            <a:lvl3pPr>
              <a:defRPr lang="en-US" sz="135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514436"/>
            <a:r>
              <a:rPr lang="en-US" dirty="0"/>
              <a:t>2</a:t>
            </a:r>
          </a:p>
        </p:txBody>
      </p:sp>
      <p:sp>
        <p:nvSpPr>
          <p:cNvPr id="27" name="Text Placeholder 23">
            <a:extLst>
              <a:ext uri="{FF2B5EF4-FFF2-40B4-BE49-F238E27FC236}">
                <a16:creationId xmlns:a16="http://schemas.microsoft.com/office/drawing/2014/main" id="{DC20D224-7563-4C76-AD81-513A7C8829B2}"/>
              </a:ext>
            </a:extLst>
          </p:cNvPr>
          <p:cNvSpPr>
            <a:spLocks noGrp="1" noChangeAspect="1"/>
          </p:cNvSpPr>
          <p:nvPr>
            <p:ph type="body" sz="quarter" idx="18" hasCustomPrompt="1"/>
          </p:nvPr>
        </p:nvSpPr>
        <p:spPr>
          <a:xfrm>
            <a:off x="4126004" y="1312197"/>
            <a:ext cx="864000" cy="85885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3000" b="1" smtClean="0">
                <a:solidFill>
                  <a:schemeClr val="bg1"/>
                </a:solidFill>
                <a:latin typeface="Arial"/>
              </a:defRPr>
            </a:lvl1pPr>
            <a:lvl2pPr>
              <a:defRPr lang="en-US" sz="1350" smtClean="0">
                <a:solidFill>
                  <a:schemeClr val="lt1"/>
                </a:solidFill>
              </a:defRPr>
            </a:lvl2pPr>
            <a:lvl3pPr>
              <a:defRPr lang="en-US" sz="135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514436"/>
            <a:r>
              <a:rPr lang="en-US" dirty="0"/>
              <a:t>3</a:t>
            </a:r>
          </a:p>
        </p:txBody>
      </p:sp>
      <p:sp>
        <p:nvSpPr>
          <p:cNvPr id="28" name="Text Placeholder 23">
            <a:extLst>
              <a:ext uri="{FF2B5EF4-FFF2-40B4-BE49-F238E27FC236}">
                <a16:creationId xmlns:a16="http://schemas.microsoft.com/office/drawing/2014/main" id="{E06BCED4-D727-4040-AD5B-6450A58ED4DF}"/>
              </a:ext>
            </a:extLst>
          </p:cNvPr>
          <p:cNvSpPr>
            <a:spLocks noGrp="1" noChangeAspect="1"/>
          </p:cNvSpPr>
          <p:nvPr>
            <p:ph type="body" sz="quarter" idx="19" hasCustomPrompt="1"/>
          </p:nvPr>
        </p:nvSpPr>
        <p:spPr>
          <a:xfrm>
            <a:off x="5856800" y="1312197"/>
            <a:ext cx="864000" cy="85885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3000" b="1" smtClean="0">
                <a:solidFill>
                  <a:schemeClr val="bg1"/>
                </a:solidFill>
                <a:latin typeface="Arial"/>
              </a:defRPr>
            </a:lvl1pPr>
            <a:lvl2pPr>
              <a:defRPr lang="en-US" sz="1350" smtClean="0">
                <a:solidFill>
                  <a:schemeClr val="lt1"/>
                </a:solidFill>
              </a:defRPr>
            </a:lvl2pPr>
            <a:lvl3pPr>
              <a:defRPr lang="en-US" sz="135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514436"/>
            <a:r>
              <a:rPr lang="en-US" dirty="0"/>
              <a:t>4</a:t>
            </a:r>
          </a:p>
        </p:txBody>
      </p:sp>
      <p:sp>
        <p:nvSpPr>
          <p:cNvPr id="29" name="Text Placeholder 23">
            <a:extLst>
              <a:ext uri="{FF2B5EF4-FFF2-40B4-BE49-F238E27FC236}">
                <a16:creationId xmlns:a16="http://schemas.microsoft.com/office/drawing/2014/main" id="{294EAA4E-E8D4-4CC5-BDD1-70053B25FE63}"/>
              </a:ext>
            </a:extLst>
          </p:cNvPr>
          <p:cNvSpPr>
            <a:spLocks noGrp="1" noChangeAspect="1"/>
          </p:cNvSpPr>
          <p:nvPr>
            <p:ph type="body" sz="quarter" idx="20" hasCustomPrompt="1"/>
          </p:nvPr>
        </p:nvSpPr>
        <p:spPr>
          <a:xfrm>
            <a:off x="7582931" y="1312197"/>
            <a:ext cx="864000" cy="85885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3000" b="1" smtClean="0">
                <a:solidFill>
                  <a:schemeClr val="bg1"/>
                </a:solidFill>
                <a:latin typeface="Arial"/>
              </a:defRPr>
            </a:lvl1pPr>
            <a:lvl2pPr>
              <a:defRPr lang="en-US" sz="1350" smtClean="0">
                <a:solidFill>
                  <a:schemeClr val="lt1"/>
                </a:solidFill>
              </a:defRPr>
            </a:lvl2pPr>
            <a:lvl3pPr>
              <a:defRPr lang="en-US" sz="135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514436"/>
            <a:r>
              <a:rPr lang="en-US" dirty="0"/>
              <a:t>5</a:t>
            </a:r>
          </a:p>
        </p:txBody>
      </p:sp>
      <p:sp>
        <p:nvSpPr>
          <p:cNvPr id="33" name="Text Placeholder 3">
            <a:extLst>
              <a:ext uri="{FF2B5EF4-FFF2-40B4-BE49-F238E27FC236}">
                <a16:creationId xmlns:a16="http://schemas.microsoft.com/office/drawing/2014/main" id="{8B20109F-4A5D-AF40-A937-1636D1D64A39}"/>
              </a:ext>
            </a:extLst>
          </p:cNvPr>
          <p:cNvSpPr>
            <a:spLocks noGrp="1"/>
          </p:cNvSpPr>
          <p:nvPr>
            <p:ph type="body" sz="half" idx="2" hasCustomPrompt="1"/>
          </p:nvPr>
        </p:nvSpPr>
        <p:spPr>
          <a:xfrm>
            <a:off x="294254" y="2304305"/>
            <a:ext cx="1539000" cy="1979695"/>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 typeface="Arial"/>
              <a:buNone/>
              <a:tabLst/>
              <a:defRPr lang="en-GB" sz="1400" b="1" smtClean="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Point 1</a:t>
            </a:r>
          </a:p>
        </p:txBody>
      </p:sp>
      <p:sp>
        <p:nvSpPr>
          <p:cNvPr id="34" name="Text Placeholder 3">
            <a:extLst>
              <a:ext uri="{FF2B5EF4-FFF2-40B4-BE49-F238E27FC236}">
                <a16:creationId xmlns:a16="http://schemas.microsoft.com/office/drawing/2014/main" id="{B1A38691-037D-394F-800A-B98CC5204D3A}"/>
              </a:ext>
            </a:extLst>
          </p:cNvPr>
          <p:cNvSpPr>
            <a:spLocks noGrp="1"/>
          </p:cNvSpPr>
          <p:nvPr>
            <p:ph type="body" sz="half" idx="21" hasCustomPrompt="1"/>
          </p:nvPr>
        </p:nvSpPr>
        <p:spPr>
          <a:xfrm>
            <a:off x="2048379" y="2318301"/>
            <a:ext cx="1539000" cy="1965700"/>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 typeface="Arial"/>
              <a:buNone/>
              <a:tabLst/>
              <a:defRPr lang="en-GB" sz="1400" b="1" smtClean="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Point 2</a:t>
            </a:r>
          </a:p>
        </p:txBody>
      </p:sp>
      <p:sp>
        <p:nvSpPr>
          <p:cNvPr id="35" name="Text Placeholder 3">
            <a:extLst>
              <a:ext uri="{FF2B5EF4-FFF2-40B4-BE49-F238E27FC236}">
                <a16:creationId xmlns:a16="http://schemas.microsoft.com/office/drawing/2014/main" id="{591022EE-194A-0147-A4C1-5527DCEE10B9}"/>
              </a:ext>
            </a:extLst>
          </p:cNvPr>
          <p:cNvSpPr>
            <a:spLocks noGrp="1"/>
          </p:cNvSpPr>
          <p:nvPr>
            <p:ph type="body" sz="half" idx="22" hasCustomPrompt="1"/>
          </p:nvPr>
        </p:nvSpPr>
        <p:spPr>
          <a:xfrm>
            <a:off x="3788504" y="2318300"/>
            <a:ext cx="1539000" cy="1965702"/>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 typeface="Arial"/>
              <a:buNone/>
              <a:tabLst/>
              <a:defRPr lang="en-GB" sz="1400" b="1" smtClean="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Point 3</a:t>
            </a:r>
          </a:p>
        </p:txBody>
      </p:sp>
      <p:sp>
        <p:nvSpPr>
          <p:cNvPr id="36" name="Text Placeholder 3">
            <a:extLst>
              <a:ext uri="{FF2B5EF4-FFF2-40B4-BE49-F238E27FC236}">
                <a16:creationId xmlns:a16="http://schemas.microsoft.com/office/drawing/2014/main" id="{59974140-1C49-A14E-96F4-B74CDFC7AA87}"/>
              </a:ext>
            </a:extLst>
          </p:cNvPr>
          <p:cNvSpPr>
            <a:spLocks noGrp="1"/>
          </p:cNvSpPr>
          <p:nvPr>
            <p:ph type="body" sz="half" idx="23" hasCustomPrompt="1"/>
          </p:nvPr>
        </p:nvSpPr>
        <p:spPr>
          <a:xfrm>
            <a:off x="5519300" y="2318299"/>
            <a:ext cx="1539000" cy="1965702"/>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 typeface="Arial"/>
              <a:buNone/>
              <a:tabLst/>
              <a:defRPr lang="en-GB" sz="1400" b="1" smtClean="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Point 4</a:t>
            </a:r>
          </a:p>
        </p:txBody>
      </p:sp>
      <p:sp>
        <p:nvSpPr>
          <p:cNvPr id="37" name="Text Placeholder 3">
            <a:extLst>
              <a:ext uri="{FF2B5EF4-FFF2-40B4-BE49-F238E27FC236}">
                <a16:creationId xmlns:a16="http://schemas.microsoft.com/office/drawing/2014/main" id="{5A54D1A0-56C3-904B-A447-7E1980F40DB9}"/>
              </a:ext>
            </a:extLst>
          </p:cNvPr>
          <p:cNvSpPr>
            <a:spLocks noGrp="1"/>
          </p:cNvSpPr>
          <p:nvPr>
            <p:ph type="body" sz="half" idx="24" hasCustomPrompt="1"/>
          </p:nvPr>
        </p:nvSpPr>
        <p:spPr>
          <a:xfrm>
            <a:off x="7245431" y="2318299"/>
            <a:ext cx="1539000" cy="1965704"/>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 typeface="Arial"/>
              <a:buNone/>
              <a:tabLst/>
              <a:defRPr lang="en-GB" sz="1400" b="1" smtClean="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Point 4</a:t>
            </a:r>
          </a:p>
        </p:txBody>
      </p:sp>
      <p:pic>
        <p:nvPicPr>
          <p:cNvPr id="19" name="Kuva 1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8790"/>
            <a:ext cx="2073704" cy="856800"/>
          </a:xfrm>
          <a:prstGeom prst="rect">
            <a:avLst/>
          </a:prstGeom>
        </p:spPr>
      </p:pic>
      <p:sp>
        <p:nvSpPr>
          <p:cNvPr id="18" name="Text Placeholder 3">
            <a:extLst>
              <a:ext uri="{FF2B5EF4-FFF2-40B4-BE49-F238E27FC236}">
                <a16:creationId xmlns:a16="http://schemas.microsoft.com/office/drawing/2014/main" id="{6B9DCDBA-301D-45E5-9477-380D1CB1B590}"/>
              </a:ext>
            </a:extLst>
          </p:cNvPr>
          <p:cNvSpPr>
            <a:spLocks noGrp="1"/>
          </p:cNvSpPr>
          <p:nvPr>
            <p:ph type="body" sz="half" idx="10" hasCustomPrompt="1"/>
          </p:nvPr>
        </p:nvSpPr>
        <p:spPr>
          <a:xfrm>
            <a:off x="292328" y="294870"/>
            <a:ext cx="8492897" cy="733141"/>
          </a:xfrm>
          <a:prstGeom prst="rect">
            <a:avLst/>
          </a:prstGeom>
        </p:spPr>
        <p:txBody>
          <a:bodyPr lIns="0" tIns="0" rIns="0" bIns="0"/>
          <a:lstStyle>
            <a:lvl1pPr marL="0" indent="0">
              <a:lnSpc>
                <a:spcPct val="100000"/>
              </a:lnSpc>
              <a:buNone/>
              <a:defRPr sz="3200" b="1" baseline="0">
                <a:solidFill>
                  <a:schemeClr val="tx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Body slide title </a:t>
            </a:r>
          </a:p>
        </p:txBody>
      </p:sp>
    </p:spTree>
    <p:extLst>
      <p:ext uri="{BB962C8B-B14F-4D97-AF65-F5344CB8AC3E}">
        <p14:creationId xmlns:p14="http://schemas.microsoft.com/office/powerpoint/2010/main" val="1569495062"/>
      </p:ext>
    </p:extLst>
  </p:cSld>
  <p:clrMapOvr>
    <a:masterClrMapping/>
  </p:clrMapOvr>
  <p:extLst>
    <p:ext uri="{DCECCB84-F9BA-43D5-87BE-67443E8EF086}">
      <p15:sldGuideLst xmlns:p15="http://schemas.microsoft.com/office/powerpoint/2012/main">
        <p15:guide id="1" pos="5534">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6. Closing slide - Red - Social media icons">
    <p:spTree>
      <p:nvGrpSpPr>
        <p:cNvPr id="1" name=""/>
        <p:cNvGrpSpPr/>
        <p:nvPr/>
      </p:nvGrpSpPr>
      <p:grpSpPr>
        <a:xfrm>
          <a:off x="0" y="0"/>
          <a:ext cx="0" cy="0"/>
          <a:chOff x="0" y="0"/>
          <a:chExt cx="0" cy="0"/>
        </a:xfrm>
      </p:grpSpPr>
      <p:sp>
        <p:nvSpPr>
          <p:cNvPr id="5" name="Rectangle 4"/>
          <p:cNvSpPr/>
          <p:nvPr userDrawn="1"/>
        </p:nvSpPr>
        <p:spPr>
          <a:xfrm>
            <a:off x="-16450" y="0"/>
            <a:ext cx="9160449" cy="51435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620" dirty="0"/>
          </a:p>
        </p:txBody>
      </p:sp>
      <p:sp>
        <p:nvSpPr>
          <p:cNvPr id="12" name="Otsikko 1">
            <a:hlinkClick r:id="rId2"/>
          </p:cNvPr>
          <p:cNvSpPr txBox="1">
            <a:spLocks/>
          </p:cNvSpPr>
          <p:nvPr userDrawn="1"/>
        </p:nvSpPr>
        <p:spPr>
          <a:xfrm>
            <a:off x="3717365" y="3568351"/>
            <a:ext cx="1709289" cy="364352"/>
          </a:xfrm>
          <a:prstGeom prst="rect">
            <a:avLst/>
          </a:prstGeom>
        </p:spPr>
        <p:txBody>
          <a:bodyPr lIns="0" tIns="0" rIns="0" bIns="0" anchor="t" anchorCtr="0">
            <a:noAutofit/>
          </a:bodyPr>
          <a:lstStyle>
            <a:lvl1pPr algn="l" defTabSz="457200" rtl="0" eaLnBrk="0" fontAlgn="base" hangingPunct="0">
              <a:lnSpc>
                <a:spcPct val="85000"/>
              </a:lnSpc>
              <a:spcBef>
                <a:spcPct val="0"/>
              </a:spcBef>
              <a:spcAft>
                <a:spcPct val="0"/>
              </a:spcAft>
              <a:defRPr sz="3600" b="1" kern="1200" spc="-100">
                <a:solidFill>
                  <a:srgbClr val="FFFFFF"/>
                </a:solidFill>
                <a:latin typeface="+mj-lt"/>
                <a:ea typeface="ＭＳ Ｐゴシック" charset="0"/>
                <a:cs typeface="MS PGothic" pitchFamily="34" charset="-128"/>
              </a:defRPr>
            </a:lvl1pPr>
            <a:lvl2pPr algn="ctr" defTabSz="457200" rtl="0" eaLnBrk="0" fontAlgn="base" hangingPunct="0">
              <a:spcBef>
                <a:spcPct val="0"/>
              </a:spcBef>
              <a:spcAft>
                <a:spcPct val="0"/>
              </a:spcAft>
              <a:defRPr sz="4400">
                <a:solidFill>
                  <a:schemeClr val="tx1"/>
                </a:solidFill>
                <a:latin typeface="Arial" pitchFamily="-65" charset="0"/>
                <a:ea typeface="ＭＳ Ｐゴシック" charset="0"/>
                <a:cs typeface="MS PGothic" pitchFamily="34" charset="-128"/>
              </a:defRPr>
            </a:lvl2pPr>
            <a:lvl3pPr algn="ctr" defTabSz="457200" rtl="0" eaLnBrk="0" fontAlgn="base" hangingPunct="0">
              <a:spcBef>
                <a:spcPct val="0"/>
              </a:spcBef>
              <a:spcAft>
                <a:spcPct val="0"/>
              </a:spcAft>
              <a:defRPr sz="4400">
                <a:solidFill>
                  <a:schemeClr val="tx1"/>
                </a:solidFill>
                <a:latin typeface="Arial" pitchFamily="-65" charset="0"/>
                <a:ea typeface="ＭＳ Ｐゴシック" charset="0"/>
                <a:cs typeface="MS PGothic" pitchFamily="34" charset="-128"/>
              </a:defRPr>
            </a:lvl3pPr>
            <a:lvl4pPr algn="ctr" defTabSz="457200" rtl="0" eaLnBrk="0" fontAlgn="base" hangingPunct="0">
              <a:spcBef>
                <a:spcPct val="0"/>
              </a:spcBef>
              <a:spcAft>
                <a:spcPct val="0"/>
              </a:spcAft>
              <a:defRPr sz="4400">
                <a:solidFill>
                  <a:schemeClr val="tx1"/>
                </a:solidFill>
                <a:latin typeface="Arial" pitchFamily="-65" charset="0"/>
                <a:ea typeface="ＭＳ Ｐゴシック" charset="0"/>
                <a:cs typeface="MS PGothic" pitchFamily="34" charset="-128"/>
              </a:defRPr>
            </a:lvl4pPr>
            <a:lvl5pPr algn="ctr" defTabSz="457200" rtl="0" eaLnBrk="0" fontAlgn="base" hangingPunct="0">
              <a:spcBef>
                <a:spcPct val="0"/>
              </a:spcBef>
              <a:spcAft>
                <a:spcPct val="0"/>
              </a:spcAft>
              <a:defRPr sz="4400">
                <a:solidFill>
                  <a:schemeClr val="tx1"/>
                </a:solidFill>
                <a:latin typeface="Arial" pitchFamily="-65" charset="0"/>
                <a:ea typeface="ＭＳ Ｐゴシック" charset="0"/>
                <a:cs typeface="MS PGothic" pitchFamily="34" charset="-128"/>
              </a:defRPr>
            </a:lvl5pPr>
            <a:lvl6pPr marL="4572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6pPr>
            <a:lvl7pPr marL="9144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7pPr>
            <a:lvl8pPr marL="13716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8pPr>
            <a:lvl9pPr marL="18288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9pPr>
          </a:lstStyle>
          <a:p>
            <a:pPr algn="ctr"/>
            <a:r>
              <a:rPr lang="fi-FI" sz="1800" spc="0" baseline="0" dirty="0">
                <a:latin typeface="Arial"/>
                <a:cs typeface="Arial"/>
              </a:rPr>
              <a:t>aalto.fi</a:t>
            </a:r>
          </a:p>
        </p:txBody>
      </p:sp>
      <p:grpSp>
        <p:nvGrpSpPr>
          <p:cNvPr id="6" name="Group 5"/>
          <p:cNvGrpSpPr/>
          <p:nvPr userDrawn="1"/>
        </p:nvGrpSpPr>
        <p:grpSpPr>
          <a:xfrm>
            <a:off x="3094339" y="2868216"/>
            <a:ext cx="2955323" cy="353760"/>
            <a:chOff x="4484925" y="3824288"/>
            <a:chExt cx="3940431" cy="471680"/>
          </a:xfrm>
        </p:grpSpPr>
        <p:pic>
          <p:nvPicPr>
            <p:cNvPr id="7" name="Picture 6" descr="FB.png">
              <a:hlinkClick r:id="rId3"/>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84925" y="3824416"/>
              <a:ext cx="471553" cy="471552"/>
            </a:xfrm>
            <a:prstGeom prst="rect">
              <a:avLst/>
            </a:prstGeom>
          </p:spPr>
        </p:pic>
        <p:pic>
          <p:nvPicPr>
            <p:cNvPr id="8" name="Picture 7" descr="IG.png">
              <a:hlinkClick r:id="rId5"/>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164502" y="3824416"/>
              <a:ext cx="471553" cy="471552"/>
            </a:xfrm>
            <a:prstGeom prst="rect">
              <a:avLst/>
            </a:prstGeom>
          </p:spPr>
        </p:pic>
        <p:pic>
          <p:nvPicPr>
            <p:cNvPr id="9" name="Picture 8" descr="Twitter.png">
              <a:hlinkClick r:id="rId7"/>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5844079" y="3824416"/>
              <a:ext cx="471553" cy="471552"/>
            </a:xfrm>
            <a:prstGeom prst="rect">
              <a:avLst/>
            </a:prstGeom>
          </p:spPr>
        </p:pic>
        <p:pic>
          <p:nvPicPr>
            <p:cNvPr id="10" name="Picture 9" descr="Youtube.png">
              <a:hlinkClick r:id="rId9"/>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6523656" y="3824416"/>
              <a:ext cx="471553" cy="471552"/>
            </a:xfrm>
            <a:prstGeom prst="rect">
              <a:avLst/>
            </a:prstGeom>
          </p:spPr>
        </p:pic>
        <p:pic>
          <p:nvPicPr>
            <p:cNvPr id="11" name="Picture 10" descr="SC.png">
              <a:hlinkClick r:id="rId11"/>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7203233" y="3824416"/>
              <a:ext cx="471553" cy="471552"/>
            </a:xfrm>
            <a:prstGeom prst="rect">
              <a:avLst/>
            </a:prstGeom>
          </p:spPr>
        </p:pic>
        <p:pic>
          <p:nvPicPr>
            <p:cNvPr id="3" name="Picture 2"/>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7882812" y="3824288"/>
              <a:ext cx="542544" cy="457200"/>
            </a:xfrm>
            <a:prstGeom prst="rect">
              <a:avLst/>
            </a:prstGeom>
          </p:spPr>
        </p:pic>
      </p:grpSp>
      <p:sp>
        <p:nvSpPr>
          <p:cNvPr id="16" name="Tekstin paikkamerkki 2">
            <a:extLst>
              <a:ext uri="{FF2B5EF4-FFF2-40B4-BE49-F238E27FC236}">
                <a16:creationId xmlns:a16="http://schemas.microsoft.com/office/drawing/2014/main" id="{B67CF44B-9D5D-46DC-B676-986416FB8384}"/>
              </a:ext>
            </a:extLst>
          </p:cNvPr>
          <p:cNvSpPr>
            <a:spLocks noGrp="1"/>
          </p:cNvSpPr>
          <p:nvPr>
            <p:ph type="body" sz="quarter" idx="10" hasCustomPrompt="1"/>
          </p:nvPr>
        </p:nvSpPr>
        <p:spPr>
          <a:xfrm>
            <a:off x="1576388" y="1364641"/>
            <a:ext cx="5995987" cy="1306097"/>
          </a:xfrm>
          <a:prstGeom prst="rect">
            <a:avLst/>
          </a:prstGeom>
        </p:spPr>
        <p:txBody>
          <a:bodyPr anchor="b" anchorCtr="0"/>
          <a:lstStyle>
            <a:lvl1pPr marL="0" indent="0" algn="ctr">
              <a:lnSpc>
                <a:spcPct val="100000"/>
              </a:lnSpc>
              <a:buNone/>
              <a:defRPr sz="4000" b="1">
                <a:solidFill>
                  <a:srgbClr val="FFFFFF"/>
                </a:solidFill>
                <a:latin typeface="+mj-lt"/>
              </a:defRPr>
            </a:lvl1pPr>
            <a:lvl2pPr marL="342900" indent="0">
              <a:buNone/>
              <a:defRPr/>
            </a:lvl2pPr>
          </a:lstStyle>
          <a:p>
            <a:pPr lvl="0"/>
            <a:r>
              <a:rPr lang="fi-FI" dirty="0"/>
              <a:t>Add text</a:t>
            </a:r>
          </a:p>
        </p:txBody>
      </p:sp>
      <p:pic>
        <p:nvPicPr>
          <p:cNvPr id="17" name="Kuva 16"/>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766" y="3501900"/>
            <a:ext cx="1850304" cy="1641600"/>
          </a:xfrm>
          <a:prstGeom prst="rect">
            <a:avLst/>
          </a:prstGeom>
        </p:spPr>
      </p:pic>
    </p:spTree>
    <p:extLst>
      <p:ext uri="{BB962C8B-B14F-4D97-AF65-F5344CB8AC3E}">
        <p14:creationId xmlns:p14="http://schemas.microsoft.com/office/powerpoint/2010/main" val="4232209968"/>
      </p:ext>
    </p:extLst>
  </p:cSld>
  <p:clrMapOvr>
    <a:masterClrMapping/>
  </p:clrMapOvr>
  <p:extLst>
    <p:ext uri="{DCECCB84-F9BA-43D5-87BE-67443E8EF086}">
      <p15:sldGuideLst xmlns:p15="http://schemas.microsoft.com/office/powerpoint/2012/main">
        <p15:guide id="1" orient="horz" pos="1807">
          <p15:clr>
            <a:srgbClr val="FBAE40"/>
          </p15:clr>
        </p15:guide>
        <p15:guide id="2" orient="horz" pos="202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7. Divider - Red - Text and image">
    <p:spTree>
      <p:nvGrpSpPr>
        <p:cNvPr id="1" name=""/>
        <p:cNvGrpSpPr/>
        <p:nvPr/>
      </p:nvGrpSpPr>
      <p:grpSpPr>
        <a:xfrm>
          <a:off x="0" y="0"/>
          <a:ext cx="0" cy="0"/>
          <a:chOff x="0" y="0"/>
          <a:chExt cx="0" cy="0"/>
        </a:xfrm>
      </p:grpSpPr>
      <p:sp>
        <p:nvSpPr>
          <p:cNvPr id="11" name="Rectangle 10"/>
          <p:cNvSpPr/>
          <p:nvPr userDrawn="1"/>
        </p:nvSpPr>
        <p:spPr>
          <a:xfrm>
            <a:off x="0"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13" dirty="0"/>
          </a:p>
        </p:txBody>
      </p:sp>
      <p:sp>
        <p:nvSpPr>
          <p:cNvPr id="6" name="Picture Placeholder 2"/>
          <p:cNvSpPr>
            <a:spLocks noGrp="1"/>
          </p:cNvSpPr>
          <p:nvPr>
            <p:ph type="pic" idx="11" hasCustomPrompt="1"/>
          </p:nvPr>
        </p:nvSpPr>
        <p:spPr>
          <a:xfrm>
            <a:off x="4710793" y="0"/>
            <a:ext cx="4433207" cy="5143500"/>
          </a:xfrm>
          <a:prstGeom prst="rect">
            <a:avLst/>
          </a:prstGeom>
        </p:spPr>
        <p:txBody>
          <a:bodyPr/>
          <a:lstStyle>
            <a:lvl1pPr marL="0" marR="0" indent="0" algn="l" defTabSz="685800" rtl="0" eaLnBrk="1" fontAlgn="auto" latinLnBrk="0" hangingPunct="1">
              <a:lnSpc>
                <a:spcPct val="90000"/>
              </a:lnSpc>
              <a:spcBef>
                <a:spcPts val="750"/>
              </a:spcBef>
              <a:spcAft>
                <a:spcPts val="0"/>
              </a:spcAft>
              <a:buClrTx/>
              <a:buSzTx/>
              <a:buFont typeface="Arial"/>
              <a:buNone/>
              <a:tabLst/>
              <a:defRPr sz="2400" b="1" baseline="0">
                <a:solidFill>
                  <a:schemeClr val="bg1">
                    <a:alpha val="62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Click icon to add image.</a:t>
            </a:r>
            <a:br>
              <a:rPr lang="en-US" dirty="0"/>
            </a:br>
            <a:br>
              <a:rPr lang="en-US" dirty="0"/>
            </a:br>
            <a:r>
              <a:rPr lang="fi-FI" dirty="0"/>
              <a:t>Fit the image to frame </a:t>
            </a:r>
            <a:br>
              <a:rPr lang="fi-FI" dirty="0"/>
            </a:br>
            <a:r>
              <a:rPr lang="fi-FI" dirty="0"/>
              <a:t>by choosing: </a:t>
            </a:r>
            <a:br>
              <a:rPr lang="fi-FI" dirty="0"/>
            </a:br>
            <a:r>
              <a:rPr lang="fi-FI" dirty="0"/>
              <a:t>crop&gt;fit / rajaa&gt;sovita</a:t>
            </a:r>
            <a:endParaRPr lang="en-US" dirty="0"/>
          </a:p>
        </p:txBody>
      </p:sp>
      <p:sp>
        <p:nvSpPr>
          <p:cNvPr id="4" name="Päivämäärän paikkamerkki 3">
            <a:extLst>
              <a:ext uri="{FF2B5EF4-FFF2-40B4-BE49-F238E27FC236}">
                <a16:creationId xmlns:a16="http://schemas.microsoft.com/office/drawing/2014/main" id="{04E326D0-D397-4DCF-88BA-ADD90C3D5C3E}"/>
              </a:ext>
            </a:extLst>
          </p:cNvPr>
          <p:cNvSpPr>
            <a:spLocks noGrp="1"/>
          </p:cNvSpPr>
          <p:nvPr>
            <p:ph type="dt" sz="half" idx="13"/>
          </p:nvPr>
        </p:nvSpPr>
        <p:spPr/>
        <p:txBody>
          <a:bodyPr/>
          <a:lstStyle>
            <a:lvl1pPr>
              <a:defRPr>
                <a:solidFill>
                  <a:srgbClr val="FFFFFF"/>
                </a:solidFill>
              </a:defRPr>
            </a:lvl1pPr>
          </a:lstStyle>
          <a:p>
            <a:r>
              <a:rPr lang="fi-FI" dirty="0"/>
              <a:t>dd.mm.yyyy</a:t>
            </a:r>
            <a:endParaRPr lang="en-US" dirty="0"/>
          </a:p>
        </p:txBody>
      </p:sp>
      <p:sp>
        <p:nvSpPr>
          <p:cNvPr id="5" name="Alatunnisteen paikkamerkki 4">
            <a:extLst>
              <a:ext uri="{FF2B5EF4-FFF2-40B4-BE49-F238E27FC236}">
                <a16:creationId xmlns:a16="http://schemas.microsoft.com/office/drawing/2014/main" id="{0B124AD7-04E5-4E26-A7E3-6E499B81497F}"/>
              </a:ext>
            </a:extLst>
          </p:cNvPr>
          <p:cNvSpPr>
            <a:spLocks noGrp="1"/>
          </p:cNvSpPr>
          <p:nvPr>
            <p:ph type="ftr" sz="quarter" idx="14"/>
          </p:nvPr>
        </p:nvSpPr>
        <p:spPr/>
        <p:txBody>
          <a:bodyPr/>
          <a:lstStyle>
            <a:lvl1pPr>
              <a:defRPr>
                <a:solidFill>
                  <a:srgbClr val="FFFFFF"/>
                </a:solidFill>
              </a:defRPr>
            </a:lvl1pPr>
          </a:lstStyle>
          <a:p>
            <a:r>
              <a:rPr lang="fi-FI" dirty="0"/>
              <a:t>Your text here</a:t>
            </a:r>
          </a:p>
        </p:txBody>
      </p:sp>
      <p:sp>
        <p:nvSpPr>
          <p:cNvPr id="10" name="Dian numeron paikkamerkki 9">
            <a:extLst>
              <a:ext uri="{FF2B5EF4-FFF2-40B4-BE49-F238E27FC236}">
                <a16:creationId xmlns:a16="http://schemas.microsoft.com/office/drawing/2014/main" id="{439BEBFE-6A3C-4862-B3C0-DF2EC5E8CBFB}"/>
              </a:ext>
            </a:extLst>
          </p:cNvPr>
          <p:cNvSpPr>
            <a:spLocks noGrp="1"/>
          </p:cNvSpPr>
          <p:nvPr>
            <p:ph type="sldNum" sz="quarter" idx="15"/>
          </p:nvPr>
        </p:nvSpPr>
        <p:spPr/>
        <p:txBody>
          <a:bodyPr/>
          <a:lstStyle>
            <a:lvl1pPr>
              <a:defRPr>
                <a:solidFill>
                  <a:srgbClr val="FFFFFF"/>
                </a:solidFill>
              </a:defRPr>
            </a:lvl1pPr>
          </a:lstStyle>
          <a:p>
            <a:fld id="{28F7F04C-F568-F649-A2AE-EA61C66B69B4}" type="slidenum">
              <a:rPr lang="en-US" smtClean="0"/>
              <a:pPr/>
              <a:t>‹#›</a:t>
            </a:fld>
            <a:endParaRPr lang="en-US" dirty="0"/>
          </a:p>
        </p:txBody>
      </p:sp>
      <p:sp>
        <p:nvSpPr>
          <p:cNvPr id="9" name="Text Placeholder 2">
            <a:extLst>
              <a:ext uri="{FF2B5EF4-FFF2-40B4-BE49-F238E27FC236}">
                <a16:creationId xmlns:a16="http://schemas.microsoft.com/office/drawing/2014/main" id="{3CC9C0A2-E518-4F61-BACC-25E3255118C4}"/>
              </a:ext>
            </a:extLst>
          </p:cNvPr>
          <p:cNvSpPr>
            <a:spLocks noGrp="1"/>
          </p:cNvSpPr>
          <p:nvPr>
            <p:ph type="body" sz="quarter" idx="12" hasCustomPrompt="1"/>
          </p:nvPr>
        </p:nvSpPr>
        <p:spPr>
          <a:xfrm>
            <a:off x="287338" y="519113"/>
            <a:ext cx="4218160" cy="3767587"/>
          </a:xfrm>
          <a:prstGeom prst="rect">
            <a:avLst/>
          </a:prstGeom>
        </p:spPr>
        <p:txBody>
          <a:bodyPr lIns="0" tIns="0" rIns="0" bIns="0"/>
          <a:lstStyle>
            <a:lvl1pPr marL="0" indent="0">
              <a:lnSpc>
                <a:spcPct val="100000"/>
              </a:lnSpc>
              <a:buNone/>
              <a:defRPr sz="3300" b="1">
                <a:solidFill>
                  <a:schemeClr val="bg1"/>
                </a:solidFill>
              </a:defRPr>
            </a:lvl1pPr>
          </a:lstStyle>
          <a:p>
            <a:r>
              <a:rPr lang="fi-FI" dirty="0"/>
              <a:t>Lorem </a:t>
            </a:r>
            <a:r>
              <a:rPr lang="fi-FI" dirty="0" err="1"/>
              <a:t>ipsum</a:t>
            </a:r>
            <a:r>
              <a:rPr lang="fi-FI" dirty="0"/>
              <a:t> </a:t>
            </a:r>
            <a:r>
              <a:rPr lang="fi-FI" dirty="0" err="1"/>
              <a:t>dolor</a:t>
            </a:r>
            <a:r>
              <a:rPr lang="fi-FI" dirty="0"/>
              <a:t> </a:t>
            </a:r>
            <a:r>
              <a:rPr lang="fi-FI" dirty="0" err="1"/>
              <a:t>sit</a:t>
            </a:r>
            <a:r>
              <a:rPr lang="fi-FI" dirty="0"/>
              <a:t> amet, </a:t>
            </a:r>
            <a:r>
              <a:rPr lang="fi-FI" dirty="0" err="1"/>
              <a:t>consectetur</a:t>
            </a:r>
            <a:r>
              <a:rPr lang="fi-FI" dirty="0"/>
              <a:t> adipiscing elit. </a:t>
            </a:r>
            <a:r>
              <a:rPr lang="fi-FI" dirty="0" err="1"/>
              <a:t>Maecenas</a:t>
            </a:r>
            <a:r>
              <a:rPr lang="fi-FI" dirty="0"/>
              <a:t> </a:t>
            </a:r>
            <a:r>
              <a:rPr lang="fi-FI" dirty="0" err="1"/>
              <a:t>velit</a:t>
            </a:r>
            <a:r>
              <a:rPr lang="fi-FI" dirty="0"/>
              <a:t> </a:t>
            </a:r>
            <a:r>
              <a:rPr lang="fi-FI" dirty="0" err="1"/>
              <a:t>velit</a:t>
            </a:r>
            <a:r>
              <a:rPr lang="fi-FI" dirty="0"/>
              <a:t>, </a:t>
            </a:r>
            <a:r>
              <a:rPr lang="fi-FI" dirty="0" err="1"/>
              <a:t>consequat</a:t>
            </a:r>
            <a:r>
              <a:rPr lang="fi-FI" dirty="0"/>
              <a:t> </a:t>
            </a:r>
            <a:r>
              <a:rPr lang="fi-FI" dirty="0" err="1"/>
              <a:t>eget</a:t>
            </a:r>
            <a:r>
              <a:rPr lang="fi-FI" dirty="0"/>
              <a:t> </a:t>
            </a:r>
            <a:r>
              <a:rPr lang="fi-FI" dirty="0" err="1"/>
              <a:t>ullamcorper</a:t>
            </a:r>
            <a:r>
              <a:rPr lang="fi-FI" dirty="0"/>
              <a:t> a, </a:t>
            </a:r>
            <a:r>
              <a:rPr lang="fi-FI" dirty="0" err="1"/>
              <a:t>maximus</a:t>
            </a:r>
            <a:r>
              <a:rPr lang="fi-FI" dirty="0"/>
              <a:t> </a:t>
            </a:r>
            <a:r>
              <a:rPr lang="fi-FI" dirty="0" err="1"/>
              <a:t>ac</a:t>
            </a:r>
            <a:r>
              <a:rPr lang="fi-FI" dirty="0"/>
              <a:t> ex.</a:t>
            </a:r>
          </a:p>
        </p:txBody>
      </p:sp>
      <p:pic>
        <p:nvPicPr>
          <p:cNvPr id="7" name="Kuva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1580"/>
            <a:ext cx="1991440" cy="856800"/>
          </a:xfrm>
          <a:prstGeom prst="rect">
            <a:avLst/>
          </a:prstGeom>
        </p:spPr>
      </p:pic>
    </p:spTree>
    <p:extLst>
      <p:ext uri="{BB962C8B-B14F-4D97-AF65-F5344CB8AC3E}">
        <p14:creationId xmlns:p14="http://schemas.microsoft.com/office/powerpoint/2010/main" val="362416079"/>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2. Header Slide - Red - Image ">
    <p:spTree>
      <p:nvGrpSpPr>
        <p:cNvPr id="1" name=""/>
        <p:cNvGrpSpPr/>
        <p:nvPr/>
      </p:nvGrpSpPr>
      <p:grpSpPr>
        <a:xfrm>
          <a:off x="0" y="0"/>
          <a:ext cx="0" cy="0"/>
          <a:chOff x="0" y="0"/>
          <a:chExt cx="0" cy="0"/>
        </a:xfrm>
      </p:grpSpPr>
      <p:sp>
        <p:nvSpPr>
          <p:cNvPr id="11" name="Rectangle 10"/>
          <p:cNvSpPr/>
          <p:nvPr userDrawn="1"/>
        </p:nvSpPr>
        <p:spPr>
          <a:xfrm>
            <a:off x="0"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13" dirty="0"/>
          </a:p>
        </p:txBody>
      </p:sp>
      <p:sp>
        <p:nvSpPr>
          <p:cNvPr id="9" name="Title 8"/>
          <p:cNvSpPr>
            <a:spLocks noGrp="1"/>
          </p:cNvSpPr>
          <p:nvPr>
            <p:ph type="title" hasCustomPrompt="1"/>
          </p:nvPr>
        </p:nvSpPr>
        <p:spPr>
          <a:xfrm>
            <a:off x="442398" y="896699"/>
            <a:ext cx="3869137" cy="570773"/>
          </a:xfrm>
          <a:prstGeom prst="rect">
            <a:avLst/>
          </a:prstGeom>
        </p:spPr>
        <p:txBody>
          <a:bodyPr lIns="0" tIns="0" rIns="0" bIns="0" anchor="b"/>
          <a:lstStyle>
            <a:lvl1pPr>
              <a:lnSpc>
                <a:spcPct val="100000"/>
              </a:lnSpc>
              <a:defRPr sz="4000" b="1" baseline="0">
                <a:solidFill>
                  <a:schemeClr val="bg1"/>
                </a:solidFill>
              </a:defRPr>
            </a:lvl1pPr>
          </a:lstStyle>
          <a:p>
            <a:r>
              <a:rPr lang="en-US" dirty="0"/>
              <a:t>Headline</a:t>
            </a:r>
          </a:p>
        </p:txBody>
      </p:sp>
      <p:sp>
        <p:nvSpPr>
          <p:cNvPr id="13" name="Text Placeholder 3"/>
          <p:cNvSpPr>
            <a:spLocks noGrp="1"/>
          </p:cNvSpPr>
          <p:nvPr>
            <p:ph type="body" sz="half" idx="2" hasCustomPrompt="1"/>
          </p:nvPr>
        </p:nvSpPr>
        <p:spPr>
          <a:xfrm>
            <a:off x="442398" y="1746663"/>
            <a:ext cx="3869137" cy="351692"/>
          </a:xfrm>
          <a:prstGeom prst="rect">
            <a:avLst/>
          </a:prstGeom>
        </p:spPr>
        <p:txBody>
          <a:bodyPr lIns="0" tIns="0" rIns="0" bIns="0"/>
          <a:lstStyle>
            <a:lvl1pPr marL="0" indent="0">
              <a:lnSpc>
                <a:spcPct val="100000"/>
              </a:lnSpc>
              <a:buNone/>
              <a:defRPr sz="2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Sub Headline</a:t>
            </a:r>
          </a:p>
        </p:txBody>
      </p:sp>
      <p:cxnSp>
        <p:nvCxnSpPr>
          <p:cNvPr id="15" name="Suora yhdysviiva 6"/>
          <p:cNvCxnSpPr/>
          <p:nvPr userDrawn="1"/>
        </p:nvCxnSpPr>
        <p:spPr>
          <a:xfrm>
            <a:off x="442398" y="1588362"/>
            <a:ext cx="379683" cy="0"/>
          </a:xfrm>
          <a:prstGeom prst="line">
            <a:avLst/>
          </a:prstGeom>
          <a:ln w="5715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2" name="Text Placeholder 3"/>
          <p:cNvSpPr>
            <a:spLocks noGrp="1"/>
          </p:cNvSpPr>
          <p:nvPr>
            <p:ph type="body" sz="half" idx="11" hasCustomPrompt="1"/>
          </p:nvPr>
        </p:nvSpPr>
        <p:spPr>
          <a:xfrm>
            <a:off x="442398" y="2794132"/>
            <a:ext cx="3869137" cy="294419"/>
          </a:xfrm>
          <a:prstGeom prst="rect">
            <a:avLst/>
          </a:prstGeom>
        </p:spPr>
        <p:txBody>
          <a:bodyPr lIns="0" tIns="0" rIns="0" bIns="0"/>
          <a:lstStyle>
            <a:lvl1pPr marL="0" indent="0">
              <a:lnSpc>
                <a:spcPct val="100000"/>
              </a:lnSpc>
              <a:buNone/>
              <a:defRPr sz="1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Name</a:t>
            </a:r>
          </a:p>
        </p:txBody>
      </p:sp>
      <p:sp>
        <p:nvSpPr>
          <p:cNvPr id="16" name="Text Placeholder 3"/>
          <p:cNvSpPr>
            <a:spLocks noGrp="1"/>
          </p:cNvSpPr>
          <p:nvPr>
            <p:ph type="body" sz="half" idx="12" hasCustomPrompt="1"/>
          </p:nvPr>
        </p:nvSpPr>
        <p:spPr>
          <a:xfrm>
            <a:off x="442398" y="3088551"/>
            <a:ext cx="3869137" cy="324054"/>
          </a:xfrm>
          <a:prstGeom prst="rect">
            <a:avLst/>
          </a:prstGeom>
        </p:spPr>
        <p:txBody>
          <a:bodyPr lIns="0" tIns="0" rIns="0" bIns="0"/>
          <a:lstStyle>
            <a:lvl1pPr marL="0" indent="0">
              <a:lnSpc>
                <a:spcPct val="100000"/>
              </a:lnSpc>
              <a:buNone/>
              <a:defRPr sz="1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Date</a:t>
            </a:r>
          </a:p>
        </p:txBody>
      </p:sp>
      <p:pic>
        <p:nvPicPr>
          <p:cNvPr id="2" name="Kuva 1"/>
          <p:cNvPicPr>
            <a:picLocks noChangeAspect="1"/>
          </p:cNvPicPr>
          <p:nvPr userDrawn="1"/>
        </p:nvPicPr>
        <p:blipFill rotWithShape="1">
          <a:blip r:embed="rId2">
            <a:extLst>
              <a:ext uri="{28A0092B-C50C-407E-A947-70E740481C1C}">
                <a14:useLocalDpi xmlns:a14="http://schemas.microsoft.com/office/drawing/2010/main" val="0"/>
              </a:ext>
            </a:extLst>
          </a:blip>
          <a:srcRect l="33917" r="16133"/>
          <a:stretch/>
        </p:blipFill>
        <p:spPr>
          <a:xfrm>
            <a:off x="4576713" y="0"/>
            <a:ext cx="4567287" cy="5143500"/>
          </a:xfrm>
          <a:prstGeom prst="rect">
            <a:avLst/>
          </a:prstGeom>
        </p:spPr>
      </p:pic>
      <p:pic>
        <p:nvPicPr>
          <p:cNvPr id="17" name="Kuva 1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66" y="3501900"/>
            <a:ext cx="1850304" cy="1641600"/>
          </a:xfrm>
          <a:prstGeom prst="rect">
            <a:avLst/>
          </a:prstGeom>
        </p:spPr>
      </p:pic>
    </p:spTree>
    <p:extLst>
      <p:ext uri="{BB962C8B-B14F-4D97-AF65-F5344CB8AC3E}">
        <p14:creationId xmlns:p14="http://schemas.microsoft.com/office/powerpoint/2010/main" val="2659626141"/>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_2. Header Slide - Red - Image ">
    <p:spTree>
      <p:nvGrpSpPr>
        <p:cNvPr id="1" name=""/>
        <p:cNvGrpSpPr/>
        <p:nvPr/>
      </p:nvGrpSpPr>
      <p:grpSpPr>
        <a:xfrm>
          <a:off x="0" y="0"/>
          <a:ext cx="0" cy="0"/>
          <a:chOff x="0" y="0"/>
          <a:chExt cx="0" cy="0"/>
        </a:xfrm>
      </p:grpSpPr>
      <p:sp>
        <p:nvSpPr>
          <p:cNvPr id="11" name="Rectangle 10"/>
          <p:cNvSpPr/>
          <p:nvPr userDrawn="1"/>
        </p:nvSpPr>
        <p:spPr>
          <a:xfrm>
            <a:off x="0"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13" dirty="0"/>
          </a:p>
        </p:txBody>
      </p:sp>
      <p:sp>
        <p:nvSpPr>
          <p:cNvPr id="9" name="Title 8"/>
          <p:cNvSpPr>
            <a:spLocks noGrp="1"/>
          </p:cNvSpPr>
          <p:nvPr>
            <p:ph type="title" hasCustomPrompt="1"/>
          </p:nvPr>
        </p:nvSpPr>
        <p:spPr>
          <a:xfrm>
            <a:off x="442398" y="896699"/>
            <a:ext cx="3869137" cy="570773"/>
          </a:xfrm>
          <a:prstGeom prst="rect">
            <a:avLst/>
          </a:prstGeom>
        </p:spPr>
        <p:txBody>
          <a:bodyPr lIns="0" tIns="0" rIns="0" bIns="0" anchor="b"/>
          <a:lstStyle>
            <a:lvl1pPr>
              <a:lnSpc>
                <a:spcPct val="100000"/>
              </a:lnSpc>
              <a:defRPr sz="4000" b="1" baseline="0">
                <a:solidFill>
                  <a:schemeClr val="bg1"/>
                </a:solidFill>
              </a:defRPr>
            </a:lvl1pPr>
          </a:lstStyle>
          <a:p>
            <a:r>
              <a:rPr lang="en-US" dirty="0"/>
              <a:t>Headline</a:t>
            </a:r>
          </a:p>
        </p:txBody>
      </p:sp>
      <p:cxnSp>
        <p:nvCxnSpPr>
          <p:cNvPr id="15" name="Suora yhdysviiva 6"/>
          <p:cNvCxnSpPr/>
          <p:nvPr userDrawn="1"/>
        </p:nvCxnSpPr>
        <p:spPr>
          <a:xfrm>
            <a:off x="442398" y="1588362"/>
            <a:ext cx="379683" cy="0"/>
          </a:xfrm>
          <a:prstGeom prst="line">
            <a:avLst/>
          </a:prstGeom>
          <a:ln w="57150">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2" name="Kuva 1"/>
          <p:cNvPicPr>
            <a:picLocks noChangeAspect="1"/>
          </p:cNvPicPr>
          <p:nvPr userDrawn="1"/>
        </p:nvPicPr>
        <p:blipFill rotWithShape="1">
          <a:blip r:embed="rId2">
            <a:extLst>
              <a:ext uri="{28A0092B-C50C-407E-A947-70E740481C1C}">
                <a14:useLocalDpi xmlns:a14="http://schemas.microsoft.com/office/drawing/2010/main" val="0"/>
              </a:ext>
            </a:extLst>
          </a:blip>
          <a:srcRect l="20670" r="20132"/>
          <a:stretch/>
        </p:blipFill>
        <p:spPr>
          <a:xfrm>
            <a:off x="4572000" y="0"/>
            <a:ext cx="4567287" cy="5143500"/>
          </a:xfrm>
          <a:prstGeom prst="rect">
            <a:avLst/>
          </a:prstGeom>
        </p:spPr>
      </p:pic>
      <p:sp>
        <p:nvSpPr>
          <p:cNvPr id="14" name="Text Placeholder 3"/>
          <p:cNvSpPr>
            <a:spLocks noGrp="1"/>
          </p:cNvSpPr>
          <p:nvPr>
            <p:ph type="body" sz="half" idx="2" hasCustomPrompt="1"/>
          </p:nvPr>
        </p:nvSpPr>
        <p:spPr>
          <a:xfrm>
            <a:off x="442398" y="1746663"/>
            <a:ext cx="3869137" cy="351692"/>
          </a:xfrm>
          <a:prstGeom prst="rect">
            <a:avLst/>
          </a:prstGeom>
        </p:spPr>
        <p:txBody>
          <a:bodyPr lIns="0" tIns="0" rIns="0" bIns="0"/>
          <a:lstStyle>
            <a:lvl1pPr marL="0" indent="0">
              <a:lnSpc>
                <a:spcPct val="100000"/>
              </a:lnSpc>
              <a:buNone/>
              <a:defRPr sz="2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Sub Headline</a:t>
            </a:r>
          </a:p>
        </p:txBody>
      </p:sp>
      <p:sp>
        <p:nvSpPr>
          <p:cNvPr id="17" name="Text Placeholder 3"/>
          <p:cNvSpPr>
            <a:spLocks noGrp="1"/>
          </p:cNvSpPr>
          <p:nvPr>
            <p:ph type="body" sz="half" idx="11" hasCustomPrompt="1"/>
          </p:nvPr>
        </p:nvSpPr>
        <p:spPr>
          <a:xfrm>
            <a:off x="442398" y="2794132"/>
            <a:ext cx="3869137" cy="294419"/>
          </a:xfrm>
          <a:prstGeom prst="rect">
            <a:avLst/>
          </a:prstGeom>
        </p:spPr>
        <p:txBody>
          <a:bodyPr lIns="0" tIns="0" rIns="0" bIns="0"/>
          <a:lstStyle>
            <a:lvl1pPr marL="0" indent="0">
              <a:buNone/>
              <a:defRPr sz="1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Name</a:t>
            </a:r>
          </a:p>
        </p:txBody>
      </p:sp>
      <p:sp>
        <p:nvSpPr>
          <p:cNvPr id="18" name="Text Placeholder 3"/>
          <p:cNvSpPr>
            <a:spLocks noGrp="1"/>
          </p:cNvSpPr>
          <p:nvPr>
            <p:ph type="body" sz="half" idx="12" hasCustomPrompt="1"/>
          </p:nvPr>
        </p:nvSpPr>
        <p:spPr>
          <a:xfrm>
            <a:off x="442398" y="3088551"/>
            <a:ext cx="3869137" cy="324054"/>
          </a:xfrm>
          <a:prstGeom prst="rect">
            <a:avLst/>
          </a:prstGeom>
        </p:spPr>
        <p:txBody>
          <a:bodyPr lIns="0" tIns="0" rIns="0" bIns="0"/>
          <a:lstStyle>
            <a:lvl1pPr marL="0" indent="0">
              <a:buNone/>
              <a:defRPr sz="1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Date</a:t>
            </a:r>
            <a:endParaRPr lang="en-US" dirty="0"/>
          </a:p>
        </p:txBody>
      </p:sp>
      <p:pic>
        <p:nvPicPr>
          <p:cNvPr id="13" name="Kuva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66" y="3501900"/>
            <a:ext cx="1850304" cy="1641600"/>
          </a:xfrm>
          <a:prstGeom prst="rect">
            <a:avLst/>
          </a:prstGeom>
        </p:spPr>
      </p:pic>
    </p:spTree>
    <p:extLst>
      <p:ext uri="{BB962C8B-B14F-4D97-AF65-F5344CB8AC3E}">
        <p14:creationId xmlns:p14="http://schemas.microsoft.com/office/powerpoint/2010/main" val="3286900512"/>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3_2. Header Slide - Red - Image ">
    <p:spTree>
      <p:nvGrpSpPr>
        <p:cNvPr id="1" name=""/>
        <p:cNvGrpSpPr/>
        <p:nvPr/>
      </p:nvGrpSpPr>
      <p:grpSpPr>
        <a:xfrm>
          <a:off x="0" y="0"/>
          <a:ext cx="0" cy="0"/>
          <a:chOff x="0" y="0"/>
          <a:chExt cx="0" cy="0"/>
        </a:xfrm>
      </p:grpSpPr>
      <p:sp>
        <p:nvSpPr>
          <p:cNvPr id="11" name="Rectangle 10"/>
          <p:cNvSpPr/>
          <p:nvPr userDrawn="1"/>
        </p:nvSpPr>
        <p:spPr>
          <a:xfrm>
            <a:off x="0"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13" dirty="0"/>
          </a:p>
        </p:txBody>
      </p:sp>
      <p:sp>
        <p:nvSpPr>
          <p:cNvPr id="9" name="Title 8"/>
          <p:cNvSpPr>
            <a:spLocks noGrp="1"/>
          </p:cNvSpPr>
          <p:nvPr>
            <p:ph type="title" hasCustomPrompt="1"/>
          </p:nvPr>
        </p:nvSpPr>
        <p:spPr>
          <a:xfrm>
            <a:off x="442398" y="896699"/>
            <a:ext cx="3869137" cy="570773"/>
          </a:xfrm>
          <a:prstGeom prst="rect">
            <a:avLst/>
          </a:prstGeom>
        </p:spPr>
        <p:txBody>
          <a:bodyPr lIns="0" tIns="0" rIns="0" bIns="0" anchor="b"/>
          <a:lstStyle>
            <a:lvl1pPr>
              <a:lnSpc>
                <a:spcPct val="100000"/>
              </a:lnSpc>
              <a:defRPr sz="4000" b="1" baseline="0">
                <a:solidFill>
                  <a:schemeClr val="bg1"/>
                </a:solidFill>
              </a:defRPr>
            </a:lvl1pPr>
          </a:lstStyle>
          <a:p>
            <a:r>
              <a:rPr lang="en-US" dirty="0"/>
              <a:t>Headline</a:t>
            </a:r>
          </a:p>
        </p:txBody>
      </p:sp>
      <p:cxnSp>
        <p:nvCxnSpPr>
          <p:cNvPr id="15" name="Suora yhdysviiva 6"/>
          <p:cNvCxnSpPr/>
          <p:nvPr userDrawn="1"/>
        </p:nvCxnSpPr>
        <p:spPr>
          <a:xfrm>
            <a:off x="442398" y="1588362"/>
            <a:ext cx="379683" cy="0"/>
          </a:xfrm>
          <a:prstGeom prst="line">
            <a:avLst/>
          </a:prstGeom>
          <a:ln w="57150">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3" name="Kuva 2"/>
          <p:cNvPicPr>
            <a:picLocks noChangeAspect="1"/>
          </p:cNvPicPr>
          <p:nvPr userDrawn="1"/>
        </p:nvPicPr>
        <p:blipFill rotWithShape="1">
          <a:blip r:embed="rId2">
            <a:extLst>
              <a:ext uri="{28A0092B-C50C-407E-A947-70E740481C1C}">
                <a14:useLocalDpi xmlns:a14="http://schemas.microsoft.com/office/drawing/2010/main" val="0"/>
              </a:ext>
            </a:extLst>
          </a:blip>
          <a:srcRect l="8677" t="22626" r="52630"/>
          <a:stretch/>
        </p:blipFill>
        <p:spPr>
          <a:xfrm>
            <a:off x="4576712" y="0"/>
            <a:ext cx="4567287" cy="5143500"/>
          </a:xfrm>
          <a:prstGeom prst="rect">
            <a:avLst/>
          </a:prstGeom>
        </p:spPr>
      </p:pic>
      <p:sp>
        <p:nvSpPr>
          <p:cNvPr id="14" name="Text Placeholder 3"/>
          <p:cNvSpPr>
            <a:spLocks noGrp="1"/>
          </p:cNvSpPr>
          <p:nvPr>
            <p:ph type="body" sz="half" idx="2" hasCustomPrompt="1"/>
          </p:nvPr>
        </p:nvSpPr>
        <p:spPr>
          <a:xfrm>
            <a:off x="442398" y="1746663"/>
            <a:ext cx="3869137" cy="351692"/>
          </a:xfrm>
          <a:prstGeom prst="rect">
            <a:avLst/>
          </a:prstGeom>
        </p:spPr>
        <p:txBody>
          <a:bodyPr lIns="0" tIns="0" rIns="0" bIns="0"/>
          <a:lstStyle>
            <a:lvl1pPr marL="0" indent="0">
              <a:lnSpc>
                <a:spcPct val="100000"/>
              </a:lnSpc>
              <a:buNone/>
              <a:defRPr sz="2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Sub Headline</a:t>
            </a:r>
          </a:p>
        </p:txBody>
      </p:sp>
      <p:sp>
        <p:nvSpPr>
          <p:cNvPr id="13" name="Text Placeholder 3"/>
          <p:cNvSpPr>
            <a:spLocks noGrp="1"/>
          </p:cNvSpPr>
          <p:nvPr>
            <p:ph type="body" sz="half" idx="11" hasCustomPrompt="1"/>
          </p:nvPr>
        </p:nvSpPr>
        <p:spPr>
          <a:xfrm>
            <a:off x="442398" y="2794132"/>
            <a:ext cx="3869137" cy="294419"/>
          </a:xfrm>
          <a:prstGeom prst="rect">
            <a:avLst/>
          </a:prstGeom>
        </p:spPr>
        <p:txBody>
          <a:bodyPr lIns="0" tIns="0" rIns="0" bIns="0"/>
          <a:lstStyle>
            <a:lvl1pPr marL="0" indent="0">
              <a:buNone/>
              <a:defRPr sz="1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Name</a:t>
            </a:r>
          </a:p>
        </p:txBody>
      </p:sp>
      <p:sp>
        <p:nvSpPr>
          <p:cNvPr id="17" name="Text Placeholder 3"/>
          <p:cNvSpPr>
            <a:spLocks noGrp="1"/>
          </p:cNvSpPr>
          <p:nvPr>
            <p:ph type="body" sz="half" idx="12" hasCustomPrompt="1"/>
          </p:nvPr>
        </p:nvSpPr>
        <p:spPr>
          <a:xfrm>
            <a:off x="442398" y="3088551"/>
            <a:ext cx="3869137" cy="324054"/>
          </a:xfrm>
          <a:prstGeom prst="rect">
            <a:avLst/>
          </a:prstGeom>
        </p:spPr>
        <p:txBody>
          <a:bodyPr lIns="0" tIns="0" rIns="0" bIns="0"/>
          <a:lstStyle>
            <a:lvl1pPr marL="0" indent="0">
              <a:buNone/>
              <a:defRPr sz="1800" b="1" i="0" baseline="0">
                <a:solidFill>
                  <a:schemeClr val="bg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Date</a:t>
            </a:r>
            <a:endParaRPr lang="en-US" dirty="0"/>
          </a:p>
        </p:txBody>
      </p:sp>
      <p:pic>
        <p:nvPicPr>
          <p:cNvPr id="16" name="Kuva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66" y="3501900"/>
            <a:ext cx="1850304" cy="1641600"/>
          </a:xfrm>
          <a:prstGeom prst="rect">
            <a:avLst/>
          </a:prstGeom>
        </p:spPr>
      </p:pic>
    </p:spTree>
    <p:extLst>
      <p:ext uri="{BB962C8B-B14F-4D97-AF65-F5344CB8AC3E}">
        <p14:creationId xmlns:p14="http://schemas.microsoft.com/office/powerpoint/2010/main" val="1144494441"/>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7. Divider - Red - Text and image">
    <p:spTree>
      <p:nvGrpSpPr>
        <p:cNvPr id="1" name=""/>
        <p:cNvGrpSpPr/>
        <p:nvPr/>
      </p:nvGrpSpPr>
      <p:grpSpPr>
        <a:xfrm>
          <a:off x="0" y="0"/>
          <a:ext cx="0" cy="0"/>
          <a:chOff x="0" y="0"/>
          <a:chExt cx="0" cy="0"/>
        </a:xfrm>
      </p:grpSpPr>
      <p:sp>
        <p:nvSpPr>
          <p:cNvPr id="11" name="Rectangle 10"/>
          <p:cNvSpPr/>
          <p:nvPr userDrawn="1"/>
        </p:nvSpPr>
        <p:spPr>
          <a:xfrm>
            <a:off x="0"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13" dirty="0"/>
          </a:p>
        </p:txBody>
      </p:sp>
      <p:sp>
        <p:nvSpPr>
          <p:cNvPr id="3" name="Text Placeholder 2">
            <a:extLst>
              <a:ext uri="{FF2B5EF4-FFF2-40B4-BE49-F238E27FC236}">
                <a16:creationId xmlns:a16="http://schemas.microsoft.com/office/drawing/2014/main" id="{3CC9C0A2-E518-4F61-BACC-25E3255118C4}"/>
              </a:ext>
            </a:extLst>
          </p:cNvPr>
          <p:cNvSpPr>
            <a:spLocks noGrp="1"/>
          </p:cNvSpPr>
          <p:nvPr>
            <p:ph type="body" sz="quarter" idx="12" hasCustomPrompt="1"/>
          </p:nvPr>
        </p:nvSpPr>
        <p:spPr>
          <a:xfrm>
            <a:off x="287338" y="519113"/>
            <a:ext cx="4218160" cy="3767587"/>
          </a:xfrm>
          <a:prstGeom prst="rect">
            <a:avLst/>
          </a:prstGeom>
        </p:spPr>
        <p:txBody>
          <a:bodyPr lIns="0" tIns="0" rIns="0" bIns="0"/>
          <a:lstStyle>
            <a:lvl1pPr marL="0" indent="0">
              <a:lnSpc>
                <a:spcPct val="100000"/>
              </a:lnSpc>
              <a:buNone/>
              <a:defRPr sz="3300" b="1">
                <a:solidFill>
                  <a:schemeClr val="bg1"/>
                </a:solidFill>
              </a:defRPr>
            </a:lvl1pPr>
          </a:lstStyle>
          <a:p>
            <a:r>
              <a:rPr lang="fi-FI" dirty="0"/>
              <a:t>Lorem </a:t>
            </a:r>
            <a:r>
              <a:rPr lang="fi-FI" dirty="0" err="1"/>
              <a:t>ipsum</a:t>
            </a:r>
            <a:r>
              <a:rPr lang="fi-FI" dirty="0"/>
              <a:t> </a:t>
            </a:r>
            <a:r>
              <a:rPr lang="fi-FI" dirty="0" err="1"/>
              <a:t>dolor</a:t>
            </a:r>
            <a:r>
              <a:rPr lang="fi-FI" dirty="0"/>
              <a:t> </a:t>
            </a:r>
            <a:r>
              <a:rPr lang="fi-FI" dirty="0" err="1"/>
              <a:t>sit</a:t>
            </a:r>
            <a:r>
              <a:rPr lang="fi-FI" dirty="0"/>
              <a:t> amet, </a:t>
            </a:r>
            <a:r>
              <a:rPr lang="fi-FI" dirty="0" err="1"/>
              <a:t>consectetur</a:t>
            </a:r>
            <a:r>
              <a:rPr lang="fi-FI" dirty="0"/>
              <a:t> adipiscing elit. </a:t>
            </a:r>
            <a:r>
              <a:rPr lang="fi-FI" dirty="0" err="1"/>
              <a:t>Maecenas</a:t>
            </a:r>
            <a:r>
              <a:rPr lang="fi-FI" dirty="0"/>
              <a:t> </a:t>
            </a:r>
            <a:r>
              <a:rPr lang="fi-FI" dirty="0" err="1"/>
              <a:t>velit</a:t>
            </a:r>
            <a:r>
              <a:rPr lang="fi-FI" dirty="0"/>
              <a:t> </a:t>
            </a:r>
            <a:r>
              <a:rPr lang="fi-FI" dirty="0" err="1"/>
              <a:t>velit</a:t>
            </a:r>
            <a:r>
              <a:rPr lang="fi-FI" dirty="0"/>
              <a:t>, </a:t>
            </a:r>
            <a:r>
              <a:rPr lang="fi-FI" dirty="0" err="1"/>
              <a:t>consequat</a:t>
            </a:r>
            <a:r>
              <a:rPr lang="fi-FI" dirty="0"/>
              <a:t> </a:t>
            </a:r>
            <a:r>
              <a:rPr lang="fi-FI" dirty="0" err="1"/>
              <a:t>eget</a:t>
            </a:r>
            <a:r>
              <a:rPr lang="fi-FI" dirty="0"/>
              <a:t> </a:t>
            </a:r>
            <a:r>
              <a:rPr lang="fi-FI" dirty="0" err="1"/>
              <a:t>ullamcorper</a:t>
            </a:r>
            <a:r>
              <a:rPr lang="fi-FI" dirty="0"/>
              <a:t> a, </a:t>
            </a:r>
            <a:r>
              <a:rPr lang="fi-FI" dirty="0" err="1"/>
              <a:t>maximus</a:t>
            </a:r>
            <a:r>
              <a:rPr lang="fi-FI" dirty="0"/>
              <a:t> </a:t>
            </a:r>
            <a:r>
              <a:rPr lang="fi-FI" dirty="0" err="1"/>
              <a:t>ac</a:t>
            </a:r>
            <a:r>
              <a:rPr lang="fi-FI" dirty="0"/>
              <a:t> ex.</a:t>
            </a:r>
          </a:p>
        </p:txBody>
      </p:sp>
      <p:sp>
        <p:nvSpPr>
          <p:cNvPr id="4" name="Päivämäärän paikkamerkki 3">
            <a:extLst>
              <a:ext uri="{FF2B5EF4-FFF2-40B4-BE49-F238E27FC236}">
                <a16:creationId xmlns:a16="http://schemas.microsoft.com/office/drawing/2014/main" id="{04E326D0-D397-4DCF-88BA-ADD90C3D5C3E}"/>
              </a:ext>
            </a:extLst>
          </p:cNvPr>
          <p:cNvSpPr>
            <a:spLocks noGrp="1"/>
          </p:cNvSpPr>
          <p:nvPr>
            <p:ph type="dt" sz="half" idx="13"/>
          </p:nvPr>
        </p:nvSpPr>
        <p:spPr/>
        <p:txBody>
          <a:bodyPr/>
          <a:lstStyle>
            <a:lvl1pPr>
              <a:defRPr>
                <a:solidFill>
                  <a:srgbClr val="FFFFFF"/>
                </a:solidFill>
              </a:defRPr>
            </a:lvl1pPr>
          </a:lstStyle>
          <a:p>
            <a:r>
              <a:rPr lang="fi-FI" dirty="0"/>
              <a:t>dd.mm.yyyy</a:t>
            </a:r>
            <a:endParaRPr lang="en-US" dirty="0"/>
          </a:p>
        </p:txBody>
      </p:sp>
      <p:sp>
        <p:nvSpPr>
          <p:cNvPr id="10" name="Dian numeron paikkamerkki 9">
            <a:extLst>
              <a:ext uri="{FF2B5EF4-FFF2-40B4-BE49-F238E27FC236}">
                <a16:creationId xmlns:a16="http://schemas.microsoft.com/office/drawing/2014/main" id="{439BEBFE-6A3C-4862-B3C0-DF2EC5E8CBFB}"/>
              </a:ext>
            </a:extLst>
          </p:cNvPr>
          <p:cNvSpPr>
            <a:spLocks noGrp="1"/>
          </p:cNvSpPr>
          <p:nvPr>
            <p:ph type="sldNum" sz="quarter" idx="15"/>
          </p:nvPr>
        </p:nvSpPr>
        <p:spPr/>
        <p:txBody>
          <a:bodyPr/>
          <a:lstStyle>
            <a:lvl1pPr>
              <a:defRPr>
                <a:solidFill>
                  <a:srgbClr val="FFFFFF"/>
                </a:solidFill>
              </a:defRPr>
            </a:lvl1pPr>
          </a:lstStyle>
          <a:p>
            <a:fld id="{28F7F04C-F568-F649-A2AE-EA61C66B69B4}" type="slidenum">
              <a:rPr lang="en-US" smtClean="0"/>
              <a:pPr/>
              <a:t>‹#›</a:t>
            </a:fld>
            <a:endParaRPr lang="en-US" dirty="0"/>
          </a:p>
        </p:txBody>
      </p:sp>
      <p:pic>
        <p:nvPicPr>
          <p:cNvPr id="12" name="Kuva 11"/>
          <p:cNvPicPr>
            <a:picLocks noChangeAspect="1"/>
          </p:cNvPicPr>
          <p:nvPr userDrawn="1"/>
        </p:nvPicPr>
        <p:blipFill rotWithShape="1">
          <a:blip r:embed="rId2">
            <a:extLst>
              <a:ext uri="{28A0092B-C50C-407E-A947-70E740481C1C}">
                <a14:useLocalDpi xmlns:a14="http://schemas.microsoft.com/office/drawing/2010/main" val="0"/>
              </a:ext>
            </a:extLst>
          </a:blip>
          <a:srcRect l="31644" r="19861"/>
          <a:stretch/>
        </p:blipFill>
        <p:spPr>
          <a:xfrm>
            <a:off x="4715165" y="0"/>
            <a:ext cx="4428835" cy="5143500"/>
          </a:xfrm>
          <a:prstGeom prst="rect">
            <a:avLst/>
          </a:prstGeom>
        </p:spPr>
      </p:pic>
      <p:sp>
        <p:nvSpPr>
          <p:cNvPr id="5" name="Alatunnisteen paikkamerkki 4">
            <a:extLst>
              <a:ext uri="{FF2B5EF4-FFF2-40B4-BE49-F238E27FC236}">
                <a16:creationId xmlns:a16="http://schemas.microsoft.com/office/drawing/2014/main" id="{0B124AD7-04E5-4E26-A7E3-6E499B81497F}"/>
              </a:ext>
            </a:extLst>
          </p:cNvPr>
          <p:cNvSpPr>
            <a:spLocks noGrp="1"/>
          </p:cNvSpPr>
          <p:nvPr>
            <p:ph type="ftr" sz="quarter" idx="14"/>
          </p:nvPr>
        </p:nvSpPr>
        <p:spPr/>
        <p:txBody>
          <a:bodyPr/>
          <a:lstStyle>
            <a:lvl1pPr>
              <a:defRPr>
                <a:solidFill>
                  <a:srgbClr val="FFFFFF"/>
                </a:solidFill>
              </a:defRPr>
            </a:lvl1pPr>
          </a:lstStyle>
          <a:p>
            <a:r>
              <a:rPr lang="fi-FI" dirty="0"/>
              <a:t>Your text here</a:t>
            </a:r>
          </a:p>
        </p:txBody>
      </p:sp>
      <p:pic>
        <p:nvPicPr>
          <p:cNvPr id="13" name="Kuva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4281580"/>
            <a:ext cx="1991440" cy="856800"/>
          </a:xfrm>
          <a:prstGeom prst="rect">
            <a:avLst/>
          </a:prstGeom>
        </p:spPr>
      </p:pic>
    </p:spTree>
    <p:extLst>
      <p:ext uri="{BB962C8B-B14F-4D97-AF65-F5344CB8AC3E}">
        <p14:creationId xmlns:p14="http://schemas.microsoft.com/office/powerpoint/2010/main" val="3623361296"/>
      </p:ext>
    </p:extLst>
  </p:cSld>
  <p:clrMapOvr>
    <a:masterClrMapping/>
  </p:clrMapOvr>
  <p:extLst>
    <p:ext uri="{DCECCB84-F9BA-43D5-87BE-67443E8EF086}">
      <p15:sldGuideLst xmlns:p15="http://schemas.microsoft.com/office/powerpoint/2012/main">
        <p15:guide id="1" pos="2971">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7. Divider - Red - Text and image">
    <p:spTree>
      <p:nvGrpSpPr>
        <p:cNvPr id="1" name=""/>
        <p:cNvGrpSpPr/>
        <p:nvPr/>
      </p:nvGrpSpPr>
      <p:grpSpPr>
        <a:xfrm>
          <a:off x="0" y="0"/>
          <a:ext cx="0" cy="0"/>
          <a:chOff x="0" y="0"/>
          <a:chExt cx="0" cy="0"/>
        </a:xfrm>
      </p:grpSpPr>
      <p:sp>
        <p:nvSpPr>
          <p:cNvPr id="11" name="Rectangle 10"/>
          <p:cNvSpPr/>
          <p:nvPr userDrawn="1"/>
        </p:nvSpPr>
        <p:spPr>
          <a:xfrm>
            <a:off x="0"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13" dirty="0"/>
          </a:p>
        </p:txBody>
      </p:sp>
      <p:sp>
        <p:nvSpPr>
          <p:cNvPr id="3" name="Text Placeholder 2">
            <a:extLst>
              <a:ext uri="{FF2B5EF4-FFF2-40B4-BE49-F238E27FC236}">
                <a16:creationId xmlns:a16="http://schemas.microsoft.com/office/drawing/2014/main" id="{3CC9C0A2-E518-4F61-BACC-25E3255118C4}"/>
              </a:ext>
            </a:extLst>
          </p:cNvPr>
          <p:cNvSpPr>
            <a:spLocks noGrp="1"/>
          </p:cNvSpPr>
          <p:nvPr>
            <p:ph type="body" sz="quarter" idx="12" hasCustomPrompt="1"/>
          </p:nvPr>
        </p:nvSpPr>
        <p:spPr>
          <a:xfrm>
            <a:off x="287338" y="519113"/>
            <a:ext cx="4218160" cy="3767587"/>
          </a:xfrm>
          <a:prstGeom prst="rect">
            <a:avLst/>
          </a:prstGeom>
        </p:spPr>
        <p:txBody>
          <a:bodyPr lIns="0" tIns="0" rIns="0" bIns="0"/>
          <a:lstStyle>
            <a:lvl1pPr marL="0" indent="0">
              <a:lnSpc>
                <a:spcPct val="100000"/>
              </a:lnSpc>
              <a:buNone/>
              <a:defRPr sz="3300" b="1">
                <a:solidFill>
                  <a:schemeClr val="bg1"/>
                </a:solidFill>
              </a:defRPr>
            </a:lvl1pPr>
          </a:lstStyle>
          <a:p>
            <a:r>
              <a:rPr lang="fi-FI" dirty="0"/>
              <a:t>Lorem </a:t>
            </a:r>
            <a:r>
              <a:rPr lang="fi-FI" dirty="0" err="1"/>
              <a:t>ipsum</a:t>
            </a:r>
            <a:r>
              <a:rPr lang="fi-FI" dirty="0"/>
              <a:t> </a:t>
            </a:r>
            <a:r>
              <a:rPr lang="fi-FI" dirty="0" err="1"/>
              <a:t>dolor</a:t>
            </a:r>
            <a:r>
              <a:rPr lang="fi-FI" dirty="0"/>
              <a:t> </a:t>
            </a:r>
            <a:r>
              <a:rPr lang="fi-FI" dirty="0" err="1"/>
              <a:t>sit</a:t>
            </a:r>
            <a:r>
              <a:rPr lang="fi-FI" dirty="0"/>
              <a:t> amet, </a:t>
            </a:r>
            <a:r>
              <a:rPr lang="fi-FI" dirty="0" err="1"/>
              <a:t>consectetur</a:t>
            </a:r>
            <a:r>
              <a:rPr lang="fi-FI" dirty="0"/>
              <a:t> </a:t>
            </a:r>
            <a:r>
              <a:rPr lang="fi-FI" dirty="0" err="1"/>
              <a:t>adipiscing</a:t>
            </a:r>
            <a:r>
              <a:rPr lang="fi-FI" dirty="0"/>
              <a:t> elit. Maecenas </a:t>
            </a:r>
            <a:r>
              <a:rPr lang="fi-FI" dirty="0" err="1"/>
              <a:t>velit</a:t>
            </a:r>
            <a:r>
              <a:rPr lang="fi-FI" dirty="0"/>
              <a:t> </a:t>
            </a:r>
            <a:r>
              <a:rPr lang="fi-FI" dirty="0" err="1"/>
              <a:t>velit</a:t>
            </a:r>
            <a:r>
              <a:rPr lang="fi-FI" dirty="0"/>
              <a:t>, </a:t>
            </a:r>
            <a:r>
              <a:rPr lang="fi-FI" dirty="0" err="1"/>
              <a:t>consequat</a:t>
            </a:r>
            <a:r>
              <a:rPr lang="fi-FI" dirty="0"/>
              <a:t> </a:t>
            </a:r>
            <a:r>
              <a:rPr lang="fi-FI" dirty="0" err="1"/>
              <a:t>eget</a:t>
            </a:r>
            <a:r>
              <a:rPr lang="fi-FI" dirty="0"/>
              <a:t> </a:t>
            </a:r>
            <a:r>
              <a:rPr lang="fi-FI" dirty="0" err="1"/>
              <a:t>ullamcorper</a:t>
            </a:r>
            <a:r>
              <a:rPr lang="fi-FI" dirty="0"/>
              <a:t> a, </a:t>
            </a:r>
            <a:r>
              <a:rPr lang="fi-FI" dirty="0" err="1"/>
              <a:t>maximus</a:t>
            </a:r>
            <a:r>
              <a:rPr lang="fi-FI" dirty="0"/>
              <a:t> </a:t>
            </a:r>
            <a:r>
              <a:rPr lang="fi-FI" dirty="0" err="1"/>
              <a:t>ac</a:t>
            </a:r>
            <a:r>
              <a:rPr lang="fi-FI" dirty="0"/>
              <a:t> ex.</a:t>
            </a:r>
          </a:p>
        </p:txBody>
      </p:sp>
      <p:sp>
        <p:nvSpPr>
          <p:cNvPr id="4" name="Päivämäärän paikkamerkki 3">
            <a:extLst>
              <a:ext uri="{FF2B5EF4-FFF2-40B4-BE49-F238E27FC236}">
                <a16:creationId xmlns:a16="http://schemas.microsoft.com/office/drawing/2014/main" id="{04E326D0-D397-4DCF-88BA-ADD90C3D5C3E}"/>
              </a:ext>
            </a:extLst>
          </p:cNvPr>
          <p:cNvSpPr>
            <a:spLocks noGrp="1"/>
          </p:cNvSpPr>
          <p:nvPr>
            <p:ph type="dt" sz="half" idx="13"/>
          </p:nvPr>
        </p:nvSpPr>
        <p:spPr/>
        <p:txBody>
          <a:bodyPr/>
          <a:lstStyle>
            <a:lvl1pPr>
              <a:defRPr>
                <a:solidFill>
                  <a:srgbClr val="FFFFFF"/>
                </a:solidFill>
              </a:defRPr>
            </a:lvl1pPr>
          </a:lstStyle>
          <a:p>
            <a:r>
              <a:rPr lang="fi-FI" dirty="0"/>
              <a:t>dd.mm.yyyy</a:t>
            </a:r>
            <a:endParaRPr lang="en-US" dirty="0"/>
          </a:p>
        </p:txBody>
      </p:sp>
      <p:sp>
        <p:nvSpPr>
          <p:cNvPr id="10" name="Dian numeron paikkamerkki 9">
            <a:extLst>
              <a:ext uri="{FF2B5EF4-FFF2-40B4-BE49-F238E27FC236}">
                <a16:creationId xmlns:a16="http://schemas.microsoft.com/office/drawing/2014/main" id="{439BEBFE-6A3C-4862-B3C0-DF2EC5E8CBFB}"/>
              </a:ext>
            </a:extLst>
          </p:cNvPr>
          <p:cNvSpPr>
            <a:spLocks noGrp="1"/>
          </p:cNvSpPr>
          <p:nvPr>
            <p:ph type="sldNum" sz="quarter" idx="15"/>
          </p:nvPr>
        </p:nvSpPr>
        <p:spPr/>
        <p:txBody>
          <a:bodyPr/>
          <a:lstStyle>
            <a:lvl1pPr>
              <a:defRPr>
                <a:solidFill>
                  <a:srgbClr val="FFFFFF"/>
                </a:solidFill>
              </a:defRPr>
            </a:lvl1pPr>
          </a:lstStyle>
          <a:p>
            <a:fld id="{28F7F04C-F568-F649-A2AE-EA61C66B69B4}" type="slidenum">
              <a:rPr lang="en-US" smtClean="0"/>
              <a:pPr/>
              <a:t>‹#›</a:t>
            </a:fld>
            <a:endParaRPr lang="en-US" dirty="0"/>
          </a:p>
        </p:txBody>
      </p:sp>
      <p:pic>
        <p:nvPicPr>
          <p:cNvPr id="14" name="Kuva 13"/>
          <p:cNvPicPr>
            <a:picLocks noChangeAspect="1"/>
          </p:cNvPicPr>
          <p:nvPr userDrawn="1"/>
        </p:nvPicPr>
        <p:blipFill rotWithShape="1">
          <a:blip r:embed="rId2">
            <a:extLst>
              <a:ext uri="{28A0092B-C50C-407E-A947-70E740481C1C}">
                <a14:useLocalDpi xmlns:a14="http://schemas.microsoft.com/office/drawing/2010/main" val="0"/>
              </a:ext>
            </a:extLst>
          </a:blip>
          <a:srcRect l="33485" r="9199"/>
          <a:stretch/>
        </p:blipFill>
        <p:spPr>
          <a:xfrm>
            <a:off x="4722829" y="0"/>
            <a:ext cx="4421171" cy="5143500"/>
          </a:xfrm>
          <a:prstGeom prst="rect">
            <a:avLst/>
          </a:prstGeom>
        </p:spPr>
      </p:pic>
      <p:sp>
        <p:nvSpPr>
          <p:cNvPr id="5" name="Alatunnisteen paikkamerkki 4">
            <a:extLst>
              <a:ext uri="{FF2B5EF4-FFF2-40B4-BE49-F238E27FC236}">
                <a16:creationId xmlns:a16="http://schemas.microsoft.com/office/drawing/2014/main" id="{0B124AD7-04E5-4E26-A7E3-6E499B81497F}"/>
              </a:ext>
            </a:extLst>
          </p:cNvPr>
          <p:cNvSpPr>
            <a:spLocks noGrp="1"/>
          </p:cNvSpPr>
          <p:nvPr>
            <p:ph type="ftr" sz="quarter" idx="14"/>
          </p:nvPr>
        </p:nvSpPr>
        <p:spPr/>
        <p:txBody>
          <a:bodyPr/>
          <a:lstStyle>
            <a:lvl1pPr>
              <a:defRPr>
                <a:solidFill>
                  <a:srgbClr val="FFFFFF"/>
                </a:solidFill>
              </a:defRPr>
            </a:lvl1pPr>
          </a:lstStyle>
          <a:p>
            <a:r>
              <a:rPr lang="fi-FI" dirty="0"/>
              <a:t>Your text here</a:t>
            </a:r>
          </a:p>
        </p:txBody>
      </p:sp>
      <p:pic>
        <p:nvPicPr>
          <p:cNvPr id="12" name="Kuva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4281580"/>
            <a:ext cx="1991440" cy="856800"/>
          </a:xfrm>
          <a:prstGeom prst="rect">
            <a:avLst/>
          </a:prstGeom>
        </p:spPr>
      </p:pic>
    </p:spTree>
    <p:extLst>
      <p:ext uri="{BB962C8B-B14F-4D97-AF65-F5344CB8AC3E}">
        <p14:creationId xmlns:p14="http://schemas.microsoft.com/office/powerpoint/2010/main" val="2991104278"/>
      </p:ext>
    </p:extLst>
  </p:cSld>
  <p:clrMapOvr>
    <a:masterClrMapping/>
  </p:clrMapOvr>
  <p:extLst>
    <p:ext uri="{DCECCB84-F9BA-43D5-87BE-67443E8EF086}">
      <p15:sldGuideLst xmlns:p15="http://schemas.microsoft.com/office/powerpoint/2012/main">
        <p15:guide id="1" pos="2971">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3_7. Divider - Red - Text and image">
    <p:spTree>
      <p:nvGrpSpPr>
        <p:cNvPr id="1" name=""/>
        <p:cNvGrpSpPr/>
        <p:nvPr/>
      </p:nvGrpSpPr>
      <p:grpSpPr>
        <a:xfrm>
          <a:off x="0" y="0"/>
          <a:ext cx="0" cy="0"/>
          <a:chOff x="0" y="0"/>
          <a:chExt cx="0" cy="0"/>
        </a:xfrm>
      </p:grpSpPr>
      <p:sp>
        <p:nvSpPr>
          <p:cNvPr id="11" name="Rectangle 10"/>
          <p:cNvSpPr/>
          <p:nvPr userDrawn="1"/>
        </p:nvSpPr>
        <p:spPr>
          <a:xfrm>
            <a:off x="0"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13" dirty="0"/>
          </a:p>
        </p:txBody>
      </p:sp>
      <p:sp>
        <p:nvSpPr>
          <p:cNvPr id="3" name="Text Placeholder 2">
            <a:extLst>
              <a:ext uri="{FF2B5EF4-FFF2-40B4-BE49-F238E27FC236}">
                <a16:creationId xmlns:a16="http://schemas.microsoft.com/office/drawing/2014/main" id="{3CC9C0A2-E518-4F61-BACC-25E3255118C4}"/>
              </a:ext>
            </a:extLst>
          </p:cNvPr>
          <p:cNvSpPr>
            <a:spLocks noGrp="1"/>
          </p:cNvSpPr>
          <p:nvPr>
            <p:ph type="body" sz="quarter" idx="12" hasCustomPrompt="1"/>
          </p:nvPr>
        </p:nvSpPr>
        <p:spPr>
          <a:xfrm>
            <a:off x="287338" y="519113"/>
            <a:ext cx="4218160" cy="3767587"/>
          </a:xfrm>
          <a:prstGeom prst="rect">
            <a:avLst/>
          </a:prstGeom>
        </p:spPr>
        <p:txBody>
          <a:bodyPr lIns="0" tIns="0" rIns="0" bIns="0"/>
          <a:lstStyle>
            <a:lvl1pPr marL="0" indent="0">
              <a:lnSpc>
                <a:spcPct val="100000"/>
              </a:lnSpc>
              <a:buNone/>
              <a:defRPr sz="3300" b="1">
                <a:solidFill>
                  <a:schemeClr val="bg1"/>
                </a:solidFill>
              </a:defRPr>
            </a:lvl1pPr>
          </a:lstStyle>
          <a:p>
            <a:r>
              <a:rPr lang="fi-FI" dirty="0"/>
              <a:t>Lorem </a:t>
            </a:r>
            <a:r>
              <a:rPr lang="fi-FI" dirty="0" err="1"/>
              <a:t>ipsum</a:t>
            </a:r>
            <a:r>
              <a:rPr lang="fi-FI" dirty="0"/>
              <a:t> </a:t>
            </a:r>
            <a:r>
              <a:rPr lang="fi-FI" dirty="0" err="1"/>
              <a:t>dolor</a:t>
            </a:r>
            <a:r>
              <a:rPr lang="fi-FI" dirty="0"/>
              <a:t> </a:t>
            </a:r>
            <a:r>
              <a:rPr lang="fi-FI" dirty="0" err="1"/>
              <a:t>sit</a:t>
            </a:r>
            <a:r>
              <a:rPr lang="fi-FI" dirty="0"/>
              <a:t> amet, </a:t>
            </a:r>
            <a:r>
              <a:rPr lang="fi-FI" dirty="0" err="1"/>
              <a:t>consectetur</a:t>
            </a:r>
            <a:r>
              <a:rPr lang="fi-FI" dirty="0"/>
              <a:t> </a:t>
            </a:r>
            <a:r>
              <a:rPr lang="fi-FI" dirty="0" err="1"/>
              <a:t>adipiscing</a:t>
            </a:r>
            <a:r>
              <a:rPr lang="fi-FI" dirty="0"/>
              <a:t> elit. Maecenas </a:t>
            </a:r>
            <a:r>
              <a:rPr lang="fi-FI" dirty="0" err="1"/>
              <a:t>velit</a:t>
            </a:r>
            <a:r>
              <a:rPr lang="fi-FI" dirty="0"/>
              <a:t> </a:t>
            </a:r>
            <a:r>
              <a:rPr lang="fi-FI" dirty="0" err="1"/>
              <a:t>velit</a:t>
            </a:r>
            <a:r>
              <a:rPr lang="fi-FI" dirty="0"/>
              <a:t>, consequat </a:t>
            </a:r>
            <a:r>
              <a:rPr lang="fi-FI" dirty="0" err="1"/>
              <a:t>eget</a:t>
            </a:r>
            <a:r>
              <a:rPr lang="fi-FI" dirty="0"/>
              <a:t> </a:t>
            </a:r>
            <a:r>
              <a:rPr lang="fi-FI" dirty="0" err="1"/>
              <a:t>ullamcorper</a:t>
            </a:r>
            <a:r>
              <a:rPr lang="fi-FI" dirty="0"/>
              <a:t> a, </a:t>
            </a:r>
            <a:r>
              <a:rPr lang="fi-FI" dirty="0" err="1"/>
              <a:t>maximus</a:t>
            </a:r>
            <a:r>
              <a:rPr lang="fi-FI" dirty="0"/>
              <a:t> </a:t>
            </a:r>
            <a:r>
              <a:rPr lang="fi-FI" dirty="0" err="1"/>
              <a:t>ac</a:t>
            </a:r>
            <a:r>
              <a:rPr lang="fi-FI" dirty="0"/>
              <a:t> ex.</a:t>
            </a:r>
          </a:p>
        </p:txBody>
      </p:sp>
      <p:sp>
        <p:nvSpPr>
          <p:cNvPr id="4" name="Päivämäärän paikkamerkki 3">
            <a:extLst>
              <a:ext uri="{FF2B5EF4-FFF2-40B4-BE49-F238E27FC236}">
                <a16:creationId xmlns:a16="http://schemas.microsoft.com/office/drawing/2014/main" id="{04E326D0-D397-4DCF-88BA-ADD90C3D5C3E}"/>
              </a:ext>
            </a:extLst>
          </p:cNvPr>
          <p:cNvSpPr>
            <a:spLocks noGrp="1"/>
          </p:cNvSpPr>
          <p:nvPr>
            <p:ph type="dt" sz="half" idx="13"/>
          </p:nvPr>
        </p:nvSpPr>
        <p:spPr/>
        <p:txBody>
          <a:bodyPr/>
          <a:lstStyle>
            <a:lvl1pPr>
              <a:defRPr>
                <a:solidFill>
                  <a:srgbClr val="FFFFFF"/>
                </a:solidFill>
              </a:defRPr>
            </a:lvl1pPr>
          </a:lstStyle>
          <a:p>
            <a:r>
              <a:rPr lang="fi-FI" dirty="0"/>
              <a:t>dd.mm.yyyy</a:t>
            </a:r>
            <a:endParaRPr lang="en-US" dirty="0"/>
          </a:p>
        </p:txBody>
      </p:sp>
      <p:sp>
        <p:nvSpPr>
          <p:cNvPr id="10" name="Dian numeron paikkamerkki 9">
            <a:extLst>
              <a:ext uri="{FF2B5EF4-FFF2-40B4-BE49-F238E27FC236}">
                <a16:creationId xmlns:a16="http://schemas.microsoft.com/office/drawing/2014/main" id="{439BEBFE-6A3C-4862-B3C0-DF2EC5E8CBFB}"/>
              </a:ext>
            </a:extLst>
          </p:cNvPr>
          <p:cNvSpPr>
            <a:spLocks noGrp="1"/>
          </p:cNvSpPr>
          <p:nvPr>
            <p:ph type="sldNum" sz="quarter" idx="15"/>
          </p:nvPr>
        </p:nvSpPr>
        <p:spPr/>
        <p:txBody>
          <a:bodyPr/>
          <a:lstStyle>
            <a:lvl1pPr>
              <a:defRPr>
                <a:solidFill>
                  <a:srgbClr val="FFFFFF"/>
                </a:solidFill>
              </a:defRPr>
            </a:lvl1pPr>
          </a:lstStyle>
          <a:p>
            <a:fld id="{28F7F04C-F568-F649-A2AE-EA61C66B69B4}" type="slidenum">
              <a:rPr lang="en-US" smtClean="0"/>
              <a:pPr/>
              <a:t>‹#›</a:t>
            </a:fld>
            <a:endParaRPr lang="en-US" dirty="0"/>
          </a:p>
        </p:txBody>
      </p:sp>
      <p:pic>
        <p:nvPicPr>
          <p:cNvPr id="13" name="Kuva 12"/>
          <p:cNvPicPr>
            <a:picLocks noChangeAspect="1"/>
          </p:cNvPicPr>
          <p:nvPr userDrawn="1"/>
        </p:nvPicPr>
        <p:blipFill rotWithShape="1">
          <a:blip r:embed="rId2">
            <a:extLst>
              <a:ext uri="{28A0092B-C50C-407E-A947-70E740481C1C}">
                <a14:useLocalDpi xmlns:a14="http://schemas.microsoft.com/office/drawing/2010/main" val="0"/>
              </a:ext>
            </a:extLst>
          </a:blip>
          <a:srcRect l="17808" r="17631"/>
          <a:stretch/>
        </p:blipFill>
        <p:spPr>
          <a:xfrm>
            <a:off x="4713402" y="0"/>
            <a:ext cx="4430598" cy="5143500"/>
          </a:xfrm>
          <a:prstGeom prst="rect">
            <a:avLst/>
          </a:prstGeom>
        </p:spPr>
      </p:pic>
      <p:sp>
        <p:nvSpPr>
          <p:cNvPr id="5" name="Alatunnisteen paikkamerkki 4">
            <a:extLst>
              <a:ext uri="{FF2B5EF4-FFF2-40B4-BE49-F238E27FC236}">
                <a16:creationId xmlns:a16="http://schemas.microsoft.com/office/drawing/2014/main" id="{0B124AD7-04E5-4E26-A7E3-6E499B81497F}"/>
              </a:ext>
            </a:extLst>
          </p:cNvPr>
          <p:cNvSpPr>
            <a:spLocks noGrp="1"/>
          </p:cNvSpPr>
          <p:nvPr>
            <p:ph type="ftr" sz="quarter" idx="14"/>
          </p:nvPr>
        </p:nvSpPr>
        <p:spPr/>
        <p:txBody>
          <a:bodyPr/>
          <a:lstStyle>
            <a:lvl1pPr>
              <a:defRPr>
                <a:solidFill>
                  <a:srgbClr val="FFFFFF"/>
                </a:solidFill>
              </a:defRPr>
            </a:lvl1pPr>
          </a:lstStyle>
          <a:p>
            <a:r>
              <a:rPr lang="fi-FI" dirty="0"/>
              <a:t>Your text here</a:t>
            </a:r>
          </a:p>
        </p:txBody>
      </p:sp>
      <p:pic>
        <p:nvPicPr>
          <p:cNvPr id="12" name="Kuva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4281580"/>
            <a:ext cx="1991440" cy="856800"/>
          </a:xfrm>
          <a:prstGeom prst="rect">
            <a:avLst/>
          </a:prstGeom>
        </p:spPr>
      </p:pic>
    </p:spTree>
    <p:extLst>
      <p:ext uri="{BB962C8B-B14F-4D97-AF65-F5344CB8AC3E}">
        <p14:creationId xmlns:p14="http://schemas.microsoft.com/office/powerpoint/2010/main" val="3222706376"/>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Title Slide ">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414231" y="2301720"/>
            <a:ext cx="7072852" cy="1944216"/>
          </a:xfrm>
        </p:spPr>
        <p:txBody>
          <a:bodyPr/>
          <a:lstStyle>
            <a:lvl1pPr marL="0" indent="0" algn="l">
              <a:buNone/>
              <a:defRPr sz="3299">
                <a:solidFill>
                  <a:schemeClr val="tx1"/>
                </a:solidFill>
              </a:defRPr>
            </a:lvl1pPr>
            <a:lvl2pPr marL="342797" indent="0" algn="ctr">
              <a:buNone/>
              <a:defRPr>
                <a:solidFill>
                  <a:schemeClr val="tx1">
                    <a:tint val="75000"/>
                  </a:schemeClr>
                </a:solidFill>
              </a:defRPr>
            </a:lvl2pPr>
            <a:lvl3pPr marL="685595" indent="0" algn="ctr">
              <a:buNone/>
              <a:defRPr>
                <a:solidFill>
                  <a:schemeClr val="tx1">
                    <a:tint val="75000"/>
                  </a:schemeClr>
                </a:solidFill>
              </a:defRPr>
            </a:lvl3pPr>
            <a:lvl4pPr marL="1028392" indent="0" algn="ctr">
              <a:buNone/>
              <a:defRPr>
                <a:solidFill>
                  <a:schemeClr val="tx1">
                    <a:tint val="75000"/>
                  </a:schemeClr>
                </a:solidFill>
              </a:defRPr>
            </a:lvl4pPr>
            <a:lvl5pPr marL="1371188" indent="0" algn="ctr">
              <a:buNone/>
              <a:defRPr>
                <a:solidFill>
                  <a:schemeClr val="tx1">
                    <a:tint val="75000"/>
                  </a:schemeClr>
                </a:solidFill>
              </a:defRPr>
            </a:lvl5pPr>
            <a:lvl6pPr marL="1713986" indent="0" algn="ctr">
              <a:buNone/>
              <a:defRPr>
                <a:solidFill>
                  <a:schemeClr val="tx1">
                    <a:tint val="75000"/>
                  </a:schemeClr>
                </a:solidFill>
              </a:defRPr>
            </a:lvl6pPr>
            <a:lvl7pPr marL="2056783" indent="0" algn="ctr">
              <a:buNone/>
              <a:defRPr>
                <a:solidFill>
                  <a:schemeClr val="tx1">
                    <a:tint val="75000"/>
                  </a:schemeClr>
                </a:solidFill>
              </a:defRPr>
            </a:lvl7pPr>
            <a:lvl8pPr marL="2399580" indent="0" algn="ctr">
              <a:buNone/>
              <a:defRPr>
                <a:solidFill>
                  <a:schemeClr val="tx1">
                    <a:tint val="75000"/>
                  </a:schemeClr>
                </a:solidFill>
              </a:defRPr>
            </a:lvl8pPr>
            <a:lvl9pPr marL="2742377" indent="0" algn="ctr">
              <a:buNone/>
              <a:defRPr>
                <a:solidFill>
                  <a:schemeClr val="tx1">
                    <a:tint val="75000"/>
                  </a:schemeClr>
                </a:solidFill>
              </a:defRPr>
            </a:lvl9pPr>
          </a:lstStyle>
          <a:p>
            <a:r>
              <a:rPr lang="en-US" dirty="0"/>
              <a:t>Click to add presentation subtitle</a:t>
            </a:r>
          </a:p>
        </p:txBody>
      </p:sp>
      <p:sp>
        <p:nvSpPr>
          <p:cNvPr id="11" name="Title 1"/>
          <p:cNvSpPr>
            <a:spLocks noGrp="1"/>
          </p:cNvSpPr>
          <p:nvPr>
            <p:ph type="title" hasCustomPrompt="1"/>
          </p:nvPr>
        </p:nvSpPr>
        <p:spPr>
          <a:xfrm>
            <a:off x="0" y="573881"/>
            <a:ext cx="6920604" cy="602326"/>
          </a:xfrm>
        </p:spPr>
        <p:txBody>
          <a:bodyPr wrap="none"/>
          <a:lstStyle>
            <a:lvl1pPr>
              <a:defRPr baseline="0"/>
            </a:lvl1pPr>
          </a:lstStyle>
          <a:p>
            <a:r>
              <a:rPr lang="en-US" dirty="0"/>
              <a:t>Click to add presentation title</a:t>
            </a:r>
          </a:p>
        </p:txBody>
      </p:sp>
      <p:sp>
        <p:nvSpPr>
          <p:cNvPr id="2" name="Date Placeholder 1"/>
          <p:cNvSpPr>
            <a:spLocks noGrp="1"/>
          </p:cNvSpPr>
          <p:nvPr>
            <p:ph type="dt" sz="half" idx="10"/>
          </p:nvPr>
        </p:nvSpPr>
        <p:spPr/>
        <p:txBody>
          <a:bodyPr/>
          <a:lstStyle>
            <a:lvl1pPr>
              <a:defRPr>
                <a:noFill/>
              </a:defRPr>
            </a:lvl1pPr>
          </a:lstStyle>
          <a:p>
            <a:fld id="{2BE901F9-7290-474C-84D9-D2AF27877403}" type="datetime1">
              <a:rPr lang="fi-FI" smtClean="0"/>
              <a:t>5.11.2023</a:t>
            </a:fld>
            <a:endParaRPr lang="en-US" dirty="0"/>
          </a:p>
        </p:txBody>
      </p:sp>
      <p:sp>
        <p:nvSpPr>
          <p:cNvPr id="4" name="Footer Placeholder 3"/>
          <p:cNvSpPr>
            <a:spLocks noGrp="1"/>
          </p:cNvSpPr>
          <p:nvPr>
            <p:ph type="ftr" sz="quarter" idx="11"/>
          </p:nvPr>
        </p:nvSpPr>
        <p:spPr/>
        <p:txBody>
          <a:bodyPr/>
          <a:lstStyle/>
          <a:p>
            <a:r>
              <a:rPr lang="en-US"/>
              <a:t>© Aalto University Executive Education</a:t>
            </a:r>
            <a:endParaRPr lang="en-US" dirty="0"/>
          </a:p>
        </p:txBody>
      </p:sp>
      <p:sp>
        <p:nvSpPr>
          <p:cNvPr id="5" name="Slide Number Placeholder 4"/>
          <p:cNvSpPr>
            <a:spLocks noGrp="1"/>
          </p:cNvSpPr>
          <p:nvPr>
            <p:ph type="sldNum" sz="quarter" idx="12"/>
          </p:nvPr>
        </p:nvSpPr>
        <p:spPr/>
        <p:txBody>
          <a:bodyPr/>
          <a:lstStyle>
            <a:lvl1pPr>
              <a:defRPr>
                <a:noFill/>
              </a:defRPr>
            </a:lvl1pPr>
          </a:lstStyle>
          <a:p>
            <a:fld id="{FCCA222D-FCF7-48C1-A274-EBDDEF75DC66}" type="slidenum">
              <a:rPr lang="en-US" smtClean="0"/>
              <a:pPr/>
              <a:t>‹#›</a:t>
            </a:fld>
            <a:endParaRPr lang="en-US" dirty="0"/>
          </a:p>
        </p:txBody>
      </p:sp>
    </p:spTree>
    <p:extLst>
      <p:ext uri="{BB962C8B-B14F-4D97-AF65-F5344CB8AC3E}">
        <p14:creationId xmlns:p14="http://schemas.microsoft.com/office/powerpoint/2010/main" val="860752617"/>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type="obj" preserve="1">
  <p:cSld name="Title and Content ">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add title</a:t>
            </a:r>
          </a:p>
        </p:txBody>
      </p:sp>
      <p:sp>
        <p:nvSpPr>
          <p:cNvPr id="3" name="Content Placeholder 2"/>
          <p:cNvSpPr>
            <a:spLocks noGrp="1"/>
          </p:cNvSpPr>
          <p:nvPr>
            <p:ph idx="1" hasCustomPrompt="1"/>
          </p:nvPr>
        </p:nvSpPr>
        <p:spPr/>
        <p:txBody>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DBBED7B8-6E10-436C-840F-8E9F711A0369}" type="datetime1">
              <a:rPr lang="fi-FI" smtClean="0"/>
              <a:t>5.11.2023</a:t>
            </a:fld>
            <a:endParaRPr lang="en-US"/>
          </a:p>
        </p:txBody>
      </p:sp>
      <p:sp>
        <p:nvSpPr>
          <p:cNvPr id="5" name="Footer Placeholder 4"/>
          <p:cNvSpPr>
            <a:spLocks noGrp="1"/>
          </p:cNvSpPr>
          <p:nvPr>
            <p:ph type="ftr" sz="quarter" idx="11"/>
          </p:nvPr>
        </p:nvSpPr>
        <p:spPr/>
        <p:txBody>
          <a:bodyPr/>
          <a:lstStyle/>
          <a:p>
            <a:r>
              <a:rPr lang="en-US"/>
              <a:t>© Aalto University Executive Education</a:t>
            </a:r>
          </a:p>
        </p:txBody>
      </p:sp>
      <p:sp>
        <p:nvSpPr>
          <p:cNvPr id="6" name="Slide Number Placeholder 5"/>
          <p:cNvSpPr>
            <a:spLocks noGrp="1"/>
          </p:cNvSpPr>
          <p:nvPr>
            <p:ph type="sldNum" sz="quarter" idx="12"/>
          </p:nvPr>
        </p:nvSpPr>
        <p:spPr/>
        <p:txBody>
          <a:bodyPr/>
          <a:lstStyle/>
          <a:p>
            <a:fld id="{FCCA222D-FCF7-48C1-A274-EBDDEF75DC66}" type="slidenum">
              <a:rPr lang="en-US" smtClean="0"/>
              <a:t>‹#›</a:t>
            </a:fld>
            <a:endParaRPr lang="en-US"/>
          </a:p>
        </p:txBody>
      </p:sp>
    </p:spTree>
    <p:extLst>
      <p:ext uri="{BB962C8B-B14F-4D97-AF65-F5344CB8AC3E}">
        <p14:creationId xmlns:p14="http://schemas.microsoft.com/office/powerpoint/2010/main" val="2307202638"/>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type="secHead" preserve="1">
  <p:cSld name="Section Header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573882"/>
            <a:ext cx="7487081" cy="602326"/>
          </a:xfrm>
          <a:solidFill>
            <a:srgbClr val="B1059D"/>
          </a:solidFill>
        </p:spPr>
        <p:txBody>
          <a:bodyPr lIns="540000" rIns="540000" anchor="t"/>
          <a:lstStyle>
            <a:lvl1pPr algn="l">
              <a:defRPr sz="3299" b="1" cap="none"/>
            </a:lvl1pPr>
          </a:lstStyle>
          <a:p>
            <a:r>
              <a:rPr lang="en-US" dirty="0"/>
              <a:t>Click to add title</a:t>
            </a:r>
          </a:p>
        </p:txBody>
      </p:sp>
      <p:sp>
        <p:nvSpPr>
          <p:cNvPr id="3" name="Text Placeholder 2"/>
          <p:cNvSpPr>
            <a:spLocks noGrp="1"/>
          </p:cNvSpPr>
          <p:nvPr>
            <p:ph type="body" idx="1" hasCustomPrompt="1"/>
          </p:nvPr>
        </p:nvSpPr>
        <p:spPr>
          <a:xfrm>
            <a:off x="4572001" y="2842022"/>
            <a:ext cx="4572000" cy="567683"/>
          </a:xfrm>
          <a:solidFill>
            <a:srgbClr val="000000">
              <a:alpha val="89804"/>
            </a:srgbClr>
          </a:solidFill>
        </p:spPr>
        <p:txBody>
          <a:bodyPr wrap="square" lIns="324000" tIns="144000" rIns="324000" bIns="144000" anchor="t" anchorCtr="0">
            <a:spAutoFit/>
          </a:bodyPr>
          <a:lstStyle>
            <a:lvl1pPr marL="0" indent="0" algn="r">
              <a:buNone/>
              <a:defRPr sz="1799" b="1" i="0">
                <a:solidFill>
                  <a:schemeClr val="bg1"/>
                </a:solidFill>
              </a:defRPr>
            </a:lvl1pPr>
            <a:lvl2pPr marL="342797" indent="0">
              <a:buNone/>
              <a:defRPr sz="1349">
                <a:solidFill>
                  <a:schemeClr val="tx1">
                    <a:tint val="75000"/>
                  </a:schemeClr>
                </a:solidFill>
              </a:defRPr>
            </a:lvl2pPr>
            <a:lvl3pPr marL="685595" indent="0">
              <a:buNone/>
              <a:defRPr sz="1200">
                <a:solidFill>
                  <a:schemeClr val="tx1">
                    <a:tint val="75000"/>
                  </a:schemeClr>
                </a:solidFill>
              </a:defRPr>
            </a:lvl3pPr>
            <a:lvl4pPr marL="1028392" indent="0">
              <a:buNone/>
              <a:defRPr sz="1050">
                <a:solidFill>
                  <a:schemeClr val="tx1">
                    <a:tint val="75000"/>
                  </a:schemeClr>
                </a:solidFill>
              </a:defRPr>
            </a:lvl4pPr>
            <a:lvl5pPr marL="1371188" indent="0">
              <a:buNone/>
              <a:defRPr sz="1050">
                <a:solidFill>
                  <a:schemeClr val="tx1">
                    <a:tint val="75000"/>
                  </a:schemeClr>
                </a:solidFill>
              </a:defRPr>
            </a:lvl5pPr>
            <a:lvl6pPr marL="1713986" indent="0">
              <a:buNone/>
              <a:defRPr sz="1050">
                <a:solidFill>
                  <a:schemeClr val="tx1">
                    <a:tint val="75000"/>
                  </a:schemeClr>
                </a:solidFill>
              </a:defRPr>
            </a:lvl6pPr>
            <a:lvl7pPr marL="2056783" indent="0">
              <a:buNone/>
              <a:defRPr sz="1050">
                <a:solidFill>
                  <a:schemeClr val="tx1">
                    <a:tint val="75000"/>
                  </a:schemeClr>
                </a:solidFill>
              </a:defRPr>
            </a:lvl7pPr>
            <a:lvl8pPr marL="2399580" indent="0">
              <a:buNone/>
              <a:defRPr sz="1050">
                <a:solidFill>
                  <a:schemeClr val="tx1">
                    <a:tint val="75000"/>
                  </a:schemeClr>
                </a:solidFill>
              </a:defRPr>
            </a:lvl8pPr>
            <a:lvl9pPr marL="2742377" indent="0">
              <a:buNone/>
              <a:defRPr sz="1050">
                <a:solidFill>
                  <a:schemeClr val="tx1">
                    <a:tint val="75000"/>
                  </a:schemeClr>
                </a:solidFill>
              </a:defRPr>
            </a:lvl9pPr>
          </a:lstStyle>
          <a:p>
            <a:pPr lvl="0"/>
            <a:r>
              <a:rPr lang="en-US" dirty="0"/>
              <a:t>Click to add text</a:t>
            </a:r>
          </a:p>
        </p:txBody>
      </p:sp>
      <p:sp>
        <p:nvSpPr>
          <p:cNvPr id="4" name="Date Placeholder 3"/>
          <p:cNvSpPr>
            <a:spLocks noGrp="1"/>
          </p:cNvSpPr>
          <p:nvPr>
            <p:ph type="dt" sz="half" idx="10"/>
          </p:nvPr>
        </p:nvSpPr>
        <p:spPr/>
        <p:txBody>
          <a:bodyPr/>
          <a:lstStyle>
            <a:lvl1pPr>
              <a:defRPr>
                <a:solidFill>
                  <a:schemeClr val="bg1"/>
                </a:solidFill>
              </a:defRPr>
            </a:lvl1pPr>
          </a:lstStyle>
          <a:p>
            <a:fld id="{2D335028-5C11-45D8-9C49-9C21ECA166FC}" type="datetime1">
              <a:rPr lang="fi-FI" smtClean="0"/>
              <a:t>5.11.2023</a:t>
            </a:fld>
            <a:endParaRPr lang="en-US" dirty="0"/>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 Aalto University Executive Education</a:t>
            </a:r>
            <a:endParaRPr lang="en-US"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FCCA222D-FCF7-48C1-A274-EBDDEF75DC66}" type="slidenum">
              <a:rPr lang="en-US" smtClean="0"/>
              <a:pPr/>
              <a:t>‹#›</a:t>
            </a:fld>
            <a:endParaRPr lang="en-US" dirty="0"/>
          </a:p>
        </p:txBody>
      </p:sp>
      <p:grpSp>
        <p:nvGrpSpPr>
          <p:cNvPr id="19" name="Group 18"/>
          <p:cNvGrpSpPr>
            <a:grpSpLocks noChangeAspect="1"/>
          </p:cNvGrpSpPr>
          <p:nvPr userDrawn="1"/>
        </p:nvGrpSpPr>
        <p:grpSpPr>
          <a:xfrm>
            <a:off x="7595548" y="249492"/>
            <a:ext cx="1294117" cy="199800"/>
            <a:chOff x="4067175" y="114301"/>
            <a:chExt cx="3630613" cy="560388"/>
          </a:xfrm>
          <a:solidFill>
            <a:schemeClr val="bg1"/>
          </a:solidFill>
        </p:grpSpPr>
        <p:sp>
          <p:nvSpPr>
            <p:cNvPr id="20" name="Freeform 6"/>
            <p:cNvSpPr>
              <a:spLocks noEditPoints="1"/>
            </p:cNvSpPr>
            <p:nvPr userDrawn="1"/>
          </p:nvSpPr>
          <p:spPr bwMode="auto">
            <a:xfrm>
              <a:off x="5749925" y="114301"/>
              <a:ext cx="1530350" cy="173038"/>
            </a:xfrm>
            <a:custGeom>
              <a:avLst/>
              <a:gdLst>
                <a:gd name="T0" fmla="*/ 922 w 964"/>
                <a:gd name="T1" fmla="*/ 84 h 109"/>
                <a:gd name="T2" fmla="*/ 918 w 964"/>
                <a:gd name="T3" fmla="*/ 109 h 109"/>
                <a:gd name="T4" fmla="*/ 944 w 964"/>
                <a:gd name="T5" fmla="*/ 25 h 109"/>
                <a:gd name="T6" fmla="*/ 860 w 964"/>
                <a:gd name="T7" fmla="*/ 68 h 109"/>
                <a:gd name="T8" fmla="*/ 890 w 964"/>
                <a:gd name="T9" fmla="*/ 89 h 109"/>
                <a:gd name="T10" fmla="*/ 890 w 964"/>
                <a:gd name="T11" fmla="*/ 39 h 109"/>
                <a:gd name="T12" fmla="*/ 819 w 964"/>
                <a:gd name="T13" fmla="*/ 89 h 109"/>
                <a:gd name="T14" fmla="*/ 793 w 964"/>
                <a:gd name="T15" fmla="*/ 26 h 109"/>
                <a:gd name="T16" fmla="*/ 753 w 964"/>
                <a:gd name="T17" fmla="*/ 33 h 109"/>
                <a:gd name="T18" fmla="*/ 757 w 964"/>
                <a:gd name="T19" fmla="*/ 58 h 109"/>
                <a:gd name="T20" fmla="*/ 788 w 964"/>
                <a:gd name="T21" fmla="*/ 72 h 109"/>
                <a:gd name="T22" fmla="*/ 767 w 964"/>
                <a:gd name="T23" fmla="*/ 70 h 109"/>
                <a:gd name="T24" fmla="*/ 772 w 964"/>
                <a:gd name="T25" fmla="*/ 90 h 109"/>
                <a:gd name="T26" fmla="*/ 806 w 964"/>
                <a:gd name="T27" fmla="*/ 73 h 109"/>
                <a:gd name="T28" fmla="*/ 788 w 964"/>
                <a:gd name="T29" fmla="*/ 49 h 109"/>
                <a:gd name="T30" fmla="*/ 777 w 964"/>
                <a:gd name="T31" fmla="*/ 37 h 109"/>
                <a:gd name="T32" fmla="*/ 700 w 964"/>
                <a:gd name="T33" fmla="*/ 89 h 109"/>
                <a:gd name="T34" fmla="*/ 729 w 964"/>
                <a:gd name="T35" fmla="*/ 42 h 109"/>
                <a:gd name="T36" fmla="*/ 723 w 964"/>
                <a:gd name="T37" fmla="*/ 27 h 109"/>
                <a:gd name="T38" fmla="*/ 643 w 964"/>
                <a:gd name="T39" fmla="*/ 42 h 109"/>
                <a:gd name="T40" fmla="*/ 666 w 964"/>
                <a:gd name="T41" fmla="*/ 44 h 109"/>
                <a:gd name="T42" fmla="*/ 682 w 964"/>
                <a:gd name="T43" fmla="*/ 38 h 109"/>
                <a:gd name="T44" fmla="*/ 647 w 964"/>
                <a:gd name="T45" fmla="*/ 24 h 109"/>
                <a:gd name="T46" fmla="*/ 623 w 964"/>
                <a:gd name="T47" fmla="*/ 46 h 109"/>
                <a:gd name="T48" fmla="*/ 641 w 964"/>
                <a:gd name="T49" fmla="*/ 88 h 109"/>
                <a:gd name="T50" fmla="*/ 679 w 964"/>
                <a:gd name="T51" fmla="*/ 82 h 109"/>
                <a:gd name="T52" fmla="*/ 656 w 964"/>
                <a:gd name="T53" fmla="*/ 76 h 109"/>
                <a:gd name="T54" fmla="*/ 687 w 964"/>
                <a:gd name="T55" fmla="*/ 62 h 109"/>
                <a:gd name="T56" fmla="*/ 575 w 964"/>
                <a:gd name="T57" fmla="*/ 89 h 109"/>
                <a:gd name="T58" fmla="*/ 521 w 964"/>
                <a:gd name="T59" fmla="*/ 89 h 109"/>
                <a:gd name="T60" fmla="*/ 467 w 964"/>
                <a:gd name="T61" fmla="*/ 42 h 109"/>
                <a:gd name="T62" fmla="*/ 483 w 964"/>
                <a:gd name="T63" fmla="*/ 44 h 109"/>
                <a:gd name="T64" fmla="*/ 497 w 964"/>
                <a:gd name="T65" fmla="*/ 29 h 109"/>
                <a:gd name="T66" fmla="*/ 463 w 964"/>
                <a:gd name="T67" fmla="*/ 25 h 109"/>
                <a:gd name="T68" fmla="*/ 398 w 964"/>
                <a:gd name="T69" fmla="*/ 73 h 109"/>
                <a:gd name="T70" fmla="*/ 376 w 964"/>
                <a:gd name="T71" fmla="*/ 63 h 109"/>
                <a:gd name="T72" fmla="*/ 364 w 964"/>
                <a:gd name="T73" fmla="*/ 81 h 109"/>
                <a:gd name="T74" fmla="*/ 406 w 964"/>
                <a:gd name="T75" fmla="*/ 89 h 109"/>
                <a:gd name="T76" fmla="*/ 427 w 964"/>
                <a:gd name="T77" fmla="*/ 60 h 109"/>
                <a:gd name="T78" fmla="*/ 292 w 964"/>
                <a:gd name="T79" fmla="*/ 49 h 109"/>
                <a:gd name="T80" fmla="*/ 284 w 964"/>
                <a:gd name="T81" fmla="*/ 74 h 109"/>
                <a:gd name="T82" fmla="*/ 263 w 964"/>
                <a:gd name="T83" fmla="*/ 61 h 109"/>
                <a:gd name="T84" fmla="*/ 274 w 964"/>
                <a:gd name="T85" fmla="*/ 38 h 109"/>
                <a:gd name="T86" fmla="*/ 247 w 964"/>
                <a:gd name="T87" fmla="*/ 40 h 109"/>
                <a:gd name="T88" fmla="*/ 249 w 964"/>
                <a:gd name="T89" fmla="*/ 76 h 109"/>
                <a:gd name="T90" fmla="*/ 291 w 964"/>
                <a:gd name="T91" fmla="*/ 88 h 109"/>
                <a:gd name="T92" fmla="*/ 311 w 964"/>
                <a:gd name="T93" fmla="*/ 57 h 109"/>
                <a:gd name="T94" fmla="*/ 291 w 964"/>
                <a:gd name="T95" fmla="*/ 26 h 109"/>
                <a:gd name="T96" fmla="*/ 196 w 964"/>
                <a:gd name="T97" fmla="*/ 26 h 109"/>
                <a:gd name="T98" fmla="*/ 214 w 964"/>
                <a:gd name="T99" fmla="*/ 88 h 109"/>
                <a:gd name="T100" fmla="*/ 224 w 964"/>
                <a:gd name="T101" fmla="*/ 70 h 109"/>
                <a:gd name="T102" fmla="*/ 184 w 964"/>
                <a:gd name="T103" fmla="*/ 0 h 109"/>
                <a:gd name="T104" fmla="*/ 108 w 964"/>
                <a:gd name="T105" fmla="*/ 71 h 109"/>
                <a:gd name="T106" fmla="*/ 110 w 964"/>
                <a:gd name="T107" fmla="*/ 45 h 109"/>
                <a:gd name="T108" fmla="*/ 130 w 964"/>
                <a:gd name="T109" fmla="*/ 41 h 109"/>
                <a:gd name="T110" fmla="*/ 103 w 964"/>
                <a:gd name="T111" fmla="*/ 52 h 109"/>
                <a:gd name="T112" fmla="*/ 91 w 964"/>
                <a:gd name="T113" fmla="*/ 79 h 109"/>
                <a:gd name="T114" fmla="*/ 123 w 964"/>
                <a:gd name="T115" fmla="*/ 89 h 109"/>
                <a:gd name="T116" fmla="*/ 149 w 964"/>
                <a:gd name="T117" fmla="*/ 42 h 109"/>
                <a:gd name="T118" fmla="*/ 115 w 964"/>
                <a:gd name="T119" fmla="*/ 23 h 109"/>
                <a:gd name="T120" fmla="*/ 93 w 964"/>
                <a:gd name="T121" fmla="*/ 45 h 109"/>
                <a:gd name="T122" fmla="*/ 56 w 964"/>
                <a:gd name="T1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4" h="109">
                  <a:moveTo>
                    <a:pt x="944" y="25"/>
                  </a:moveTo>
                  <a:lnTo>
                    <a:pt x="936" y="54"/>
                  </a:lnTo>
                  <a:lnTo>
                    <a:pt x="933" y="68"/>
                  </a:lnTo>
                  <a:lnTo>
                    <a:pt x="932" y="65"/>
                  </a:lnTo>
                  <a:lnTo>
                    <a:pt x="928" y="54"/>
                  </a:lnTo>
                  <a:lnTo>
                    <a:pt x="919" y="25"/>
                  </a:lnTo>
                  <a:lnTo>
                    <a:pt x="899" y="25"/>
                  </a:lnTo>
                  <a:lnTo>
                    <a:pt x="920" y="79"/>
                  </a:lnTo>
                  <a:lnTo>
                    <a:pt x="922" y="84"/>
                  </a:lnTo>
                  <a:lnTo>
                    <a:pt x="922" y="87"/>
                  </a:lnTo>
                  <a:lnTo>
                    <a:pt x="922" y="90"/>
                  </a:lnTo>
                  <a:lnTo>
                    <a:pt x="920" y="93"/>
                  </a:lnTo>
                  <a:lnTo>
                    <a:pt x="919" y="94"/>
                  </a:lnTo>
                  <a:lnTo>
                    <a:pt x="917" y="94"/>
                  </a:lnTo>
                  <a:lnTo>
                    <a:pt x="913" y="95"/>
                  </a:lnTo>
                  <a:lnTo>
                    <a:pt x="907" y="95"/>
                  </a:lnTo>
                  <a:lnTo>
                    <a:pt x="907" y="109"/>
                  </a:lnTo>
                  <a:lnTo>
                    <a:pt x="918" y="109"/>
                  </a:lnTo>
                  <a:lnTo>
                    <a:pt x="923" y="109"/>
                  </a:lnTo>
                  <a:lnTo>
                    <a:pt x="927" y="108"/>
                  </a:lnTo>
                  <a:lnTo>
                    <a:pt x="930" y="107"/>
                  </a:lnTo>
                  <a:lnTo>
                    <a:pt x="933" y="105"/>
                  </a:lnTo>
                  <a:lnTo>
                    <a:pt x="935" y="103"/>
                  </a:lnTo>
                  <a:lnTo>
                    <a:pt x="937" y="100"/>
                  </a:lnTo>
                  <a:lnTo>
                    <a:pt x="941" y="89"/>
                  </a:lnTo>
                  <a:lnTo>
                    <a:pt x="964" y="25"/>
                  </a:lnTo>
                  <a:lnTo>
                    <a:pt x="944" y="25"/>
                  </a:lnTo>
                  <a:close/>
                  <a:moveTo>
                    <a:pt x="890" y="26"/>
                  </a:moveTo>
                  <a:lnTo>
                    <a:pt x="879" y="26"/>
                  </a:lnTo>
                  <a:lnTo>
                    <a:pt x="879" y="5"/>
                  </a:lnTo>
                  <a:lnTo>
                    <a:pt x="860" y="5"/>
                  </a:lnTo>
                  <a:lnTo>
                    <a:pt x="860" y="26"/>
                  </a:lnTo>
                  <a:lnTo>
                    <a:pt x="851" y="26"/>
                  </a:lnTo>
                  <a:lnTo>
                    <a:pt x="851" y="39"/>
                  </a:lnTo>
                  <a:lnTo>
                    <a:pt x="860" y="39"/>
                  </a:lnTo>
                  <a:lnTo>
                    <a:pt x="860" y="68"/>
                  </a:lnTo>
                  <a:lnTo>
                    <a:pt x="860" y="74"/>
                  </a:lnTo>
                  <a:lnTo>
                    <a:pt x="861" y="79"/>
                  </a:lnTo>
                  <a:lnTo>
                    <a:pt x="862" y="82"/>
                  </a:lnTo>
                  <a:lnTo>
                    <a:pt x="863" y="84"/>
                  </a:lnTo>
                  <a:lnTo>
                    <a:pt x="866" y="86"/>
                  </a:lnTo>
                  <a:lnTo>
                    <a:pt x="869" y="88"/>
                  </a:lnTo>
                  <a:lnTo>
                    <a:pt x="873" y="88"/>
                  </a:lnTo>
                  <a:lnTo>
                    <a:pt x="879" y="89"/>
                  </a:lnTo>
                  <a:lnTo>
                    <a:pt x="890" y="89"/>
                  </a:lnTo>
                  <a:lnTo>
                    <a:pt x="890" y="75"/>
                  </a:lnTo>
                  <a:lnTo>
                    <a:pt x="883" y="75"/>
                  </a:lnTo>
                  <a:lnTo>
                    <a:pt x="881" y="74"/>
                  </a:lnTo>
                  <a:lnTo>
                    <a:pt x="880" y="74"/>
                  </a:lnTo>
                  <a:lnTo>
                    <a:pt x="879" y="73"/>
                  </a:lnTo>
                  <a:lnTo>
                    <a:pt x="879" y="70"/>
                  </a:lnTo>
                  <a:lnTo>
                    <a:pt x="879" y="64"/>
                  </a:lnTo>
                  <a:lnTo>
                    <a:pt x="879" y="39"/>
                  </a:lnTo>
                  <a:lnTo>
                    <a:pt x="890" y="39"/>
                  </a:lnTo>
                  <a:lnTo>
                    <a:pt x="890" y="26"/>
                  </a:lnTo>
                  <a:close/>
                  <a:moveTo>
                    <a:pt x="838" y="0"/>
                  </a:moveTo>
                  <a:lnTo>
                    <a:pt x="819" y="0"/>
                  </a:lnTo>
                  <a:lnTo>
                    <a:pt x="819" y="16"/>
                  </a:lnTo>
                  <a:lnTo>
                    <a:pt x="838" y="16"/>
                  </a:lnTo>
                  <a:lnTo>
                    <a:pt x="838" y="0"/>
                  </a:lnTo>
                  <a:close/>
                  <a:moveTo>
                    <a:pt x="838" y="25"/>
                  </a:moveTo>
                  <a:lnTo>
                    <a:pt x="819" y="25"/>
                  </a:lnTo>
                  <a:lnTo>
                    <a:pt x="819" y="89"/>
                  </a:lnTo>
                  <a:lnTo>
                    <a:pt x="838" y="89"/>
                  </a:lnTo>
                  <a:lnTo>
                    <a:pt x="838" y="25"/>
                  </a:lnTo>
                  <a:close/>
                  <a:moveTo>
                    <a:pt x="806" y="44"/>
                  </a:moveTo>
                  <a:lnTo>
                    <a:pt x="805" y="39"/>
                  </a:lnTo>
                  <a:lnTo>
                    <a:pt x="803" y="35"/>
                  </a:lnTo>
                  <a:lnTo>
                    <a:pt x="800" y="31"/>
                  </a:lnTo>
                  <a:lnTo>
                    <a:pt x="797" y="28"/>
                  </a:lnTo>
                  <a:lnTo>
                    <a:pt x="795" y="27"/>
                  </a:lnTo>
                  <a:lnTo>
                    <a:pt x="793" y="26"/>
                  </a:lnTo>
                  <a:lnTo>
                    <a:pt x="789" y="24"/>
                  </a:lnTo>
                  <a:lnTo>
                    <a:pt x="783" y="23"/>
                  </a:lnTo>
                  <a:lnTo>
                    <a:pt x="777" y="23"/>
                  </a:lnTo>
                  <a:lnTo>
                    <a:pt x="771" y="23"/>
                  </a:lnTo>
                  <a:lnTo>
                    <a:pt x="766" y="24"/>
                  </a:lnTo>
                  <a:lnTo>
                    <a:pt x="761" y="26"/>
                  </a:lnTo>
                  <a:lnTo>
                    <a:pt x="757" y="29"/>
                  </a:lnTo>
                  <a:lnTo>
                    <a:pt x="754" y="32"/>
                  </a:lnTo>
                  <a:lnTo>
                    <a:pt x="753" y="33"/>
                  </a:lnTo>
                  <a:lnTo>
                    <a:pt x="752" y="35"/>
                  </a:lnTo>
                  <a:lnTo>
                    <a:pt x="751" y="39"/>
                  </a:lnTo>
                  <a:lnTo>
                    <a:pt x="750" y="44"/>
                  </a:lnTo>
                  <a:lnTo>
                    <a:pt x="750" y="47"/>
                  </a:lnTo>
                  <a:lnTo>
                    <a:pt x="751" y="50"/>
                  </a:lnTo>
                  <a:lnTo>
                    <a:pt x="752" y="52"/>
                  </a:lnTo>
                  <a:lnTo>
                    <a:pt x="753" y="53"/>
                  </a:lnTo>
                  <a:lnTo>
                    <a:pt x="755" y="56"/>
                  </a:lnTo>
                  <a:lnTo>
                    <a:pt x="757" y="58"/>
                  </a:lnTo>
                  <a:lnTo>
                    <a:pt x="761" y="59"/>
                  </a:lnTo>
                  <a:lnTo>
                    <a:pt x="765" y="61"/>
                  </a:lnTo>
                  <a:lnTo>
                    <a:pt x="770" y="62"/>
                  </a:lnTo>
                  <a:lnTo>
                    <a:pt x="781" y="65"/>
                  </a:lnTo>
                  <a:lnTo>
                    <a:pt x="785" y="66"/>
                  </a:lnTo>
                  <a:lnTo>
                    <a:pt x="787" y="67"/>
                  </a:lnTo>
                  <a:lnTo>
                    <a:pt x="788" y="69"/>
                  </a:lnTo>
                  <a:lnTo>
                    <a:pt x="788" y="71"/>
                  </a:lnTo>
                  <a:lnTo>
                    <a:pt x="788" y="72"/>
                  </a:lnTo>
                  <a:lnTo>
                    <a:pt x="788" y="73"/>
                  </a:lnTo>
                  <a:lnTo>
                    <a:pt x="786" y="75"/>
                  </a:lnTo>
                  <a:lnTo>
                    <a:pt x="783" y="76"/>
                  </a:lnTo>
                  <a:lnTo>
                    <a:pt x="779" y="77"/>
                  </a:lnTo>
                  <a:lnTo>
                    <a:pt x="774" y="76"/>
                  </a:lnTo>
                  <a:lnTo>
                    <a:pt x="772" y="76"/>
                  </a:lnTo>
                  <a:lnTo>
                    <a:pt x="770" y="75"/>
                  </a:lnTo>
                  <a:lnTo>
                    <a:pt x="767" y="72"/>
                  </a:lnTo>
                  <a:lnTo>
                    <a:pt x="767" y="70"/>
                  </a:lnTo>
                  <a:lnTo>
                    <a:pt x="766" y="68"/>
                  </a:lnTo>
                  <a:lnTo>
                    <a:pt x="748" y="68"/>
                  </a:lnTo>
                  <a:lnTo>
                    <a:pt x="749" y="73"/>
                  </a:lnTo>
                  <a:lnTo>
                    <a:pt x="751" y="77"/>
                  </a:lnTo>
                  <a:lnTo>
                    <a:pt x="754" y="81"/>
                  </a:lnTo>
                  <a:lnTo>
                    <a:pt x="757" y="84"/>
                  </a:lnTo>
                  <a:lnTo>
                    <a:pt x="761" y="87"/>
                  </a:lnTo>
                  <a:lnTo>
                    <a:pt x="766" y="89"/>
                  </a:lnTo>
                  <a:lnTo>
                    <a:pt x="772" y="90"/>
                  </a:lnTo>
                  <a:lnTo>
                    <a:pt x="778" y="90"/>
                  </a:lnTo>
                  <a:lnTo>
                    <a:pt x="785" y="90"/>
                  </a:lnTo>
                  <a:lnTo>
                    <a:pt x="790" y="89"/>
                  </a:lnTo>
                  <a:lnTo>
                    <a:pt x="795" y="87"/>
                  </a:lnTo>
                  <a:lnTo>
                    <a:pt x="799" y="84"/>
                  </a:lnTo>
                  <a:lnTo>
                    <a:pt x="803" y="81"/>
                  </a:lnTo>
                  <a:lnTo>
                    <a:pt x="805" y="78"/>
                  </a:lnTo>
                  <a:lnTo>
                    <a:pt x="806" y="75"/>
                  </a:lnTo>
                  <a:lnTo>
                    <a:pt x="806" y="73"/>
                  </a:lnTo>
                  <a:lnTo>
                    <a:pt x="807" y="68"/>
                  </a:lnTo>
                  <a:lnTo>
                    <a:pt x="807" y="65"/>
                  </a:lnTo>
                  <a:lnTo>
                    <a:pt x="806" y="61"/>
                  </a:lnTo>
                  <a:lnTo>
                    <a:pt x="804" y="58"/>
                  </a:lnTo>
                  <a:lnTo>
                    <a:pt x="802" y="56"/>
                  </a:lnTo>
                  <a:lnTo>
                    <a:pt x="800" y="54"/>
                  </a:lnTo>
                  <a:lnTo>
                    <a:pt x="797" y="52"/>
                  </a:lnTo>
                  <a:lnTo>
                    <a:pt x="793" y="51"/>
                  </a:lnTo>
                  <a:lnTo>
                    <a:pt x="788" y="49"/>
                  </a:lnTo>
                  <a:lnTo>
                    <a:pt x="776" y="47"/>
                  </a:lnTo>
                  <a:lnTo>
                    <a:pt x="772" y="46"/>
                  </a:lnTo>
                  <a:lnTo>
                    <a:pt x="770" y="45"/>
                  </a:lnTo>
                  <a:lnTo>
                    <a:pt x="768" y="44"/>
                  </a:lnTo>
                  <a:lnTo>
                    <a:pt x="768" y="42"/>
                  </a:lnTo>
                  <a:lnTo>
                    <a:pt x="769" y="40"/>
                  </a:lnTo>
                  <a:lnTo>
                    <a:pt x="771" y="38"/>
                  </a:lnTo>
                  <a:lnTo>
                    <a:pt x="773" y="37"/>
                  </a:lnTo>
                  <a:lnTo>
                    <a:pt x="777" y="37"/>
                  </a:lnTo>
                  <a:lnTo>
                    <a:pt x="781" y="37"/>
                  </a:lnTo>
                  <a:lnTo>
                    <a:pt x="783" y="38"/>
                  </a:lnTo>
                  <a:lnTo>
                    <a:pt x="785" y="39"/>
                  </a:lnTo>
                  <a:lnTo>
                    <a:pt x="786" y="40"/>
                  </a:lnTo>
                  <a:lnTo>
                    <a:pt x="787" y="41"/>
                  </a:lnTo>
                  <a:lnTo>
                    <a:pt x="788" y="44"/>
                  </a:lnTo>
                  <a:lnTo>
                    <a:pt x="806" y="44"/>
                  </a:lnTo>
                  <a:close/>
                  <a:moveTo>
                    <a:pt x="700" y="25"/>
                  </a:moveTo>
                  <a:lnTo>
                    <a:pt x="700" y="89"/>
                  </a:lnTo>
                  <a:lnTo>
                    <a:pt x="719" y="89"/>
                  </a:lnTo>
                  <a:lnTo>
                    <a:pt x="719" y="71"/>
                  </a:lnTo>
                  <a:lnTo>
                    <a:pt x="719" y="56"/>
                  </a:lnTo>
                  <a:lnTo>
                    <a:pt x="720" y="52"/>
                  </a:lnTo>
                  <a:lnTo>
                    <a:pt x="721" y="48"/>
                  </a:lnTo>
                  <a:lnTo>
                    <a:pt x="722" y="46"/>
                  </a:lnTo>
                  <a:lnTo>
                    <a:pt x="724" y="45"/>
                  </a:lnTo>
                  <a:lnTo>
                    <a:pt x="727" y="42"/>
                  </a:lnTo>
                  <a:lnTo>
                    <a:pt x="729" y="42"/>
                  </a:lnTo>
                  <a:lnTo>
                    <a:pt x="731" y="41"/>
                  </a:lnTo>
                  <a:lnTo>
                    <a:pt x="735" y="40"/>
                  </a:lnTo>
                  <a:lnTo>
                    <a:pt x="740" y="41"/>
                  </a:lnTo>
                  <a:lnTo>
                    <a:pt x="740" y="23"/>
                  </a:lnTo>
                  <a:lnTo>
                    <a:pt x="735" y="23"/>
                  </a:lnTo>
                  <a:lnTo>
                    <a:pt x="731" y="24"/>
                  </a:lnTo>
                  <a:lnTo>
                    <a:pt x="728" y="24"/>
                  </a:lnTo>
                  <a:lnTo>
                    <a:pt x="725" y="26"/>
                  </a:lnTo>
                  <a:lnTo>
                    <a:pt x="723" y="27"/>
                  </a:lnTo>
                  <a:lnTo>
                    <a:pt x="721" y="30"/>
                  </a:lnTo>
                  <a:lnTo>
                    <a:pt x="719" y="33"/>
                  </a:lnTo>
                  <a:lnTo>
                    <a:pt x="718" y="36"/>
                  </a:lnTo>
                  <a:lnTo>
                    <a:pt x="718" y="25"/>
                  </a:lnTo>
                  <a:lnTo>
                    <a:pt x="700" y="25"/>
                  </a:lnTo>
                  <a:close/>
                  <a:moveTo>
                    <a:pt x="640" y="49"/>
                  </a:moveTo>
                  <a:lnTo>
                    <a:pt x="641" y="46"/>
                  </a:lnTo>
                  <a:lnTo>
                    <a:pt x="642" y="44"/>
                  </a:lnTo>
                  <a:lnTo>
                    <a:pt x="643" y="42"/>
                  </a:lnTo>
                  <a:lnTo>
                    <a:pt x="645" y="40"/>
                  </a:lnTo>
                  <a:lnTo>
                    <a:pt x="647" y="39"/>
                  </a:lnTo>
                  <a:lnTo>
                    <a:pt x="649" y="38"/>
                  </a:lnTo>
                  <a:lnTo>
                    <a:pt x="655" y="37"/>
                  </a:lnTo>
                  <a:lnTo>
                    <a:pt x="660" y="38"/>
                  </a:lnTo>
                  <a:lnTo>
                    <a:pt x="662" y="39"/>
                  </a:lnTo>
                  <a:lnTo>
                    <a:pt x="663" y="40"/>
                  </a:lnTo>
                  <a:lnTo>
                    <a:pt x="665" y="42"/>
                  </a:lnTo>
                  <a:lnTo>
                    <a:pt x="666" y="44"/>
                  </a:lnTo>
                  <a:lnTo>
                    <a:pt x="667" y="46"/>
                  </a:lnTo>
                  <a:lnTo>
                    <a:pt x="667" y="49"/>
                  </a:lnTo>
                  <a:lnTo>
                    <a:pt x="640" y="49"/>
                  </a:lnTo>
                  <a:close/>
                  <a:moveTo>
                    <a:pt x="687" y="62"/>
                  </a:moveTo>
                  <a:lnTo>
                    <a:pt x="686" y="56"/>
                  </a:lnTo>
                  <a:lnTo>
                    <a:pt x="686" y="51"/>
                  </a:lnTo>
                  <a:lnTo>
                    <a:pt x="685" y="47"/>
                  </a:lnTo>
                  <a:lnTo>
                    <a:pt x="684" y="43"/>
                  </a:lnTo>
                  <a:lnTo>
                    <a:pt x="682" y="38"/>
                  </a:lnTo>
                  <a:lnTo>
                    <a:pt x="679" y="34"/>
                  </a:lnTo>
                  <a:lnTo>
                    <a:pt x="676" y="31"/>
                  </a:lnTo>
                  <a:lnTo>
                    <a:pt x="673" y="28"/>
                  </a:lnTo>
                  <a:lnTo>
                    <a:pt x="669" y="26"/>
                  </a:lnTo>
                  <a:lnTo>
                    <a:pt x="667" y="25"/>
                  </a:lnTo>
                  <a:lnTo>
                    <a:pt x="665" y="24"/>
                  </a:lnTo>
                  <a:lnTo>
                    <a:pt x="660" y="23"/>
                  </a:lnTo>
                  <a:lnTo>
                    <a:pt x="655" y="23"/>
                  </a:lnTo>
                  <a:lnTo>
                    <a:pt x="647" y="24"/>
                  </a:lnTo>
                  <a:lnTo>
                    <a:pt x="641" y="26"/>
                  </a:lnTo>
                  <a:lnTo>
                    <a:pt x="638" y="27"/>
                  </a:lnTo>
                  <a:lnTo>
                    <a:pt x="635" y="29"/>
                  </a:lnTo>
                  <a:lnTo>
                    <a:pt x="630" y="32"/>
                  </a:lnTo>
                  <a:lnTo>
                    <a:pt x="628" y="35"/>
                  </a:lnTo>
                  <a:lnTo>
                    <a:pt x="627" y="37"/>
                  </a:lnTo>
                  <a:lnTo>
                    <a:pt x="625" y="40"/>
                  </a:lnTo>
                  <a:lnTo>
                    <a:pt x="624" y="43"/>
                  </a:lnTo>
                  <a:lnTo>
                    <a:pt x="623" y="46"/>
                  </a:lnTo>
                  <a:lnTo>
                    <a:pt x="622" y="50"/>
                  </a:lnTo>
                  <a:lnTo>
                    <a:pt x="621" y="53"/>
                  </a:lnTo>
                  <a:lnTo>
                    <a:pt x="621" y="57"/>
                  </a:lnTo>
                  <a:lnTo>
                    <a:pt x="622" y="64"/>
                  </a:lnTo>
                  <a:lnTo>
                    <a:pt x="624" y="71"/>
                  </a:lnTo>
                  <a:lnTo>
                    <a:pt x="626" y="76"/>
                  </a:lnTo>
                  <a:lnTo>
                    <a:pt x="630" y="81"/>
                  </a:lnTo>
                  <a:lnTo>
                    <a:pt x="635" y="85"/>
                  </a:lnTo>
                  <a:lnTo>
                    <a:pt x="641" y="88"/>
                  </a:lnTo>
                  <a:lnTo>
                    <a:pt x="644" y="89"/>
                  </a:lnTo>
                  <a:lnTo>
                    <a:pt x="647" y="90"/>
                  </a:lnTo>
                  <a:lnTo>
                    <a:pt x="650" y="90"/>
                  </a:lnTo>
                  <a:lnTo>
                    <a:pt x="655" y="90"/>
                  </a:lnTo>
                  <a:lnTo>
                    <a:pt x="661" y="90"/>
                  </a:lnTo>
                  <a:lnTo>
                    <a:pt x="666" y="89"/>
                  </a:lnTo>
                  <a:lnTo>
                    <a:pt x="671" y="87"/>
                  </a:lnTo>
                  <a:lnTo>
                    <a:pt x="675" y="85"/>
                  </a:lnTo>
                  <a:lnTo>
                    <a:pt x="679" y="82"/>
                  </a:lnTo>
                  <a:lnTo>
                    <a:pt x="680" y="80"/>
                  </a:lnTo>
                  <a:lnTo>
                    <a:pt x="682" y="78"/>
                  </a:lnTo>
                  <a:lnTo>
                    <a:pt x="684" y="74"/>
                  </a:lnTo>
                  <a:lnTo>
                    <a:pt x="686" y="70"/>
                  </a:lnTo>
                  <a:lnTo>
                    <a:pt x="667" y="70"/>
                  </a:lnTo>
                  <a:lnTo>
                    <a:pt x="665" y="73"/>
                  </a:lnTo>
                  <a:lnTo>
                    <a:pt x="662" y="74"/>
                  </a:lnTo>
                  <a:lnTo>
                    <a:pt x="659" y="75"/>
                  </a:lnTo>
                  <a:lnTo>
                    <a:pt x="656" y="76"/>
                  </a:lnTo>
                  <a:lnTo>
                    <a:pt x="653" y="76"/>
                  </a:lnTo>
                  <a:lnTo>
                    <a:pt x="649" y="75"/>
                  </a:lnTo>
                  <a:lnTo>
                    <a:pt x="647" y="74"/>
                  </a:lnTo>
                  <a:lnTo>
                    <a:pt x="645" y="72"/>
                  </a:lnTo>
                  <a:lnTo>
                    <a:pt x="643" y="70"/>
                  </a:lnTo>
                  <a:lnTo>
                    <a:pt x="642" y="68"/>
                  </a:lnTo>
                  <a:lnTo>
                    <a:pt x="641" y="65"/>
                  </a:lnTo>
                  <a:lnTo>
                    <a:pt x="640" y="62"/>
                  </a:lnTo>
                  <a:lnTo>
                    <a:pt x="687" y="62"/>
                  </a:lnTo>
                  <a:close/>
                  <a:moveTo>
                    <a:pt x="593" y="89"/>
                  </a:moveTo>
                  <a:lnTo>
                    <a:pt x="614" y="25"/>
                  </a:lnTo>
                  <a:lnTo>
                    <a:pt x="594" y="25"/>
                  </a:lnTo>
                  <a:lnTo>
                    <a:pt x="588" y="49"/>
                  </a:lnTo>
                  <a:lnTo>
                    <a:pt x="584" y="68"/>
                  </a:lnTo>
                  <a:lnTo>
                    <a:pt x="579" y="49"/>
                  </a:lnTo>
                  <a:lnTo>
                    <a:pt x="571" y="25"/>
                  </a:lnTo>
                  <a:lnTo>
                    <a:pt x="552" y="25"/>
                  </a:lnTo>
                  <a:lnTo>
                    <a:pt x="575" y="89"/>
                  </a:lnTo>
                  <a:lnTo>
                    <a:pt x="593" y="89"/>
                  </a:lnTo>
                  <a:close/>
                  <a:moveTo>
                    <a:pt x="540" y="0"/>
                  </a:moveTo>
                  <a:lnTo>
                    <a:pt x="521" y="0"/>
                  </a:lnTo>
                  <a:lnTo>
                    <a:pt x="521" y="16"/>
                  </a:lnTo>
                  <a:lnTo>
                    <a:pt x="540" y="16"/>
                  </a:lnTo>
                  <a:lnTo>
                    <a:pt x="540" y="0"/>
                  </a:lnTo>
                  <a:close/>
                  <a:moveTo>
                    <a:pt x="540" y="25"/>
                  </a:moveTo>
                  <a:lnTo>
                    <a:pt x="521" y="25"/>
                  </a:lnTo>
                  <a:lnTo>
                    <a:pt x="521" y="89"/>
                  </a:lnTo>
                  <a:lnTo>
                    <a:pt x="540" y="89"/>
                  </a:lnTo>
                  <a:lnTo>
                    <a:pt x="540" y="25"/>
                  </a:lnTo>
                  <a:close/>
                  <a:moveTo>
                    <a:pt x="445" y="25"/>
                  </a:moveTo>
                  <a:lnTo>
                    <a:pt x="445" y="89"/>
                  </a:lnTo>
                  <a:lnTo>
                    <a:pt x="464" y="89"/>
                  </a:lnTo>
                  <a:lnTo>
                    <a:pt x="464" y="53"/>
                  </a:lnTo>
                  <a:lnTo>
                    <a:pt x="465" y="46"/>
                  </a:lnTo>
                  <a:lnTo>
                    <a:pt x="465" y="44"/>
                  </a:lnTo>
                  <a:lnTo>
                    <a:pt x="467" y="42"/>
                  </a:lnTo>
                  <a:lnTo>
                    <a:pt x="468" y="41"/>
                  </a:lnTo>
                  <a:lnTo>
                    <a:pt x="470" y="40"/>
                  </a:lnTo>
                  <a:lnTo>
                    <a:pt x="472" y="39"/>
                  </a:lnTo>
                  <a:lnTo>
                    <a:pt x="475" y="39"/>
                  </a:lnTo>
                  <a:lnTo>
                    <a:pt x="477" y="39"/>
                  </a:lnTo>
                  <a:lnTo>
                    <a:pt x="479" y="40"/>
                  </a:lnTo>
                  <a:lnTo>
                    <a:pt x="481" y="41"/>
                  </a:lnTo>
                  <a:lnTo>
                    <a:pt x="482" y="43"/>
                  </a:lnTo>
                  <a:lnTo>
                    <a:pt x="483" y="44"/>
                  </a:lnTo>
                  <a:lnTo>
                    <a:pt x="484" y="47"/>
                  </a:lnTo>
                  <a:lnTo>
                    <a:pt x="484" y="54"/>
                  </a:lnTo>
                  <a:lnTo>
                    <a:pt x="484" y="89"/>
                  </a:lnTo>
                  <a:lnTo>
                    <a:pt x="503" y="89"/>
                  </a:lnTo>
                  <a:lnTo>
                    <a:pt x="503" y="47"/>
                  </a:lnTo>
                  <a:lnTo>
                    <a:pt x="503" y="42"/>
                  </a:lnTo>
                  <a:lnTo>
                    <a:pt x="502" y="37"/>
                  </a:lnTo>
                  <a:lnTo>
                    <a:pt x="500" y="33"/>
                  </a:lnTo>
                  <a:lnTo>
                    <a:pt x="497" y="29"/>
                  </a:lnTo>
                  <a:lnTo>
                    <a:pt x="494" y="27"/>
                  </a:lnTo>
                  <a:lnTo>
                    <a:pt x="490" y="25"/>
                  </a:lnTo>
                  <a:lnTo>
                    <a:pt x="486" y="23"/>
                  </a:lnTo>
                  <a:lnTo>
                    <a:pt x="481" y="23"/>
                  </a:lnTo>
                  <a:lnTo>
                    <a:pt x="476" y="23"/>
                  </a:lnTo>
                  <a:lnTo>
                    <a:pt x="472" y="25"/>
                  </a:lnTo>
                  <a:lnTo>
                    <a:pt x="468" y="27"/>
                  </a:lnTo>
                  <a:lnTo>
                    <a:pt x="463" y="31"/>
                  </a:lnTo>
                  <a:lnTo>
                    <a:pt x="463" y="25"/>
                  </a:lnTo>
                  <a:lnTo>
                    <a:pt x="445" y="25"/>
                  </a:lnTo>
                  <a:close/>
                  <a:moveTo>
                    <a:pt x="407" y="0"/>
                  </a:moveTo>
                  <a:lnTo>
                    <a:pt x="407" y="59"/>
                  </a:lnTo>
                  <a:lnTo>
                    <a:pt x="407" y="63"/>
                  </a:lnTo>
                  <a:lnTo>
                    <a:pt x="406" y="66"/>
                  </a:lnTo>
                  <a:lnTo>
                    <a:pt x="405" y="68"/>
                  </a:lnTo>
                  <a:lnTo>
                    <a:pt x="404" y="70"/>
                  </a:lnTo>
                  <a:lnTo>
                    <a:pt x="401" y="72"/>
                  </a:lnTo>
                  <a:lnTo>
                    <a:pt x="398" y="73"/>
                  </a:lnTo>
                  <a:lnTo>
                    <a:pt x="395" y="74"/>
                  </a:lnTo>
                  <a:lnTo>
                    <a:pt x="392" y="74"/>
                  </a:lnTo>
                  <a:lnTo>
                    <a:pt x="388" y="74"/>
                  </a:lnTo>
                  <a:lnTo>
                    <a:pt x="385" y="73"/>
                  </a:lnTo>
                  <a:lnTo>
                    <a:pt x="382" y="72"/>
                  </a:lnTo>
                  <a:lnTo>
                    <a:pt x="380" y="70"/>
                  </a:lnTo>
                  <a:lnTo>
                    <a:pt x="378" y="68"/>
                  </a:lnTo>
                  <a:lnTo>
                    <a:pt x="377" y="66"/>
                  </a:lnTo>
                  <a:lnTo>
                    <a:pt x="376" y="63"/>
                  </a:lnTo>
                  <a:lnTo>
                    <a:pt x="376" y="59"/>
                  </a:lnTo>
                  <a:lnTo>
                    <a:pt x="376" y="0"/>
                  </a:lnTo>
                  <a:lnTo>
                    <a:pt x="356" y="0"/>
                  </a:lnTo>
                  <a:lnTo>
                    <a:pt x="356" y="60"/>
                  </a:lnTo>
                  <a:lnTo>
                    <a:pt x="357" y="68"/>
                  </a:lnTo>
                  <a:lnTo>
                    <a:pt x="359" y="74"/>
                  </a:lnTo>
                  <a:lnTo>
                    <a:pt x="360" y="77"/>
                  </a:lnTo>
                  <a:lnTo>
                    <a:pt x="362" y="79"/>
                  </a:lnTo>
                  <a:lnTo>
                    <a:pt x="364" y="81"/>
                  </a:lnTo>
                  <a:lnTo>
                    <a:pt x="366" y="83"/>
                  </a:lnTo>
                  <a:lnTo>
                    <a:pt x="371" y="86"/>
                  </a:lnTo>
                  <a:lnTo>
                    <a:pt x="374" y="88"/>
                  </a:lnTo>
                  <a:lnTo>
                    <a:pt x="378" y="89"/>
                  </a:lnTo>
                  <a:lnTo>
                    <a:pt x="384" y="90"/>
                  </a:lnTo>
                  <a:lnTo>
                    <a:pt x="392" y="91"/>
                  </a:lnTo>
                  <a:lnTo>
                    <a:pt x="399" y="90"/>
                  </a:lnTo>
                  <a:lnTo>
                    <a:pt x="403" y="90"/>
                  </a:lnTo>
                  <a:lnTo>
                    <a:pt x="406" y="89"/>
                  </a:lnTo>
                  <a:lnTo>
                    <a:pt x="412" y="86"/>
                  </a:lnTo>
                  <a:lnTo>
                    <a:pt x="418" y="83"/>
                  </a:lnTo>
                  <a:lnTo>
                    <a:pt x="420" y="81"/>
                  </a:lnTo>
                  <a:lnTo>
                    <a:pt x="422" y="79"/>
                  </a:lnTo>
                  <a:lnTo>
                    <a:pt x="424" y="77"/>
                  </a:lnTo>
                  <a:lnTo>
                    <a:pt x="425" y="74"/>
                  </a:lnTo>
                  <a:lnTo>
                    <a:pt x="427" y="68"/>
                  </a:lnTo>
                  <a:lnTo>
                    <a:pt x="427" y="64"/>
                  </a:lnTo>
                  <a:lnTo>
                    <a:pt x="427" y="60"/>
                  </a:lnTo>
                  <a:lnTo>
                    <a:pt x="427" y="0"/>
                  </a:lnTo>
                  <a:lnTo>
                    <a:pt x="407" y="0"/>
                  </a:lnTo>
                  <a:close/>
                  <a:moveTo>
                    <a:pt x="277" y="38"/>
                  </a:moveTo>
                  <a:lnTo>
                    <a:pt x="281" y="38"/>
                  </a:lnTo>
                  <a:lnTo>
                    <a:pt x="284" y="39"/>
                  </a:lnTo>
                  <a:lnTo>
                    <a:pt x="286" y="41"/>
                  </a:lnTo>
                  <a:lnTo>
                    <a:pt x="289" y="43"/>
                  </a:lnTo>
                  <a:lnTo>
                    <a:pt x="290" y="46"/>
                  </a:lnTo>
                  <a:lnTo>
                    <a:pt x="292" y="49"/>
                  </a:lnTo>
                  <a:lnTo>
                    <a:pt x="292" y="53"/>
                  </a:lnTo>
                  <a:lnTo>
                    <a:pt x="293" y="57"/>
                  </a:lnTo>
                  <a:lnTo>
                    <a:pt x="292" y="61"/>
                  </a:lnTo>
                  <a:lnTo>
                    <a:pt x="292" y="65"/>
                  </a:lnTo>
                  <a:lnTo>
                    <a:pt x="290" y="68"/>
                  </a:lnTo>
                  <a:lnTo>
                    <a:pt x="289" y="71"/>
                  </a:lnTo>
                  <a:lnTo>
                    <a:pt x="288" y="72"/>
                  </a:lnTo>
                  <a:lnTo>
                    <a:pt x="286" y="73"/>
                  </a:lnTo>
                  <a:lnTo>
                    <a:pt x="284" y="74"/>
                  </a:lnTo>
                  <a:lnTo>
                    <a:pt x="281" y="75"/>
                  </a:lnTo>
                  <a:lnTo>
                    <a:pt x="277" y="75"/>
                  </a:lnTo>
                  <a:lnTo>
                    <a:pt x="274" y="75"/>
                  </a:lnTo>
                  <a:lnTo>
                    <a:pt x="271" y="74"/>
                  </a:lnTo>
                  <a:lnTo>
                    <a:pt x="269" y="73"/>
                  </a:lnTo>
                  <a:lnTo>
                    <a:pt x="266" y="71"/>
                  </a:lnTo>
                  <a:lnTo>
                    <a:pt x="265" y="68"/>
                  </a:lnTo>
                  <a:lnTo>
                    <a:pt x="264" y="65"/>
                  </a:lnTo>
                  <a:lnTo>
                    <a:pt x="263" y="61"/>
                  </a:lnTo>
                  <a:lnTo>
                    <a:pt x="263" y="57"/>
                  </a:lnTo>
                  <a:lnTo>
                    <a:pt x="263" y="52"/>
                  </a:lnTo>
                  <a:lnTo>
                    <a:pt x="264" y="49"/>
                  </a:lnTo>
                  <a:lnTo>
                    <a:pt x="265" y="46"/>
                  </a:lnTo>
                  <a:lnTo>
                    <a:pt x="266" y="43"/>
                  </a:lnTo>
                  <a:lnTo>
                    <a:pt x="267" y="42"/>
                  </a:lnTo>
                  <a:lnTo>
                    <a:pt x="269" y="41"/>
                  </a:lnTo>
                  <a:lnTo>
                    <a:pt x="271" y="39"/>
                  </a:lnTo>
                  <a:lnTo>
                    <a:pt x="274" y="38"/>
                  </a:lnTo>
                  <a:lnTo>
                    <a:pt x="277" y="38"/>
                  </a:lnTo>
                  <a:close/>
                  <a:moveTo>
                    <a:pt x="277" y="23"/>
                  </a:moveTo>
                  <a:lnTo>
                    <a:pt x="270" y="24"/>
                  </a:lnTo>
                  <a:lnTo>
                    <a:pt x="264" y="26"/>
                  </a:lnTo>
                  <a:lnTo>
                    <a:pt x="261" y="27"/>
                  </a:lnTo>
                  <a:lnTo>
                    <a:pt x="258" y="29"/>
                  </a:lnTo>
                  <a:lnTo>
                    <a:pt x="253" y="33"/>
                  </a:lnTo>
                  <a:lnTo>
                    <a:pt x="249" y="37"/>
                  </a:lnTo>
                  <a:lnTo>
                    <a:pt x="247" y="40"/>
                  </a:lnTo>
                  <a:lnTo>
                    <a:pt x="246" y="43"/>
                  </a:lnTo>
                  <a:lnTo>
                    <a:pt x="245" y="46"/>
                  </a:lnTo>
                  <a:lnTo>
                    <a:pt x="244" y="50"/>
                  </a:lnTo>
                  <a:lnTo>
                    <a:pt x="244" y="53"/>
                  </a:lnTo>
                  <a:lnTo>
                    <a:pt x="244" y="57"/>
                  </a:lnTo>
                  <a:lnTo>
                    <a:pt x="244" y="64"/>
                  </a:lnTo>
                  <a:lnTo>
                    <a:pt x="246" y="70"/>
                  </a:lnTo>
                  <a:lnTo>
                    <a:pt x="247" y="73"/>
                  </a:lnTo>
                  <a:lnTo>
                    <a:pt x="249" y="76"/>
                  </a:lnTo>
                  <a:lnTo>
                    <a:pt x="253" y="81"/>
                  </a:lnTo>
                  <a:lnTo>
                    <a:pt x="258" y="85"/>
                  </a:lnTo>
                  <a:lnTo>
                    <a:pt x="261" y="87"/>
                  </a:lnTo>
                  <a:lnTo>
                    <a:pt x="264" y="88"/>
                  </a:lnTo>
                  <a:lnTo>
                    <a:pt x="267" y="89"/>
                  </a:lnTo>
                  <a:lnTo>
                    <a:pt x="270" y="90"/>
                  </a:lnTo>
                  <a:lnTo>
                    <a:pt x="277" y="90"/>
                  </a:lnTo>
                  <a:lnTo>
                    <a:pt x="285" y="90"/>
                  </a:lnTo>
                  <a:lnTo>
                    <a:pt x="291" y="88"/>
                  </a:lnTo>
                  <a:lnTo>
                    <a:pt x="294" y="87"/>
                  </a:lnTo>
                  <a:lnTo>
                    <a:pt x="297" y="85"/>
                  </a:lnTo>
                  <a:lnTo>
                    <a:pt x="302" y="81"/>
                  </a:lnTo>
                  <a:lnTo>
                    <a:pt x="306" y="76"/>
                  </a:lnTo>
                  <a:lnTo>
                    <a:pt x="308" y="73"/>
                  </a:lnTo>
                  <a:lnTo>
                    <a:pt x="309" y="71"/>
                  </a:lnTo>
                  <a:lnTo>
                    <a:pt x="311" y="64"/>
                  </a:lnTo>
                  <a:lnTo>
                    <a:pt x="311" y="61"/>
                  </a:lnTo>
                  <a:lnTo>
                    <a:pt x="311" y="57"/>
                  </a:lnTo>
                  <a:lnTo>
                    <a:pt x="311" y="53"/>
                  </a:lnTo>
                  <a:lnTo>
                    <a:pt x="311" y="50"/>
                  </a:lnTo>
                  <a:lnTo>
                    <a:pt x="309" y="43"/>
                  </a:lnTo>
                  <a:lnTo>
                    <a:pt x="308" y="40"/>
                  </a:lnTo>
                  <a:lnTo>
                    <a:pt x="306" y="37"/>
                  </a:lnTo>
                  <a:lnTo>
                    <a:pt x="302" y="33"/>
                  </a:lnTo>
                  <a:lnTo>
                    <a:pt x="297" y="29"/>
                  </a:lnTo>
                  <a:lnTo>
                    <a:pt x="294" y="27"/>
                  </a:lnTo>
                  <a:lnTo>
                    <a:pt x="291" y="26"/>
                  </a:lnTo>
                  <a:lnTo>
                    <a:pt x="288" y="24"/>
                  </a:lnTo>
                  <a:lnTo>
                    <a:pt x="285" y="24"/>
                  </a:lnTo>
                  <a:lnTo>
                    <a:pt x="277" y="23"/>
                  </a:lnTo>
                  <a:close/>
                  <a:moveTo>
                    <a:pt x="235" y="26"/>
                  </a:moveTo>
                  <a:lnTo>
                    <a:pt x="224" y="26"/>
                  </a:lnTo>
                  <a:lnTo>
                    <a:pt x="224" y="5"/>
                  </a:lnTo>
                  <a:lnTo>
                    <a:pt x="205" y="5"/>
                  </a:lnTo>
                  <a:lnTo>
                    <a:pt x="205" y="26"/>
                  </a:lnTo>
                  <a:lnTo>
                    <a:pt x="196" y="26"/>
                  </a:lnTo>
                  <a:lnTo>
                    <a:pt x="196" y="39"/>
                  </a:lnTo>
                  <a:lnTo>
                    <a:pt x="205" y="39"/>
                  </a:lnTo>
                  <a:lnTo>
                    <a:pt x="205" y="68"/>
                  </a:lnTo>
                  <a:lnTo>
                    <a:pt x="205" y="74"/>
                  </a:lnTo>
                  <a:lnTo>
                    <a:pt x="206" y="79"/>
                  </a:lnTo>
                  <a:lnTo>
                    <a:pt x="207" y="82"/>
                  </a:lnTo>
                  <a:lnTo>
                    <a:pt x="209" y="84"/>
                  </a:lnTo>
                  <a:lnTo>
                    <a:pt x="211" y="86"/>
                  </a:lnTo>
                  <a:lnTo>
                    <a:pt x="214" y="88"/>
                  </a:lnTo>
                  <a:lnTo>
                    <a:pt x="218" y="88"/>
                  </a:lnTo>
                  <a:lnTo>
                    <a:pt x="224" y="89"/>
                  </a:lnTo>
                  <a:lnTo>
                    <a:pt x="235" y="89"/>
                  </a:lnTo>
                  <a:lnTo>
                    <a:pt x="235" y="75"/>
                  </a:lnTo>
                  <a:lnTo>
                    <a:pt x="228" y="75"/>
                  </a:lnTo>
                  <a:lnTo>
                    <a:pt x="226" y="74"/>
                  </a:lnTo>
                  <a:lnTo>
                    <a:pt x="225" y="74"/>
                  </a:lnTo>
                  <a:lnTo>
                    <a:pt x="224" y="73"/>
                  </a:lnTo>
                  <a:lnTo>
                    <a:pt x="224" y="70"/>
                  </a:lnTo>
                  <a:lnTo>
                    <a:pt x="224" y="64"/>
                  </a:lnTo>
                  <a:lnTo>
                    <a:pt x="224" y="39"/>
                  </a:lnTo>
                  <a:lnTo>
                    <a:pt x="235" y="39"/>
                  </a:lnTo>
                  <a:lnTo>
                    <a:pt x="235" y="26"/>
                  </a:lnTo>
                  <a:close/>
                  <a:moveTo>
                    <a:pt x="184" y="0"/>
                  </a:moveTo>
                  <a:lnTo>
                    <a:pt x="166" y="0"/>
                  </a:lnTo>
                  <a:lnTo>
                    <a:pt x="166" y="89"/>
                  </a:lnTo>
                  <a:lnTo>
                    <a:pt x="184" y="89"/>
                  </a:lnTo>
                  <a:lnTo>
                    <a:pt x="184" y="0"/>
                  </a:lnTo>
                  <a:close/>
                  <a:moveTo>
                    <a:pt x="131" y="68"/>
                  </a:moveTo>
                  <a:lnTo>
                    <a:pt x="129" y="72"/>
                  </a:lnTo>
                  <a:lnTo>
                    <a:pt x="126" y="74"/>
                  </a:lnTo>
                  <a:lnTo>
                    <a:pt x="122" y="76"/>
                  </a:lnTo>
                  <a:lnTo>
                    <a:pt x="117" y="76"/>
                  </a:lnTo>
                  <a:lnTo>
                    <a:pt x="114" y="76"/>
                  </a:lnTo>
                  <a:lnTo>
                    <a:pt x="111" y="74"/>
                  </a:lnTo>
                  <a:lnTo>
                    <a:pt x="109" y="72"/>
                  </a:lnTo>
                  <a:lnTo>
                    <a:pt x="108" y="71"/>
                  </a:lnTo>
                  <a:lnTo>
                    <a:pt x="108" y="69"/>
                  </a:lnTo>
                  <a:lnTo>
                    <a:pt x="109" y="67"/>
                  </a:lnTo>
                  <a:lnTo>
                    <a:pt x="110" y="65"/>
                  </a:lnTo>
                  <a:lnTo>
                    <a:pt x="113" y="63"/>
                  </a:lnTo>
                  <a:lnTo>
                    <a:pt x="118" y="62"/>
                  </a:lnTo>
                  <a:lnTo>
                    <a:pt x="124" y="60"/>
                  </a:lnTo>
                  <a:lnTo>
                    <a:pt x="131" y="58"/>
                  </a:lnTo>
                  <a:lnTo>
                    <a:pt x="131" y="68"/>
                  </a:lnTo>
                  <a:close/>
                  <a:moveTo>
                    <a:pt x="110" y="45"/>
                  </a:moveTo>
                  <a:lnTo>
                    <a:pt x="110" y="43"/>
                  </a:lnTo>
                  <a:lnTo>
                    <a:pt x="111" y="42"/>
                  </a:lnTo>
                  <a:lnTo>
                    <a:pt x="112" y="40"/>
                  </a:lnTo>
                  <a:lnTo>
                    <a:pt x="113" y="39"/>
                  </a:lnTo>
                  <a:lnTo>
                    <a:pt x="116" y="38"/>
                  </a:lnTo>
                  <a:lnTo>
                    <a:pt x="121" y="37"/>
                  </a:lnTo>
                  <a:lnTo>
                    <a:pt x="125" y="38"/>
                  </a:lnTo>
                  <a:lnTo>
                    <a:pt x="128" y="39"/>
                  </a:lnTo>
                  <a:lnTo>
                    <a:pt x="130" y="41"/>
                  </a:lnTo>
                  <a:lnTo>
                    <a:pt x="131" y="42"/>
                  </a:lnTo>
                  <a:lnTo>
                    <a:pt x="131" y="43"/>
                  </a:lnTo>
                  <a:lnTo>
                    <a:pt x="130" y="45"/>
                  </a:lnTo>
                  <a:lnTo>
                    <a:pt x="129" y="46"/>
                  </a:lnTo>
                  <a:lnTo>
                    <a:pt x="128" y="47"/>
                  </a:lnTo>
                  <a:lnTo>
                    <a:pt x="125" y="48"/>
                  </a:lnTo>
                  <a:lnTo>
                    <a:pt x="115" y="49"/>
                  </a:lnTo>
                  <a:lnTo>
                    <a:pt x="109" y="51"/>
                  </a:lnTo>
                  <a:lnTo>
                    <a:pt x="103" y="52"/>
                  </a:lnTo>
                  <a:lnTo>
                    <a:pt x="99" y="54"/>
                  </a:lnTo>
                  <a:lnTo>
                    <a:pt x="95" y="56"/>
                  </a:lnTo>
                  <a:lnTo>
                    <a:pt x="93" y="59"/>
                  </a:lnTo>
                  <a:lnTo>
                    <a:pt x="92" y="61"/>
                  </a:lnTo>
                  <a:lnTo>
                    <a:pt x="91" y="62"/>
                  </a:lnTo>
                  <a:lnTo>
                    <a:pt x="90" y="66"/>
                  </a:lnTo>
                  <a:lnTo>
                    <a:pt x="89" y="70"/>
                  </a:lnTo>
                  <a:lnTo>
                    <a:pt x="90" y="75"/>
                  </a:lnTo>
                  <a:lnTo>
                    <a:pt x="91" y="79"/>
                  </a:lnTo>
                  <a:lnTo>
                    <a:pt x="93" y="82"/>
                  </a:lnTo>
                  <a:lnTo>
                    <a:pt x="96" y="85"/>
                  </a:lnTo>
                  <a:lnTo>
                    <a:pt x="97" y="86"/>
                  </a:lnTo>
                  <a:lnTo>
                    <a:pt x="99" y="87"/>
                  </a:lnTo>
                  <a:lnTo>
                    <a:pt x="103" y="89"/>
                  </a:lnTo>
                  <a:lnTo>
                    <a:pt x="108" y="90"/>
                  </a:lnTo>
                  <a:lnTo>
                    <a:pt x="113" y="90"/>
                  </a:lnTo>
                  <a:lnTo>
                    <a:pt x="118" y="90"/>
                  </a:lnTo>
                  <a:lnTo>
                    <a:pt x="123" y="89"/>
                  </a:lnTo>
                  <a:lnTo>
                    <a:pt x="127" y="87"/>
                  </a:lnTo>
                  <a:lnTo>
                    <a:pt x="131" y="84"/>
                  </a:lnTo>
                  <a:lnTo>
                    <a:pt x="133" y="89"/>
                  </a:lnTo>
                  <a:lnTo>
                    <a:pt x="152" y="89"/>
                  </a:lnTo>
                  <a:lnTo>
                    <a:pt x="151" y="87"/>
                  </a:lnTo>
                  <a:lnTo>
                    <a:pt x="150" y="85"/>
                  </a:lnTo>
                  <a:lnTo>
                    <a:pt x="149" y="78"/>
                  </a:lnTo>
                  <a:lnTo>
                    <a:pt x="149" y="48"/>
                  </a:lnTo>
                  <a:lnTo>
                    <a:pt x="149" y="42"/>
                  </a:lnTo>
                  <a:lnTo>
                    <a:pt x="148" y="37"/>
                  </a:lnTo>
                  <a:lnTo>
                    <a:pt x="146" y="33"/>
                  </a:lnTo>
                  <a:lnTo>
                    <a:pt x="145" y="31"/>
                  </a:lnTo>
                  <a:lnTo>
                    <a:pt x="143" y="30"/>
                  </a:lnTo>
                  <a:lnTo>
                    <a:pt x="139" y="27"/>
                  </a:lnTo>
                  <a:lnTo>
                    <a:pt x="134" y="25"/>
                  </a:lnTo>
                  <a:lnTo>
                    <a:pt x="128" y="23"/>
                  </a:lnTo>
                  <a:lnTo>
                    <a:pt x="121" y="23"/>
                  </a:lnTo>
                  <a:lnTo>
                    <a:pt x="115" y="23"/>
                  </a:lnTo>
                  <a:lnTo>
                    <a:pt x="109" y="24"/>
                  </a:lnTo>
                  <a:lnTo>
                    <a:pt x="104" y="26"/>
                  </a:lnTo>
                  <a:lnTo>
                    <a:pt x="101" y="28"/>
                  </a:lnTo>
                  <a:lnTo>
                    <a:pt x="97" y="31"/>
                  </a:lnTo>
                  <a:lnTo>
                    <a:pt x="95" y="35"/>
                  </a:lnTo>
                  <a:lnTo>
                    <a:pt x="94" y="37"/>
                  </a:lnTo>
                  <a:lnTo>
                    <a:pt x="94" y="40"/>
                  </a:lnTo>
                  <a:lnTo>
                    <a:pt x="93" y="42"/>
                  </a:lnTo>
                  <a:lnTo>
                    <a:pt x="93" y="45"/>
                  </a:lnTo>
                  <a:lnTo>
                    <a:pt x="110" y="45"/>
                  </a:lnTo>
                  <a:close/>
                  <a:moveTo>
                    <a:pt x="52" y="55"/>
                  </a:moveTo>
                  <a:lnTo>
                    <a:pt x="32" y="55"/>
                  </a:lnTo>
                  <a:lnTo>
                    <a:pt x="43" y="20"/>
                  </a:lnTo>
                  <a:lnTo>
                    <a:pt x="52" y="55"/>
                  </a:lnTo>
                  <a:close/>
                  <a:moveTo>
                    <a:pt x="57" y="71"/>
                  </a:moveTo>
                  <a:lnTo>
                    <a:pt x="61" y="89"/>
                  </a:lnTo>
                  <a:lnTo>
                    <a:pt x="84" y="89"/>
                  </a:lnTo>
                  <a:lnTo>
                    <a:pt x="56" y="0"/>
                  </a:lnTo>
                  <a:lnTo>
                    <a:pt x="31" y="0"/>
                  </a:lnTo>
                  <a:lnTo>
                    <a:pt x="0" y="89"/>
                  </a:lnTo>
                  <a:lnTo>
                    <a:pt x="22" y="89"/>
                  </a:lnTo>
                  <a:lnTo>
                    <a:pt x="27" y="71"/>
                  </a:lnTo>
                  <a:lnTo>
                    <a:pt x="57"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21" name="Freeform 7"/>
            <p:cNvSpPr>
              <a:spLocks noEditPoints="1"/>
            </p:cNvSpPr>
            <p:nvPr userDrawn="1"/>
          </p:nvSpPr>
          <p:spPr bwMode="auto">
            <a:xfrm>
              <a:off x="5756275" y="325438"/>
              <a:ext cx="1941513" cy="142875"/>
            </a:xfrm>
            <a:custGeom>
              <a:avLst/>
              <a:gdLst>
                <a:gd name="T0" fmla="*/ 1197 w 1223"/>
                <a:gd name="T1" fmla="*/ 38 h 90"/>
                <a:gd name="T2" fmla="*/ 1220 w 1223"/>
                <a:gd name="T3" fmla="*/ 32 h 90"/>
                <a:gd name="T4" fmla="*/ 1120 w 1223"/>
                <a:gd name="T5" fmla="*/ 37 h 90"/>
                <a:gd name="T6" fmla="*/ 1131 w 1223"/>
                <a:gd name="T7" fmla="*/ 70 h 90"/>
                <a:gd name="T8" fmla="*/ 1105 w 1223"/>
                <a:gd name="T9" fmla="*/ 60 h 90"/>
                <a:gd name="T10" fmla="*/ 1112 w 1223"/>
                <a:gd name="T11" fmla="*/ 23 h 90"/>
                <a:gd name="T12" fmla="*/ 1088 w 1223"/>
                <a:gd name="T13" fmla="*/ 70 h 90"/>
                <a:gd name="T14" fmla="*/ 1136 w 1223"/>
                <a:gd name="T15" fmla="*/ 86 h 90"/>
                <a:gd name="T16" fmla="*/ 1150 w 1223"/>
                <a:gd name="T17" fmla="*/ 40 h 90"/>
                <a:gd name="T18" fmla="*/ 1074 w 1223"/>
                <a:gd name="T19" fmla="*/ 15 h 90"/>
                <a:gd name="T20" fmla="*/ 1002 w 1223"/>
                <a:gd name="T21" fmla="*/ 25 h 90"/>
                <a:gd name="T22" fmla="*/ 1041 w 1223"/>
                <a:gd name="T23" fmla="*/ 88 h 90"/>
                <a:gd name="T24" fmla="*/ 967 w 1223"/>
                <a:gd name="T25" fmla="*/ 74 h 90"/>
                <a:gd name="T26" fmla="*/ 966 w 1223"/>
                <a:gd name="T27" fmla="*/ 60 h 90"/>
                <a:gd name="T28" fmla="*/ 971 w 1223"/>
                <a:gd name="T29" fmla="*/ 40 h 90"/>
                <a:gd name="T30" fmla="*/ 934 w 1223"/>
                <a:gd name="T31" fmla="*/ 59 h 90"/>
                <a:gd name="T32" fmla="*/ 954 w 1223"/>
                <a:gd name="T33" fmla="*/ 90 h 90"/>
                <a:gd name="T34" fmla="*/ 990 w 1223"/>
                <a:gd name="T35" fmla="*/ 36 h 90"/>
                <a:gd name="T36" fmla="*/ 939 w 1223"/>
                <a:gd name="T37" fmla="*/ 31 h 90"/>
                <a:gd name="T38" fmla="*/ 907 w 1223"/>
                <a:gd name="T39" fmla="*/ 26 h 90"/>
                <a:gd name="T40" fmla="*/ 859 w 1223"/>
                <a:gd name="T41" fmla="*/ 49 h 90"/>
                <a:gd name="T42" fmla="*/ 891 w 1223"/>
                <a:gd name="T43" fmla="*/ 90 h 90"/>
                <a:gd name="T44" fmla="*/ 899 w 1223"/>
                <a:gd name="T45" fmla="*/ 72 h 90"/>
                <a:gd name="T46" fmla="*/ 878 w 1223"/>
                <a:gd name="T47" fmla="*/ 56 h 90"/>
                <a:gd name="T48" fmla="*/ 900 w 1223"/>
                <a:gd name="T49" fmla="*/ 42 h 90"/>
                <a:gd name="T50" fmla="*/ 823 w 1223"/>
                <a:gd name="T51" fmla="*/ 73 h 90"/>
                <a:gd name="T52" fmla="*/ 790 w 1223"/>
                <a:gd name="T53" fmla="*/ 71 h 90"/>
                <a:gd name="T54" fmla="*/ 828 w 1223"/>
                <a:gd name="T55" fmla="*/ 83 h 90"/>
                <a:gd name="T56" fmla="*/ 756 w 1223"/>
                <a:gd name="T57" fmla="*/ 52 h 90"/>
                <a:gd name="T58" fmla="*/ 735 w 1223"/>
                <a:gd name="T59" fmla="*/ 72 h 90"/>
                <a:gd name="T60" fmla="*/ 740 w 1223"/>
                <a:gd name="T61" fmla="*/ 38 h 90"/>
                <a:gd name="T62" fmla="*/ 719 w 1223"/>
                <a:gd name="T63" fmla="*/ 32 h 90"/>
                <a:gd name="T64" fmla="*/ 723 w 1223"/>
                <a:gd name="T65" fmla="*/ 85 h 90"/>
                <a:gd name="T66" fmla="*/ 757 w 1223"/>
                <a:gd name="T67" fmla="*/ 88 h 90"/>
                <a:gd name="T68" fmla="*/ 655 w 1223"/>
                <a:gd name="T69" fmla="*/ 34 h 90"/>
                <a:gd name="T70" fmla="*/ 556 w 1223"/>
                <a:gd name="T71" fmla="*/ 38 h 90"/>
                <a:gd name="T72" fmla="*/ 580 w 1223"/>
                <a:gd name="T73" fmla="*/ 41 h 90"/>
                <a:gd name="T74" fmla="*/ 533 w 1223"/>
                <a:gd name="T75" fmla="*/ 28 h 90"/>
                <a:gd name="T76" fmla="*/ 528 w 1223"/>
                <a:gd name="T77" fmla="*/ 81 h 90"/>
                <a:gd name="T78" fmla="*/ 577 w 1223"/>
                <a:gd name="T79" fmla="*/ 80 h 90"/>
                <a:gd name="T80" fmla="*/ 543 w 1223"/>
                <a:gd name="T81" fmla="*/ 72 h 90"/>
                <a:gd name="T82" fmla="*/ 471 w 1223"/>
                <a:gd name="T83" fmla="*/ 24 h 90"/>
                <a:gd name="T84" fmla="*/ 440 w 1223"/>
                <a:gd name="T85" fmla="*/ 88 h 90"/>
                <a:gd name="T86" fmla="*/ 376 w 1223"/>
                <a:gd name="T87" fmla="*/ 78 h 90"/>
                <a:gd name="T88" fmla="*/ 394 w 1223"/>
                <a:gd name="T89" fmla="*/ 69 h 90"/>
                <a:gd name="T90" fmla="*/ 329 w 1223"/>
                <a:gd name="T91" fmla="*/ 73 h 90"/>
                <a:gd name="T92" fmla="*/ 295 w 1223"/>
                <a:gd name="T93" fmla="*/ 71 h 90"/>
                <a:gd name="T94" fmla="*/ 333 w 1223"/>
                <a:gd name="T95" fmla="*/ 83 h 90"/>
                <a:gd name="T96" fmla="*/ 259 w 1223"/>
                <a:gd name="T97" fmla="*/ 23 h 90"/>
                <a:gd name="T98" fmla="*/ 221 w 1223"/>
                <a:gd name="T99" fmla="*/ 64 h 90"/>
                <a:gd name="T100" fmla="*/ 264 w 1223"/>
                <a:gd name="T101" fmla="*/ 88 h 90"/>
                <a:gd name="T102" fmla="*/ 257 w 1223"/>
                <a:gd name="T103" fmla="*/ 74 h 90"/>
                <a:gd name="T104" fmla="*/ 240 w 1223"/>
                <a:gd name="T105" fmla="*/ 50 h 90"/>
                <a:gd name="T106" fmla="*/ 264 w 1223"/>
                <a:gd name="T107" fmla="*/ 47 h 90"/>
                <a:gd name="T108" fmla="*/ 186 w 1223"/>
                <a:gd name="T109" fmla="*/ 40 h 90"/>
                <a:gd name="T110" fmla="*/ 202 w 1223"/>
                <a:gd name="T111" fmla="*/ 33 h 90"/>
                <a:gd name="T112" fmla="*/ 152 w 1223"/>
                <a:gd name="T113" fmla="*/ 34 h 90"/>
                <a:gd name="T114" fmla="*/ 165 w 1223"/>
                <a:gd name="T115" fmla="*/ 87 h 90"/>
                <a:gd name="T116" fmla="*/ 207 w 1223"/>
                <a:gd name="T117" fmla="*/ 74 h 90"/>
                <a:gd name="T118" fmla="*/ 166 w 1223"/>
                <a:gd name="T119" fmla="*/ 67 h 90"/>
                <a:gd name="T120" fmla="*/ 96 w 1223"/>
                <a:gd name="T121" fmla="*/ 88 h 90"/>
                <a:gd name="T122" fmla="*/ 60 w 1223"/>
                <a:gd name="T123" fmla="*/ 5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3" h="90">
                  <a:moveTo>
                    <a:pt x="1165" y="24"/>
                  </a:moveTo>
                  <a:lnTo>
                    <a:pt x="1165" y="88"/>
                  </a:lnTo>
                  <a:lnTo>
                    <a:pt x="1184" y="88"/>
                  </a:lnTo>
                  <a:lnTo>
                    <a:pt x="1184" y="52"/>
                  </a:lnTo>
                  <a:lnTo>
                    <a:pt x="1184" y="46"/>
                  </a:lnTo>
                  <a:lnTo>
                    <a:pt x="1185" y="44"/>
                  </a:lnTo>
                  <a:lnTo>
                    <a:pt x="1187" y="42"/>
                  </a:lnTo>
                  <a:lnTo>
                    <a:pt x="1188" y="40"/>
                  </a:lnTo>
                  <a:lnTo>
                    <a:pt x="1190" y="39"/>
                  </a:lnTo>
                  <a:lnTo>
                    <a:pt x="1192" y="38"/>
                  </a:lnTo>
                  <a:lnTo>
                    <a:pt x="1195" y="38"/>
                  </a:lnTo>
                  <a:lnTo>
                    <a:pt x="1197" y="38"/>
                  </a:lnTo>
                  <a:lnTo>
                    <a:pt x="1199" y="39"/>
                  </a:lnTo>
                  <a:lnTo>
                    <a:pt x="1201" y="40"/>
                  </a:lnTo>
                  <a:lnTo>
                    <a:pt x="1202" y="42"/>
                  </a:lnTo>
                  <a:lnTo>
                    <a:pt x="1203" y="44"/>
                  </a:lnTo>
                  <a:lnTo>
                    <a:pt x="1204" y="46"/>
                  </a:lnTo>
                  <a:lnTo>
                    <a:pt x="1204" y="53"/>
                  </a:lnTo>
                  <a:lnTo>
                    <a:pt x="1204" y="88"/>
                  </a:lnTo>
                  <a:lnTo>
                    <a:pt x="1223" y="88"/>
                  </a:lnTo>
                  <a:lnTo>
                    <a:pt x="1223" y="47"/>
                  </a:lnTo>
                  <a:lnTo>
                    <a:pt x="1223" y="41"/>
                  </a:lnTo>
                  <a:lnTo>
                    <a:pt x="1222" y="37"/>
                  </a:lnTo>
                  <a:lnTo>
                    <a:pt x="1220" y="32"/>
                  </a:lnTo>
                  <a:lnTo>
                    <a:pt x="1217" y="29"/>
                  </a:lnTo>
                  <a:lnTo>
                    <a:pt x="1214" y="26"/>
                  </a:lnTo>
                  <a:lnTo>
                    <a:pt x="1210" y="24"/>
                  </a:lnTo>
                  <a:lnTo>
                    <a:pt x="1206" y="23"/>
                  </a:lnTo>
                  <a:lnTo>
                    <a:pt x="1201" y="22"/>
                  </a:lnTo>
                  <a:lnTo>
                    <a:pt x="1196" y="23"/>
                  </a:lnTo>
                  <a:lnTo>
                    <a:pt x="1192" y="24"/>
                  </a:lnTo>
                  <a:lnTo>
                    <a:pt x="1188" y="27"/>
                  </a:lnTo>
                  <a:lnTo>
                    <a:pt x="1183" y="30"/>
                  </a:lnTo>
                  <a:lnTo>
                    <a:pt x="1183" y="24"/>
                  </a:lnTo>
                  <a:lnTo>
                    <a:pt x="1165" y="24"/>
                  </a:lnTo>
                  <a:close/>
                  <a:moveTo>
                    <a:pt x="1120" y="37"/>
                  </a:moveTo>
                  <a:lnTo>
                    <a:pt x="1123" y="38"/>
                  </a:lnTo>
                  <a:lnTo>
                    <a:pt x="1126" y="39"/>
                  </a:lnTo>
                  <a:lnTo>
                    <a:pt x="1129" y="40"/>
                  </a:lnTo>
                  <a:lnTo>
                    <a:pt x="1131" y="42"/>
                  </a:lnTo>
                  <a:lnTo>
                    <a:pt x="1132" y="45"/>
                  </a:lnTo>
                  <a:lnTo>
                    <a:pt x="1134" y="48"/>
                  </a:lnTo>
                  <a:lnTo>
                    <a:pt x="1134" y="52"/>
                  </a:lnTo>
                  <a:lnTo>
                    <a:pt x="1135" y="57"/>
                  </a:lnTo>
                  <a:lnTo>
                    <a:pt x="1134" y="61"/>
                  </a:lnTo>
                  <a:lnTo>
                    <a:pt x="1134" y="64"/>
                  </a:lnTo>
                  <a:lnTo>
                    <a:pt x="1132" y="67"/>
                  </a:lnTo>
                  <a:lnTo>
                    <a:pt x="1131" y="70"/>
                  </a:lnTo>
                  <a:lnTo>
                    <a:pt x="1130" y="71"/>
                  </a:lnTo>
                  <a:lnTo>
                    <a:pt x="1129" y="72"/>
                  </a:lnTo>
                  <a:lnTo>
                    <a:pt x="1126" y="74"/>
                  </a:lnTo>
                  <a:lnTo>
                    <a:pt x="1123" y="75"/>
                  </a:lnTo>
                  <a:lnTo>
                    <a:pt x="1120" y="75"/>
                  </a:lnTo>
                  <a:lnTo>
                    <a:pt x="1116" y="75"/>
                  </a:lnTo>
                  <a:lnTo>
                    <a:pt x="1113" y="74"/>
                  </a:lnTo>
                  <a:lnTo>
                    <a:pt x="1111" y="72"/>
                  </a:lnTo>
                  <a:lnTo>
                    <a:pt x="1109" y="70"/>
                  </a:lnTo>
                  <a:lnTo>
                    <a:pt x="1107" y="67"/>
                  </a:lnTo>
                  <a:lnTo>
                    <a:pt x="1106" y="64"/>
                  </a:lnTo>
                  <a:lnTo>
                    <a:pt x="1105" y="60"/>
                  </a:lnTo>
                  <a:lnTo>
                    <a:pt x="1105" y="56"/>
                  </a:lnTo>
                  <a:lnTo>
                    <a:pt x="1105" y="52"/>
                  </a:lnTo>
                  <a:lnTo>
                    <a:pt x="1106" y="48"/>
                  </a:lnTo>
                  <a:lnTo>
                    <a:pt x="1107" y="45"/>
                  </a:lnTo>
                  <a:lnTo>
                    <a:pt x="1109" y="42"/>
                  </a:lnTo>
                  <a:lnTo>
                    <a:pt x="1110" y="41"/>
                  </a:lnTo>
                  <a:lnTo>
                    <a:pt x="1111" y="40"/>
                  </a:lnTo>
                  <a:lnTo>
                    <a:pt x="1113" y="39"/>
                  </a:lnTo>
                  <a:lnTo>
                    <a:pt x="1116" y="38"/>
                  </a:lnTo>
                  <a:lnTo>
                    <a:pt x="1120" y="37"/>
                  </a:lnTo>
                  <a:close/>
                  <a:moveTo>
                    <a:pt x="1120" y="23"/>
                  </a:moveTo>
                  <a:lnTo>
                    <a:pt x="1112" y="23"/>
                  </a:lnTo>
                  <a:lnTo>
                    <a:pt x="1106" y="25"/>
                  </a:lnTo>
                  <a:lnTo>
                    <a:pt x="1103" y="26"/>
                  </a:lnTo>
                  <a:lnTo>
                    <a:pt x="1100" y="28"/>
                  </a:lnTo>
                  <a:lnTo>
                    <a:pt x="1095" y="32"/>
                  </a:lnTo>
                  <a:lnTo>
                    <a:pt x="1091" y="37"/>
                  </a:lnTo>
                  <a:lnTo>
                    <a:pt x="1090" y="40"/>
                  </a:lnTo>
                  <a:lnTo>
                    <a:pt x="1088" y="43"/>
                  </a:lnTo>
                  <a:lnTo>
                    <a:pt x="1087" y="46"/>
                  </a:lnTo>
                  <a:lnTo>
                    <a:pt x="1086" y="49"/>
                  </a:lnTo>
                  <a:lnTo>
                    <a:pt x="1086" y="56"/>
                  </a:lnTo>
                  <a:lnTo>
                    <a:pt x="1086" y="63"/>
                  </a:lnTo>
                  <a:lnTo>
                    <a:pt x="1088" y="70"/>
                  </a:lnTo>
                  <a:lnTo>
                    <a:pt x="1090" y="73"/>
                  </a:lnTo>
                  <a:lnTo>
                    <a:pt x="1091" y="76"/>
                  </a:lnTo>
                  <a:lnTo>
                    <a:pt x="1095" y="80"/>
                  </a:lnTo>
                  <a:lnTo>
                    <a:pt x="1100" y="84"/>
                  </a:lnTo>
                  <a:lnTo>
                    <a:pt x="1103" y="86"/>
                  </a:lnTo>
                  <a:lnTo>
                    <a:pt x="1106" y="87"/>
                  </a:lnTo>
                  <a:lnTo>
                    <a:pt x="1109" y="88"/>
                  </a:lnTo>
                  <a:lnTo>
                    <a:pt x="1112" y="89"/>
                  </a:lnTo>
                  <a:lnTo>
                    <a:pt x="1120" y="90"/>
                  </a:lnTo>
                  <a:lnTo>
                    <a:pt x="1127" y="89"/>
                  </a:lnTo>
                  <a:lnTo>
                    <a:pt x="1133" y="87"/>
                  </a:lnTo>
                  <a:lnTo>
                    <a:pt x="1136" y="86"/>
                  </a:lnTo>
                  <a:lnTo>
                    <a:pt x="1139" y="84"/>
                  </a:lnTo>
                  <a:lnTo>
                    <a:pt x="1144" y="80"/>
                  </a:lnTo>
                  <a:lnTo>
                    <a:pt x="1148" y="76"/>
                  </a:lnTo>
                  <a:lnTo>
                    <a:pt x="1150" y="73"/>
                  </a:lnTo>
                  <a:lnTo>
                    <a:pt x="1151" y="70"/>
                  </a:lnTo>
                  <a:lnTo>
                    <a:pt x="1153" y="64"/>
                  </a:lnTo>
                  <a:lnTo>
                    <a:pt x="1153" y="60"/>
                  </a:lnTo>
                  <a:lnTo>
                    <a:pt x="1154" y="57"/>
                  </a:lnTo>
                  <a:lnTo>
                    <a:pt x="1153" y="53"/>
                  </a:lnTo>
                  <a:lnTo>
                    <a:pt x="1153" y="49"/>
                  </a:lnTo>
                  <a:lnTo>
                    <a:pt x="1151" y="43"/>
                  </a:lnTo>
                  <a:lnTo>
                    <a:pt x="1150" y="40"/>
                  </a:lnTo>
                  <a:lnTo>
                    <a:pt x="1148" y="37"/>
                  </a:lnTo>
                  <a:lnTo>
                    <a:pt x="1144" y="32"/>
                  </a:lnTo>
                  <a:lnTo>
                    <a:pt x="1139" y="28"/>
                  </a:lnTo>
                  <a:lnTo>
                    <a:pt x="1136" y="26"/>
                  </a:lnTo>
                  <a:lnTo>
                    <a:pt x="1133" y="25"/>
                  </a:lnTo>
                  <a:lnTo>
                    <a:pt x="1130" y="24"/>
                  </a:lnTo>
                  <a:lnTo>
                    <a:pt x="1127" y="23"/>
                  </a:lnTo>
                  <a:lnTo>
                    <a:pt x="1120" y="23"/>
                  </a:lnTo>
                  <a:close/>
                  <a:moveTo>
                    <a:pt x="1074" y="0"/>
                  </a:moveTo>
                  <a:lnTo>
                    <a:pt x="1056" y="0"/>
                  </a:lnTo>
                  <a:lnTo>
                    <a:pt x="1056" y="15"/>
                  </a:lnTo>
                  <a:lnTo>
                    <a:pt x="1074" y="15"/>
                  </a:lnTo>
                  <a:lnTo>
                    <a:pt x="1074" y="0"/>
                  </a:lnTo>
                  <a:close/>
                  <a:moveTo>
                    <a:pt x="1074" y="24"/>
                  </a:moveTo>
                  <a:lnTo>
                    <a:pt x="1056" y="24"/>
                  </a:lnTo>
                  <a:lnTo>
                    <a:pt x="1056" y="88"/>
                  </a:lnTo>
                  <a:lnTo>
                    <a:pt x="1074" y="88"/>
                  </a:lnTo>
                  <a:lnTo>
                    <a:pt x="1074" y="24"/>
                  </a:lnTo>
                  <a:close/>
                  <a:moveTo>
                    <a:pt x="1041" y="25"/>
                  </a:moveTo>
                  <a:lnTo>
                    <a:pt x="1029" y="25"/>
                  </a:lnTo>
                  <a:lnTo>
                    <a:pt x="1029" y="5"/>
                  </a:lnTo>
                  <a:lnTo>
                    <a:pt x="1011" y="5"/>
                  </a:lnTo>
                  <a:lnTo>
                    <a:pt x="1011" y="25"/>
                  </a:lnTo>
                  <a:lnTo>
                    <a:pt x="1002" y="25"/>
                  </a:lnTo>
                  <a:lnTo>
                    <a:pt x="1002" y="38"/>
                  </a:lnTo>
                  <a:lnTo>
                    <a:pt x="1011" y="38"/>
                  </a:lnTo>
                  <a:lnTo>
                    <a:pt x="1011" y="67"/>
                  </a:lnTo>
                  <a:lnTo>
                    <a:pt x="1011" y="74"/>
                  </a:lnTo>
                  <a:lnTo>
                    <a:pt x="1011" y="78"/>
                  </a:lnTo>
                  <a:lnTo>
                    <a:pt x="1012" y="81"/>
                  </a:lnTo>
                  <a:lnTo>
                    <a:pt x="1014" y="84"/>
                  </a:lnTo>
                  <a:lnTo>
                    <a:pt x="1017" y="86"/>
                  </a:lnTo>
                  <a:lnTo>
                    <a:pt x="1020" y="87"/>
                  </a:lnTo>
                  <a:lnTo>
                    <a:pt x="1024" y="88"/>
                  </a:lnTo>
                  <a:lnTo>
                    <a:pt x="1029" y="88"/>
                  </a:lnTo>
                  <a:lnTo>
                    <a:pt x="1041" y="88"/>
                  </a:lnTo>
                  <a:lnTo>
                    <a:pt x="1041" y="74"/>
                  </a:lnTo>
                  <a:lnTo>
                    <a:pt x="1034" y="74"/>
                  </a:lnTo>
                  <a:lnTo>
                    <a:pt x="1032" y="74"/>
                  </a:lnTo>
                  <a:lnTo>
                    <a:pt x="1030" y="72"/>
                  </a:lnTo>
                  <a:lnTo>
                    <a:pt x="1029" y="69"/>
                  </a:lnTo>
                  <a:lnTo>
                    <a:pt x="1029" y="63"/>
                  </a:lnTo>
                  <a:lnTo>
                    <a:pt x="1029" y="38"/>
                  </a:lnTo>
                  <a:lnTo>
                    <a:pt x="1041" y="38"/>
                  </a:lnTo>
                  <a:lnTo>
                    <a:pt x="1041" y="25"/>
                  </a:lnTo>
                  <a:close/>
                  <a:moveTo>
                    <a:pt x="973" y="68"/>
                  </a:moveTo>
                  <a:lnTo>
                    <a:pt x="970" y="71"/>
                  </a:lnTo>
                  <a:lnTo>
                    <a:pt x="967" y="74"/>
                  </a:lnTo>
                  <a:lnTo>
                    <a:pt x="963" y="75"/>
                  </a:lnTo>
                  <a:lnTo>
                    <a:pt x="959" y="76"/>
                  </a:lnTo>
                  <a:lnTo>
                    <a:pt x="955" y="75"/>
                  </a:lnTo>
                  <a:lnTo>
                    <a:pt x="952" y="74"/>
                  </a:lnTo>
                  <a:lnTo>
                    <a:pt x="950" y="72"/>
                  </a:lnTo>
                  <a:lnTo>
                    <a:pt x="950" y="70"/>
                  </a:lnTo>
                  <a:lnTo>
                    <a:pt x="949" y="69"/>
                  </a:lnTo>
                  <a:lnTo>
                    <a:pt x="950" y="66"/>
                  </a:lnTo>
                  <a:lnTo>
                    <a:pt x="952" y="64"/>
                  </a:lnTo>
                  <a:lnTo>
                    <a:pt x="955" y="62"/>
                  </a:lnTo>
                  <a:lnTo>
                    <a:pt x="959" y="61"/>
                  </a:lnTo>
                  <a:lnTo>
                    <a:pt x="966" y="60"/>
                  </a:lnTo>
                  <a:lnTo>
                    <a:pt x="973" y="58"/>
                  </a:lnTo>
                  <a:lnTo>
                    <a:pt x="973" y="68"/>
                  </a:lnTo>
                  <a:close/>
                  <a:moveTo>
                    <a:pt x="951" y="44"/>
                  </a:moveTo>
                  <a:lnTo>
                    <a:pt x="951" y="43"/>
                  </a:lnTo>
                  <a:lnTo>
                    <a:pt x="952" y="41"/>
                  </a:lnTo>
                  <a:lnTo>
                    <a:pt x="953" y="40"/>
                  </a:lnTo>
                  <a:lnTo>
                    <a:pt x="954" y="39"/>
                  </a:lnTo>
                  <a:lnTo>
                    <a:pt x="958" y="37"/>
                  </a:lnTo>
                  <a:lnTo>
                    <a:pt x="962" y="37"/>
                  </a:lnTo>
                  <a:lnTo>
                    <a:pt x="966" y="37"/>
                  </a:lnTo>
                  <a:lnTo>
                    <a:pt x="970" y="38"/>
                  </a:lnTo>
                  <a:lnTo>
                    <a:pt x="971" y="40"/>
                  </a:lnTo>
                  <a:lnTo>
                    <a:pt x="972" y="41"/>
                  </a:lnTo>
                  <a:lnTo>
                    <a:pt x="972" y="43"/>
                  </a:lnTo>
                  <a:lnTo>
                    <a:pt x="972" y="44"/>
                  </a:lnTo>
                  <a:lnTo>
                    <a:pt x="971" y="46"/>
                  </a:lnTo>
                  <a:lnTo>
                    <a:pt x="969" y="46"/>
                  </a:lnTo>
                  <a:lnTo>
                    <a:pt x="966" y="47"/>
                  </a:lnTo>
                  <a:lnTo>
                    <a:pt x="956" y="49"/>
                  </a:lnTo>
                  <a:lnTo>
                    <a:pt x="950" y="50"/>
                  </a:lnTo>
                  <a:lnTo>
                    <a:pt x="945" y="52"/>
                  </a:lnTo>
                  <a:lnTo>
                    <a:pt x="940" y="54"/>
                  </a:lnTo>
                  <a:lnTo>
                    <a:pt x="937" y="56"/>
                  </a:lnTo>
                  <a:lnTo>
                    <a:pt x="934" y="59"/>
                  </a:lnTo>
                  <a:lnTo>
                    <a:pt x="933" y="60"/>
                  </a:lnTo>
                  <a:lnTo>
                    <a:pt x="932" y="62"/>
                  </a:lnTo>
                  <a:lnTo>
                    <a:pt x="931" y="66"/>
                  </a:lnTo>
                  <a:lnTo>
                    <a:pt x="931" y="70"/>
                  </a:lnTo>
                  <a:lnTo>
                    <a:pt x="931" y="74"/>
                  </a:lnTo>
                  <a:lnTo>
                    <a:pt x="933" y="78"/>
                  </a:lnTo>
                  <a:lnTo>
                    <a:pt x="935" y="81"/>
                  </a:lnTo>
                  <a:lnTo>
                    <a:pt x="937" y="84"/>
                  </a:lnTo>
                  <a:lnTo>
                    <a:pt x="941" y="87"/>
                  </a:lnTo>
                  <a:lnTo>
                    <a:pt x="945" y="88"/>
                  </a:lnTo>
                  <a:lnTo>
                    <a:pt x="949" y="89"/>
                  </a:lnTo>
                  <a:lnTo>
                    <a:pt x="954" y="90"/>
                  </a:lnTo>
                  <a:lnTo>
                    <a:pt x="960" y="90"/>
                  </a:lnTo>
                  <a:lnTo>
                    <a:pt x="964" y="88"/>
                  </a:lnTo>
                  <a:lnTo>
                    <a:pt x="968" y="86"/>
                  </a:lnTo>
                  <a:lnTo>
                    <a:pt x="973" y="83"/>
                  </a:lnTo>
                  <a:lnTo>
                    <a:pt x="974" y="88"/>
                  </a:lnTo>
                  <a:lnTo>
                    <a:pt x="993" y="88"/>
                  </a:lnTo>
                  <a:lnTo>
                    <a:pt x="992" y="86"/>
                  </a:lnTo>
                  <a:lnTo>
                    <a:pt x="991" y="84"/>
                  </a:lnTo>
                  <a:lnTo>
                    <a:pt x="991" y="77"/>
                  </a:lnTo>
                  <a:lnTo>
                    <a:pt x="991" y="48"/>
                  </a:lnTo>
                  <a:lnTo>
                    <a:pt x="991" y="41"/>
                  </a:lnTo>
                  <a:lnTo>
                    <a:pt x="990" y="36"/>
                  </a:lnTo>
                  <a:lnTo>
                    <a:pt x="988" y="32"/>
                  </a:lnTo>
                  <a:lnTo>
                    <a:pt x="986" y="31"/>
                  </a:lnTo>
                  <a:lnTo>
                    <a:pt x="985" y="29"/>
                  </a:lnTo>
                  <a:lnTo>
                    <a:pt x="980" y="26"/>
                  </a:lnTo>
                  <a:lnTo>
                    <a:pt x="975" y="24"/>
                  </a:lnTo>
                  <a:lnTo>
                    <a:pt x="969" y="23"/>
                  </a:lnTo>
                  <a:lnTo>
                    <a:pt x="962" y="23"/>
                  </a:lnTo>
                  <a:lnTo>
                    <a:pt x="956" y="23"/>
                  </a:lnTo>
                  <a:lnTo>
                    <a:pt x="951" y="24"/>
                  </a:lnTo>
                  <a:lnTo>
                    <a:pt x="946" y="26"/>
                  </a:lnTo>
                  <a:lnTo>
                    <a:pt x="942" y="28"/>
                  </a:lnTo>
                  <a:lnTo>
                    <a:pt x="939" y="31"/>
                  </a:lnTo>
                  <a:lnTo>
                    <a:pt x="937" y="35"/>
                  </a:lnTo>
                  <a:lnTo>
                    <a:pt x="936" y="37"/>
                  </a:lnTo>
                  <a:lnTo>
                    <a:pt x="935" y="39"/>
                  </a:lnTo>
                  <a:lnTo>
                    <a:pt x="934" y="42"/>
                  </a:lnTo>
                  <a:lnTo>
                    <a:pt x="934" y="44"/>
                  </a:lnTo>
                  <a:lnTo>
                    <a:pt x="951" y="44"/>
                  </a:lnTo>
                  <a:close/>
                  <a:moveTo>
                    <a:pt x="920" y="47"/>
                  </a:moveTo>
                  <a:lnTo>
                    <a:pt x="920" y="42"/>
                  </a:lnTo>
                  <a:lnTo>
                    <a:pt x="918" y="37"/>
                  </a:lnTo>
                  <a:lnTo>
                    <a:pt x="915" y="33"/>
                  </a:lnTo>
                  <a:lnTo>
                    <a:pt x="912" y="29"/>
                  </a:lnTo>
                  <a:lnTo>
                    <a:pt x="907" y="26"/>
                  </a:lnTo>
                  <a:lnTo>
                    <a:pt x="903" y="24"/>
                  </a:lnTo>
                  <a:lnTo>
                    <a:pt x="897" y="23"/>
                  </a:lnTo>
                  <a:lnTo>
                    <a:pt x="891" y="23"/>
                  </a:lnTo>
                  <a:lnTo>
                    <a:pt x="884" y="23"/>
                  </a:lnTo>
                  <a:lnTo>
                    <a:pt x="878" y="25"/>
                  </a:lnTo>
                  <a:lnTo>
                    <a:pt x="872" y="28"/>
                  </a:lnTo>
                  <a:lnTo>
                    <a:pt x="870" y="29"/>
                  </a:lnTo>
                  <a:lnTo>
                    <a:pt x="867" y="32"/>
                  </a:lnTo>
                  <a:lnTo>
                    <a:pt x="865" y="34"/>
                  </a:lnTo>
                  <a:lnTo>
                    <a:pt x="864" y="36"/>
                  </a:lnTo>
                  <a:lnTo>
                    <a:pt x="861" y="42"/>
                  </a:lnTo>
                  <a:lnTo>
                    <a:pt x="859" y="49"/>
                  </a:lnTo>
                  <a:lnTo>
                    <a:pt x="859" y="56"/>
                  </a:lnTo>
                  <a:lnTo>
                    <a:pt x="859" y="64"/>
                  </a:lnTo>
                  <a:lnTo>
                    <a:pt x="860" y="67"/>
                  </a:lnTo>
                  <a:lnTo>
                    <a:pt x="861" y="70"/>
                  </a:lnTo>
                  <a:lnTo>
                    <a:pt x="864" y="76"/>
                  </a:lnTo>
                  <a:lnTo>
                    <a:pt x="865" y="79"/>
                  </a:lnTo>
                  <a:lnTo>
                    <a:pt x="867" y="81"/>
                  </a:lnTo>
                  <a:lnTo>
                    <a:pt x="872" y="85"/>
                  </a:lnTo>
                  <a:lnTo>
                    <a:pt x="877" y="88"/>
                  </a:lnTo>
                  <a:lnTo>
                    <a:pt x="884" y="89"/>
                  </a:lnTo>
                  <a:lnTo>
                    <a:pt x="887" y="90"/>
                  </a:lnTo>
                  <a:lnTo>
                    <a:pt x="891" y="90"/>
                  </a:lnTo>
                  <a:lnTo>
                    <a:pt x="897" y="89"/>
                  </a:lnTo>
                  <a:lnTo>
                    <a:pt x="902" y="88"/>
                  </a:lnTo>
                  <a:lnTo>
                    <a:pt x="907" y="86"/>
                  </a:lnTo>
                  <a:lnTo>
                    <a:pt x="911" y="83"/>
                  </a:lnTo>
                  <a:lnTo>
                    <a:pt x="915" y="80"/>
                  </a:lnTo>
                  <a:lnTo>
                    <a:pt x="918" y="75"/>
                  </a:lnTo>
                  <a:lnTo>
                    <a:pt x="920" y="70"/>
                  </a:lnTo>
                  <a:lnTo>
                    <a:pt x="921" y="65"/>
                  </a:lnTo>
                  <a:lnTo>
                    <a:pt x="903" y="64"/>
                  </a:lnTo>
                  <a:lnTo>
                    <a:pt x="902" y="66"/>
                  </a:lnTo>
                  <a:lnTo>
                    <a:pt x="901" y="69"/>
                  </a:lnTo>
                  <a:lnTo>
                    <a:pt x="899" y="72"/>
                  </a:lnTo>
                  <a:lnTo>
                    <a:pt x="897" y="73"/>
                  </a:lnTo>
                  <a:lnTo>
                    <a:pt x="896" y="74"/>
                  </a:lnTo>
                  <a:lnTo>
                    <a:pt x="893" y="74"/>
                  </a:lnTo>
                  <a:lnTo>
                    <a:pt x="891" y="75"/>
                  </a:lnTo>
                  <a:lnTo>
                    <a:pt x="888" y="74"/>
                  </a:lnTo>
                  <a:lnTo>
                    <a:pt x="885" y="73"/>
                  </a:lnTo>
                  <a:lnTo>
                    <a:pt x="883" y="72"/>
                  </a:lnTo>
                  <a:lnTo>
                    <a:pt x="881" y="70"/>
                  </a:lnTo>
                  <a:lnTo>
                    <a:pt x="880" y="67"/>
                  </a:lnTo>
                  <a:lnTo>
                    <a:pt x="879" y="64"/>
                  </a:lnTo>
                  <a:lnTo>
                    <a:pt x="878" y="60"/>
                  </a:lnTo>
                  <a:lnTo>
                    <a:pt x="878" y="56"/>
                  </a:lnTo>
                  <a:lnTo>
                    <a:pt x="878" y="52"/>
                  </a:lnTo>
                  <a:lnTo>
                    <a:pt x="878" y="50"/>
                  </a:lnTo>
                  <a:lnTo>
                    <a:pt x="879" y="48"/>
                  </a:lnTo>
                  <a:lnTo>
                    <a:pt x="880" y="45"/>
                  </a:lnTo>
                  <a:lnTo>
                    <a:pt x="881" y="42"/>
                  </a:lnTo>
                  <a:lnTo>
                    <a:pt x="883" y="40"/>
                  </a:lnTo>
                  <a:lnTo>
                    <a:pt x="885" y="39"/>
                  </a:lnTo>
                  <a:lnTo>
                    <a:pt x="888" y="38"/>
                  </a:lnTo>
                  <a:lnTo>
                    <a:pt x="891" y="38"/>
                  </a:lnTo>
                  <a:lnTo>
                    <a:pt x="895" y="38"/>
                  </a:lnTo>
                  <a:lnTo>
                    <a:pt x="899" y="40"/>
                  </a:lnTo>
                  <a:lnTo>
                    <a:pt x="900" y="42"/>
                  </a:lnTo>
                  <a:lnTo>
                    <a:pt x="901" y="43"/>
                  </a:lnTo>
                  <a:lnTo>
                    <a:pt x="902" y="45"/>
                  </a:lnTo>
                  <a:lnTo>
                    <a:pt x="903" y="47"/>
                  </a:lnTo>
                  <a:lnTo>
                    <a:pt x="920" y="47"/>
                  </a:lnTo>
                  <a:close/>
                  <a:moveTo>
                    <a:pt x="847" y="24"/>
                  </a:moveTo>
                  <a:lnTo>
                    <a:pt x="828" y="24"/>
                  </a:lnTo>
                  <a:lnTo>
                    <a:pt x="828" y="60"/>
                  </a:lnTo>
                  <a:lnTo>
                    <a:pt x="828" y="67"/>
                  </a:lnTo>
                  <a:lnTo>
                    <a:pt x="827" y="69"/>
                  </a:lnTo>
                  <a:lnTo>
                    <a:pt x="826" y="70"/>
                  </a:lnTo>
                  <a:lnTo>
                    <a:pt x="825" y="72"/>
                  </a:lnTo>
                  <a:lnTo>
                    <a:pt x="823" y="73"/>
                  </a:lnTo>
                  <a:lnTo>
                    <a:pt x="821" y="74"/>
                  </a:lnTo>
                  <a:lnTo>
                    <a:pt x="818" y="74"/>
                  </a:lnTo>
                  <a:lnTo>
                    <a:pt x="816" y="74"/>
                  </a:lnTo>
                  <a:lnTo>
                    <a:pt x="814" y="73"/>
                  </a:lnTo>
                  <a:lnTo>
                    <a:pt x="812" y="72"/>
                  </a:lnTo>
                  <a:lnTo>
                    <a:pt x="810" y="70"/>
                  </a:lnTo>
                  <a:lnTo>
                    <a:pt x="809" y="67"/>
                  </a:lnTo>
                  <a:lnTo>
                    <a:pt x="808" y="60"/>
                  </a:lnTo>
                  <a:lnTo>
                    <a:pt x="808" y="24"/>
                  </a:lnTo>
                  <a:lnTo>
                    <a:pt x="789" y="24"/>
                  </a:lnTo>
                  <a:lnTo>
                    <a:pt x="789" y="64"/>
                  </a:lnTo>
                  <a:lnTo>
                    <a:pt x="790" y="71"/>
                  </a:lnTo>
                  <a:lnTo>
                    <a:pt x="791" y="76"/>
                  </a:lnTo>
                  <a:lnTo>
                    <a:pt x="792" y="78"/>
                  </a:lnTo>
                  <a:lnTo>
                    <a:pt x="793" y="80"/>
                  </a:lnTo>
                  <a:lnTo>
                    <a:pt x="795" y="83"/>
                  </a:lnTo>
                  <a:lnTo>
                    <a:pt x="799" y="86"/>
                  </a:lnTo>
                  <a:lnTo>
                    <a:pt x="803" y="88"/>
                  </a:lnTo>
                  <a:lnTo>
                    <a:pt x="808" y="89"/>
                  </a:lnTo>
                  <a:lnTo>
                    <a:pt x="812" y="90"/>
                  </a:lnTo>
                  <a:lnTo>
                    <a:pt x="818" y="89"/>
                  </a:lnTo>
                  <a:lnTo>
                    <a:pt x="822" y="88"/>
                  </a:lnTo>
                  <a:lnTo>
                    <a:pt x="826" y="85"/>
                  </a:lnTo>
                  <a:lnTo>
                    <a:pt x="828" y="83"/>
                  </a:lnTo>
                  <a:lnTo>
                    <a:pt x="829" y="81"/>
                  </a:lnTo>
                  <a:lnTo>
                    <a:pt x="829" y="88"/>
                  </a:lnTo>
                  <a:lnTo>
                    <a:pt x="847" y="88"/>
                  </a:lnTo>
                  <a:lnTo>
                    <a:pt x="847" y="24"/>
                  </a:lnTo>
                  <a:close/>
                  <a:moveTo>
                    <a:pt x="743" y="38"/>
                  </a:moveTo>
                  <a:lnTo>
                    <a:pt x="746" y="38"/>
                  </a:lnTo>
                  <a:lnTo>
                    <a:pt x="749" y="39"/>
                  </a:lnTo>
                  <a:lnTo>
                    <a:pt x="751" y="41"/>
                  </a:lnTo>
                  <a:lnTo>
                    <a:pt x="753" y="43"/>
                  </a:lnTo>
                  <a:lnTo>
                    <a:pt x="755" y="45"/>
                  </a:lnTo>
                  <a:lnTo>
                    <a:pt x="756" y="49"/>
                  </a:lnTo>
                  <a:lnTo>
                    <a:pt x="756" y="52"/>
                  </a:lnTo>
                  <a:lnTo>
                    <a:pt x="757" y="56"/>
                  </a:lnTo>
                  <a:lnTo>
                    <a:pt x="756" y="60"/>
                  </a:lnTo>
                  <a:lnTo>
                    <a:pt x="756" y="64"/>
                  </a:lnTo>
                  <a:lnTo>
                    <a:pt x="755" y="67"/>
                  </a:lnTo>
                  <a:lnTo>
                    <a:pt x="753" y="70"/>
                  </a:lnTo>
                  <a:lnTo>
                    <a:pt x="751" y="72"/>
                  </a:lnTo>
                  <a:lnTo>
                    <a:pt x="749" y="73"/>
                  </a:lnTo>
                  <a:lnTo>
                    <a:pt x="746" y="74"/>
                  </a:lnTo>
                  <a:lnTo>
                    <a:pt x="743" y="75"/>
                  </a:lnTo>
                  <a:lnTo>
                    <a:pt x="740" y="74"/>
                  </a:lnTo>
                  <a:lnTo>
                    <a:pt x="738" y="73"/>
                  </a:lnTo>
                  <a:lnTo>
                    <a:pt x="735" y="72"/>
                  </a:lnTo>
                  <a:lnTo>
                    <a:pt x="733" y="70"/>
                  </a:lnTo>
                  <a:lnTo>
                    <a:pt x="732" y="67"/>
                  </a:lnTo>
                  <a:lnTo>
                    <a:pt x="731" y="64"/>
                  </a:lnTo>
                  <a:lnTo>
                    <a:pt x="730" y="60"/>
                  </a:lnTo>
                  <a:lnTo>
                    <a:pt x="730" y="56"/>
                  </a:lnTo>
                  <a:lnTo>
                    <a:pt x="730" y="52"/>
                  </a:lnTo>
                  <a:lnTo>
                    <a:pt x="731" y="48"/>
                  </a:lnTo>
                  <a:lnTo>
                    <a:pt x="732" y="45"/>
                  </a:lnTo>
                  <a:lnTo>
                    <a:pt x="733" y="43"/>
                  </a:lnTo>
                  <a:lnTo>
                    <a:pt x="735" y="40"/>
                  </a:lnTo>
                  <a:lnTo>
                    <a:pt x="738" y="39"/>
                  </a:lnTo>
                  <a:lnTo>
                    <a:pt x="740" y="38"/>
                  </a:lnTo>
                  <a:lnTo>
                    <a:pt x="743" y="38"/>
                  </a:lnTo>
                  <a:close/>
                  <a:moveTo>
                    <a:pt x="775" y="0"/>
                  </a:moveTo>
                  <a:lnTo>
                    <a:pt x="756" y="0"/>
                  </a:lnTo>
                  <a:lnTo>
                    <a:pt x="756" y="29"/>
                  </a:lnTo>
                  <a:lnTo>
                    <a:pt x="753" y="26"/>
                  </a:lnTo>
                  <a:lnTo>
                    <a:pt x="749" y="24"/>
                  </a:lnTo>
                  <a:lnTo>
                    <a:pt x="745" y="23"/>
                  </a:lnTo>
                  <a:lnTo>
                    <a:pt x="740" y="22"/>
                  </a:lnTo>
                  <a:lnTo>
                    <a:pt x="734" y="23"/>
                  </a:lnTo>
                  <a:lnTo>
                    <a:pt x="728" y="25"/>
                  </a:lnTo>
                  <a:lnTo>
                    <a:pt x="723" y="28"/>
                  </a:lnTo>
                  <a:lnTo>
                    <a:pt x="719" y="32"/>
                  </a:lnTo>
                  <a:lnTo>
                    <a:pt x="716" y="37"/>
                  </a:lnTo>
                  <a:lnTo>
                    <a:pt x="713" y="42"/>
                  </a:lnTo>
                  <a:lnTo>
                    <a:pt x="712" y="46"/>
                  </a:lnTo>
                  <a:lnTo>
                    <a:pt x="712" y="49"/>
                  </a:lnTo>
                  <a:lnTo>
                    <a:pt x="711" y="56"/>
                  </a:lnTo>
                  <a:lnTo>
                    <a:pt x="712" y="64"/>
                  </a:lnTo>
                  <a:lnTo>
                    <a:pt x="712" y="67"/>
                  </a:lnTo>
                  <a:lnTo>
                    <a:pt x="713" y="70"/>
                  </a:lnTo>
                  <a:lnTo>
                    <a:pt x="716" y="76"/>
                  </a:lnTo>
                  <a:lnTo>
                    <a:pt x="717" y="78"/>
                  </a:lnTo>
                  <a:lnTo>
                    <a:pt x="719" y="81"/>
                  </a:lnTo>
                  <a:lnTo>
                    <a:pt x="723" y="85"/>
                  </a:lnTo>
                  <a:lnTo>
                    <a:pt x="728" y="87"/>
                  </a:lnTo>
                  <a:lnTo>
                    <a:pt x="730" y="88"/>
                  </a:lnTo>
                  <a:lnTo>
                    <a:pt x="733" y="89"/>
                  </a:lnTo>
                  <a:lnTo>
                    <a:pt x="736" y="90"/>
                  </a:lnTo>
                  <a:lnTo>
                    <a:pt x="739" y="90"/>
                  </a:lnTo>
                  <a:lnTo>
                    <a:pt x="745" y="89"/>
                  </a:lnTo>
                  <a:lnTo>
                    <a:pt x="747" y="89"/>
                  </a:lnTo>
                  <a:lnTo>
                    <a:pt x="749" y="88"/>
                  </a:lnTo>
                  <a:lnTo>
                    <a:pt x="751" y="87"/>
                  </a:lnTo>
                  <a:lnTo>
                    <a:pt x="753" y="85"/>
                  </a:lnTo>
                  <a:lnTo>
                    <a:pt x="757" y="81"/>
                  </a:lnTo>
                  <a:lnTo>
                    <a:pt x="757" y="88"/>
                  </a:lnTo>
                  <a:lnTo>
                    <a:pt x="775" y="88"/>
                  </a:lnTo>
                  <a:lnTo>
                    <a:pt x="775" y="0"/>
                  </a:lnTo>
                  <a:close/>
                  <a:moveTo>
                    <a:pt x="701" y="0"/>
                  </a:moveTo>
                  <a:lnTo>
                    <a:pt x="634" y="0"/>
                  </a:lnTo>
                  <a:lnTo>
                    <a:pt x="634" y="88"/>
                  </a:lnTo>
                  <a:lnTo>
                    <a:pt x="702" y="88"/>
                  </a:lnTo>
                  <a:lnTo>
                    <a:pt x="702" y="71"/>
                  </a:lnTo>
                  <a:lnTo>
                    <a:pt x="655" y="71"/>
                  </a:lnTo>
                  <a:lnTo>
                    <a:pt x="655" y="50"/>
                  </a:lnTo>
                  <a:lnTo>
                    <a:pt x="695" y="50"/>
                  </a:lnTo>
                  <a:lnTo>
                    <a:pt x="695" y="34"/>
                  </a:lnTo>
                  <a:lnTo>
                    <a:pt x="655" y="34"/>
                  </a:lnTo>
                  <a:lnTo>
                    <a:pt x="655" y="17"/>
                  </a:lnTo>
                  <a:lnTo>
                    <a:pt x="701" y="17"/>
                  </a:lnTo>
                  <a:lnTo>
                    <a:pt x="701" y="0"/>
                  </a:lnTo>
                  <a:close/>
                  <a:moveTo>
                    <a:pt x="538" y="48"/>
                  </a:moveTo>
                  <a:lnTo>
                    <a:pt x="539" y="46"/>
                  </a:lnTo>
                  <a:lnTo>
                    <a:pt x="540" y="43"/>
                  </a:lnTo>
                  <a:lnTo>
                    <a:pt x="541" y="41"/>
                  </a:lnTo>
                  <a:lnTo>
                    <a:pt x="543" y="40"/>
                  </a:lnTo>
                  <a:lnTo>
                    <a:pt x="544" y="38"/>
                  </a:lnTo>
                  <a:lnTo>
                    <a:pt x="547" y="38"/>
                  </a:lnTo>
                  <a:lnTo>
                    <a:pt x="552" y="37"/>
                  </a:lnTo>
                  <a:lnTo>
                    <a:pt x="556" y="38"/>
                  </a:lnTo>
                  <a:lnTo>
                    <a:pt x="558" y="38"/>
                  </a:lnTo>
                  <a:lnTo>
                    <a:pt x="560" y="40"/>
                  </a:lnTo>
                  <a:lnTo>
                    <a:pt x="562" y="41"/>
                  </a:lnTo>
                  <a:lnTo>
                    <a:pt x="563" y="43"/>
                  </a:lnTo>
                  <a:lnTo>
                    <a:pt x="564" y="46"/>
                  </a:lnTo>
                  <a:lnTo>
                    <a:pt x="564" y="48"/>
                  </a:lnTo>
                  <a:lnTo>
                    <a:pt x="538" y="48"/>
                  </a:lnTo>
                  <a:close/>
                  <a:moveTo>
                    <a:pt x="583" y="62"/>
                  </a:moveTo>
                  <a:lnTo>
                    <a:pt x="583" y="56"/>
                  </a:lnTo>
                  <a:lnTo>
                    <a:pt x="583" y="50"/>
                  </a:lnTo>
                  <a:lnTo>
                    <a:pt x="582" y="46"/>
                  </a:lnTo>
                  <a:lnTo>
                    <a:pt x="580" y="41"/>
                  </a:lnTo>
                  <a:lnTo>
                    <a:pt x="578" y="37"/>
                  </a:lnTo>
                  <a:lnTo>
                    <a:pt x="576" y="33"/>
                  </a:lnTo>
                  <a:lnTo>
                    <a:pt x="573" y="30"/>
                  </a:lnTo>
                  <a:lnTo>
                    <a:pt x="569" y="27"/>
                  </a:lnTo>
                  <a:lnTo>
                    <a:pt x="565" y="25"/>
                  </a:lnTo>
                  <a:lnTo>
                    <a:pt x="561" y="24"/>
                  </a:lnTo>
                  <a:lnTo>
                    <a:pt x="557" y="23"/>
                  </a:lnTo>
                  <a:lnTo>
                    <a:pt x="552" y="23"/>
                  </a:lnTo>
                  <a:lnTo>
                    <a:pt x="545" y="23"/>
                  </a:lnTo>
                  <a:lnTo>
                    <a:pt x="538" y="25"/>
                  </a:lnTo>
                  <a:lnTo>
                    <a:pt x="536" y="26"/>
                  </a:lnTo>
                  <a:lnTo>
                    <a:pt x="533" y="28"/>
                  </a:lnTo>
                  <a:lnTo>
                    <a:pt x="528" y="32"/>
                  </a:lnTo>
                  <a:lnTo>
                    <a:pt x="526" y="34"/>
                  </a:lnTo>
                  <a:lnTo>
                    <a:pt x="524" y="37"/>
                  </a:lnTo>
                  <a:lnTo>
                    <a:pt x="521" y="43"/>
                  </a:lnTo>
                  <a:lnTo>
                    <a:pt x="520" y="49"/>
                  </a:lnTo>
                  <a:lnTo>
                    <a:pt x="519" y="53"/>
                  </a:lnTo>
                  <a:lnTo>
                    <a:pt x="519" y="56"/>
                  </a:lnTo>
                  <a:lnTo>
                    <a:pt x="520" y="63"/>
                  </a:lnTo>
                  <a:lnTo>
                    <a:pt x="521" y="70"/>
                  </a:lnTo>
                  <a:lnTo>
                    <a:pt x="524" y="76"/>
                  </a:lnTo>
                  <a:lnTo>
                    <a:pt x="526" y="78"/>
                  </a:lnTo>
                  <a:lnTo>
                    <a:pt x="528" y="81"/>
                  </a:lnTo>
                  <a:lnTo>
                    <a:pt x="533" y="85"/>
                  </a:lnTo>
                  <a:lnTo>
                    <a:pt x="538" y="87"/>
                  </a:lnTo>
                  <a:lnTo>
                    <a:pt x="541" y="88"/>
                  </a:lnTo>
                  <a:lnTo>
                    <a:pt x="545" y="89"/>
                  </a:lnTo>
                  <a:lnTo>
                    <a:pt x="548" y="90"/>
                  </a:lnTo>
                  <a:lnTo>
                    <a:pt x="552" y="90"/>
                  </a:lnTo>
                  <a:lnTo>
                    <a:pt x="557" y="89"/>
                  </a:lnTo>
                  <a:lnTo>
                    <a:pt x="563" y="88"/>
                  </a:lnTo>
                  <a:lnTo>
                    <a:pt x="567" y="87"/>
                  </a:lnTo>
                  <a:lnTo>
                    <a:pt x="572" y="84"/>
                  </a:lnTo>
                  <a:lnTo>
                    <a:pt x="575" y="81"/>
                  </a:lnTo>
                  <a:lnTo>
                    <a:pt x="577" y="80"/>
                  </a:lnTo>
                  <a:lnTo>
                    <a:pt x="578" y="78"/>
                  </a:lnTo>
                  <a:lnTo>
                    <a:pt x="581" y="74"/>
                  </a:lnTo>
                  <a:lnTo>
                    <a:pt x="583" y="69"/>
                  </a:lnTo>
                  <a:lnTo>
                    <a:pt x="563" y="69"/>
                  </a:lnTo>
                  <a:lnTo>
                    <a:pt x="561" y="72"/>
                  </a:lnTo>
                  <a:lnTo>
                    <a:pt x="559" y="74"/>
                  </a:lnTo>
                  <a:lnTo>
                    <a:pt x="556" y="75"/>
                  </a:lnTo>
                  <a:lnTo>
                    <a:pt x="552" y="75"/>
                  </a:lnTo>
                  <a:lnTo>
                    <a:pt x="549" y="75"/>
                  </a:lnTo>
                  <a:lnTo>
                    <a:pt x="547" y="74"/>
                  </a:lnTo>
                  <a:lnTo>
                    <a:pt x="545" y="73"/>
                  </a:lnTo>
                  <a:lnTo>
                    <a:pt x="543" y="72"/>
                  </a:lnTo>
                  <a:lnTo>
                    <a:pt x="541" y="70"/>
                  </a:lnTo>
                  <a:lnTo>
                    <a:pt x="540" y="67"/>
                  </a:lnTo>
                  <a:lnTo>
                    <a:pt x="539" y="65"/>
                  </a:lnTo>
                  <a:lnTo>
                    <a:pt x="538" y="62"/>
                  </a:lnTo>
                  <a:lnTo>
                    <a:pt x="583" y="62"/>
                  </a:lnTo>
                  <a:close/>
                  <a:moveTo>
                    <a:pt x="493" y="88"/>
                  </a:moveTo>
                  <a:lnTo>
                    <a:pt x="514" y="24"/>
                  </a:lnTo>
                  <a:lnTo>
                    <a:pt x="494" y="24"/>
                  </a:lnTo>
                  <a:lnTo>
                    <a:pt x="488" y="49"/>
                  </a:lnTo>
                  <a:lnTo>
                    <a:pt x="484" y="67"/>
                  </a:lnTo>
                  <a:lnTo>
                    <a:pt x="479" y="49"/>
                  </a:lnTo>
                  <a:lnTo>
                    <a:pt x="471" y="24"/>
                  </a:lnTo>
                  <a:lnTo>
                    <a:pt x="452" y="24"/>
                  </a:lnTo>
                  <a:lnTo>
                    <a:pt x="475" y="88"/>
                  </a:lnTo>
                  <a:lnTo>
                    <a:pt x="493" y="88"/>
                  </a:lnTo>
                  <a:close/>
                  <a:moveTo>
                    <a:pt x="440" y="0"/>
                  </a:moveTo>
                  <a:lnTo>
                    <a:pt x="421" y="0"/>
                  </a:lnTo>
                  <a:lnTo>
                    <a:pt x="421" y="15"/>
                  </a:lnTo>
                  <a:lnTo>
                    <a:pt x="440" y="15"/>
                  </a:lnTo>
                  <a:lnTo>
                    <a:pt x="440" y="0"/>
                  </a:lnTo>
                  <a:close/>
                  <a:moveTo>
                    <a:pt x="440" y="24"/>
                  </a:moveTo>
                  <a:lnTo>
                    <a:pt x="421" y="24"/>
                  </a:lnTo>
                  <a:lnTo>
                    <a:pt x="421" y="88"/>
                  </a:lnTo>
                  <a:lnTo>
                    <a:pt x="440" y="88"/>
                  </a:lnTo>
                  <a:lnTo>
                    <a:pt x="440" y="24"/>
                  </a:lnTo>
                  <a:close/>
                  <a:moveTo>
                    <a:pt x="405" y="25"/>
                  </a:moveTo>
                  <a:lnTo>
                    <a:pt x="394" y="25"/>
                  </a:lnTo>
                  <a:lnTo>
                    <a:pt x="394" y="5"/>
                  </a:lnTo>
                  <a:lnTo>
                    <a:pt x="375" y="5"/>
                  </a:lnTo>
                  <a:lnTo>
                    <a:pt x="375" y="25"/>
                  </a:lnTo>
                  <a:lnTo>
                    <a:pt x="366" y="25"/>
                  </a:lnTo>
                  <a:lnTo>
                    <a:pt x="366" y="38"/>
                  </a:lnTo>
                  <a:lnTo>
                    <a:pt x="375" y="38"/>
                  </a:lnTo>
                  <a:lnTo>
                    <a:pt x="375" y="67"/>
                  </a:lnTo>
                  <a:lnTo>
                    <a:pt x="375" y="74"/>
                  </a:lnTo>
                  <a:lnTo>
                    <a:pt x="376" y="78"/>
                  </a:lnTo>
                  <a:lnTo>
                    <a:pt x="377" y="81"/>
                  </a:lnTo>
                  <a:lnTo>
                    <a:pt x="378" y="84"/>
                  </a:lnTo>
                  <a:lnTo>
                    <a:pt x="381" y="86"/>
                  </a:lnTo>
                  <a:lnTo>
                    <a:pt x="384" y="87"/>
                  </a:lnTo>
                  <a:lnTo>
                    <a:pt x="388" y="88"/>
                  </a:lnTo>
                  <a:lnTo>
                    <a:pt x="394" y="88"/>
                  </a:lnTo>
                  <a:lnTo>
                    <a:pt x="405" y="88"/>
                  </a:lnTo>
                  <a:lnTo>
                    <a:pt x="405" y="74"/>
                  </a:lnTo>
                  <a:lnTo>
                    <a:pt x="398" y="74"/>
                  </a:lnTo>
                  <a:lnTo>
                    <a:pt x="396" y="74"/>
                  </a:lnTo>
                  <a:lnTo>
                    <a:pt x="394" y="72"/>
                  </a:lnTo>
                  <a:lnTo>
                    <a:pt x="394" y="69"/>
                  </a:lnTo>
                  <a:lnTo>
                    <a:pt x="394" y="63"/>
                  </a:lnTo>
                  <a:lnTo>
                    <a:pt x="394" y="38"/>
                  </a:lnTo>
                  <a:lnTo>
                    <a:pt x="405" y="38"/>
                  </a:lnTo>
                  <a:lnTo>
                    <a:pt x="405" y="25"/>
                  </a:lnTo>
                  <a:close/>
                  <a:moveTo>
                    <a:pt x="353" y="24"/>
                  </a:moveTo>
                  <a:lnTo>
                    <a:pt x="334" y="24"/>
                  </a:lnTo>
                  <a:lnTo>
                    <a:pt x="334" y="60"/>
                  </a:lnTo>
                  <a:lnTo>
                    <a:pt x="334" y="67"/>
                  </a:lnTo>
                  <a:lnTo>
                    <a:pt x="333" y="69"/>
                  </a:lnTo>
                  <a:lnTo>
                    <a:pt x="332" y="70"/>
                  </a:lnTo>
                  <a:lnTo>
                    <a:pt x="331" y="72"/>
                  </a:lnTo>
                  <a:lnTo>
                    <a:pt x="329" y="73"/>
                  </a:lnTo>
                  <a:lnTo>
                    <a:pt x="327" y="74"/>
                  </a:lnTo>
                  <a:lnTo>
                    <a:pt x="324" y="74"/>
                  </a:lnTo>
                  <a:lnTo>
                    <a:pt x="322" y="74"/>
                  </a:lnTo>
                  <a:lnTo>
                    <a:pt x="319" y="73"/>
                  </a:lnTo>
                  <a:lnTo>
                    <a:pt x="317" y="72"/>
                  </a:lnTo>
                  <a:lnTo>
                    <a:pt x="316" y="70"/>
                  </a:lnTo>
                  <a:lnTo>
                    <a:pt x="314" y="67"/>
                  </a:lnTo>
                  <a:lnTo>
                    <a:pt x="314" y="60"/>
                  </a:lnTo>
                  <a:lnTo>
                    <a:pt x="314" y="24"/>
                  </a:lnTo>
                  <a:lnTo>
                    <a:pt x="295" y="24"/>
                  </a:lnTo>
                  <a:lnTo>
                    <a:pt x="295" y="64"/>
                  </a:lnTo>
                  <a:lnTo>
                    <a:pt x="295" y="71"/>
                  </a:lnTo>
                  <a:lnTo>
                    <a:pt x="296" y="76"/>
                  </a:lnTo>
                  <a:lnTo>
                    <a:pt x="297" y="78"/>
                  </a:lnTo>
                  <a:lnTo>
                    <a:pt x="298" y="80"/>
                  </a:lnTo>
                  <a:lnTo>
                    <a:pt x="301" y="83"/>
                  </a:lnTo>
                  <a:lnTo>
                    <a:pt x="305" y="86"/>
                  </a:lnTo>
                  <a:lnTo>
                    <a:pt x="309" y="88"/>
                  </a:lnTo>
                  <a:lnTo>
                    <a:pt x="313" y="89"/>
                  </a:lnTo>
                  <a:lnTo>
                    <a:pt x="318" y="90"/>
                  </a:lnTo>
                  <a:lnTo>
                    <a:pt x="323" y="89"/>
                  </a:lnTo>
                  <a:lnTo>
                    <a:pt x="328" y="88"/>
                  </a:lnTo>
                  <a:lnTo>
                    <a:pt x="332" y="85"/>
                  </a:lnTo>
                  <a:lnTo>
                    <a:pt x="333" y="83"/>
                  </a:lnTo>
                  <a:lnTo>
                    <a:pt x="335" y="81"/>
                  </a:lnTo>
                  <a:lnTo>
                    <a:pt x="335" y="88"/>
                  </a:lnTo>
                  <a:lnTo>
                    <a:pt x="353" y="88"/>
                  </a:lnTo>
                  <a:lnTo>
                    <a:pt x="353" y="24"/>
                  </a:lnTo>
                  <a:close/>
                  <a:moveTo>
                    <a:pt x="282" y="47"/>
                  </a:moveTo>
                  <a:lnTo>
                    <a:pt x="281" y="42"/>
                  </a:lnTo>
                  <a:lnTo>
                    <a:pt x="279" y="37"/>
                  </a:lnTo>
                  <a:lnTo>
                    <a:pt x="276" y="33"/>
                  </a:lnTo>
                  <a:lnTo>
                    <a:pt x="273" y="29"/>
                  </a:lnTo>
                  <a:lnTo>
                    <a:pt x="269" y="26"/>
                  </a:lnTo>
                  <a:lnTo>
                    <a:pt x="264" y="24"/>
                  </a:lnTo>
                  <a:lnTo>
                    <a:pt x="259" y="23"/>
                  </a:lnTo>
                  <a:lnTo>
                    <a:pt x="253" y="23"/>
                  </a:lnTo>
                  <a:lnTo>
                    <a:pt x="245" y="23"/>
                  </a:lnTo>
                  <a:lnTo>
                    <a:pt x="239" y="25"/>
                  </a:lnTo>
                  <a:lnTo>
                    <a:pt x="233" y="28"/>
                  </a:lnTo>
                  <a:lnTo>
                    <a:pt x="231" y="29"/>
                  </a:lnTo>
                  <a:lnTo>
                    <a:pt x="229" y="32"/>
                  </a:lnTo>
                  <a:lnTo>
                    <a:pt x="227" y="34"/>
                  </a:lnTo>
                  <a:lnTo>
                    <a:pt x="225" y="36"/>
                  </a:lnTo>
                  <a:lnTo>
                    <a:pt x="222" y="42"/>
                  </a:lnTo>
                  <a:lnTo>
                    <a:pt x="221" y="49"/>
                  </a:lnTo>
                  <a:lnTo>
                    <a:pt x="220" y="56"/>
                  </a:lnTo>
                  <a:lnTo>
                    <a:pt x="221" y="64"/>
                  </a:lnTo>
                  <a:lnTo>
                    <a:pt x="221" y="67"/>
                  </a:lnTo>
                  <a:lnTo>
                    <a:pt x="222" y="70"/>
                  </a:lnTo>
                  <a:lnTo>
                    <a:pt x="225" y="76"/>
                  </a:lnTo>
                  <a:lnTo>
                    <a:pt x="227" y="79"/>
                  </a:lnTo>
                  <a:lnTo>
                    <a:pt x="229" y="81"/>
                  </a:lnTo>
                  <a:lnTo>
                    <a:pt x="233" y="85"/>
                  </a:lnTo>
                  <a:lnTo>
                    <a:pt x="239" y="88"/>
                  </a:lnTo>
                  <a:lnTo>
                    <a:pt x="245" y="89"/>
                  </a:lnTo>
                  <a:lnTo>
                    <a:pt x="248" y="90"/>
                  </a:lnTo>
                  <a:lnTo>
                    <a:pt x="252" y="90"/>
                  </a:lnTo>
                  <a:lnTo>
                    <a:pt x="258" y="89"/>
                  </a:lnTo>
                  <a:lnTo>
                    <a:pt x="264" y="88"/>
                  </a:lnTo>
                  <a:lnTo>
                    <a:pt x="268" y="86"/>
                  </a:lnTo>
                  <a:lnTo>
                    <a:pt x="273" y="83"/>
                  </a:lnTo>
                  <a:lnTo>
                    <a:pt x="276" y="80"/>
                  </a:lnTo>
                  <a:lnTo>
                    <a:pt x="279" y="75"/>
                  </a:lnTo>
                  <a:lnTo>
                    <a:pt x="281" y="70"/>
                  </a:lnTo>
                  <a:lnTo>
                    <a:pt x="283" y="65"/>
                  </a:lnTo>
                  <a:lnTo>
                    <a:pt x="264" y="64"/>
                  </a:lnTo>
                  <a:lnTo>
                    <a:pt x="264" y="66"/>
                  </a:lnTo>
                  <a:lnTo>
                    <a:pt x="263" y="69"/>
                  </a:lnTo>
                  <a:lnTo>
                    <a:pt x="260" y="72"/>
                  </a:lnTo>
                  <a:lnTo>
                    <a:pt x="259" y="73"/>
                  </a:lnTo>
                  <a:lnTo>
                    <a:pt x="257" y="74"/>
                  </a:lnTo>
                  <a:lnTo>
                    <a:pt x="255" y="74"/>
                  </a:lnTo>
                  <a:lnTo>
                    <a:pt x="252" y="75"/>
                  </a:lnTo>
                  <a:lnTo>
                    <a:pt x="249" y="74"/>
                  </a:lnTo>
                  <a:lnTo>
                    <a:pt x="247" y="73"/>
                  </a:lnTo>
                  <a:lnTo>
                    <a:pt x="244" y="72"/>
                  </a:lnTo>
                  <a:lnTo>
                    <a:pt x="243" y="70"/>
                  </a:lnTo>
                  <a:lnTo>
                    <a:pt x="241" y="67"/>
                  </a:lnTo>
                  <a:lnTo>
                    <a:pt x="240" y="64"/>
                  </a:lnTo>
                  <a:lnTo>
                    <a:pt x="239" y="60"/>
                  </a:lnTo>
                  <a:lnTo>
                    <a:pt x="239" y="56"/>
                  </a:lnTo>
                  <a:lnTo>
                    <a:pt x="239" y="52"/>
                  </a:lnTo>
                  <a:lnTo>
                    <a:pt x="240" y="50"/>
                  </a:lnTo>
                  <a:lnTo>
                    <a:pt x="240" y="48"/>
                  </a:lnTo>
                  <a:lnTo>
                    <a:pt x="241" y="45"/>
                  </a:lnTo>
                  <a:lnTo>
                    <a:pt x="242" y="42"/>
                  </a:lnTo>
                  <a:lnTo>
                    <a:pt x="244" y="40"/>
                  </a:lnTo>
                  <a:lnTo>
                    <a:pt x="247" y="39"/>
                  </a:lnTo>
                  <a:lnTo>
                    <a:pt x="249" y="38"/>
                  </a:lnTo>
                  <a:lnTo>
                    <a:pt x="252" y="38"/>
                  </a:lnTo>
                  <a:lnTo>
                    <a:pt x="257" y="38"/>
                  </a:lnTo>
                  <a:lnTo>
                    <a:pt x="260" y="40"/>
                  </a:lnTo>
                  <a:lnTo>
                    <a:pt x="262" y="42"/>
                  </a:lnTo>
                  <a:lnTo>
                    <a:pt x="263" y="43"/>
                  </a:lnTo>
                  <a:lnTo>
                    <a:pt x="264" y="47"/>
                  </a:lnTo>
                  <a:lnTo>
                    <a:pt x="282" y="47"/>
                  </a:lnTo>
                  <a:close/>
                  <a:moveTo>
                    <a:pt x="164" y="48"/>
                  </a:moveTo>
                  <a:lnTo>
                    <a:pt x="165" y="46"/>
                  </a:lnTo>
                  <a:lnTo>
                    <a:pt x="166" y="43"/>
                  </a:lnTo>
                  <a:lnTo>
                    <a:pt x="167" y="41"/>
                  </a:lnTo>
                  <a:lnTo>
                    <a:pt x="169" y="40"/>
                  </a:lnTo>
                  <a:lnTo>
                    <a:pt x="171" y="38"/>
                  </a:lnTo>
                  <a:lnTo>
                    <a:pt x="173" y="38"/>
                  </a:lnTo>
                  <a:lnTo>
                    <a:pt x="178" y="37"/>
                  </a:lnTo>
                  <a:lnTo>
                    <a:pt x="183" y="38"/>
                  </a:lnTo>
                  <a:lnTo>
                    <a:pt x="185" y="38"/>
                  </a:lnTo>
                  <a:lnTo>
                    <a:pt x="186" y="40"/>
                  </a:lnTo>
                  <a:lnTo>
                    <a:pt x="188" y="41"/>
                  </a:lnTo>
                  <a:lnTo>
                    <a:pt x="189" y="43"/>
                  </a:lnTo>
                  <a:lnTo>
                    <a:pt x="190" y="46"/>
                  </a:lnTo>
                  <a:lnTo>
                    <a:pt x="190" y="48"/>
                  </a:lnTo>
                  <a:lnTo>
                    <a:pt x="164" y="48"/>
                  </a:lnTo>
                  <a:close/>
                  <a:moveTo>
                    <a:pt x="209" y="62"/>
                  </a:moveTo>
                  <a:lnTo>
                    <a:pt x="209" y="56"/>
                  </a:lnTo>
                  <a:lnTo>
                    <a:pt x="209" y="50"/>
                  </a:lnTo>
                  <a:lnTo>
                    <a:pt x="208" y="46"/>
                  </a:lnTo>
                  <a:lnTo>
                    <a:pt x="206" y="41"/>
                  </a:lnTo>
                  <a:lnTo>
                    <a:pt x="204" y="37"/>
                  </a:lnTo>
                  <a:lnTo>
                    <a:pt x="202" y="33"/>
                  </a:lnTo>
                  <a:lnTo>
                    <a:pt x="199" y="30"/>
                  </a:lnTo>
                  <a:lnTo>
                    <a:pt x="195" y="27"/>
                  </a:lnTo>
                  <a:lnTo>
                    <a:pt x="192" y="25"/>
                  </a:lnTo>
                  <a:lnTo>
                    <a:pt x="187" y="24"/>
                  </a:lnTo>
                  <a:lnTo>
                    <a:pt x="183" y="23"/>
                  </a:lnTo>
                  <a:lnTo>
                    <a:pt x="178" y="23"/>
                  </a:lnTo>
                  <a:lnTo>
                    <a:pt x="171" y="23"/>
                  </a:lnTo>
                  <a:lnTo>
                    <a:pt x="165" y="25"/>
                  </a:lnTo>
                  <a:lnTo>
                    <a:pt x="162" y="26"/>
                  </a:lnTo>
                  <a:lnTo>
                    <a:pt x="159" y="28"/>
                  </a:lnTo>
                  <a:lnTo>
                    <a:pt x="154" y="32"/>
                  </a:lnTo>
                  <a:lnTo>
                    <a:pt x="152" y="34"/>
                  </a:lnTo>
                  <a:lnTo>
                    <a:pt x="150" y="37"/>
                  </a:lnTo>
                  <a:lnTo>
                    <a:pt x="148" y="43"/>
                  </a:lnTo>
                  <a:lnTo>
                    <a:pt x="146" y="49"/>
                  </a:lnTo>
                  <a:lnTo>
                    <a:pt x="145" y="53"/>
                  </a:lnTo>
                  <a:lnTo>
                    <a:pt x="145" y="56"/>
                  </a:lnTo>
                  <a:lnTo>
                    <a:pt x="146" y="63"/>
                  </a:lnTo>
                  <a:lnTo>
                    <a:pt x="148" y="70"/>
                  </a:lnTo>
                  <a:lnTo>
                    <a:pt x="150" y="76"/>
                  </a:lnTo>
                  <a:lnTo>
                    <a:pt x="152" y="78"/>
                  </a:lnTo>
                  <a:lnTo>
                    <a:pt x="154" y="81"/>
                  </a:lnTo>
                  <a:lnTo>
                    <a:pt x="159" y="85"/>
                  </a:lnTo>
                  <a:lnTo>
                    <a:pt x="165" y="87"/>
                  </a:lnTo>
                  <a:lnTo>
                    <a:pt x="168" y="88"/>
                  </a:lnTo>
                  <a:lnTo>
                    <a:pt x="171" y="89"/>
                  </a:lnTo>
                  <a:lnTo>
                    <a:pt x="174" y="90"/>
                  </a:lnTo>
                  <a:lnTo>
                    <a:pt x="178" y="90"/>
                  </a:lnTo>
                  <a:lnTo>
                    <a:pt x="184" y="89"/>
                  </a:lnTo>
                  <a:lnTo>
                    <a:pt x="189" y="88"/>
                  </a:lnTo>
                  <a:lnTo>
                    <a:pt x="193" y="87"/>
                  </a:lnTo>
                  <a:lnTo>
                    <a:pt x="198" y="84"/>
                  </a:lnTo>
                  <a:lnTo>
                    <a:pt x="201" y="81"/>
                  </a:lnTo>
                  <a:lnTo>
                    <a:pt x="203" y="80"/>
                  </a:lnTo>
                  <a:lnTo>
                    <a:pt x="205" y="78"/>
                  </a:lnTo>
                  <a:lnTo>
                    <a:pt x="207" y="74"/>
                  </a:lnTo>
                  <a:lnTo>
                    <a:pt x="209" y="69"/>
                  </a:lnTo>
                  <a:lnTo>
                    <a:pt x="190" y="69"/>
                  </a:lnTo>
                  <a:lnTo>
                    <a:pt x="188" y="72"/>
                  </a:lnTo>
                  <a:lnTo>
                    <a:pt x="185" y="74"/>
                  </a:lnTo>
                  <a:lnTo>
                    <a:pt x="182" y="75"/>
                  </a:lnTo>
                  <a:lnTo>
                    <a:pt x="178" y="75"/>
                  </a:lnTo>
                  <a:lnTo>
                    <a:pt x="176" y="75"/>
                  </a:lnTo>
                  <a:lnTo>
                    <a:pt x="173" y="74"/>
                  </a:lnTo>
                  <a:lnTo>
                    <a:pt x="171" y="73"/>
                  </a:lnTo>
                  <a:lnTo>
                    <a:pt x="169" y="72"/>
                  </a:lnTo>
                  <a:lnTo>
                    <a:pt x="167" y="70"/>
                  </a:lnTo>
                  <a:lnTo>
                    <a:pt x="166" y="67"/>
                  </a:lnTo>
                  <a:lnTo>
                    <a:pt x="165" y="65"/>
                  </a:lnTo>
                  <a:lnTo>
                    <a:pt x="164" y="62"/>
                  </a:lnTo>
                  <a:lnTo>
                    <a:pt x="209" y="62"/>
                  </a:lnTo>
                  <a:close/>
                  <a:moveTo>
                    <a:pt x="118" y="55"/>
                  </a:moveTo>
                  <a:lnTo>
                    <a:pt x="139" y="24"/>
                  </a:lnTo>
                  <a:lnTo>
                    <a:pt x="118" y="24"/>
                  </a:lnTo>
                  <a:lnTo>
                    <a:pt x="108" y="40"/>
                  </a:lnTo>
                  <a:lnTo>
                    <a:pt x="98" y="24"/>
                  </a:lnTo>
                  <a:lnTo>
                    <a:pt x="77" y="24"/>
                  </a:lnTo>
                  <a:lnTo>
                    <a:pt x="98" y="55"/>
                  </a:lnTo>
                  <a:lnTo>
                    <a:pt x="75" y="88"/>
                  </a:lnTo>
                  <a:lnTo>
                    <a:pt x="96" y="88"/>
                  </a:lnTo>
                  <a:lnTo>
                    <a:pt x="108" y="70"/>
                  </a:lnTo>
                  <a:lnTo>
                    <a:pt x="120" y="88"/>
                  </a:lnTo>
                  <a:lnTo>
                    <a:pt x="142" y="88"/>
                  </a:lnTo>
                  <a:lnTo>
                    <a:pt x="118" y="55"/>
                  </a:lnTo>
                  <a:close/>
                  <a:moveTo>
                    <a:pt x="66" y="0"/>
                  </a:moveTo>
                  <a:lnTo>
                    <a:pt x="0" y="0"/>
                  </a:lnTo>
                  <a:lnTo>
                    <a:pt x="0" y="88"/>
                  </a:lnTo>
                  <a:lnTo>
                    <a:pt x="67" y="88"/>
                  </a:lnTo>
                  <a:lnTo>
                    <a:pt x="67" y="71"/>
                  </a:lnTo>
                  <a:lnTo>
                    <a:pt x="20" y="71"/>
                  </a:lnTo>
                  <a:lnTo>
                    <a:pt x="20" y="50"/>
                  </a:lnTo>
                  <a:lnTo>
                    <a:pt x="60" y="50"/>
                  </a:lnTo>
                  <a:lnTo>
                    <a:pt x="60" y="34"/>
                  </a:lnTo>
                  <a:lnTo>
                    <a:pt x="20" y="34"/>
                  </a:lnTo>
                  <a:lnTo>
                    <a:pt x="20" y="17"/>
                  </a:lnTo>
                  <a:lnTo>
                    <a:pt x="66" y="17"/>
                  </a:lnTo>
                  <a:lnTo>
                    <a:pt x="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22" name="Freeform 8"/>
            <p:cNvSpPr>
              <a:spLocks noEditPoints="1"/>
            </p:cNvSpPr>
            <p:nvPr userDrawn="1"/>
          </p:nvSpPr>
          <p:spPr bwMode="auto">
            <a:xfrm>
              <a:off x="4067175" y="114301"/>
              <a:ext cx="566738" cy="560388"/>
            </a:xfrm>
            <a:custGeom>
              <a:avLst/>
              <a:gdLst>
                <a:gd name="T0" fmla="*/ 223 w 357"/>
                <a:gd name="T1" fmla="*/ 220 h 353"/>
                <a:gd name="T2" fmla="*/ 134 w 357"/>
                <a:gd name="T3" fmla="*/ 220 h 353"/>
                <a:gd name="T4" fmla="*/ 179 w 357"/>
                <a:gd name="T5" fmla="*/ 100 h 353"/>
                <a:gd name="T6" fmla="*/ 223 w 357"/>
                <a:gd name="T7" fmla="*/ 220 h 353"/>
                <a:gd name="T8" fmla="*/ 357 w 357"/>
                <a:gd name="T9" fmla="*/ 353 h 353"/>
                <a:gd name="T10" fmla="*/ 230 w 357"/>
                <a:gd name="T11" fmla="*/ 0 h 353"/>
                <a:gd name="T12" fmla="*/ 127 w 357"/>
                <a:gd name="T13" fmla="*/ 0 h 353"/>
                <a:gd name="T14" fmla="*/ 0 w 357"/>
                <a:gd name="T15" fmla="*/ 353 h 353"/>
                <a:gd name="T16" fmla="*/ 91 w 357"/>
                <a:gd name="T17" fmla="*/ 353 h 353"/>
                <a:gd name="T18" fmla="*/ 113 w 357"/>
                <a:gd name="T19" fmla="*/ 291 h 353"/>
                <a:gd name="T20" fmla="*/ 245 w 357"/>
                <a:gd name="T21" fmla="*/ 291 h 353"/>
                <a:gd name="T22" fmla="*/ 267 w 357"/>
                <a:gd name="T23" fmla="*/ 353 h 353"/>
                <a:gd name="T24" fmla="*/ 357 w 357"/>
                <a:gd name="T25"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7" h="353">
                  <a:moveTo>
                    <a:pt x="223" y="220"/>
                  </a:moveTo>
                  <a:lnTo>
                    <a:pt x="134" y="220"/>
                  </a:lnTo>
                  <a:lnTo>
                    <a:pt x="179" y="100"/>
                  </a:lnTo>
                  <a:lnTo>
                    <a:pt x="223" y="220"/>
                  </a:lnTo>
                  <a:close/>
                  <a:moveTo>
                    <a:pt x="357" y="353"/>
                  </a:moveTo>
                  <a:lnTo>
                    <a:pt x="230" y="0"/>
                  </a:lnTo>
                  <a:lnTo>
                    <a:pt x="127" y="0"/>
                  </a:lnTo>
                  <a:lnTo>
                    <a:pt x="0" y="353"/>
                  </a:lnTo>
                  <a:lnTo>
                    <a:pt x="91" y="353"/>
                  </a:lnTo>
                  <a:lnTo>
                    <a:pt x="113" y="291"/>
                  </a:lnTo>
                  <a:lnTo>
                    <a:pt x="245" y="291"/>
                  </a:lnTo>
                  <a:lnTo>
                    <a:pt x="267" y="353"/>
                  </a:lnTo>
                  <a:lnTo>
                    <a:pt x="357" y="3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23" name="Freeform 9"/>
            <p:cNvSpPr>
              <a:spLocks noEditPoints="1"/>
            </p:cNvSpPr>
            <p:nvPr userDrawn="1"/>
          </p:nvSpPr>
          <p:spPr bwMode="auto">
            <a:xfrm>
              <a:off x="4686300" y="114301"/>
              <a:ext cx="858838" cy="560388"/>
            </a:xfrm>
            <a:custGeom>
              <a:avLst/>
              <a:gdLst>
                <a:gd name="T0" fmla="*/ 541 w 541"/>
                <a:gd name="T1" fmla="*/ 75 h 353"/>
                <a:gd name="T2" fmla="*/ 541 w 541"/>
                <a:gd name="T3" fmla="*/ 0 h 353"/>
                <a:gd name="T4" fmla="*/ 303 w 541"/>
                <a:gd name="T5" fmla="*/ 0 h 353"/>
                <a:gd name="T6" fmla="*/ 303 w 541"/>
                <a:gd name="T7" fmla="*/ 353 h 353"/>
                <a:gd name="T8" fmla="*/ 541 w 541"/>
                <a:gd name="T9" fmla="*/ 353 h 353"/>
                <a:gd name="T10" fmla="*/ 541 w 541"/>
                <a:gd name="T11" fmla="*/ 278 h 353"/>
                <a:gd name="T12" fmla="*/ 388 w 541"/>
                <a:gd name="T13" fmla="*/ 278 h 353"/>
                <a:gd name="T14" fmla="*/ 388 w 541"/>
                <a:gd name="T15" fmla="*/ 210 h 353"/>
                <a:gd name="T16" fmla="*/ 536 w 541"/>
                <a:gd name="T17" fmla="*/ 210 h 353"/>
                <a:gd name="T18" fmla="*/ 536 w 541"/>
                <a:gd name="T19" fmla="*/ 139 h 353"/>
                <a:gd name="T20" fmla="*/ 388 w 541"/>
                <a:gd name="T21" fmla="*/ 139 h 353"/>
                <a:gd name="T22" fmla="*/ 388 w 541"/>
                <a:gd name="T23" fmla="*/ 75 h 353"/>
                <a:gd name="T24" fmla="*/ 541 w 541"/>
                <a:gd name="T25" fmla="*/ 75 h 353"/>
                <a:gd name="T26" fmla="*/ 239 w 541"/>
                <a:gd name="T27" fmla="*/ 75 h 353"/>
                <a:gd name="T28" fmla="*/ 239 w 541"/>
                <a:gd name="T29" fmla="*/ 0 h 353"/>
                <a:gd name="T30" fmla="*/ 0 w 541"/>
                <a:gd name="T31" fmla="*/ 0 h 353"/>
                <a:gd name="T32" fmla="*/ 0 w 541"/>
                <a:gd name="T33" fmla="*/ 353 h 353"/>
                <a:gd name="T34" fmla="*/ 239 w 541"/>
                <a:gd name="T35" fmla="*/ 353 h 353"/>
                <a:gd name="T36" fmla="*/ 239 w 541"/>
                <a:gd name="T37" fmla="*/ 278 h 353"/>
                <a:gd name="T38" fmla="*/ 85 w 541"/>
                <a:gd name="T39" fmla="*/ 278 h 353"/>
                <a:gd name="T40" fmla="*/ 85 w 541"/>
                <a:gd name="T41" fmla="*/ 210 h 353"/>
                <a:gd name="T42" fmla="*/ 235 w 541"/>
                <a:gd name="T43" fmla="*/ 210 h 353"/>
                <a:gd name="T44" fmla="*/ 235 w 541"/>
                <a:gd name="T45" fmla="*/ 139 h 353"/>
                <a:gd name="T46" fmla="*/ 85 w 541"/>
                <a:gd name="T47" fmla="*/ 139 h 353"/>
                <a:gd name="T48" fmla="*/ 85 w 541"/>
                <a:gd name="T49" fmla="*/ 75 h 353"/>
                <a:gd name="T50" fmla="*/ 239 w 541"/>
                <a:gd name="T51" fmla="*/ 75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1" h="353">
                  <a:moveTo>
                    <a:pt x="541" y="75"/>
                  </a:moveTo>
                  <a:lnTo>
                    <a:pt x="541" y="0"/>
                  </a:lnTo>
                  <a:lnTo>
                    <a:pt x="303" y="0"/>
                  </a:lnTo>
                  <a:lnTo>
                    <a:pt x="303" y="353"/>
                  </a:lnTo>
                  <a:lnTo>
                    <a:pt x="541" y="353"/>
                  </a:lnTo>
                  <a:lnTo>
                    <a:pt x="541" y="278"/>
                  </a:lnTo>
                  <a:lnTo>
                    <a:pt x="388" y="278"/>
                  </a:lnTo>
                  <a:lnTo>
                    <a:pt x="388" y="210"/>
                  </a:lnTo>
                  <a:lnTo>
                    <a:pt x="536" y="210"/>
                  </a:lnTo>
                  <a:lnTo>
                    <a:pt x="536" y="139"/>
                  </a:lnTo>
                  <a:lnTo>
                    <a:pt x="388" y="139"/>
                  </a:lnTo>
                  <a:lnTo>
                    <a:pt x="388" y="75"/>
                  </a:lnTo>
                  <a:lnTo>
                    <a:pt x="541" y="75"/>
                  </a:lnTo>
                  <a:close/>
                  <a:moveTo>
                    <a:pt x="239" y="75"/>
                  </a:moveTo>
                  <a:lnTo>
                    <a:pt x="239" y="0"/>
                  </a:lnTo>
                  <a:lnTo>
                    <a:pt x="0" y="0"/>
                  </a:lnTo>
                  <a:lnTo>
                    <a:pt x="0" y="353"/>
                  </a:lnTo>
                  <a:lnTo>
                    <a:pt x="239" y="353"/>
                  </a:lnTo>
                  <a:lnTo>
                    <a:pt x="239" y="278"/>
                  </a:lnTo>
                  <a:lnTo>
                    <a:pt x="85" y="278"/>
                  </a:lnTo>
                  <a:lnTo>
                    <a:pt x="85" y="210"/>
                  </a:lnTo>
                  <a:lnTo>
                    <a:pt x="235" y="210"/>
                  </a:lnTo>
                  <a:lnTo>
                    <a:pt x="235" y="139"/>
                  </a:lnTo>
                  <a:lnTo>
                    <a:pt x="85" y="139"/>
                  </a:lnTo>
                  <a:lnTo>
                    <a:pt x="85" y="75"/>
                  </a:lnTo>
                  <a:lnTo>
                    <a:pt x="23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grpSp>
    </p:spTree>
    <p:extLst>
      <p:ext uri="{BB962C8B-B14F-4D97-AF65-F5344CB8AC3E}">
        <p14:creationId xmlns:p14="http://schemas.microsoft.com/office/powerpoint/2010/main" val="3322462013"/>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type="secHead" preserve="1">
  <p:cSld name="Section Header 2n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573882"/>
            <a:ext cx="7487081" cy="602326"/>
          </a:xfrm>
          <a:solidFill>
            <a:srgbClr val="B1059D"/>
          </a:solidFill>
        </p:spPr>
        <p:txBody>
          <a:bodyPr lIns="540000" rIns="540000" anchor="t"/>
          <a:lstStyle>
            <a:lvl1pPr algn="l">
              <a:defRPr sz="3299" b="1" cap="none"/>
            </a:lvl1pPr>
          </a:lstStyle>
          <a:p>
            <a:r>
              <a:rPr lang="en-US" dirty="0"/>
              <a:t>Click to add title</a:t>
            </a:r>
          </a:p>
        </p:txBody>
      </p:sp>
      <p:sp>
        <p:nvSpPr>
          <p:cNvPr id="3" name="Text Placeholder 2"/>
          <p:cNvSpPr>
            <a:spLocks noGrp="1"/>
          </p:cNvSpPr>
          <p:nvPr>
            <p:ph type="body" idx="1" hasCustomPrompt="1"/>
          </p:nvPr>
        </p:nvSpPr>
        <p:spPr>
          <a:xfrm>
            <a:off x="4572001" y="2842022"/>
            <a:ext cx="4572000" cy="567683"/>
          </a:xfrm>
          <a:solidFill>
            <a:srgbClr val="000000">
              <a:alpha val="89804"/>
            </a:srgbClr>
          </a:solidFill>
        </p:spPr>
        <p:txBody>
          <a:bodyPr wrap="square" lIns="324000" tIns="144000" rIns="324000" bIns="144000" anchor="t" anchorCtr="0">
            <a:spAutoFit/>
          </a:bodyPr>
          <a:lstStyle>
            <a:lvl1pPr marL="0" indent="0" algn="r">
              <a:buNone/>
              <a:defRPr sz="1799" b="1" i="0">
                <a:solidFill>
                  <a:schemeClr val="bg1"/>
                </a:solidFill>
              </a:defRPr>
            </a:lvl1pPr>
            <a:lvl2pPr marL="342797" indent="0">
              <a:buNone/>
              <a:defRPr sz="1349">
                <a:solidFill>
                  <a:schemeClr val="tx1">
                    <a:tint val="75000"/>
                  </a:schemeClr>
                </a:solidFill>
              </a:defRPr>
            </a:lvl2pPr>
            <a:lvl3pPr marL="685595" indent="0">
              <a:buNone/>
              <a:defRPr sz="1200">
                <a:solidFill>
                  <a:schemeClr val="tx1">
                    <a:tint val="75000"/>
                  </a:schemeClr>
                </a:solidFill>
              </a:defRPr>
            </a:lvl3pPr>
            <a:lvl4pPr marL="1028392" indent="0">
              <a:buNone/>
              <a:defRPr sz="1050">
                <a:solidFill>
                  <a:schemeClr val="tx1">
                    <a:tint val="75000"/>
                  </a:schemeClr>
                </a:solidFill>
              </a:defRPr>
            </a:lvl4pPr>
            <a:lvl5pPr marL="1371188" indent="0">
              <a:buNone/>
              <a:defRPr sz="1050">
                <a:solidFill>
                  <a:schemeClr val="tx1">
                    <a:tint val="75000"/>
                  </a:schemeClr>
                </a:solidFill>
              </a:defRPr>
            </a:lvl5pPr>
            <a:lvl6pPr marL="1713986" indent="0">
              <a:buNone/>
              <a:defRPr sz="1050">
                <a:solidFill>
                  <a:schemeClr val="tx1">
                    <a:tint val="75000"/>
                  </a:schemeClr>
                </a:solidFill>
              </a:defRPr>
            </a:lvl6pPr>
            <a:lvl7pPr marL="2056783" indent="0">
              <a:buNone/>
              <a:defRPr sz="1050">
                <a:solidFill>
                  <a:schemeClr val="tx1">
                    <a:tint val="75000"/>
                  </a:schemeClr>
                </a:solidFill>
              </a:defRPr>
            </a:lvl7pPr>
            <a:lvl8pPr marL="2399580" indent="0">
              <a:buNone/>
              <a:defRPr sz="1050">
                <a:solidFill>
                  <a:schemeClr val="tx1">
                    <a:tint val="75000"/>
                  </a:schemeClr>
                </a:solidFill>
              </a:defRPr>
            </a:lvl8pPr>
            <a:lvl9pPr marL="2742377" indent="0">
              <a:buNone/>
              <a:defRPr sz="1050">
                <a:solidFill>
                  <a:schemeClr val="tx1">
                    <a:tint val="75000"/>
                  </a:schemeClr>
                </a:solidFill>
              </a:defRPr>
            </a:lvl9pPr>
          </a:lstStyle>
          <a:p>
            <a:pPr lvl="0"/>
            <a:r>
              <a:rPr lang="en-US" dirty="0"/>
              <a:t>Click to add text</a:t>
            </a:r>
          </a:p>
        </p:txBody>
      </p:sp>
      <p:sp>
        <p:nvSpPr>
          <p:cNvPr id="4" name="Date Placeholder 3"/>
          <p:cNvSpPr>
            <a:spLocks noGrp="1"/>
          </p:cNvSpPr>
          <p:nvPr>
            <p:ph type="dt" sz="half" idx="10"/>
          </p:nvPr>
        </p:nvSpPr>
        <p:spPr/>
        <p:txBody>
          <a:bodyPr/>
          <a:lstStyle>
            <a:lvl1pPr>
              <a:defRPr>
                <a:solidFill>
                  <a:schemeClr val="bg1"/>
                </a:solidFill>
              </a:defRPr>
            </a:lvl1pPr>
          </a:lstStyle>
          <a:p>
            <a:fld id="{9CED520D-8421-4CF6-AF1D-0C747F0DA6FC}" type="datetime1">
              <a:rPr lang="fi-FI" smtClean="0"/>
              <a:t>5.11.2023</a:t>
            </a:fld>
            <a:endParaRPr lang="en-US" dirty="0"/>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 Aalto University Executive Education</a:t>
            </a:r>
            <a:endParaRPr lang="en-US"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FCCA222D-FCF7-48C1-A274-EBDDEF75DC66}" type="slidenum">
              <a:rPr lang="en-US" smtClean="0"/>
              <a:pPr/>
              <a:t>‹#›</a:t>
            </a:fld>
            <a:endParaRPr lang="en-US" dirty="0"/>
          </a:p>
        </p:txBody>
      </p:sp>
      <p:grpSp>
        <p:nvGrpSpPr>
          <p:cNvPr id="12" name="Group 11"/>
          <p:cNvGrpSpPr>
            <a:grpSpLocks noChangeAspect="1"/>
          </p:cNvGrpSpPr>
          <p:nvPr userDrawn="1"/>
        </p:nvGrpSpPr>
        <p:grpSpPr>
          <a:xfrm>
            <a:off x="7595548" y="249492"/>
            <a:ext cx="1294117" cy="199800"/>
            <a:chOff x="4067175" y="114301"/>
            <a:chExt cx="3630613" cy="560388"/>
          </a:xfrm>
          <a:solidFill>
            <a:schemeClr val="bg1"/>
          </a:solidFill>
          <a:effectLst>
            <a:outerShdw blurRad="190500" algn="ctr" rotWithShape="0">
              <a:prstClr val="black">
                <a:alpha val="30000"/>
              </a:prstClr>
            </a:outerShdw>
          </a:effectLst>
        </p:grpSpPr>
        <p:sp>
          <p:nvSpPr>
            <p:cNvPr id="13" name="Freeform 6"/>
            <p:cNvSpPr>
              <a:spLocks noEditPoints="1"/>
            </p:cNvSpPr>
            <p:nvPr userDrawn="1"/>
          </p:nvSpPr>
          <p:spPr bwMode="auto">
            <a:xfrm>
              <a:off x="5749925" y="114301"/>
              <a:ext cx="1530350" cy="173038"/>
            </a:xfrm>
            <a:custGeom>
              <a:avLst/>
              <a:gdLst>
                <a:gd name="T0" fmla="*/ 922 w 964"/>
                <a:gd name="T1" fmla="*/ 84 h 109"/>
                <a:gd name="T2" fmla="*/ 918 w 964"/>
                <a:gd name="T3" fmla="*/ 109 h 109"/>
                <a:gd name="T4" fmla="*/ 944 w 964"/>
                <a:gd name="T5" fmla="*/ 25 h 109"/>
                <a:gd name="T6" fmla="*/ 860 w 964"/>
                <a:gd name="T7" fmla="*/ 68 h 109"/>
                <a:gd name="T8" fmla="*/ 890 w 964"/>
                <a:gd name="T9" fmla="*/ 89 h 109"/>
                <a:gd name="T10" fmla="*/ 890 w 964"/>
                <a:gd name="T11" fmla="*/ 39 h 109"/>
                <a:gd name="T12" fmla="*/ 819 w 964"/>
                <a:gd name="T13" fmla="*/ 89 h 109"/>
                <a:gd name="T14" fmla="*/ 793 w 964"/>
                <a:gd name="T15" fmla="*/ 26 h 109"/>
                <a:gd name="T16" fmla="*/ 753 w 964"/>
                <a:gd name="T17" fmla="*/ 33 h 109"/>
                <a:gd name="T18" fmla="*/ 757 w 964"/>
                <a:gd name="T19" fmla="*/ 58 h 109"/>
                <a:gd name="T20" fmla="*/ 788 w 964"/>
                <a:gd name="T21" fmla="*/ 72 h 109"/>
                <a:gd name="T22" fmla="*/ 767 w 964"/>
                <a:gd name="T23" fmla="*/ 70 h 109"/>
                <a:gd name="T24" fmla="*/ 772 w 964"/>
                <a:gd name="T25" fmla="*/ 90 h 109"/>
                <a:gd name="T26" fmla="*/ 806 w 964"/>
                <a:gd name="T27" fmla="*/ 73 h 109"/>
                <a:gd name="T28" fmla="*/ 788 w 964"/>
                <a:gd name="T29" fmla="*/ 49 h 109"/>
                <a:gd name="T30" fmla="*/ 777 w 964"/>
                <a:gd name="T31" fmla="*/ 37 h 109"/>
                <a:gd name="T32" fmla="*/ 700 w 964"/>
                <a:gd name="T33" fmla="*/ 89 h 109"/>
                <a:gd name="T34" fmla="*/ 729 w 964"/>
                <a:gd name="T35" fmla="*/ 42 h 109"/>
                <a:gd name="T36" fmla="*/ 723 w 964"/>
                <a:gd name="T37" fmla="*/ 27 h 109"/>
                <a:gd name="T38" fmla="*/ 643 w 964"/>
                <a:gd name="T39" fmla="*/ 42 h 109"/>
                <a:gd name="T40" fmla="*/ 666 w 964"/>
                <a:gd name="T41" fmla="*/ 44 h 109"/>
                <a:gd name="T42" fmla="*/ 682 w 964"/>
                <a:gd name="T43" fmla="*/ 38 h 109"/>
                <a:gd name="T44" fmla="*/ 647 w 964"/>
                <a:gd name="T45" fmla="*/ 24 h 109"/>
                <a:gd name="T46" fmla="*/ 623 w 964"/>
                <a:gd name="T47" fmla="*/ 46 h 109"/>
                <a:gd name="T48" fmla="*/ 641 w 964"/>
                <a:gd name="T49" fmla="*/ 88 h 109"/>
                <a:gd name="T50" fmla="*/ 679 w 964"/>
                <a:gd name="T51" fmla="*/ 82 h 109"/>
                <a:gd name="T52" fmla="*/ 656 w 964"/>
                <a:gd name="T53" fmla="*/ 76 h 109"/>
                <a:gd name="T54" fmla="*/ 687 w 964"/>
                <a:gd name="T55" fmla="*/ 62 h 109"/>
                <a:gd name="T56" fmla="*/ 575 w 964"/>
                <a:gd name="T57" fmla="*/ 89 h 109"/>
                <a:gd name="T58" fmla="*/ 521 w 964"/>
                <a:gd name="T59" fmla="*/ 89 h 109"/>
                <a:gd name="T60" fmla="*/ 467 w 964"/>
                <a:gd name="T61" fmla="*/ 42 h 109"/>
                <a:gd name="T62" fmla="*/ 483 w 964"/>
                <a:gd name="T63" fmla="*/ 44 h 109"/>
                <a:gd name="T64" fmla="*/ 497 w 964"/>
                <a:gd name="T65" fmla="*/ 29 h 109"/>
                <a:gd name="T66" fmla="*/ 463 w 964"/>
                <a:gd name="T67" fmla="*/ 25 h 109"/>
                <a:gd name="T68" fmla="*/ 398 w 964"/>
                <a:gd name="T69" fmla="*/ 73 h 109"/>
                <a:gd name="T70" fmla="*/ 376 w 964"/>
                <a:gd name="T71" fmla="*/ 63 h 109"/>
                <a:gd name="T72" fmla="*/ 364 w 964"/>
                <a:gd name="T73" fmla="*/ 81 h 109"/>
                <a:gd name="T74" fmla="*/ 406 w 964"/>
                <a:gd name="T75" fmla="*/ 89 h 109"/>
                <a:gd name="T76" fmla="*/ 427 w 964"/>
                <a:gd name="T77" fmla="*/ 60 h 109"/>
                <a:gd name="T78" fmla="*/ 292 w 964"/>
                <a:gd name="T79" fmla="*/ 49 h 109"/>
                <a:gd name="T80" fmla="*/ 284 w 964"/>
                <a:gd name="T81" fmla="*/ 74 h 109"/>
                <a:gd name="T82" fmla="*/ 263 w 964"/>
                <a:gd name="T83" fmla="*/ 61 h 109"/>
                <a:gd name="T84" fmla="*/ 274 w 964"/>
                <a:gd name="T85" fmla="*/ 38 h 109"/>
                <a:gd name="T86" fmla="*/ 247 w 964"/>
                <a:gd name="T87" fmla="*/ 40 h 109"/>
                <a:gd name="T88" fmla="*/ 249 w 964"/>
                <a:gd name="T89" fmla="*/ 76 h 109"/>
                <a:gd name="T90" fmla="*/ 291 w 964"/>
                <a:gd name="T91" fmla="*/ 88 h 109"/>
                <a:gd name="T92" fmla="*/ 311 w 964"/>
                <a:gd name="T93" fmla="*/ 57 h 109"/>
                <a:gd name="T94" fmla="*/ 291 w 964"/>
                <a:gd name="T95" fmla="*/ 26 h 109"/>
                <a:gd name="T96" fmla="*/ 196 w 964"/>
                <a:gd name="T97" fmla="*/ 26 h 109"/>
                <a:gd name="T98" fmla="*/ 214 w 964"/>
                <a:gd name="T99" fmla="*/ 88 h 109"/>
                <a:gd name="T100" fmla="*/ 224 w 964"/>
                <a:gd name="T101" fmla="*/ 70 h 109"/>
                <a:gd name="T102" fmla="*/ 184 w 964"/>
                <a:gd name="T103" fmla="*/ 0 h 109"/>
                <a:gd name="T104" fmla="*/ 108 w 964"/>
                <a:gd name="T105" fmla="*/ 71 h 109"/>
                <a:gd name="T106" fmla="*/ 110 w 964"/>
                <a:gd name="T107" fmla="*/ 45 h 109"/>
                <a:gd name="T108" fmla="*/ 130 w 964"/>
                <a:gd name="T109" fmla="*/ 41 h 109"/>
                <a:gd name="T110" fmla="*/ 103 w 964"/>
                <a:gd name="T111" fmla="*/ 52 h 109"/>
                <a:gd name="T112" fmla="*/ 91 w 964"/>
                <a:gd name="T113" fmla="*/ 79 h 109"/>
                <a:gd name="T114" fmla="*/ 123 w 964"/>
                <a:gd name="T115" fmla="*/ 89 h 109"/>
                <a:gd name="T116" fmla="*/ 149 w 964"/>
                <a:gd name="T117" fmla="*/ 42 h 109"/>
                <a:gd name="T118" fmla="*/ 115 w 964"/>
                <a:gd name="T119" fmla="*/ 23 h 109"/>
                <a:gd name="T120" fmla="*/ 93 w 964"/>
                <a:gd name="T121" fmla="*/ 45 h 109"/>
                <a:gd name="T122" fmla="*/ 56 w 964"/>
                <a:gd name="T1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4" h="109">
                  <a:moveTo>
                    <a:pt x="944" y="25"/>
                  </a:moveTo>
                  <a:lnTo>
                    <a:pt x="936" y="54"/>
                  </a:lnTo>
                  <a:lnTo>
                    <a:pt x="933" y="68"/>
                  </a:lnTo>
                  <a:lnTo>
                    <a:pt x="932" y="65"/>
                  </a:lnTo>
                  <a:lnTo>
                    <a:pt x="928" y="54"/>
                  </a:lnTo>
                  <a:lnTo>
                    <a:pt x="919" y="25"/>
                  </a:lnTo>
                  <a:lnTo>
                    <a:pt x="899" y="25"/>
                  </a:lnTo>
                  <a:lnTo>
                    <a:pt x="920" y="79"/>
                  </a:lnTo>
                  <a:lnTo>
                    <a:pt x="922" y="84"/>
                  </a:lnTo>
                  <a:lnTo>
                    <a:pt x="922" y="87"/>
                  </a:lnTo>
                  <a:lnTo>
                    <a:pt x="922" y="90"/>
                  </a:lnTo>
                  <a:lnTo>
                    <a:pt x="920" y="93"/>
                  </a:lnTo>
                  <a:lnTo>
                    <a:pt x="919" y="94"/>
                  </a:lnTo>
                  <a:lnTo>
                    <a:pt x="917" y="94"/>
                  </a:lnTo>
                  <a:lnTo>
                    <a:pt x="913" y="95"/>
                  </a:lnTo>
                  <a:lnTo>
                    <a:pt x="907" y="95"/>
                  </a:lnTo>
                  <a:lnTo>
                    <a:pt x="907" y="109"/>
                  </a:lnTo>
                  <a:lnTo>
                    <a:pt x="918" y="109"/>
                  </a:lnTo>
                  <a:lnTo>
                    <a:pt x="923" y="109"/>
                  </a:lnTo>
                  <a:lnTo>
                    <a:pt x="927" y="108"/>
                  </a:lnTo>
                  <a:lnTo>
                    <a:pt x="930" y="107"/>
                  </a:lnTo>
                  <a:lnTo>
                    <a:pt x="933" y="105"/>
                  </a:lnTo>
                  <a:lnTo>
                    <a:pt x="935" y="103"/>
                  </a:lnTo>
                  <a:lnTo>
                    <a:pt x="937" y="100"/>
                  </a:lnTo>
                  <a:lnTo>
                    <a:pt x="941" y="89"/>
                  </a:lnTo>
                  <a:lnTo>
                    <a:pt x="964" y="25"/>
                  </a:lnTo>
                  <a:lnTo>
                    <a:pt x="944" y="25"/>
                  </a:lnTo>
                  <a:close/>
                  <a:moveTo>
                    <a:pt x="890" y="26"/>
                  </a:moveTo>
                  <a:lnTo>
                    <a:pt x="879" y="26"/>
                  </a:lnTo>
                  <a:lnTo>
                    <a:pt x="879" y="5"/>
                  </a:lnTo>
                  <a:lnTo>
                    <a:pt x="860" y="5"/>
                  </a:lnTo>
                  <a:lnTo>
                    <a:pt x="860" y="26"/>
                  </a:lnTo>
                  <a:lnTo>
                    <a:pt x="851" y="26"/>
                  </a:lnTo>
                  <a:lnTo>
                    <a:pt x="851" y="39"/>
                  </a:lnTo>
                  <a:lnTo>
                    <a:pt x="860" y="39"/>
                  </a:lnTo>
                  <a:lnTo>
                    <a:pt x="860" y="68"/>
                  </a:lnTo>
                  <a:lnTo>
                    <a:pt x="860" y="74"/>
                  </a:lnTo>
                  <a:lnTo>
                    <a:pt x="861" y="79"/>
                  </a:lnTo>
                  <a:lnTo>
                    <a:pt x="862" y="82"/>
                  </a:lnTo>
                  <a:lnTo>
                    <a:pt x="863" y="84"/>
                  </a:lnTo>
                  <a:lnTo>
                    <a:pt x="866" y="86"/>
                  </a:lnTo>
                  <a:lnTo>
                    <a:pt x="869" y="88"/>
                  </a:lnTo>
                  <a:lnTo>
                    <a:pt x="873" y="88"/>
                  </a:lnTo>
                  <a:lnTo>
                    <a:pt x="879" y="89"/>
                  </a:lnTo>
                  <a:lnTo>
                    <a:pt x="890" y="89"/>
                  </a:lnTo>
                  <a:lnTo>
                    <a:pt x="890" y="75"/>
                  </a:lnTo>
                  <a:lnTo>
                    <a:pt x="883" y="75"/>
                  </a:lnTo>
                  <a:lnTo>
                    <a:pt x="881" y="74"/>
                  </a:lnTo>
                  <a:lnTo>
                    <a:pt x="880" y="74"/>
                  </a:lnTo>
                  <a:lnTo>
                    <a:pt x="879" y="73"/>
                  </a:lnTo>
                  <a:lnTo>
                    <a:pt x="879" y="70"/>
                  </a:lnTo>
                  <a:lnTo>
                    <a:pt x="879" y="64"/>
                  </a:lnTo>
                  <a:lnTo>
                    <a:pt x="879" y="39"/>
                  </a:lnTo>
                  <a:lnTo>
                    <a:pt x="890" y="39"/>
                  </a:lnTo>
                  <a:lnTo>
                    <a:pt x="890" y="26"/>
                  </a:lnTo>
                  <a:close/>
                  <a:moveTo>
                    <a:pt x="838" y="0"/>
                  </a:moveTo>
                  <a:lnTo>
                    <a:pt x="819" y="0"/>
                  </a:lnTo>
                  <a:lnTo>
                    <a:pt x="819" y="16"/>
                  </a:lnTo>
                  <a:lnTo>
                    <a:pt x="838" y="16"/>
                  </a:lnTo>
                  <a:lnTo>
                    <a:pt x="838" y="0"/>
                  </a:lnTo>
                  <a:close/>
                  <a:moveTo>
                    <a:pt x="838" y="25"/>
                  </a:moveTo>
                  <a:lnTo>
                    <a:pt x="819" y="25"/>
                  </a:lnTo>
                  <a:lnTo>
                    <a:pt x="819" y="89"/>
                  </a:lnTo>
                  <a:lnTo>
                    <a:pt x="838" y="89"/>
                  </a:lnTo>
                  <a:lnTo>
                    <a:pt x="838" y="25"/>
                  </a:lnTo>
                  <a:close/>
                  <a:moveTo>
                    <a:pt x="806" y="44"/>
                  </a:moveTo>
                  <a:lnTo>
                    <a:pt x="805" y="39"/>
                  </a:lnTo>
                  <a:lnTo>
                    <a:pt x="803" y="35"/>
                  </a:lnTo>
                  <a:lnTo>
                    <a:pt x="800" y="31"/>
                  </a:lnTo>
                  <a:lnTo>
                    <a:pt x="797" y="28"/>
                  </a:lnTo>
                  <a:lnTo>
                    <a:pt x="795" y="27"/>
                  </a:lnTo>
                  <a:lnTo>
                    <a:pt x="793" y="26"/>
                  </a:lnTo>
                  <a:lnTo>
                    <a:pt x="789" y="24"/>
                  </a:lnTo>
                  <a:lnTo>
                    <a:pt x="783" y="23"/>
                  </a:lnTo>
                  <a:lnTo>
                    <a:pt x="777" y="23"/>
                  </a:lnTo>
                  <a:lnTo>
                    <a:pt x="771" y="23"/>
                  </a:lnTo>
                  <a:lnTo>
                    <a:pt x="766" y="24"/>
                  </a:lnTo>
                  <a:lnTo>
                    <a:pt x="761" y="26"/>
                  </a:lnTo>
                  <a:lnTo>
                    <a:pt x="757" y="29"/>
                  </a:lnTo>
                  <a:lnTo>
                    <a:pt x="754" y="32"/>
                  </a:lnTo>
                  <a:lnTo>
                    <a:pt x="753" y="33"/>
                  </a:lnTo>
                  <a:lnTo>
                    <a:pt x="752" y="35"/>
                  </a:lnTo>
                  <a:lnTo>
                    <a:pt x="751" y="39"/>
                  </a:lnTo>
                  <a:lnTo>
                    <a:pt x="750" y="44"/>
                  </a:lnTo>
                  <a:lnTo>
                    <a:pt x="750" y="47"/>
                  </a:lnTo>
                  <a:lnTo>
                    <a:pt x="751" y="50"/>
                  </a:lnTo>
                  <a:lnTo>
                    <a:pt x="752" y="52"/>
                  </a:lnTo>
                  <a:lnTo>
                    <a:pt x="753" y="53"/>
                  </a:lnTo>
                  <a:lnTo>
                    <a:pt x="755" y="56"/>
                  </a:lnTo>
                  <a:lnTo>
                    <a:pt x="757" y="58"/>
                  </a:lnTo>
                  <a:lnTo>
                    <a:pt x="761" y="59"/>
                  </a:lnTo>
                  <a:lnTo>
                    <a:pt x="765" y="61"/>
                  </a:lnTo>
                  <a:lnTo>
                    <a:pt x="770" y="62"/>
                  </a:lnTo>
                  <a:lnTo>
                    <a:pt x="781" y="65"/>
                  </a:lnTo>
                  <a:lnTo>
                    <a:pt x="785" y="66"/>
                  </a:lnTo>
                  <a:lnTo>
                    <a:pt x="787" y="67"/>
                  </a:lnTo>
                  <a:lnTo>
                    <a:pt x="788" y="69"/>
                  </a:lnTo>
                  <a:lnTo>
                    <a:pt x="788" y="71"/>
                  </a:lnTo>
                  <a:lnTo>
                    <a:pt x="788" y="72"/>
                  </a:lnTo>
                  <a:lnTo>
                    <a:pt x="788" y="73"/>
                  </a:lnTo>
                  <a:lnTo>
                    <a:pt x="786" y="75"/>
                  </a:lnTo>
                  <a:lnTo>
                    <a:pt x="783" y="76"/>
                  </a:lnTo>
                  <a:lnTo>
                    <a:pt x="779" y="77"/>
                  </a:lnTo>
                  <a:lnTo>
                    <a:pt x="774" y="76"/>
                  </a:lnTo>
                  <a:lnTo>
                    <a:pt x="772" y="76"/>
                  </a:lnTo>
                  <a:lnTo>
                    <a:pt x="770" y="75"/>
                  </a:lnTo>
                  <a:lnTo>
                    <a:pt x="767" y="72"/>
                  </a:lnTo>
                  <a:lnTo>
                    <a:pt x="767" y="70"/>
                  </a:lnTo>
                  <a:lnTo>
                    <a:pt x="766" y="68"/>
                  </a:lnTo>
                  <a:lnTo>
                    <a:pt x="748" y="68"/>
                  </a:lnTo>
                  <a:lnTo>
                    <a:pt x="749" y="73"/>
                  </a:lnTo>
                  <a:lnTo>
                    <a:pt x="751" y="77"/>
                  </a:lnTo>
                  <a:lnTo>
                    <a:pt x="754" y="81"/>
                  </a:lnTo>
                  <a:lnTo>
                    <a:pt x="757" y="84"/>
                  </a:lnTo>
                  <a:lnTo>
                    <a:pt x="761" y="87"/>
                  </a:lnTo>
                  <a:lnTo>
                    <a:pt x="766" y="89"/>
                  </a:lnTo>
                  <a:lnTo>
                    <a:pt x="772" y="90"/>
                  </a:lnTo>
                  <a:lnTo>
                    <a:pt x="778" y="90"/>
                  </a:lnTo>
                  <a:lnTo>
                    <a:pt x="785" y="90"/>
                  </a:lnTo>
                  <a:lnTo>
                    <a:pt x="790" y="89"/>
                  </a:lnTo>
                  <a:lnTo>
                    <a:pt x="795" y="87"/>
                  </a:lnTo>
                  <a:lnTo>
                    <a:pt x="799" y="84"/>
                  </a:lnTo>
                  <a:lnTo>
                    <a:pt x="803" y="81"/>
                  </a:lnTo>
                  <a:lnTo>
                    <a:pt x="805" y="78"/>
                  </a:lnTo>
                  <a:lnTo>
                    <a:pt x="806" y="75"/>
                  </a:lnTo>
                  <a:lnTo>
                    <a:pt x="806" y="73"/>
                  </a:lnTo>
                  <a:lnTo>
                    <a:pt x="807" y="68"/>
                  </a:lnTo>
                  <a:lnTo>
                    <a:pt x="807" y="65"/>
                  </a:lnTo>
                  <a:lnTo>
                    <a:pt x="806" y="61"/>
                  </a:lnTo>
                  <a:lnTo>
                    <a:pt x="804" y="58"/>
                  </a:lnTo>
                  <a:lnTo>
                    <a:pt x="802" y="56"/>
                  </a:lnTo>
                  <a:lnTo>
                    <a:pt x="800" y="54"/>
                  </a:lnTo>
                  <a:lnTo>
                    <a:pt x="797" y="52"/>
                  </a:lnTo>
                  <a:lnTo>
                    <a:pt x="793" y="51"/>
                  </a:lnTo>
                  <a:lnTo>
                    <a:pt x="788" y="49"/>
                  </a:lnTo>
                  <a:lnTo>
                    <a:pt x="776" y="47"/>
                  </a:lnTo>
                  <a:lnTo>
                    <a:pt x="772" y="46"/>
                  </a:lnTo>
                  <a:lnTo>
                    <a:pt x="770" y="45"/>
                  </a:lnTo>
                  <a:lnTo>
                    <a:pt x="768" y="44"/>
                  </a:lnTo>
                  <a:lnTo>
                    <a:pt x="768" y="42"/>
                  </a:lnTo>
                  <a:lnTo>
                    <a:pt x="769" y="40"/>
                  </a:lnTo>
                  <a:lnTo>
                    <a:pt x="771" y="38"/>
                  </a:lnTo>
                  <a:lnTo>
                    <a:pt x="773" y="37"/>
                  </a:lnTo>
                  <a:lnTo>
                    <a:pt x="777" y="37"/>
                  </a:lnTo>
                  <a:lnTo>
                    <a:pt x="781" y="37"/>
                  </a:lnTo>
                  <a:lnTo>
                    <a:pt x="783" y="38"/>
                  </a:lnTo>
                  <a:lnTo>
                    <a:pt x="785" y="39"/>
                  </a:lnTo>
                  <a:lnTo>
                    <a:pt x="786" y="40"/>
                  </a:lnTo>
                  <a:lnTo>
                    <a:pt x="787" y="41"/>
                  </a:lnTo>
                  <a:lnTo>
                    <a:pt x="788" y="44"/>
                  </a:lnTo>
                  <a:lnTo>
                    <a:pt x="806" y="44"/>
                  </a:lnTo>
                  <a:close/>
                  <a:moveTo>
                    <a:pt x="700" y="25"/>
                  </a:moveTo>
                  <a:lnTo>
                    <a:pt x="700" y="89"/>
                  </a:lnTo>
                  <a:lnTo>
                    <a:pt x="719" y="89"/>
                  </a:lnTo>
                  <a:lnTo>
                    <a:pt x="719" y="71"/>
                  </a:lnTo>
                  <a:lnTo>
                    <a:pt x="719" y="56"/>
                  </a:lnTo>
                  <a:lnTo>
                    <a:pt x="720" y="52"/>
                  </a:lnTo>
                  <a:lnTo>
                    <a:pt x="721" y="48"/>
                  </a:lnTo>
                  <a:lnTo>
                    <a:pt x="722" y="46"/>
                  </a:lnTo>
                  <a:lnTo>
                    <a:pt x="724" y="45"/>
                  </a:lnTo>
                  <a:lnTo>
                    <a:pt x="727" y="42"/>
                  </a:lnTo>
                  <a:lnTo>
                    <a:pt x="729" y="42"/>
                  </a:lnTo>
                  <a:lnTo>
                    <a:pt x="731" y="41"/>
                  </a:lnTo>
                  <a:lnTo>
                    <a:pt x="735" y="40"/>
                  </a:lnTo>
                  <a:lnTo>
                    <a:pt x="740" y="41"/>
                  </a:lnTo>
                  <a:lnTo>
                    <a:pt x="740" y="23"/>
                  </a:lnTo>
                  <a:lnTo>
                    <a:pt x="735" y="23"/>
                  </a:lnTo>
                  <a:lnTo>
                    <a:pt x="731" y="24"/>
                  </a:lnTo>
                  <a:lnTo>
                    <a:pt x="728" y="24"/>
                  </a:lnTo>
                  <a:lnTo>
                    <a:pt x="725" y="26"/>
                  </a:lnTo>
                  <a:lnTo>
                    <a:pt x="723" y="27"/>
                  </a:lnTo>
                  <a:lnTo>
                    <a:pt x="721" y="30"/>
                  </a:lnTo>
                  <a:lnTo>
                    <a:pt x="719" y="33"/>
                  </a:lnTo>
                  <a:lnTo>
                    <a:pt x="718" y="36"/>
                  </a:lnTo>
                  <a:lnTo>
                    <a:pt x="718" y="25"/>
                  </a:lnTo>
                  <a:lnTo>
                    <a:pt x="700" y="25"/>
                  </a:lnTo>
                  <a:close/>
                  <a:moveTo>
                    <a:pt x="640" y="49"/>
                  </a:moveTo>
                  <a:lnTo>
                    <a:pt x="641" y="46"/>
                  </a:lnTo>
                  <a:lnTo>
                    <a:pt x="642" y="44"/>
                  </a:lnTo>
                  <a:lnTo>
                    <a:pt x="643" y="42"/>
                  </a:lnTo>
                  <a:lnTo>
                    <a:pt x="645" y="40"/>
                  </a:lnTo>
                  <a:lnTo>
                    <a:pt x="647" y="39"/>
                  </a:lnTo>
                  <a:lnTo>
                    <a:pt x="649" y="38"/>
                  </a:lnTo>
                  <a:lnTo>
                    <a:pt x="655" y="37"/>
                  </a:lnTo>
                  <a:lnTo>
                    <a:pt x="660" y="38"/>
                  </a:lnTo>
                  <a:lnTo>
                    <a:pt x="662" y="39"/>
                  </a:lnTo>
                  <a:lnTo>
                    <a:pt x="663" y="40"/>
                  </a:lnTo>
                  <a:lnTo>
                    <a:pt x="665" y="42"/>
                  </a:lnTo>
                  <a:lnTo>
                    <a:pt x="666" y="44"/>
                  </a:lnTo>
                  <a:lnTo>
                    <a:pt x="667" y="46"/>
                  </a:lnTo>
                  <a:lnTo>
                    <a:pt x="667" y="49"/>
                  </a:lnTo>
                  <a:lnTo>
                    <a:pt x="640" y="49"/>
                  </a:lnTo>
                  <a:close/>
                  <a:moveTo>
                    <a:pt x="687" y="62"/>
                  </a:moveTo>
                  <a:lnTo>
                    <a:pt x="686" y="56"/>
                  </a:lnTo>
                  <a:lnTo>
                    <a:pt x="686" y="51"/>
                  </a:lnTo>
                  <a:lnTo>
                    <a:pt x="685" y="47"/>
                  </a:lnTo>
                  <a:lnTo>
                    <a:pt x="684" y="43"/>
                  </a:lnTo>
                  <a:lnTo>
                    <a:pt x="682" y="38"/>
                  </a:lnTo>
                  <a:lnTo>
                    <a:pt x="679" y="34"/>
                  </a:lnTo>
                  <a:lnTo>
                    <a:pt x="676" y="31"/>
                  </a:lnTo>
                  <a:lnTo>
                    <a:pt x="673" y="28"/>
                  </a:lnTo>
                  <a:lnTo>
                    <a:pt x="669" y="26"/>
                  </a:lnTo>
                  <a:lnTo>
                    <a:pt x="667" y="25"/>
                  </a:lnTo>
                  <a:lnTo>
                    <a:pt x="665" y="24"/>
                  </a:lnTo>
                  <a:lnTo>
                    <a:pt x="660" y="23"/>
                  </a:lnTo>
                  <a:lnTo>
                    <a:pt x="655" y="23"/>
                  </a:lnTo>
                  <a:lnTo>
                    <a:pt x="647" y="24"/>
                  </a:lnTo>
                  <a:lnTo>
                    <a:pt x="641" y="26"/>
                  </a:lnTo>
                  <a:lnTo>
                    <a:pt x="638" y="27"/>
                  </a:lnTo>
                  <a:lnTo>
                    <a:pt x="635" y="29"/>
                  </a:lnTo>
                  <a:lnTo>
                    <a:pt x="630" y="32"/>
                  </a:lnTo>
                  <a:lnTo>
                    <a:pt x="628" y="35"/>
                  </a:lnTo>
                  <a:lnTo>
                    <a:pt x="627" y="37"/>
                  </a:lnTo>
                  <a:lnTo>
                    <a:pt x="625" y="40"/>
                  </a:lnTo>
                  <a:lnTo>
                    <a:pt x="624" y="43"/>
                  </a:lnTo>
                  <a:lnTo>
                    <a:pt x="623" y="46"/>
                  </a:lnTo>
                  <a:lnTo>
                    <a:pt x="622" y="50"/>
                  </a:lnTo>
                  <a:lnTo>
                    <a:pt x="621" y="53"/>
                  </a:lnTo>
                  <a:lnTo>
                    <a:pt x="621" y="57"/>
                  </a:lnTo>
                  <a:lnTo>
                    <a:pt x="622" y="64"/>
                  </a:lnTo>
                  <a:lnTo>
                    <a:pt x="624" y="71"/>
                  </a:lnTo>
                  <a:lnTo>
                    <a:pt x="626" y="76"/>
                  </a:lnTo>
                  <a:lnTo>
                    <a:pt x="630" y="81"/>
                  </a:lnTo>
                  <a:lnTo>
                    <a:pt x="635" y="85"/>
                  </a:lnTo>
                  <a:lnTo>
                    <a:pt x="641" y="88"/>
                  </a:lnTo>
                  <a:lnTo>
                    <a:pt x="644" y="89"/>
                  </a:lnTo>
                  <a:lnTo>
                    <a:pt x="647" y="90"/>
                  </a:lnTo>
                  <a:lnTo>
                    <a:pt x="650" y="90"/>
                  </a:lnTo>
                  <a:lnTo>
                    <a:pt x="655" y="90"/>
                  </a:lnTo>
                  <a:lnTo>
                    <a:pt x="661" y="90"/>
                  </a:lnTo>
                  <a:lnTo>
                    <a:pt x="666" y="89"/>
                  </a:lnTo>
                  <a:lnTo>
                    <a:pt x="671" y="87"/>
                  </a:lnTo>
                  <a:lnTo>
                    <a:pt x="675" y="85"/>
                  </a:lnTo>
                  <a:lnTo>
                    <a:pt x="679" y="82"/>
                  </a:lnTo>
                  <a:lnTo>
                    <a:pt x="680" y="80"/>
                  </a:lnTo>
                  <a:lnTo>
                    <a:pt x="682" y="78"/>
                  </a:lnTo>
                  <a:lnTo>
                    <a:pt x="684" y="74"/>
                  </a:lnTo>
                  <a:lnTo>
                    <a:pt x="686" y="70"/>
                  </a:lnTo>
                  <a:lnTo>
                    <a:pt x="667" y="70"/>
                  </a:lnTo>
                  <a:lnTo>
                    <a:pt x="665" y="73"/>
                  </a:lnTo>
                  <a:lnTo>
                    <a:pt x="662" y="74"/>
                  </a:lnTo>
                  <a:lnTo>
                    <a:pt x="659" y="75"/>
                  </a:lnTo>
                  <a:lnTo>
                    <a:pt x="656" y="76"/>
                  </a:lnTo>
                  <a:lnTo>
                    <a:pt x="653" y="76"/>
                  </a:lnTo>
                  <a:lnTo>
                    <a:pt x="649" y="75"/>
                  </a:lnTo>
                  <a:lnTo>
                    <a:pt x="647" y="74"/>
                  </a:lnTo>
                  <a:lnTo>
                    <a:pt x="645" y="72"/>
                  </a:lnTo>
                  <a:lnTo>
                    <a:pt x="643" y="70"/>
                  </a:lnTo>
                  <a:lnTo>
                    <a:pt x="642" y="68"/>
                  </a:lnTo>
                  <a:lnTo>
                    <a:pt x="641" y="65"/>
                  </a:lnTo>
                  <a:lnTo>
                    <a:pt x="640" y="62"/>
                  </a:lnTo>
                  <a:lnTo>
                    <a:pt x="687" y="62"/>
                  </a:lnTo>
                  <a:close/>
                  <a:moveTo>
                    <a:pt x="593" y="89"/>
                  </a:moveTo>
                  <a:lnTo>
                    <a:pt x="614" y="25"/>
                  </a:lnTo>
                  <a:lnTo>
                    <a:pt x="594" y="25"/>
                  </a:lnTo>
                  <a:lnTo>
                    <a:pt x="588" y="49"/>
                  </a:lnTo>
                  <a:lnTo>
                    <a:pt x="584" y="68"/>
                  </a:lnTo>
                  <a:lnTo>
                    <a:pt x="579" y="49"/>
                  </a:lnTo>
                  <a:lnTo>
                    <a:pt x="571" y="25"/>
                  </a:lnTo>
                  <a:lnTo>
                    <a:pt x="552" y="25"/>
                  </a:lnTo>
                  <a:lnTo>
                    <a:pt x="575" y="89"/>
                  </a:lnTo>
                  <a:lnTo>
                    <a:pt x="593" y="89"/>
                  </a:lnTo>
                  <a:close/>
                  <a:moveTo>
                    <a:pt x="540" y="0"/>
                  </a:moveTo>
                  <a:lnTo>
                    <a:pt x="521" y="0"/>
                  </a:lnTo>
                  <a:lnTo>
                    <a:pt x="521" y="16"/>
                  </a:lnTo>
                  <a:lnTo>
                    <a:pt x="540" y="16"/>
                  </a:lnTo>
                  <a:lnTo>
                    <a:pt x="540" y="0"/>
                  </a:lnTo>
                  <a:close/>
                  <a:moveTo>
                    <a:pt x="540" y="25"/>
                  </a:moveTo>
                  <a:lnTo>
                    <a:pt x="521" y="25"/>
                  </a:lnTo>
                  <a:lnTo>
                    <a:pt x="521" y="89"/>
                  </a:lnTo>
                  <a:lnTo>
                    <a:pt x="540" y="89"/>
                  </a:lnTo>
                  <a:lnTo>
                    <a:pt x="540" y="25"/>
                  </a:lnTo>
                  <a:close/>
                  <a:moveTo>
                    <a:pt x="445" y="25"/>
                  </a:moveTo>
                  <a:lnTo>
                    <a:pt x="445" y="89"/>
                  </a:lnTo>
                  <a:lnTo>
                    <a:pt x="464" y="89"/>
                  </a:lnTo>
                  <a:lnTo>
                    <a:pt x="464" y="53"/>
                  </a:lnTo>
                  <a:lnTo>
                    <a:pt x="465" y="46"/>
                  </a:lnTo>
                  <a:lnTo>
                    <a:pt x="465" y="44"/>
                  </a:lnTo>
                  <a:lnTo>
                    <a:pt x="467" y="42"/>
                  </a:lnTo>
                  <a:lnTo>
                    <a:pt x="468" y="41"/>
                  </a:lnTo>
                  <a:lnTo>
                    <a:pt x="470" y="40"/>
                  </a:lnTo>
                  <a:lnTo>
                    <a:pt x="472" y="39"/>
                  </a:lnTo>
                  <a:lnTo>
                    <a:pt x="475" y="39"/>
                  </a:lnTo>
                  <a:lnTo>
                    <a:pt x="477" y="39"/>
                  </a:lnTo>
                  <a:lnTo>
                    <a:pt x="479" y="40"/>
                  </a:lnTo>
                  <a:lnTo>
                    <a:pt x="481" y="41"/>
                  </a:lnTo>
                  <a:lnTo>
                    <a:pt x="482" y="43"/>
                  </a:lnTo>
                  <a:lnTo>
                    <a:pt x="483" y="44"/>
                  </a:lnTo>
                  <a:lnTo>
                    <a:pt x="484" y="47"/>
                  </a:lnTo>
                  <a:lnTo>
                    <a:pt x="484" y="54"/>
                  </a:lnTo>
                  <a:lnTo>
                    <a:pt x="484" y="89"/>
                  </a:lnTo>
                  <a:lnTo>
                    <a:pt x="503" y="89"/>
                  </a:lnTo>
                  <a:lnTo>
                    <a:pt x="503" y="47"/>
                  </a:lnTo>
                  <a:lnTo>
                    <a:pt x="503" y="42"/>
                  </a:lnTo>
                  <a:lnTo>
                    <a:pt x="502" y="37"/>
                  </a:lnTo>
                  <a:lnTo>
                    <a:pt x="500" y="33"/>
                  </a:lnTo>
                  <a:lnTo>
                    <a:pt x="497" y="29"/>
                  </a:lnTo>
                  <a:lnTo>
                    <a:pt x="494" y="27"/>
                  </a:lnTo>
                  <a:lnTo>
                    <a:pt x="490" y="25"/>
                  </a:lnTo>
                  <a:lnTo>
                    <a:pt x="486" y="23"/>
                  </a:lnTo>
                  <a:lnTo>
                    <a:pt x="481" y="23"/>
                  </a:lnTo>
                  <a:lnTo>
                    <a:pt x="476" y="23"/>
                  </a:lnTo>
                  <a:lnTo>
                    <a:pt x="472" y="25"/>
                  </a:lnTo>
                  <a:lnTo>
                    <a:pt x="468" y="27"/>
                  </a:lnTo>
                  <a:lnTo>
                    <a:pt x="463" y="31"/>
                  </a:lnTo>
                  <a:lnTo>
                    <a:pt x="463" y="25"/>
                  </a:lnTo>
                  <a:lnTo>
                    <a:pt x="445" y="25"/>
                  </a:lnTo>
                  <a:close/>
                  <a:moveTo>
                    <a:pt x="407" y="0"/>
                  </a:moveTo>
                  <a:lnTo>
                    <a:pt x="407" y="59"/>
                  </a:lnTo>
                  <a:lnTo>
                    <a:pt x="407" y="63"/>
                  </a:lnTo>
                  <a:lnTo>
                    <a:pt x="406" y="66"/>
                  </a:lnTo>
                  <a:lnTo>
                    <a:pt x="405" y="68"/>
                  </a:lnTo>
                  <a:lnTo>
                    <a:pt x="404" y="70"/>
                  </a:lnTo>
                  <a:lnTo>
                    <a:pt x="401" y="72"/>
                  </a:lnTo>
                  <a:lnTo>
                    <a:pt x="398" y="73"/>
                  </a:lnTo>
                  <a:lnTo>
                    <a:pt x="395" y="74"/>
                  </a:lnTo>
                  <a:lnTo>
                    <a:pt x="392" y="74"/>
                  </a:lnTo>
                  <a:lnTo>
                    <a:pt x="388" y="74"/>
                  </a:lnTo>
                  <a:lnTo>
                    <a:pt x="385" y="73"/>
                  </a:lnTo>
                  <a:lnTo>
                    <a:pt x="382" y="72"/>
                  </a:lnTo>
                  <a:lnTo>
                    <a:pt x="380" y="70"/>
                  </a:lnTo>
                  <a:lnTo>
                    <a:pt x="378" y="68"/>
                  </a:lnTo>
                  <a:lnTo>
                    <a:pt x="377" y="66"/>
                  </a:lnTo>
                  <a:lnTo>
                    <a:pt x="376" y="63"/>
                  </a:lnTo>
                  <a:lnTo>
                    <a:pt x="376" y="59"/>
                  </a:lnTo>
                  <a:lnTo>
                    <a:pt x="376" y="0"/>
                  </a:lnTo>
                  <a:lnTo>
                    <a:pt x="356" y="0"/>
                  </a:lnTo>
                  <a:lnTo>
                    <a:pt x="356" y="60"/>
                  </a:lnTo>
                  <a:lnTo>
                    <a:pt x="357" y="68"/>
                  </a:lnTo>
                  <a:lnTo>
                    <a:pt x="359" y="74"/>
                  </a:lnTo>
                  <a:lnTo>
                    <a:pt x="360" y="77"/>
                  </a:lnTo>
                  <a:lnTo>
                    <a:pt x="362" y="79"/>
                  </a:lnTo>
                  <a:lnTo>
                    <a:pt x="364" y="81"/>
                  </a:lnTo>
                  <a:lnTo>
                    <a:pt x="366" y="83"/>
                  </a:lnTo>
                  <a:lnTo>
                    <a:pt x="371" y="86"/>
                  </a:lnTo>
                  <a:lnTo>
                    <a:pt x="374" y="88"/>
                  </a:lnTo>
                  <a:lnTo>
                    <a:pt x="378" y="89"/>
                  </a:lnTo>
                  <a:lnTo>
                    <a:pt x="384" y="90"/>
                  </a:lnTo>
                  <a:lnTo>
                    <a:pt x="392" y="91"/>
                  </a:lnTo>
                  <a:lnTo>
                    <a:pt x="399" y="90"/>
                  </a:lnTo>
                  <a:lnTo>
                    <a:pt x="403" y="90"/>
                  </a:lnTo>
                  <a:lnTo>
                    <a:pt x="406" y="89"/>
                  </a:lnTo>
                  <a:lnTo>
                    <a:pt x="412" y="86"/>
                  </a:lnTo>
                  <a:lnTo>
                    <a:pt x="418" y="83"/>
                  </a:lnTo>
                  <a:lnTo>
                    <a:pt x="420" y="81"/>
                  </a:lnTo>
                  <a:lnTo>
                    <a:pt x="422" y="79"/>
                  </a:lnTo>
                  <a:lnTo>
                    <a:pt x="424" y="77"/>
                  </a:lnTo>
                  <a:lnTo>
                    <a:pt x="425" y="74"/>
                  </a:lnTo>
                  <a:lnTo>
                    <a:pt x="427" y="68"/>
                  </a:lnTo>
                  <a:lnTo>
                    <a:pt x="427" y="64"/>
                  </a:lnTo>
                  <a:lnTo>
                    <a:pt x="427" y="60"/>
                  </a:lnTo>
                  <a:lnTo>
                    <a:pt x="427" y="0"/>
                  </a:lnTo>
                  <a:lnTo>
                    <a:pt x="407" y="0"/>
                  </a:lnTo>
                  <a:close/>
                  <a:moveTo>
                    <a:pt x="277" y="38"/>
                  </a:moveTo>
                  <a:lnTo>
                    <a:pt x="281" y="38"/>
                  </a:lnTo>
                  <a:lnTo>
                    <a:pt x="284" y="39"/>
                  </a:lnTo>
                  <a:lnTo>
                    <a:pt x="286" y="41"/>
                  </a:lnTo>
                  <a:lnTo>
                    <a:pt x="289" y="43"/>
                  </a:lnTo>
                  <a:lnTo>
                    <a:pt x="290" y="46"/>
                  </a:lnTo>
                  <a:lnTo>
                    <a:pt x="292" y="49"/>
                  </a:lnTo>
                  <a:lnTo>
                    <a:pt x="292" y="53"/>
                  </a:lnTo>
                  <a:lnTo>
                    <a:pt x="293" y="57"/>
                  </a:lnTo>
                  <a:lnTo>
                    <a:pt x="292" y="61"/>
                  </a:lnTo>
                  <a:lnTo>
                    <a:pt x="292" y="65"/>
                  </a:lnTo>
                  <a:lnTo>
                    <a:pt x="290" y="68"/>
                  </a:lnTo>
                  <a:lnTo>
                    <a:pt x="289" y="71"/>
                  </a:lnTo>
                  <a:lnTo>
                    <a:pt x="288" y="72"/>
                  </a:lnTo>
                  <a:lnTo>
                    <a:pt x="286" y="73"/>
                  </a:lnTo>
                  <a:lnTo>
                    <a:pt x="284" y="74"/>
                  </a:lnTo>
                  <a:lnTo>
                    <a:pt x="281" y="75"/>
                  </a:lnTo>
                  <a:lnTo>
                    <a:pt x="277" y="75"/>
                  </a:lnTo>
                  <a:lnTo>
                    <a:pt x="274" y="75"/>
                  </a:lnTo>
                  <a:lnTo>
                    <a:pt x="271" y="74"/>
                  </a:lnTo>
                  <a:lnTo>
                    <a:pt x="269" y="73"/>
                  </a:lnTo>
                  <a:lnTo>
                    <a:pt x="266" y="71"/>
                  </a:lnTo>
                  <a:lnTo>
                    <a:pt x="265" y="68"/>
                  </a:lnTo>
                  <a:lnTo>
                    <a:pt x="264" y="65"/>
                  </a:lnTo>
                  <a:lnTo>
                    <a:pt x="263" y="61"/>
                  </a:lnTo>
                  <a:lnTo>
                    <a:pt x="263" y="57"/>
                  </a:lnTo>
                  <a:lnTo>
                    <a:pt x="263" y="52"/>
                  </a:lnTo>
                  <a:lnTo>
                    <a:pt x="264" y="49"/>
                  </a:lnTo>
                  <a:lnTo>
                    <a:pt x="265" y="46"/>
                  </a:lnTo>
                  <a:lnTo>
                    <a:pt x="266" y="43"/>
                  </a:lnTo>
                  <a:lnTo>
                    <a:pt x="267" y="42"/>
                  </a:lnTo>
                  <a:lnTo>
                    <a:pt x="269" y="41"/>
                  </a:lnTo>
                  <a:lnTo>
                    <a:pt x="271" y="39"/>
                  </a:lnTo>
                  <a:lnTo>
                    <a:pt x="274" y="38"/>
                  </a:lnTo>
                  <a:lnTo>
                    <a:pt x="277" y="38"/>
                  </a:lnTo>
                  <a:close/>
                  <a:moveTo>
                    <a:pt x="277" y="23"/>
                  </a:moveTo>
                  <a:lnTo>
                    <a:pt x="270" y="24"/>
                  </a:lnTo>
                  <a:lnTo>
                    <a:pt x="264" y="26"/>
                  </a:lnTo>
                  <a:lnTo>
                    <a:pt x="261" y="27"/>
                  </a:lnTo>
                  <a:lnTo>
                    <a:pt x="258" y="29"/>
                  </a:lnTo>
                  <a:lnTo>
                    <a:pt x="253" y="33"/>
                  </a:lnTo>
                  <a:lnTo>
                    <a:pt x="249" y="37"/>
                  </a:lnTo>
                  <a:lnTo>
                    <a:pt x="247" y="40"/>
                  </a:lnTo>
                  <a:lnTo>
                    <a:pt x="246" y="43"/>
                  </a:lnTo>
                  <a:lnTo>
                    <a:pt x="245" y="46"/>
                  </a:lnTo>
                  <a:lnTo>
                    <a:pt x="244" y="50"/>
                  </a:lnTo>
                  <a:lnTo>
                    <a:pt x="244" y="53"/>
                  </a:lnTo>
                  <a:lnTo>
                    <a:pt x="244" y="57"/>
                  </a:lnTo>
                  <a:lnTo>
                    <a:pt x="244" y="64"/>
                  </a:lnTo>
                  <a:lnTo>
                    <a:pt x="246" y="70"/>
                  </a:lnTo>
                  <a:lnTo>
                    <a:pt x="247" y="73"/>
                  </a:lnTo>
                  <a:lnTo>
                    <a:pt x="249" y="76"/>
                  </a:lnTo>
                  <a:lnTo>
                    <a:pt x="253" y="81"/>
                  </a:lnTo>
                  <a:lnTo>
                    <a:pt x="258" y="85"/>
                  </a:lnTo>
                  <a:lnTo>
                    <a:pt x="261" y="87"/>
                  </a:lnTo>
                  <a:lnTo>
                    <a:pt x="264" y="88"/>
                  </a:lnTo>
                  <a:lnTo>
                    <a:pt x="267" y="89"/>
                  </a:lnTo>
                  <a:lnTo>
                    <a:pt x="270" y="90"/>
                  </a:lnTo>
                  <a:lnTo>
                    <a:pt x="277" y="90"/>
                  </a:lnTo>
                  <a:lnTo>
                    <a:pt x="285" y="90"/>
                  </a:lnTo>
                  <a:lnTo>
                    <a:pt x="291" y="88"/>
                  </a:lnTo>
                  <a:lnTo>
                    <a:pt x="294" y="87"/>
                  </a:lnTo>
                  <a:lnTo>
                    <a:pt x="297" y="85"/>
                  </a:lnTo>
                  <a:lnTo>
                    <a:pt x="302" y="81"/>
                  </a:lnTo>
                  <a:lnTo>
                    <a:pt x="306" y="76"/>
                  </a:lnTo>
                  <a:lnTo>
                    <a:pt x="308" y="73"/>
                  </a:lnTo>
                  <a:lnTo>
                    <a:pt x="309" y="71"/>
                  </a:lnTo>
                  <a:lnTo>
                    <a:pt x="311" y="64"/>
                  </a:lnTo>
                  <a:lnTo>
                    <a:pt x="311" y="61"/>
                  </a:lnTo>
                  <a:lnTo>
                    <a:pt x="311" y="57"/>
                  </a:lnTo>
                  <a:lnTo>
                    <a:pt x="311" y="53"/>
                  </a:lnTo>
                  <a:lnTo>
                    <a:pt x="311" y="50"/>
                  </a:lnTo>
                  <a:lnTo>
                    <a:pt x="309" y="43"/>
                  </a:lnTo>
                  <a:lnTo>
                    <a:pt x="308" y="40"/>
                  </a:lnTo>
                  <a:lnTo>
                    <a:pt x="306" y="37"/>
                  </a:lnTo>
                  <a:lnTo>
                    <a:pt x="302" y="33"/>
                  </a:lnTo>
                  <a:lnTo>
                    <a:pt x="297" y="29"/>
                  </a:lnTo>
                  <a:lnTo>
                    <a:pt x="294" y="27"/>
                  </a:lnTo>
                  <a:lnTo>
                    <a:pt x="291" y="26"/>
                  </a:lnTo>
                  <a:lnTo>
                    <a:pt x="288" y="24"/>
                  </a:lnTo>
                  <a:lnTo>
                    <a:pt x="285" y="24"/>
                  </a:lnTo>
                  <a:lnTo>
                    <a:pt x="277" y="23"/>
                  </a:lnTo>
                  <a:close/>
                  <a:moveTo>
                    <a:pt x="235" y="26"/>
                  </a:moveTo>
                  <a:lnTo>
                    <a:pt x="224" y="26"/>
                  </a:lnTo>
                  <a:lnTo>
                    <a:pt x="224" y="5"/>
                  </a:lnTo>
                  <a:lnTo>
                    <a:pt x="205" y="5"/>
                  </a:lnTo>
                  <a:lnTo>
                    <a:pt x="205" y="26"/>
                  </a:lnTo>
                  <a:lnTo>
                    <a:pt x="196" y="26"/>
                  </a:lnTo>
                  <a:lnTo>
                    <a:pt x="196" y="39"/>
                  </a:lnTo>
                  <a:lnTo>
                    <a:pt x="205" y="39"/>
                  </a:lnTo>
                  <a:lnTo>
                    <a:pt x="205" y="68"/>
                  </a:lnTo>
                  <a:lnTo>
                    <a:pt x="205" y="74"/>
                  </a:lnTo>
                  <a:lnTo>
                    <a:pt x="206" y="79"/>
                  </a:lnTo>
                  <a:lnTo>
                    <a:pt x="207" y="82"/>
                  </a:lnTo>
                  <a:lnTo>
                    <a:pt x="209" y="84"/>
                  </a:lnTo>
                  <a:lnTo>
                    <a:pt x="211" y="86"/>
                  </a:lnTo>
                  <a:lnTo>
                    <a:pt x="214" y="88"/>
                  </a:lnTo>
                  <a:lnTo>
                    <a:pt x="218" y="88"/>
                  </a:lnTo>
                  <a:lnTo>
                    <a:pt x="224" y="89"/>
                  </a:lnTo>
                  <a:lnTo>
                    <a:pt x="235" y="89"/>
                  </a:lnTo>
                  <a:lnTo>
                    <a:pt x="235" y="75"/>
                  </a:lnTo>
                  <a:lnTo>
                    <a:pt x="228" y="75"/>
                  </a:lnTo>
                  <a:lnTo>
                    <a:pt x="226" y="74"/>
                  </a:lnTo>
                  <a:lnTo>
                    <a:pt x="225" y="74"/>
                  </a:lnTo>
                  <a:lnTo>
                    <a:pt x="224" y="73"/>
                  </a:lnTo>
                  <a:lnTo>
                    <a:pt x="224" y="70"/>
                  </a:lnTo>
                  <a:lnTo>
                    <a:pt x="224" y="64"/>
                  </a:lnTo>
                  <a:lnTo>
                    <a:pt x="224" y="39"/>
                  </a:lnTo>
                  <a:lnTo>
                    <a:pt x="235" y="39"/>
                  </a:lnTo>
                  <a:lnTo>
                    <a:pt x="235" y="26"/>
                  </a:lnTo>
                  <a:close/>
                  <a:moveTo>
                    <a:pt x="184" y="0"/>
                  </a:moveTo>
                  <a:lnTo>
                    <a:pt x="166" y="0"/>
                  </a:lnTo>
                  <a:lnTo>
                    <a:pt x="166" y="89"/>
                  </a:lnTo>
                  <a:lnTo>
                    <a:pt x="184" y="89"/>
                  </a:lnTo>
                  <a:lnTo>
                    <a:pt x="184" y="0"/>
                  </a:lnTo>
                  <a:close/>
                  <a:moveTo>
                    <a:pt x="131" y="68"/>
                  </a:moveTo>
                  <a:lnTo>
                    <a:pt x="129" y="72"/>
                  </a:lnTo>
                  <a:lnTo>
                    <a:pt x="126" y="74"/>
                  </a:lnTo>
                  <a:lnTo>
                    <a:pt x="122" y="76"/>
                  </a:lnTo>
                  <a:lnTo>
                    <a:pt x="117" y="76"/>
                  </a:lnTo>
                  <a:lnTo>
                    <a:pt x="114" y="76"/>
                  </a:lnTo>
                  <a:lnTo>
                    <a:pt x="111" y="74"/>
                  </a:lnTo>
                  <a:lnTo>
                    <a:pt x="109" y="72"/>
                  </a:lnTo>
                  <a:lnTo>
                    <a:pt x="108" y="71"/>
                  </a:lnTo>
                  <a:lnTo>
                    <a:pt x="108" y="69"/>
                  </a:lnTo>
                  <a:lnTo>
                    <a:pt x="109" y="67"/>
                  </a:lnTo>
                  <a:lnTo>
                    <a:pt x="110" y="65"/>
                  </a:lnTo>
                  <a:lnTo>
                    <a:pt x="113" y="63"/>
                  </a:lnTo>
                  <a:lnTo>
                    <a:pt x="118" y="62"/>
                  </a:lnTo>
                  <a:lnTo>
                    <a:pt x="124" y="60"/>
                  </a:lnTo>
                  <a:lnTo>
                    <a:pt x="131" y="58"/>
                  </a:lnTo>
                  <a:lnTo>
                    <a:pt x="131" y="68"/>
                  </a:lnTo>
                  <a:close/>
                  <a:moveTo>
                    <a:pt x="110" y="45"/>
                  </a:moveTo>
                  <a:lnTo>
                    <a:pt x="110" y="43"/>
                  </a:lnTo>
                  <a:lnTo>
                    <a:pt x="111" y="42"/>
                  </a:lnTo>
                  <a:lnTo>
                    <a:pt x="112" y="40"/>
                  </a:lnTo>
                  <a:lnTo>
                    <a:pt x="113" y="39"/>
                  </a:lnTo>
                  <a:lnTo>
                    <a:pt x="116" y="38"/>
                  </a:lnTo>
                  <a:lnTo>
                    <a:pt x="121" y="37"/>
                  </a:lnTo>
                  <a:lnTo>
                    <a:pt x="125" y="38"/>
                  </a:lnTo>
                  <a:lnTo>
                    <a:pt x="128" y="39"/>
                  </a:lnTo>
                  <a:lnTo>
                    <a:pt x="130" y="41"/>
                  </a:lnTo>
                  <a:lnTo>
                    <a:pt x="131" y="42"/>
                  </a:lnTo>
                  <a:lnTo>
                    <a:pt x="131" y="43"/>
                  </a:lnTo>
                  <a:lnTo>
                    <a:pt x="130" y="45"/>
                  </a:lnTo>
                  <a:lnTo>
                    <a:pt x="129" y="46"/>
                  </a:lnTo>
                  <a:lnTo>
                    <a:pt x="128" y="47"/>
                  </a:lnTo>
                  <a:lnTo>
                    <a:pt x="125" y="48"/>
                  </a:lnTo>
                  <a:lnTo>
                    <a:pt x="115" y="49"/>
                  </a:lnTo>
                  <a:lnTo>
                    <a:pt x="109" y="51"/>
                  </a:lnTo>
                  <a:lnTo>
                    <a:pt x="103" y="52"/>
                  </a:lnTo>
                  <a:lnTo>
                    <a:pt x="99" y="54"/>
                  </a:lnTo>
                  <a:lnTo>
                    <a:pt x="95" y="56"/>
                  </a:lnTo>
                  <a:lnTo>
                    <a:pt x="93" y="59"/>
                  </a:lnTo>
                  <a:lnTo>
                    <a:pt x="92" y="61"/>
                  </a:lnTo>
                  <a:lnTo>
                    <a:pt x="91" y="62"/>
                  </a:lnTo>
                  <a:lnTo>
                    <a:pt x="90" y="66"/>
                  </a:lnTo>
                  <a:lnTo>
                    <a:pt x="89" y="70"/>
                  </a:lnTo>
                  <a:lnTo>
                    <a:pt x="90" y="75"/>
                  </a:lnTo>
                  <a:lnTo>
                    <a:pt x="91" y="79"/>
                  </a:lnTo>
                  <a:lnTo>
                    <a:pt x="93" y="82"/>
                  </a:lnTo>
                  <a:lnTo>
                    <a:pt x="96" y="85"/>
                  </a:lnTo>
                  <a:lnTo>
                    <a:pt x="97" y="86"/>
                  </a:lnTo>
                  <a:lnTo>
                    <a:pt x="99" y="87"/>
                  </a:lnTo>
                  <a:lnTo>
                    <a:pt x="103" y="89"/>
                  </a:lnTo>
                  <a:lnTo>
                    <a:pt x="108" y="90"/>
                  </a:lnTo>
                  <a:lnTo>
                    <a:pt x="113" y="90"/>
                  </a:lnTo>
                  <a:lnTo>
                    <a:pt x="118" y="90"/>
                  </a:lnTo>
                  <a:lnTo>
                    <a:pt x="123" y="89"/>
                  </a:lnTo>
                  <a:lnTo>
                    <a:pt x="127" y="87"/>
                  </a:lnTo>
                  <a:lnTo>
                    <a:pt x="131" y="84"/>
                  </a:lnTo>
                  <a:lnTo>
                    <a:pt x="133" y="89"/>
                  </a:lnTo>
                  <a:lnTo>
                    <a:pt x="152" y="89"/>
                  </a:lnTo>
                  <a:lnTo>
                    <a:pt x="151" y="87"/>
                  </a:lnTo>
                  <a:lnTo>
                    <a:pt x="150" y="85"/>
                  </a:lnTo>
                  <a:lnTo>
                    <a:pt x="149" y="78"/>
                  </a:lnTo>
                  <a:lnTo>
                    <a:pt x="149" y="48"/>
                  </a:lnTo>
                  <a:lnTo>
                    <a:pt x="149" y="42"/>
                  </a:lnTo>
                  <a:lnTo>
                    <a:pt x="148" y="37"/>
                  </a:lnTo>
                  <a:lnTo>
                    <a:pt x="146" y="33"/>
                  </a:lnTo>
                  <a:lnTo>
                    <a:pt x="145" y="31"/>
                  </a:lnTo>
                  <a:lnTo>
                    <a:pt x="143" y="30"/>
                  </a:lnTo>
                  <a:lnTo>
                    <a:pt x="139" y="27"/>
                  </a:lnTo>
                  <a:lnTo>
                    <a:pt x="134" y="25"/>
                  </a:lnTo>
                  <a:lnTo>
                    <a:pt x="128" y="23"/>
                  </a:lnTo>
                  <a:lnTo>
                    <a:pt x="121" y="23"/>
                  </a:lnTo>
                  <a:lnTo>
                    <a:pt x="115" y="23"/>
                  </a:lnTo>
                  <a:lnTo>
                    <a:pt x="109" y="24"/>
                  </a:lnTo>
                  <a:lnTo>
                    <a:pt x="104" y="26"/>
                  </a:lnTo>
                  <a:lnTo>
                    <a:pt x="101" y="28"/>
                  </a:lnTo>
                  <a:lnTo>
                    <a:pt x="97" y="31"/>
                  </a:lnTo>
                  <a:lnTo>
                    <a:pt x="95" y="35"/>
                  </a:lnTo>
                  <a:lnTo>
                    <a:pt x="94" y="37"/>
                  </a:lnTo>
                  <a:lnTo>
                    <a:pt x="94" y="40"/>
                  </a:lnTo>
                  <a:lnTo>
                    <a:pt x="93" y="42"/>
                  </a:lnTo>
                  <a:lnTo>
                    <a:pt x="93" y="45"/>
                  </a:lnTo>
                  <a:lnTo>
                    <a:pt x="110" y="45"/>
                  </a:lnTo>
                  <a:close/>
                  <a:moveTo>
                    <a:pt x="52" y="55"/>
                  </a:moveTo>
                  <a:lnTo>
                    <a:pt x="32" y="55"/>
                  </a:lnTo>
                  <a:lnTo>
                    <a:pt x="43" y="20"/>
                  </a:lnTo>
                  <a:lnTo>
                    <a:pt x="52" y="55"/>
                  </a:lnTo>
                  <a:close/>
                  <a:moveTo>
                    <a:pt x="57" y="71"/>
                  </a:moveTo>
                  <a:lnTo>
                    <a:pt x="61" y="89"/>
                  </a:lnTo>
                  <a:lnTo>
                    <a:pt x="84" y="89"/>
                  </a:lnTo>
                  <a:lnTo>
                    <a:pt x="56" y="0"/>
                  </a:lnTo>
                  <a:lnTo>
                    <a:pt x="31" y="0"/>
                  </a:lnTo>
                  <a:lnTo>
                    <a:pt x="0" y="89"/>
                  </a:lnTo>
                  <a:lnTo>
                    <a:pt x="22" y="89"/>
                  </a:lnTo>
                  <a:lnTo>
                    <a:pt x="27" y="71"/>
                  </a:lnTo>
                  <a:lnTo>
                    <a:pt x="57"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14" name="Freeform 7"/>
            <p:cNvSpPr>
              <a:spLocks noEditPoints="1"/>
            </p:cNvSpPr>
            <p:nvPr userDrawn="1"/>
          </p:nvSpPr>
          <p:spPr bwMode="auto">
            <a:xfrm>
              <a:off x="5756275" y="325438"/>
              <a:ext cx="1941513" cy="142875"/>
            </a:xfrm>
            <a:custGeom>
              <a:avLst/>
              <a:gdLst>
                <a:gd name="T0" fmla="*/ 1197 w 1223"/>
                <a:gd name="T1" fmla="*/ 38 h 90"/>
                <a:gd name="T2" fmla="*/ 1220 w 1223"/>
                <a:gd name="T3" fmla="*/ 32 h 90"/>
                <a:gd name="T4" fmla="*/ 1120 w 1223"/>
                <a:gd name="T5" fmla="*/ 37 h 90"/>
                <a:gd name="T6" fmla="*/ 1131 w 1223"/>
                <a:gd name="T7" fmla="*/ 70 h 90"/>
                <a:gd name="T8" fmla="*/ 1105 w 1223"/>
                <a:gd name="T9" fmla="*/ 60 h 90"/>
                <a:gd name="T10" fmla="*/ 1112 w 1223"/>
                <a:gd name="T11" fmla="*/ 23 h 90"/>
                <a:gd name="T12" fmla="*/ 1088 w 1223"/>
                <a:gd name="T13" fmla="*/ 70 h 90"/>
                <a:gd name="T14" fmla="*/ 1136 w 1223"/>
                <a:gd name="T15" fmla="*/ 86 h 90"/>
                <a:gd name="T16" fmla="*/ 1150 w 1223"/>
                <a:gd name="T17" fmla="*/ 40 h 90"/>
                <a:gd name="T18" fmla="*/ 1074 w 1223"/>
                <a:gd name="T19" fmla="*/ 15 h 90"/>
                <a:gd name="T20" fmla="*/ 1002 w 1223"/>
                <a:gd name="T21" fmla="*/ 25 h 90"/>
                <a:gd name="T22" fmla="*/ 1041 w 1223"/>
                <a:gd name="T23" fmla="*/ 88 h 90"/>
                <a:gd name="T24" fmla="*/ 967 w 1223"/>
                <a:gd name="T25" fmla="*/ 74 h 90"/>
                <a:gd name="T26" fmla="*/ 966 w 1223"/>
                <a:gd name="T27" fmla="*/ 60 h 90"/>
                <a:gd name="T28" fmla="*/ 971 w 1223"/>
                <a:gd name="T29" fmla="*/ 40 h 90"/>
                <a:gd name="T30" fmla="*/ 934 w 1223"/>
                <a:gd name="T31" fmla="*/ 59 h 90"/>
                <a:gd name="T32" fmla="*/ 954 w 1223"/>
                <a:gd name="T33" fmla="*/ 90 h 90"/>
                <a:gd name="T34" fmla="*/ 990 w 1223"/>
                <a:gd name="T35" fmla="*/ 36 h 90"/>
                <a:gd name="T36" fmla="*/ 939 w 1223"/>
                <a:gd name="T37" fmla="*/ 31 h 90"/>
                <a:gd name="T38" fmla="*/ 907 w 1223"/>
                <a:gd name="T39" fmla="*/ 26 h 90"/>
                <a:gd name="T40" fmla="*/ 859 w 1223"/>
                <a:gd name="T41" fmla="*/ 49 h 90"/>
                <a:gd name="T42" fmla="*/ 891 w 1223"/>
                <a:gd name="T43" fmla="*/ 90 h 90"/>
                <a:gd name="T44" fmla="*/ 899 w 1223"/>
                <a:gd name="T45" fmla="*/ 72 h 90"/>
                <a:gd name="T46" fmla="*/ 878 w 1223"/>
                <a:gd name="T47" fmla="*/ 56 h 90"/>
                <a:gd name="T48" fmla="*/ 900 w 1223"/>
                <a:gd name="T49" fmla="*/ 42 h 90"/>
                <a:gd name="T50" fmla="*/ 823 w 1223"/>
                <a:gd name="T51" fmla="*/ 73 h 90"/>
                <a:gd name="T52" fmla="*/ 790 w 1223"/>
                <a:gd name="T53" fmla="*/ 71 h 90"/>
                <a:gd name="T54" fmla="*/ 828 w 1223"/>
                <a:gd name="T55" fmla="*/ 83 h 90"/>
                <a:gd name="T56" fmla="*/ 756 w 1223"/>
                <a:gd name="T57" fmla="*/ 52 h 90"/>
                <a:gd name="T58" fmla="*/ 735 w 1223"/>
                <a:gd name="T59" fmla="*/ 72 h 90"/>
                <a:gd name="T60" fmla="*/ 740 w 1223"/>
                <a:gd name="T61" fmla="*/ 38 h 90"/>
                <a:gd name="T62" fmla="*/ 719 w 1223"/>
                <a:gd name="T63" fmla="*/ 32 h 90"/>
                <a:gd name="T64" fmla="*/ 723 w 1223"/>
                <a:gd name="T65" fmla="*/ 85 h 90"/>
                <a:gd name="T66" fmla="*/ 757 w 1223"/>
                <a:gd name="T67" fmla="*/ 88 h 90"/>
                <a:gd name="T68" fmla="*/ 655 w 1223"/>
                <a:gd name="T69" fmla="*/ 34 h 90"/>
                <a:gd name="T70" fmla="*/ 556 w 1223"/>
                <a:gd name="T71" fmla="*/ 38 h 90"/>
                <a:gd name="T72" fmla="*/ 580 w 1223"/>
                <a:gd name="T73" fmla="*/ 41 h 90"/>
                <a:gd name="T74" fmla="*/ 533 w 1223"/>
                <a:gd name="T75" fmla="*/ 28 h 90"/>
                <a:gd name="T76" fmla="*/ 528 w 1223"/>
                <a:gd name="T77" fmla="*/ 81 h 90"/>
                <a:gd name="T78" fmla="*/ 577 w 1223"/>
                <a:gd name="T79" fmla="*/ 80 h 90"/>
                <a:gd name="T80" fmla="*/ 543 w 1223"/>
                <a:gd name="T81" fmla="*/ 72 h 90"/>
                <a:gd name="T82" fmla="*/ 471 w 1223"/>
                <a:gd name="T83" fmla="*/ 24 h 90"/>
                <a:gd name="T84" fmla="*/ 440 w 1223"/>
                <a:gd name="T85" fmla="*/ 88 h 90"/>
                <a:gd name="T86" fmla="*/ 376 w 1223"/>
                <a:gd name="T87" fmla="*/ 78 h 90"/>
                <a:gd name="T88" fmla="*/ 394 w 1223"/>
                <a:gd name="T89" fmla="*/ 69 h 90"/>
                <a:gd name="T90" fmla="*/ 329 w 1223"/>
                <a:gd name="T91" fmla="*/ 73 h 90"/>
                <a:gd name="T92" fmla="*/ 295 w 1223"/>
                <a:gd name="T93" fmla="*/ 71 h 90"/>
                <a:gd name="T94" fmla="*/ 333 w 1223"/>
                <a:gd name="T95" fmla="*/ 83 h 90"/>
                <a:gd name="T96" fmla="*/ 259 w 1223"/>
                <a:gd name="T97" fmla="*/ 23 h 90"/>
                <a:gd name="T98" fmla="*/ 221 w 1223"/>
                <a:gd name="T99" fmla="*/ 64 h 90"/>
                <a:gd name="T100" fmla="*/ 264 w 1223"/>
                <a:gd name="T101" fmla="*/ 88 h 90"/>
                <a:gd name="T102" fmla="*/ 257 w 1223"/>
                <a:gd name="T103" fmla="*/ 74 h 90"/>
                <a:gd name="T104" fmla="*/ 240 w 1223"/>
                <a:gd name="T105" fmla="*/ 50 h 90"/>
                <a:gd name="T106" fmla="*/ 264 w 1223"/>
                <a:gd name="T107" fmla="*/ 47 h 90"/>
                <a:gd name="T108" fmla="*/ 186 w 1223"/>
                <a:gd name="T109" fmla="*/ 40 h 90"/>
                <a:gd name="T110" fmla="*/ 202 w 1223"/>
                <a:gd name="T111" fmla="*/ 33 h 90"/>
                <a:gd name="T112" fmla="*/ 152 w 1223"/>
                <a:gd name="T113" fmla="*/ 34 h 90"/>
                <a:gd name="T114" fmla="*/ 165 w 1223"/>
                <a:gd name="T115" fmla="*/ 87 h 90"/>
                <a:gd name="T116" fmla="*/ 207 w 1223"/>
                <a:gd name="T117" fmla="*/ 74 h 90"/>
                <a:gd name="T118" fmla="*/ 166 w 1223"/>
                <a:gd name="T119" fmla="*/ 67 h 90"/>
                <a:gd name="T120" fmla="*/ 96 w 1223"/>
                <a:gd name="T121" fmla="*/ 88 h 90"/>
                <a:gd name="T122" fmla="*/ 60 w 1223"/>
                <a:gd name="T123" fmla="*/ 5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3" h="90">
                  <a:moveTo>
                    <a:pt x="1165" y="24"/>
                  </a:moveTo>
                  <a:lnTo>
                    <a:pt x="1165" y="88"/>
                  </a:lnTo>
                  <a:lnTo>
                    <a:pt x="1184" y="88"/>
                  </a:lnTo>
                  <a:lnTo>
                    <a:pt x="1184" y="52"/>
                  </a:lnTo>
                  <a:lnTo>
                    <a:pt x="1184" y="46"/>
                  </a:lnTo>
                  <a:lnTo>
                    <a:pt x="1185" y="44"/>
                  </a:lnTo>
                  <a:lnTo>
                    <a:pt x="1187" y="42"/>
                  </a:lnTo>
                  <a:lnTo>
                    <a:pt x="1188" y="40"/>
                  </a:lnTo>
                  <a:lnTo>
                    <a:pt x="1190" y="39"/>
                  </a:lnTo>
                  <a:lnTo>
                    <a:pt x="1192" y="38"/>
                  </a:lnTo>
                  <a:lnTo>
                    <a:pt x="1195" y="38"/>
                  </a:lnTo>
                  <a:lnTo>
                    <a:pt x="1197" y="38"/>
                  </a:lnTo>
                  <a:lnTo>
                    <a:pt x="1199" y="39"/>
                  </a:lnTo>
                  <a:lnTo>
                    <a:pt x="1201" y="40"/>
                  </a:lnTo>
                  <a:lnTo>
                    <a:pt x="1202" y="42"/>
                  </a:lnTo>
                  <a:lnTo>
                    <a:pt x="1203" y="44"/>
                  </a:lnTo>
                  <a:lnTo>
                    <a:pt x="1204" y="46"/>
                  </a:lnTo>
                  <a:lnTo>
                    <a:pt x="1204" y="53"/>
                  </a:lnTo>
                  <a:lnTo>
                    <a:pt x="1204" y="88"/>
                  </a:lnTo>
                  <a:lnTo>
                    <a:pt x="1223" y="88"/>
                  </a:lnTo>
                  <a:lnTo>
                    <a:pt x="1223" y="47"/>
                  </a:lnTo>
                  <a:lnTo>
                    <a:pt x="1223" y="41"/>
                  </a:lnTo>
                  <a:lnTo>
                    <a:pt x="1222" y="37"/>
                  </a:lnTo>
                  <a:lnTo>
                    <a:pt x="1220" y="32"/>
                  </a:lnTo>
                  <a:lnTo>
                    <a:pt x="1217" y="29"/>
                  </a:lnTo>
                  <a:lnTo>
                    <a:pt x="1214" y="26"/>
                  </a:lnTo>
                  <a:lnTo>
                    <a:pt x="1210" y="24"/>
                  </a:lnTo>
                  <a:lnTo>
                    <a:pt x="1206" y="23"/>
                  </a:lnTo>
                  <a:lnTo>
                    <a:pt x="1201" y="22"/>
                  </a:lnTo>
                  <a:lnTo>
                    <a:pt x="1196" y="23"/>
                  </a:lnTo>
                  <a:lnTo>
                    <a:pt x="1192" y="24"/>
                  </a:lnTo>
                  <a:lnTo>
                    <a:pt x="1188" y="27"/>
                  </a:lnTo>
                  <a:lnTo>
                    <a:pt x="1183" y="30"/>
                  </a:lnTo>
                  <a:lnTo>
                    <a:pt x="1183" y="24"/>
                  </a:lnTo>
                  <a:lnTo>
                    <a:pt x="1165" y="24"/>
                  </a:lnTo>
                  <a:close/>
                  <a:moveTo>
                    <a:pt x="1120" y="37"/>
                  </a:moveTo>
                  <a:lnTo>
                    <a:pt x="1123" y="38"/>
                  </a:lnTo>
                  <a:lnTo>
                    <a:pt x="1126" y="39"/>
                  </a:lnTo>
                  <a:lnTo>
                    <a:pt x="1129" y="40"/>
                  </a:lnTo>
                  <a:lnTo>
                    <a:pt x="1131" y="42"/>
                  </a:lnTo>
                  <a:lnTo>
                    <a:pt x="1132" y="45"/>
                  </a:lnTo>
                  <a:lnTo>
                    <a:pt x="1134" y="48"/>
                  </a:lnTo>
                  <a:lnTo>
                    <a:pt x="1134" y="52"/>
                  </a:lnTo>
                  <a:lnTo>
                    <a:pt x="1135" y="57"/>
                  </a:lnTo>
                  <a:lnTo>
                    <a:pt x="1134" y="61"/>
                  </a:lnTo>
                  <a:lnTo>
                    <a:pt x="1134" y="64"/>
                  </a:lnTo>
                  <a:lnTo>
                    <a:pt x="1132" y="67"/>
                  </a:lnTo>
                  <a:lnTo>
                    <a:pt x="1131" y="70"/>
                  </a:lnTo>
                  <a:lnTo>
                    <a:pt x="1130" y="71"/>
                  </a:lnTo>
                  <a:lnTo>
                    <a:pt x="1129" y="72"/>
                  </a:lnTo>
                  <a:lnTo>
                    <a:pt x="1126" y="74"/>
                  </a:lnTo>
                  <a:lnTo>
                    <a:pt x="1123" y="75"/>
                  </a:lnTo>
                  <a:lnTo>
                    <a:pt x="1120" y="75"/>
                  </a:lnTo>
                  <a:lnTo>
                    <a:pt x="1116" y="75"/>
                  </a:lnTo>
                  <a:lnTo>
                    <a:pt x="1113" y="74"/>
                  </a:lnTo>
                  <a:lnTo>
                    <a:pt x="1111" y="72"/>
                  </a:lnTo>
                  <a:lnTo>
                    <a:pt x="1109" y="70"/>
                  </a:lnTo>
                  <a:lnTo>
                    <a:pt x="1107" y="67"/>
                  </a:lnTo>
                  <a:lnTo>
                    <a:pt x="1106" y="64"/>
                  </a:lnTo>
                  <a:lnTo>
                    <a:pt x="1105" y="60"/>
                  </a:lnTo>
                  <a:lnTo>
                    <a:pt x="1105" y="56"/>
                  </a:lnTo>
                  <a:lnTo>
                    <a:pt x="1105" y="52"/>
                  </a:lnTo>
                  <a:lnTo>
                    <a:pt x="1106" y="48"/>
                  </a:lnTo>
                  <a:lnTo>
                    <a:pt x="1107" y="45"/>
                  </a:lnTo>
                  <a:lnTo>
                    <a:pt x="1109" y="42"/>
                  </a:lnTo>
                  <a:lnTo>
                    <a:pt x="1110" y="41"/>
                  </a:lnTo>
                  <a:lnTo>
                    <a:pt x="1111" y="40"/>
                  </a:lnTo>
                  <a:lnTo>
                    <a:pt x="1113" y="39"/>
                  </a:lnTo>
                  <a:lnTo>
                    <a:pt x="1116" y="38"/>
                  </a:lnTo>
                  <a:lnTo>
                    <a:pt x="1120" y="37"/>
                  </a:lnTo>
                  <a:close/>
                  <a:moveTo>
                    <a:pt x="1120" y="23"/>
                  </a:moveTo>
                  <a:lnTo>
                    <a:pt x="1112" y="23"/>
                  </a:lnTo>
                  <a:lnTo>
                    <a:pt x="1106" y="25"/>
                  </a:lnTo>
                  <a:lnTo>
                    <a:pt x="1103" y="26"/>
                  </a:lnTo>
                  <a:lnTo>
                    <a:pt x="1100" y="28"/>
                  </a:lnTo>
                  <a:lnTo>
                    <a:pt x="1095" y="32"/>
                  </a:lnTo>
                  <a:lnTo>
                    <a:pt x="1091" y="37"/>
                  </a:lnTo>
                  <a:lnTo>
                    <a:pt x="1090" y="40"/>
                  </a:lnTo>
                  <a:lnTo>
                    <a:pt x="1088" y="43"/>
                  </a:lnTo>
                  <a:lnTo>
                    <a:pt x="1087" y="46"/>
                  </a:lnTo>
                  <a:lnTo>
                    <a:pt x="1086" y="49"/>
                  </a:lnTo>
                  <a:lnTo>
                    <a:pt x="1086" y="56"/>
                  </a:lnTo>
                  <a:lnTo>
                    <a:pt x="1086" y="63"/>
                  </a:lnTo>
                  <a:lnTo>
                    <a:pt x="1088" y="70"/>
                  </a:lnTo>
                  <a:lnTo>
                    <a:pt x="1090" y="73"/>
                  </a:lnTo>
                  <a:lnTo>
                    <a:pt x="1091" y="76"/>
                  </a:lnTo>
                  <a:lnTo>
                    <a:pt x="1095" y="80"/>
                  </a:lnTo>
                  <a:lnTo>
                    <a:pt x="1100" y="84"/>
                  </a:lnTo>
                  <a:lnTo>
                    <a:pt x="1103" y="86"/>
                  </a:lnTo>
                  <a:lnTo>
                    <a:pt x="1106" y="87"/>
                  </a:lnTo>
                  <a:lnTo>
                    <a:pt x="1109" y="88"/>
                  </a:lnTo>
                  <a:lnTo>
                    <a:pt x="1112" y="89"/>
                  </a:lnTo>
                  <a:lnTo>
                    <a:pt x="1120" y="90"/>
                  </a:lnTo>
                  <a:lnTo>
                    <a:pt x="1127" y="89"/>
                  </a:lnTo>
                  <a:lnTo>
                    <a:pt x="1133" y="87"/>
                  </a:lnTo>
                  <a:lnTo>
                    <a:pt x="1136" y="86"/>
                  </a:lnTo>
                  <a:lnTo>
                    <a:pt x="1139" y="84"/>
                  </a:lnTo>
                  <a:lnTo>
                    <a:pt x="1144" y="80"/>
                  </a:lnTo>
                  <a:lnTo>
                    <a:pt x="1148" y="76"/>
                  </a:lnTo>
                  <a:lnTo>
                    <a:pt x="1150" y="73"/>
                  </a:lnTo>
                  <a:lnTo>
                    <a:pt x="1151" y="70"/>
                  </a:lnTo>
                  <a:lnTo>
                    <a:pt x="1153" y="64"/>
                  </a:lnTo>
                  <a:lnTo>
                    <a:pt x="1153" y="60"/>
                  </a:lnTo>
                  <a:lnTo>
                    <a:pt x="1154" y="57"/>
                  </a:lnTo>
                  <a:lnTo>
                    <a:pt x="1153" y="53"/>
                  </a:lnTo>
                  <a:lnTo>
                    <a:pt x="1153" y="49"/>
                  </a:lnTo>
                  <a:lnTo>
                    <a:pt x="1151" y="43"/>
                  </a:lnTo>
                  <a:lnTo>
                    <a:pt x="1150" y="40"/>
                  </a:lnTo>
                  <a:lnTo>
                    <a:pt x="1148" y="37"/>
                  </a:lnTo>
                  <a:lnTo>
                    <a:pt x="1144" y="32"/>
                  </a:lnTo>
                  <a:lnTo>
                    <a:pt x="1139" y="28"/>
                  </a:lnTo>
                  <a:lnTo>
                    <a:pt x="1136" y="26"/>
                  </a:lnTo>
                  <a:lnTo>
                    <a:pt x="1133" y="25"/>
                  </a:lnTo>
                  <a:lnTo>
                    <a:pt x="1130" y="24"/>
                  </a:lnTo>
                  <a:lnTo>
                    <a:pt x="1127" y="23"/>
                  </a:lnTo>
                  <a:lnTo>
                    <a:pt x="1120" y="23"/>
                  </a:lnTo>
                  <a:close/>
                  <a:moveTo>
                    <a:pt x="1074" y="0"/>
                  </a:moveTo>
                  <a:lnTo>
                    <a:pt x="1056" y="0"/>
                  </a:lnTo>
                  <a:lnTo>
                    <a:pt x="1056" y="15"/>
                  </a:lnTo>
                  <a:lnTo>
                    <a:pt x="1074" y="15"/>
                  </a:lnTo>
                  <a:lnTo>
                    <a:pt x="1074" y="0"/>
                  </a:lnTo>
                  <a:close/>
                  <a:moveTo>
                    <a:pt x="1074" y="24"/>
                  </a:moveTo>
                  <a:lnTo>
                    <a:pt x="1056" y="24"/>
                  </a:lnTo>
                  <a:lnTo>
                    <a:pt x="1056" y="88"/>
                  </a:lnTo>
                  <a:lnTo>
                    <a:pt x="1074" y="88"/>
                  </a:lnTo>
                  <a:lnTo>
                    <a:pt x="1074" y="24"/>
                  </a:lnTo>
                  <a:close/>
                  <a:moveTo>
                    <a:pt x="1041" y="25"/>
                  </a:moveTo>
                  <a:lnTo>
                    <a:pt x="1029" y="25"/>
                  </a:lnTo>
                  <a:lnTo>
                    <a:pt x="1029" y="5"/>
                  </a:lnTo>
                  <a:lnTo>
                    <a:pt x="1011" y="5"/>
                  </a:lnTo>
                  <a:lnTo>
                    <a:pt x="1011" y="25"/>
                  </a:lnTo>
                  <a:lnTo>
                    <a:pt x="1002" y="25"/>
                  </a:lnTo>
                  <a:lnTo>
                    <a:pt x="1002" y="38"/>
                  </a:lnTo>
                  <a:lnTo>
                    <a:pt x="1011" y="38"/>
                  </a:lnTo>
                  <a:lnTo>
                    <a:pt x="1011" y="67"/>
                  </a:lnTo>
                  <a:lnTo>
                    <a:pt x="1011" y="74"/>
                  </a:lnTo>
                  <a:lnTo>
                    <a:pt x="1011" y="78"/>
                  </a:lnTo>
                  <a:lnTo>
                    <a:pt x="1012" y="81"/>
                  </a:lnTo>
                  <a:lnTo>
                    <a:pt x="1014" y="84"/>
                  </a:lnTo>
                  <a:lnTo>
                    <a:pt x="1017" y="86"/>
                  </a:lnTo>
                  <a:lnTo>
                    <a:pt x="1020" y="87"/>
                  </a:lnTo>
                  <a:lnTo>
                    <a:pt x="1024" y="88"/>
                  </a:lnTo>
                  <a:lnTo>
                    <a:pt x="1029" y="88"/>
                  </a:lnTo>
                  <a:lnTo>
                    <a:pt x="1041" y="88"/>
                  </a:lnTo>
                  <a:lnTo>
                    <a:pt x="1041" y="74"/>
                  </a:lnTo>
                  <a:lnTo>
                    <a:pt x="1034" y="74"/>
                  </a:lnTo>
                  <a:lnTo>
                    <a:pt x="1032" y="74"/>
                  </a:lnTo>
                  <a:lnTo>
                    <a:pt x="1030" y="72"/>
                  </a:lnTo>
                  <a:lnTo>
                    <a:pt x="1029" y="69"/>
                  </a:lnTo>
                  <a:lnTo>
                    <a:pt x="1029" y="63"/>
                  </a:lnTo>
                  <a:lnTo>
                    <a:pt x="1029" y="38"/>
                  </a:lnTo>
                  <a:lnTo>
                    <a:pt x="1041" y="38"/>
                  </a:lnTo>
                  <a:lnTo>
                    <a:pt x="1041" y="25"/>
                  </a:lnTo>
                  <a:close/>
                  <a:moveTo>
                    <a:pt x="973" y="68"/>
                  </a:moveTo>
                  <a:lnTo>
                    <a:pt x="970" y="71"/>
                  </a:lnTo>
                  <a:lnTo>
                    <a:pt x="967" y="74"/>
                  </a:lnTo>
                  <a:lnTo>
                    <a:pt x="963" y="75"/>
                  </a:lnTo>
                  <a:lnTo>
                    <a:pt x="959" y="76"/>
                  </a:lnTo>
                  <a:lnTo>
                    <a:pt x="955" y="75"/>
                  </a:lnTo>
                  <a:lnTo>
                    <a:pt x="952" y="74"/>
                  </a:lnTo>
                  <a:lnTo>
                    <a:pt x="950" y="72"/>
                  </a:lnTo>
                  <a:lnTo>
                    <a:pt x="950" y="70"/>
                  </a:lnTo>
                  <a:lnTo>
                    <a:pt x="949" y="69"/>
                  </a:lnTo>
                  <a:lnTo>
                    <a:pt x="950" y="66"/>
                  </a:lnTo>
                  <a:lnTo>
                    <a:pt x="952" y="64"/>
                  </a:lnTo>
                  <a:lnTo>
                    <a:pt x="955" y="62"/>
                  </a:lnTo>
                  <a:lnTo>
                    <a:pt x="959" y="61"/>
                  </a:lnTo>
                  <a:lnTo>
                    <a:pt x="966" y="60"/>
                  </a:lnTo>
                  <a:lnTo>
                    <a:pt x="973" y="58"/>
                  </a:lnTo>
                  <a:lnTo>
                    <a:pt x="973" y="68"/>
                  </a:lnTo>
                  <a:close/>
                  <a:moveTo>
                    <a:pt x="951" y="44"/>
                  </a:moveTo>
                  <a:lnTo>
                    <a:pt x="951" y="43"/>
                  </a:lnTo>
                  <a:lnTo>
                    <a:pt x="952" y="41"/>
                  </a:lnTo>
                  <a:lnTo>
                    <a:pt x="953" y="40"/>
                  </a:lnTo>
                  <a:lnTo>
                    <a:pt x="954" y="39"/>
                  </a:lnTo>
                  <a:lnTo>
                    <a:pt x="958" y="37"/>
                  </a:lnTo>
                  <a:lnTo>
                    <a:pt x="962" y="37"/>
                  </a:lnTo>
                  <a:lnTo>
                    <a:pt x="966" y="37"/>
                  </a:lnTo>
                  <a:lnTo>
                    <a:pt x="970" y="38"/>
                  </a:lnTo>
                  <a:lnTo>
                    <a:pt x="971" y="40"/>
                  </a:lnTo>
                  <a:lnTo>
                    <a:pt x="972" y="41"/>
                  </a:lnTo>
                  <a:lnTo>
                    <a:pt x="972" y="43"/>
                  </a:lnTo>
                  <a:lnTo>
                    <a:pt x="972" y="44"/>
                  </a:lnTo>
                  <a:lnTo>
                    <a:pt x="971" y="46"/>
                  </a:lnTo>
                  <a:lnTo>
                    <a:pt x="969" y="46"/>
                  </a:lnTo>
                  <a:lnTo>
                    <a:pt x="966" y="47"/>
                  </a:lnTo>
                  <a:lnTo>
                    <a:pt x="956" y="49"/>
                  </a:lnTo>
                  <a:lnTo>
                    <a:pt x="950" y="50"/>
                  </a:lnTo>
                  <a:lnTo>
                    <a:pt x="945" y="52"/>
                  </a:lnTo>
                  <a:lnTo>
                    <a:pt x="940" y="54"/>
                  </a:lnTo>
                  <a:lnTo>
                    <a:pt x="937" y="56"/>
                  </a:lnTo>
                  <a:lnTo>
                    <a:pt x="934" y="59"/>
                  </a:lnTo>
                  <a:lnTo>
                    <a:pt x="933" y="60"/>
                  </a:lnTo>
                  <a:lnTo>
                    <a:pt x="932" y="62"/>
                  </a:lnTo>
                  <a:lnTo>
                    <a:pt x="931" y="66"/>
                  </a:lnTo>
                  <a:lnTo>
                    <a:pt x="931" y="70"/>
                  </a:lnTo>
                  <a:lnTo>
                    <a:pt x="931" y="74"/>
                  </a:lnTo>
                  <a:lnTo>
                    <a:pt x="933" y="78"/>
                  </a:lnTo>
                  <a:lnTo>
                    <a:pt x="935" y="81"/>
                  </a:lnTo>
                  <a:lnTo>
                    <a:pt x="937" y="84"/>
                  </a:lnTo>
                  <a:lnTo>
                    <a:pt x="941" y="87"/>
                  </a:lnTo>
                  <a:lnTo>
                    <a:pt x="945" y="88"/>
                  </a:lnTo>
                  <a:lnTo>
                    <a:pt x="949" y="89"/>
                  </a:lnTo>
                  <a:lnTo>
                    <a:pt x="954" y="90"/>
                  </a:lnTo>
                  <a:lnTo>
                    <a:pt x="960" y="90"/>
                  </a:lnTo>
                  <a:lnTo>
                    <a:pt x="964" y="88"/>
                  </a:lnTo>
                  <a:lnTo>
                    <a:pt x="968" y="86"/>
                  </a:lnTo>
                  <a:lnTo>
                    <a:pt x="973" y="83"/>
                  </a:lnTo>
                  <a:lnTo>
                    <a:pt x="974" y="88"/>
                  </a:lnTo>
                  <a:lnTo>
                    <a:pt x="993" y="88"/>
                  </a:lnTo>
                  <a:lnTo>
                    <a:pt x="992" y="86"/>
                  </a:lnTo>
                  <a:lnTo>
                    <a:pt x="991" y="84"/>
                  </a:lnTo>
                  <a:lnTo>
                    <a:pt x="991" y="77"/>
                  </a:lnTo>
                  <a:lnTo>
                    <a:pt x="991" y="48"/>
                  </a:lnTo>
                  <a:lnTo>
                    <a:pt x="991" y="41"/>
                  </a:lnTo>
                  <a:lnTo>
                    <a:pt x="990" y="36"/>
                  </a:lnTo>
                  <a:lnTo>
                    <a:pt x="988" y="32"/>
                  </a:lnTo>
                  <a:lnTo>
                    <a:pt x="986" y="31"/>
                  </a:lnTo>
                  <a:lnTo>
                    <a:pt x="985" y="29"/>
                  </a:lnTo>
                  <a:lnTo>
                    <a:pt x="980" y="26"/>
                  </a:lnTo>
                  <a:lnTo>
                    <a:pt x="975" y="24"/>
                  </a:lnTo>
                  <a:lnTo>
                    <a:pt x="969" y="23"/>
                  </a:lnTo>
                  <a:lnTo>
                    <a:pt x="962" y="23"/>
                  </a:lnTo>
                  <a:lnTo>
                    <a:pt x="956" y="23"/>
                  </a:lnTo>
                  <a:lnTo>
                    <a:pt x="951" y="24"/>
                  </a:lnTo>
                  <a:lnTo>
                    <a:pt x="946" y="26"/>
                  </a:lnTo>
                  <a:lnTo>
                    <a:pt x="942" y="28"/>
                  </a:lnTo>
                  <a:lnTo>
                    <a:pt x="939" y="31"/>
                  </a:lnTo>
                  <a:lnTo>
                    <a:pt x="937" y="35"/>
                  </a:lnTo>
                  <a:lnTo>
                    <a:pt x="936" y="37"/>
                  </a:lnTo>
                  <a:lnTo>
                    <a:pt x="935" y="39"/>
                  </a:lnTo>
                  <a:lnTo>
                    <a:pt x="934" y="42"/>
                  </a:lnTo>
                  <a:lnTo>
                    <a:pt x="934" y="44"/>
                  </a:lnTo>
                  <a:lnTo>
                    <a:pt x="951" y="44"/>
                  </a:lnTo>
                  <a:close/>
                  <a:moveTo>
                    <a:pt x="920" y="47"/>
                  </a:moveTo>
                  <a:lnTo>
                    <a:pt x="920" y="42"/>
                  </a:lnTo>
                  <a:lnTo>
                    <a:pt x="918" y="37"/>
                  </a:lnTo>
                  <a:lnTo>
                    <a:pt x="915" y="33"/>
                  </a:lnTo>
                  <a:lnTo>
                    <a:pt x="912" y="29"/>
                  </a:lnTo>
                  <a:lnTo>
                    <a:pt x="907" y="26"/>
                  </a:lnTo>
                  <a:lnTo>
                    <a:pt x="903" y="24"/>
                  </a:lnTo>
                  <a:lnTo>
                    <a:pt x="897" y="23"/>
                  </a:lnTo>
                  <a:lnTo>
                    <a:pt x="891" y="23"/>
                  </a:lnTo>
                  <a:lnTo>
                    <a:pt x="884" y="23"/>
                  </a:lnTo>
                  <a:lnTo>
                    <a:pt x="878" y="25"/>
                  </a:lnTo>
                  <a:lnTo>
                    <a:pt x="872" y="28"/>
                  </a:lnTo>
                  <a:lnTo>
                    <a:pt x="870" y="29"/>
                  </a:lnTo>
                  <a:lnTo>
                    <a:pt x="867" y="32"/>
                  </a:lnTo>
                  <a:lnTo>
                    <a:pt x="865" y="34"/>
                  </a:lnTo>
                  <a:lnTo>
                    <a:pt x="864" y="36"/>
                  </a:lnTo>
                  <a:lnTo>
                    <a:pt x="861" y="42"/>
                  </a:lnTo>
                  <a:lnTo>
                    <a:pt x="859" y="49"/>
                  </a:lnTo>
                  <a:lnTo>
                    <a:pt x="859" y="56"/>
                  </a:lnTo>
                  <a:lnTo>
                    <a:pt x="859" y="64"/>
                  </a:lnTo>
                  <a:lnTo>
                    <a:pt x="860" y="67"/>
                  </a:lnTo>
                  <a:lnTo>
                    <a:pt x="861" y="70"/>
                  </a:lnTo>
                  <a:lnTo>
                    <a:pt x="864" y="76"/>
                  </a:lnTo>
                  <a:lnTo>
                    <a:pt x="865" y="79"/>
                  </a:lnTo>
                  <a:lnTo>
                    <a:pt x="867" y="81"/>
                  </a:lnTo>
                  <a:lnTo>
                    <a:pt x="872" y="85"/>
                  </a:lnTo>
                  <a:lnTo>
                    <a:pt x="877" y="88"/>
                  </a:lnTo>
                  <a:lnTo>
                    <a:pt x="884" y="89"/>
                  </a:lnTo>
                  <a:lnTo>
                    <a:pt x="887" y="90"/>
                  </a:lnTo>
                  <a:lnTo>
                    <a:pt x="891" y="90"/>
                  </a:lnTo>
                  <a:lnTo>
                    <a:pt x="897" y="89"/>
                  </a:lnTo>
                  <a:lnTo>
                    <a:pt x="902" y="88"/>
                  </a:lnTo>
                  <a:lnTo>
                    <a:pt x="907" y="86"/>
                  </a:lnTo>
                  <a:lnTo>
                    <a:pt x="911" y="83"/>
                  </a:lnTo>
                  <a:lnTo>
                    <a:pt x="915" y="80"/>
                  </a:lnTo>
                  <a:lnTo>
                    <a:pt x="918" y="75"/>
                  </a:lnTo>
                  <a:lnTo>
                    <a:pt x="920" y="70"/>
                  </a:lnTo>
                  <a:lnTo>
                    <a:pt x="921" y="65"/>
                  </a:lnTo>
                  <a:lnTo>
                    <a:pt x="903" y="64"/>
                  </a:lnTo>
                  <a:lnTo>
                    <a:pt x="902" y="66"/>
                  </a:lnTo>
                  <a:lnTo>
                    <a:pt x="901" y="69"/>
                  </a:lnTo>
                  <a:lnTo>
                    <a:pt x="899" y="72"/>
                  </a:lnTo>
                  <a:lnTo>
                    <a:pt x="897" y="73"/>
                  </a:lnTo>
                  <a:lnTo>
                    <a:pt x="896" y="74"/>
                  </a:lnTo>
                  <a:lnTo>
                    <a:pt x="893" y="74"/>
                  </a:lnTo>
                  <a:lnTo>
                    <a:pt x="891" y="75"/>
                  </a:lnTo>
                  <a:lnTo>
                    <a:pt x="888" y="74"/>
                  </a:lnTo>
                  <a:lnTo>
                    <a:pt x="885" y="73"/>
                  </a:lnTo>
                  <a:lnTo>
                    <a:pt x="883" y="72"/>
                  </a:lnTo>
                  <a:lnTo>
                    <a:pt x="881" y="70"/>
                  </a:lnTo>
                  <a:lnTo>
                    <a:pt x="880" y="67"/>
                  </a:lnTo>
                  <a:lnTo>
                    <a:pt x="879" y="64"/>
                  </a:lnTo>
                  <a:lnTo>
                    <a:pt x="878" y="60"/>
                  </a:lnTo>
                  <a:lnTo>
                    <a:pt x="878" y="56"/>
                  </a:lnTo>
                  <a:lnTo>
                    <a:pt x="878" y="52"/>
                  </a:lnTo>
                  <a:lnTo>
                    <a:pt x="878" y="50"/>
                  </a:lnTo>
                  <a:lnTo>
                    <a:pt x="879" y="48"/>
                  </a:lnTo>
                  <a:lnTo>
                    <a:pt x="880" y="45"/>
                  </a:lnTo>
                  <a:lnTo>
                    <a:pt x="881" y="42"/>
                  </a:lnTo>
                  <a:lnTo>
                    <a:pt x="883" y="40"/>
                  </a:lnTo>
                  <a:lnTo>
                    <a:pt x="885" y="39"/>
                  </a:lnTo>
                  <a:lnTo>
                    <a:pt x="888" y="38"/>
                  </a:lnTo>
                  <a:lnTo>
                    <a:pt x="891" y="38"/>
                  </a:lnTo>
                  <a:lnTo>
                    <a:pt x="895" y="38"/>
                  </a:lnTo>
                  <a:lnTo>
                    <a:pt x="899" y="40"/>
                  </a:lnTo>
                  <a:lnTo>
                    <a:pt x="900" y="42"/>
                  </a:lnTo>
                  <a:lnTo>
                    <a:pt x="901" y="43"/>
                  </a:lnTo>
                  <a:lnTo>
                    <a:pt x="902" y="45"/>
                  </a:lnTo>
                  <a:lnTo>
                    <a:pt x="903" y="47"/>
                  </a:lnTo>
                  <a:lnTo>
                    <a:pt x="920" y="47"/>
                  </a:lnTo>
                  <a:close/>
                  <a:moveTo>
                    <a:pt x="847" y="24"/>
                  </a:moveTo>
                  <a:lnTo>
                    <a:pt x="828" y="24"/>
                  </a:lnTo>
                  <a:lnTo>
                    <a:pt x="828" y="60"/>
                  </a:lnTo>
                  <a:lnTo>
                    <a:pt x="828" y="67"/>
                  </a:lnTo>
                  <a:lnTo>
                    <a:pt x="827" y="69"/>
                  </a:lnTo>
                  <a:lnTo>
                    <a:pt x="826" y="70"/>
                  </a:lnTo>
                  <a:lnTo>
                    <a:pt x="825" y="72"/>
                  </a:lnTo>
                  <a:lnTo>
                    <a:pt x="823" y="73"/>
                  </a:lnTo>
                  <a:lnTo>
                    <a:pt x="821" y="74"/>
                  </a:lnTo>
                  <a:lnTo>
                    <a:pt x="818" y="74"/>
                  </a:lnTo>
                  <a:lnTo>
                    <a:pt x="816" y="74"/>
                  </a:lnTo>
                  <a:lnTo>
                    <a:pt x="814" y="73"/>
                  </a:lnTo>
                  <a:lnTo>
                    <a:pt x="812" y="72"/>
                  </a:lnTo>
                  <a:lnTo>
                    <a:pt x="810" y="70"/>
                  </a:lnTo>
                  <a:lnTo>
                    <a:pt x="809" y="67"/>
                  </a:lnTo>
                  <a:lnTo>
                    <a:pt x="808" y="60"/>
                  </a:lnTo>
                  <a:lnTo>
                    <a:pt x="808" y="24"/>
                  </a:lnTo>
                  <a:lnTo>
                    <a:pt x="789" y="24"/>
                  </a:lnTo>
                  <a:lnTo>
                    <a:pt x="789" y="64"/>
                  </a:lnTo>
                  <a:lnTo>
                    <a:pt x="790" y="71"/>
                  </a:lnTo>
                  <a:lnTo>
                    <a:pt x="791" y="76"/>
                  </a:lnTo>
                  <a:lnTo>
                    <a:pt x="792" y="78"/>
                  </a:lnTo>
                  <a:lnTo>
                    <a:pt x="793" y="80"/>
                  </a:lnTo>
                  <a:lnTo>
                    <a:pt x="795" y="83"/>
                  </a:lnTo>
                  <a:lnTo>
                    <a:pt x="799" y="86"/>
                  </a:lnTo>
                  <a:lnTo>
                    <a:pt x="803" y="88"/>
                  </a:lnTo>
                  <a:lnTo>
                    <a:pt x="808" y="89"/>
                  </a:lnTo>
                  <a:lnTo>
                    <a:pt x="812" y="90"/>
                  </a:lnTo>
                  <a:lnTo>
                    <a:pt x="818" y="89"/>
                  </a:lnTo>
                  <a:lnTo>
                    <a:pt x="822" y="88"/>
                  </a:lnTo>
                  <a:lnTo>
                    <a:pt x="826" y="85"/>
                  </a:lnTo>
                  <a:lnTo>
                    <a:pt x="828" y="83"/>
                  </a:lnTo>
                  <a:lnTo>
                    <a:pt x="829" y="81"/>
                  </a:lnTo>
                  <a:lnTo>
                    <a:pt x="829" y="88"/>
                  </a:lnTo>
                  <a:lnTo>
                    <a:pt x="847" y="88"/>
                  </a:lnTo>
                  <a:lnTo>
                    <a:pt x="847" y="24"/>
                  </a:lnTo>
                  <a:close/>
                  <a:moveTo>
                    <a:pt x="743" y="38"/>
                  </a:moveTo>
                  <a:lnTo>
                    <a:pt x="746" y="38"/>
                  </a:lnTo>
                  <a:lnTo>
                    <a:pt x="749" y="39"/>
                  </a:lnTo>
                  <a:lnTo>
                    <a:pt x="751" y="41"/>
                  </a:lnTo>
                  <a:lnTo>
                    <a:pt x="753" y="43"/>
                  </a:lnTo>
                  <a:lnTo>
                    <a:pt x="755" y="45"/>
                  </a:lnTo>
                  <a:lnTo>
                    <a:pt x="756" y="49"/>
                  </a:lnTo>
                  <a:lnTo>
                    <a:pt x="756" y="52"/>
                  </a:lnTo>
                  <a:lnTo>
                    <a:pt x="757" y="56"/>
                  </a:lnTo>
                  <a:lnTo>
                    <a:pt x="756" y="60"/>
                  </a:lnTo>
                  <a:lnTo>
                    <a:pt x="756" y="64"/>
                  </a:lnTo>
                  <a:lnTo>
                    <a:pt x="755" y="67"/>
                  </a:lnTo>
                  <a:lnTo>
                    <a:pt x="753" y="70"/>
                  </a:lnTo>
                  <a:lnTo>
                    <a:pt x="751" y="72"/>
                  </a:lnTo>
                  <a:lnTo>
                    <a:pt x="749" y="73"/>
                  </a:lnTo>
                  <a:lnTo>
                    <a:pt x="746" y="74"/>
                  </a:lnTo>
                  <a:lnTo>
                    <a:pt x="743" y="75"/>
                  </a:lnTo>
                  <a:lnTo>
                    <a:pt x="740" y="74"/>
                  </a:lnTo>
                  <a:lnTo>
                    <a:pt x="738" y="73"/>
                  </a:lnTo>
                  <a:lnTo>
                    <a:pt x="735" y="72"/>
                  </a:lnTo>
                  <a:lnTo>
                    <a:pt x="733" y="70"/>
                  </a:lnTo>
                  <a:lnTo>
                    <a:pt x="732" y="67"/>
                  </a:lnTo>
                  <a:lnTo>
                    <a:pt x="731" y="64"/>
                  </a:lnTo>
                  <a:lnTo>
                    <a:pt x="730" y="60"/>
                  </a:lnTo>
                  <a:lnTo>
                    <a:pt x="730" y="56"/>
                  </a:lnTo>
                  <a:lnTo>
                    <a:pt x="730" y="52"/>
                  </a:lnTo>
                  <a:lnTo>
                    <a:pt x="731" y="48"/>
                  </a:lnTo>
                  <a:lnTo>
                    <a:pt x="732" y="45"/>
                  </a:lnTo>
                  <a:lnTo>
                    <a:pt x="733" y="43"/>
                  </a:lnTo>
                  <a:lnTo>
                    <a:pt x="735" y="40"/>
                  </a:lnTo>
                  <a:lnTo>
                    <a:pt x="738" y="39"/>
                  </a:lnTo>
                  <a:lnTo>
                    <a:pt x="740" y="38"/>
                  </a:lnTo>
                  <a:lnTo>
                    <a:pt x="743" y="38"/>
                  </a:lnTo>
                  <a:close/>
                  <a:moveTo>
                    <a:pt x="775" y="0"/>
                  </a:moveTo>
                  <a:lnTo>
                    <a:pt x="756" y="0"/>
                  </a:lnTo>
                  <a:lnTo>
                    <a:pt x="756" y="29"/>
                  </a:lnTo>
                  <a:lnTo>
                    <a:pt x="753" y="26"/>
                  </a:lnTo>
                  <a:lnTo>
                    <a:pt x="749" y="24"/>
                  </a:lnTo>
                  <a:lnTo>
                    <a:pt x="745" y="23"/>
                  </a:lnTo>
                  <a:lnTo>
                    <a:pt x="740" y="22"/>
                  </a:lnTo>
                  <a:lnTo>
                    <a:pt x="734" y="23"/>
                  </a:lnTo>
                  <a:lnTo>
                    <a:pt x="728" y="25"/>
                  </a:lnTo>
                  <a:lnTo>
                    <a:pt x="723" y="28"/>
                  </a:lnTo>
                  <a:lnTo>
                    <a:pt x="719" y="32"/>
                  </a:lnTo>
                  <a:lnTo>
                    <a:pt x="716" y="37"/>
                  </a:lnTo>
                  <a:lnTo>
                    <a:pt x="713" y="42"/>
                  </a:lnTo>
                  <a:lnTo>
                    <a:pt x="712" y="46"/>
                  </a:lnTo>
                  <a:lnTo>
                    <a:pt x="712" y="49"/>
                  </a:lnTo>
                  <a:lnTo>
                    <a:pt x="711" y="56"/>
                  </a:lnTo>
                  <a:lnTo>
                    <a:pt x="712" y="64"/>
                  </a:lnTo>
                  <a:lnTo>
                    <a:pt x="712" y="67"/>
                  </a:lnTo>
                  <a:lnTo>
                    <a:pt x="713" y="70"/>
                  </a:lnTo>
                  <a:lnTo>
                    <a:pt x="716" y="76"/>
                  </a:lnTo>
                  <a:lnTo>
                    <a:pt x="717" y="78"/>
                  </a:lnTo>
                  <a:lnTo>
                    <a:pt x="719" y="81"/>
                  </a:lnTo>
                  <a:lnTo>
                    <a:pt x="723" y="85"/>
                  </a:lnTo>
                  <a:lnTo>
                    <a:pt x="728" y="87"/>
                  </a:lnTo>
                  <a:lnTo>
                    <a:pt x="730" y="88"/>
                  </a:lnTo>
                  <a:lnTo>
                    <a:pt x="733" y="89"/>
                  </a:lnTo>
                  <a:lnTo>
                    <a:pt x="736" y="90"/>
                  </a:lnTo>
                  <a:lnTo>
                    <a:pt x="739" y="90"/>
                  </a:lnTo>
                  <a:lnTo>
                    <a:pt x="745" y="89"/>
                  </a:lnTo>
                  <a:lnTo>
                    <a:pt x="747" y="89"/>
                  </a:lnTo>
                  <a:lnTo>
                    <a:pt x="749" y="88"/>
                  </a:lnTo>
                  <a:lnTo>
                    <a:pt x="751" y="87"/>
                  </a:lnTo>
                  <a:lnTo>
                    <a:pt x="753" y="85"/>
                  </a:lnTo>
                  <a:lnTo>
                    <a:pt x="757" y="81"/>
                  </a:lnTo>
                  <a:lnTo>
                    <a:pt x="757" y="88"/>
                  </a:lnTo>
                  <a:lnTo>
                    <a:pt x="775" y="88"/>
                  </a:lnTo>
                  <a:lnTo>
                    <a:pt x="775" y="0"/>
                  </a:lnTo>
                  <a:close/>
                  <a:moveTo>
                    <a:pt x="701" y="0"/>
                  </a:moveTo>
                  <a:lnTo>
                    <a:pt x="634" y="0"/>
                  </a:lnTo>
                  <a:lnTo>
                    <a:pt x="634" y="88"/>
                  </a:lnTo>
                  <a:lnTo>
                    <a:pt x="702" y="88"/>
                  </a:lnTo>
                  <a:lnTo>
                    <a:pt x="702" y="71"/>
                  </a:lnTo>
                  <a:lnTo>
                    <a:pt x="655" y="71"/>
                  </a:lnTo>
                  <a:lnTo>
                    <a:pt x="655" y="50"/>
                  </a:lnTo>
                  <a:lnTo>
                    <a:pt x="695" y="50"/>
                  </a:lnTo>
                  <a:lnTo>
                    <a:pt x="695" y="34"/>
                  </a:lnTo>
                  <a:lnTo>
                    <a:pt x="655" y="34"/>
                  </a:lnTo>
                  <a:lnTo>
                    <a:pt x="655" y="17"/>
                  </a:lnTo>
                  <a:lnTo>
                    <a:pt x="701" y="17"/>
                  </a:lnTo>
                  <a:lnTo>
                    <a:pt x="701" y="0"/>
                  </a:lnTo>
                  <a:close/>
                  <a:moveTo>
                    <a:pt x="538" y="48"/>
                  </a:moveTo>
                  <a:lnTo>
                    <a:pt x="539" y="46"/>
                  </a:lnTo>
                  <a:lnTo>
                    <a:pt x="540" y="43"/>
                  </a:lnTo>
                  <a:lnTo>
                    <a:pt x="541" y="41"/>
                  </a:lnTo>
                  <a:lnTo>
                    <a:pt x="543" y="40"/>
                  </a:lnTo>
                  <a:lnTo>
                    <a:pt x="544" y="38"/>
                  </a:lnTo>
                  <a:lnTo>
                    <a:pt x="547" y="38"/>
                  </a:lnTo>
                  <a:lnTo>
                    <a:pt x="552" y="37"/>
                  </a:lnTo>
                  <a:lnTo>
                    <a:pt x="556" y="38"/>
                  </a:lnTo>
                  <a:lnTo>
                    <a:pt x="558" y="38"/>
                  </a:lnTo>
                  <a:lnTo>
                    <a:pt x="560" y="40"/>
                  </a:lnTo>
                  <a:lnTo>
                    <a:pt x="562" y="41"/>
                  </a:lnTo>
                  <a:lnTo>
                    <a:pt x="563" y="43"/>
                  </a:lnTo>
                  <a:lnTo>
                    <a:pt x="564" y="46"/>
                  </a:lnTo>
                  <a:lnTo>
                    <a:pt x="564" y="48"/>
                  </a:lnTo>
                  <a:lnTo>
                    <a:pt x="538" y="48"/>
                  </a:lnTo>
                  <a:close/>
                  <a:moveTo>
                    <a:pt x="583" y="62"/>
                  </a:moveTo>
                  <a:lnTo>
                    <a:pt x="583" y="56"/>
                  </a:lnTo>
                  <a:lnTo>
                    <a:pt x="583" y="50"/>
                  </a:lnTo>
                  <a:lnTo>
                    <a:pt x="582" y="46"/>
                  </a:lnTo>
                  <a:lnTo>
                    <a:pt x="580" y="41"/>
                  </a:lnTo>
                  <a:lnTo>
                    <a:pt x="578" y="37"/>
                  </a:lnTo>
                  <a:lnTo>
                    <a:pt x="576" y="33"/>
                  </a:lnTo>
                  <a:lnTo>
                    <a:pt x="573" y="30"/>
                  </a:lnTo>
                  <a:lnTo>
                    <a:pt x="569" y="27"/>
                  </a:lnTo>
                  <a:lnTo>
                    <a:pt x="565" y="25"/>
                  </a:lnTo>
                  <a:lnTo>
                    <a:pt x="561" y="24"/>
                  </a:lnTo>
                  <a:lnTo>
                    <a:pt x="557" y="23"/>
                  </a:lnTo>
                  <a:lnTo>
                    <a:pt x="552" y="23"/>
                  </a:lnTo>
                  <a:lnTo>
                    <a:pt x="545" y="23"/>
                  </a:lnTo>
                  <a:lnTo>
                    <a:pt x="538" y="25"/>
                  </a:lnTo>
                  <a:lnTo>
                    <a:pt x="536" y="26"/>
                  </a:lnTo>
                  <a:lnTo>
                    <a:pt x="533" y="28"/>
                  </a:lnTo>
                  <a:lnTo>
                    <a:pt x="528" y="32"/>
                  </a:lnTo>
                  <a:lnTo>
                    <a:pt x="526" y="34"/>
                  </a:lnTo>
                  <a:lnTo>
                    <a:pt x="524" y="37"/>
                  </a:lnTo>
                  <a:lnTo>
                    <a:pt x="521" y="43"/>
                  </a:lnTo>
                  <a:lnTo>
                    <a:pt x="520" y="49"/>
                  </a:lnTo>
                  <a:lnTo>
                    <a:pt x="519" y="53"/>
                  </a:lnTo>
                  <a:lnTo>
                    <a:pt x="519" y="56"/>
                  </a:lnTo>
                  <a:lnTo>
                    <a:pt x="520" y="63"/>
                  </a:lnTo>
                  <a:lnTo>
                    <a:pt x="521" y="70"/>
                  </a:lnTo>
                  <a:lnTo>
                    <a:pt x="524" y="76"/>
                  </a:lnTo>
                  <a:lnTo>
                    <a:pt x="526" y="78"/>
                  </a:lnTo>
                  <a:lnTo>
                    <a:pt x="528" y="81"/>
                  </a:lnTo>
                  <a:lnTo>
                    <a:pt x="533" y="85"/>
                  </a:lnTo>
                  <a:lnTo>
                    <a:pt x="538" y="87"/>
                  </a:lnTo>
                  <a:lnTo>
                    <a:pt x="541" y="88"/>
                  </a:lnTo>
                  <a:lnTo>
                    <a:pt x="545" y="89"/>
                  </a:lnTo>
                  <a:lnTo>
                    <a:pt x="548" y="90"/>
                  </a:lnTo>
                  <a:lnTo>
                    <a:pt x="552" y="90"/>
                  </a:lnTo>
                  <a:lnTo>
                    <a:pt x="557" y="89"/>
                  </a:lnTo>
                  <a:lnTo>
                    <a:pt x="563" y="88"/>
                  </a:lnTo>
                  <a:lnTo>
                    <a:pt x="567" y="87"/>
                  </a:lnTo>
                  <a:lnTo>
                    <a:pt x="572" y="84"/>
                  </a:lnTo>
                  <a:lnTo>
                    <a:pt x="575" y="81"/>
                  </a:lnTo>
                  <a:lnTo>
                    <a:pt x="577" y="80"/>
                  </a:lnTo>
                  <a:lnTo>
                    <a:pt x="578" y="78"/>
                  </a:lnTo>
                  <a:lnTo>
                    <a:pt x="581" y="74"/>
                  </a:lnTo>
                  <a:lnTo>
                    <a:pt x="583" y="69"/>
                  </a:lnTo>
                  <a:lnTo>
                    <a:pt x="563" y="69"/>
                  </a:lnTo>
                  <a:lnTo>
                    <a:pt x="561" y="72"/>
                  </a:lnTo>
                  <a:lnTo>
                    <a:pt x="559" y="74"/>
                  </a:lnTo>
                  <a:lnTo>
                    <a:pt x="556" y="75"/>
                  </a:lnTo>
                  <a:lnTo>
                    <a:pt x="552" y="75"/>
                  </a:lnTo>
                  <a:lnTo>
                    <a:pt x="549" y="75"/>
                  </a:lnTo>
                  <a:lnTo>
                    <a:pt x="547" y="74"/>
                  </a:lnTo>
                  <a:lnTo>
                    <a:pt x="545" y="73"/>
                  </a:lnTo>
                  <a:lnTo>
                    <a:pt x="543" y="72"/>
                  </a:lnTo>
                  <a:lnTo>
                    <a:pt x="541" y="70"/>
                  </a:lnTo>
                  <a:lnTo>
                    <a:pt x="540" y="67"/>
                  </a:lnTo>
                  <a:lnTo>
                    <a:pt x="539" y="65"/>
                  </a:lnTo>
                  <a:lnTo>
                    <a:pt x="538" y="62"/>
                  </a:lnTo>
                  <a:lnTo>
                    <a:pt x="583" y="62"/>
                  </a:lnTo>
                  <a:close/>
                  <a:moveTo>
                    <a:pt x="493" y="88"/>
                  </a:moveTo>
                  <a:lnTo>
                    <a:pt x="514" y="24"/>
                  </a:lnTo>
                  <a:lnTo>
                    <a:pt x="494" y="24"/>
                  </a:lnTo>
                  <a:lnTo>
                    <a:pt x="488" y="49"/>
                  </a:lnTo>
                  <a:lnTo>
                    <a:pt x="484" y="67"/>
                  </a:lnTo>
                  <a:lnTo>
                    <a:pt x="479" y="49"/>
                  </a:lnTo>
                  <a:lnTo>
                    <a:pt x="471" y="24"/>
                  </a:lnTo>
                  <a:lnTo>
                    <a:pt x="452" y="24"/>
                  </a:lnTo>
                  <a:lnTo>
                    <a:pt x="475" y="88"/>
                  </a:lnTo>
                  <a:lnTo>
                    <a:pt x="493" y="88"/>
                  </a:lnTo>
                  <a:close/>
                  <a:moveTo>
                    <a:pt x="440" y="0"/>
                  </a:moveTo>
                  <a:lnTo>
                    <a:pt x="421" y="0"/>
                  </a:lnTo>
                  <a:lnTo>
                    <a:pt x="421" y="15"/>
                  </a:lnTo>
                  <a:lnTo>
                    <a:pt x="440" y="15"/>
                  </a:lnTo>
                  <a:lnTo>
                    <a:pt x="440" y="0"/>
                  </a:lnTo>
                  <a:close/>
                  <a:moveTo>
                    <a:pt x="440" y="24"/>
                  </a:moveTo>
                  <a:lnTo>
                    <a:pt x="421" y="24"/>
                  </a:lnTo>
                  <a:lnTo>
                    <a:pt x="421" y="88"/>
                  </a:lnTo>
                  <a:lnTo>
                    <a:pt x="440" y="88"/>
                  </a:lnTo>
                  <a:lnTo>
                    <a:pt x="440" y="24"/>
                  </a:lnTo>
                  <a:close/>
                  <a:moveTo>
                    <a:pt x="405" y="25"/>
                  </a:moveTo>
                  <a:lnTo>
                    <a:pt x="394" y="25"/>
                  </a:lnTo>
                  <a:lnTo>
                    <a:pt x="394" y="5"/>
                  </a:lnTo>
                  <a:lnTo>
                    <a:pt x="375" y="5"/>
                  </a:lnTo>
                  <a:lnTo>
                    <a:pt x="375" y="25"/>
                  </a:lnTo>
                  <a:lnTo>
                    <a:pt x="366" y="25"/>
                  </a:lnTo>
                  <a:lnTo>
                    <a:pt x="366" y="38"/>
                  </a:lnTo>
                  <a:lnTo>
                    <a:pt x="375" y="38"/>
                  </a:lnTo>
                  <a:lnTo>
                    <a:pt x="375" y="67"/>
                  </a:lnTo>
                  <a:lnTo>
                    <a:pt x="375" y="74"/>
                  </a:lnTo>
                  <a:lnTo>
                    <a:pt x="376" y="78"/>
                  </a:lnTo>
                  <a:lnTo>
                    <a:pt x="377" y="81"/>
                  </a:lnTo>
                  <a:lnTo>
                    <a:pt x="378" y="84"/>
                  </a:lnTo>
                  <a:lnTo>
                    <a:pt x="381" y="86"/>
                  </a:lnTo>
                  <a:lnTo>
                    <a:pt x="384" y="87"/>
                  </a:lnTo>
                  <a:lnTo>
                    <a:pt x="388" y="88"/>
                  </a:lnTo>
                  <a:lnTo>
                    <a:pt x="394" y="88"/>
                  </a:lnTo>
                  <a:lnTo>
                    <a:pt x="405" y="88"/>
                  </a:lnTo>
                  <a:lnTo>
                    <a:pt x="405" y="74"/>
                  </a:lnTo>
                  <a:lnTo>
                    <a:pt x="398" y="74"/>
                  </a:lnTo>
                  <a:lnTo>
                    <a:pt x="396" y="74"/>
                  </a:lnTo>
                  <a:lnTo>
                    <a:pt x="394" y="72"/>
                  </a:lnTo>
                  <a:lnTo>
                    <a:pt x="394" y="69"/>
                  </a:lnTo>
                  <a:lnTo>
                    <a:pt x="394" y="63"/>
                  </a:lnTo>
                  <a:lnTo>
                    <a:pt x="394" y="38"/>
                  </a:lnTo>
                  <a:lnTo>
                    <a:pt x="405" y="38"/>
                  </a:lnTo>
                  <a:lnTo>
                    <a:pt x="405" y="25"/>
                  </a:lnTo>
                  <a:close/>
                  <a:moveTo>
                    <a:pt x="353" y="24"/>
                  </a:moveTo>
                  <a:lnTo>
                    <a:pt x="334" y="24"/>
                  </a:lnTo>
                  <a:lnTo>
                    <a:pt x="334" y="60"/>
                  </a:lnTo>
                  <a:lnTo>
                    <a:pt x="334" y="67"/>
                  </a:lnTo>
                  <a:lnTo>
                    <a:pt x="333" y="69"/>
                  </a:lnTo>
                  <a:lnTo>
                    <a:pt x="332" y="70"/>
                  </a:lnTo>
                  <a:lnTo>
                    <a:pt x="331" y="72"/>
                  </a:lnTo>
                  <a:lnTo>
                    <a:pt x="329" y="73"/>
                  </a:lnTo>
                  <a:lnTo>
                    <a:pt x="327" y="74"/>
                  </a:lnTo>
                  <a:lnTo>
                    <a:pt x="324" y="74"/>
                  </a:lnTo>
                  <a:lnTo>
                    <a:pt x="322" y="74"/>
                  </a:lnTo>
                  <a:lnTo>
                    <a:pt x="319" y="73"/>
                  </a:lnTo>
                  <a:lnTo>
                    <a:pt x="317" y="72"/>
                  </a:lnTo>
                  <a:lnTo>
                    <a:pt x="316" y="70"/>
                  </a:lnTo>
                  <a:lnTo>
                    <a:pt x="314" y="67"/>
                  </a:lnTo>
                  <a:lnTo>
                    <a:pt x="314" y="60"/>
                  </a:lnTo>
                  <a:lnTo>
                    <a:pt x="314" y="24"/>
                  </a:lnTo>
                  <a:lnTo>
                    <a:pt x="295" y="24"/>
                  </a:lnTo>
                  <a:lnTo>
                    <a:pt x="295" y="64"/>
                  </a:lnTo>
                  <a:lnTo>
                    <a:pt x="295" y="71"/>
                  </a:lnTo>
                  <a:lnTo>
                    <a:pt x="296" y="76"/>
                  </a:lnTo>
                  <a:lnTo>
                    <a:pt x="297" y="78"/>
                  </a:lnTo>
                  <a:lnTo>
                    <a:pt x="298" y="80"/>
                  </a:lnTo>
                  <a:lnTo>
                    <a:pt x="301" y="83"/>
                  </a:lnTo>
                  <a:lnTo>
                    <a:pt x="305" y="86"/>
                  </a:lnTo>
                  <a:lnTo>
                    <a:pt x="309" y="88"/>
                  </a:lnTo>
                  <a:lnTo>
                    <a:pt x="313" y="89"/>
                  </a:lnTo>
                  <a:lnTo>
                    <a:pt x="318" y="90"/>
                  </a:lnTo>
                  <a:lnTo>
                    <a:pt x="323" y="89"/>
                  </a:lnTo>
                  <a:lnTo>
                    <a:pt x="328" y="88"/>
                  </a:lnTo>
                  <a:lnTo>
                    <a:pt x="332" y="85"/>
                  </a:lnTo>
                  <a:lnTo>
                    <a:pt x="333" y="83"/>
                  </a:lnTo>
                  <a:lnTo>
                    <a:pt x="335" y="81"/>
                  </a:lnTo>
                  <a:lnTo>
                    <a:pt x="335" y="88"/>
                  </a:lnTo>
                  <a:lnTo>
                    <a:pt x="353" y="88"/>
                  </a:lnTo>
                  <a:lnTo>
                    <a:pt x="353" y="24"/>
                  </a:lnTo>
                  <a:close/>
                  <a:moveTo>
                    <a:pt x="282" y="47"/>
                  </a:moveTo>
                  <a:lnTo>
                    <a:pt x="281" y="42"/>
                  </a:lnTo>
                  <a:lnTo>
                    <a:pt x="279" y="37"/>
                  </a:lnTo>
                  <a:lnTo>
                    <a:pt x="276" y="33"/>
                  </a:lnTo>
                  <a:lnTo>
                    <a:pt x="273" y="29"/>
                  </a:lnTo>
                  <a:lnTo>
                    <a:pt x="269" y="26"/>
                  </a:lnTo>
                  <a:lnTo>
                    <a:pt x="264" y="24"/>
                  </a:lnTo>
                  <a:lnTo>
                    <a:pt x="259" y="23"/>
                  </a:lnTo>
                  <a:lnTo>
                    <a:pt x="253" y="23"/>
                  </a:lnTo>
                  <a:lnTo>
                    <a:pt x="245" y="23"/>
                  </a:lnTo>
                  <a:lnTo>
                    <a:pt x="239" y="25"/>
                  </a:lnTo>
                  <a:lnTo>
                    <a:pt x="233" y="28"/>
                  </a:lnTo>
                  <a:lnTo>
                    <a:pt x="231" y="29"/>
                  </a:lnTo>
                  <a:lnTo>
                    <a:pt x="229" y="32"/>
                  </a:lnTo>
                  <a:lnTo>
                    <a:pt x="227" y="34"/>
                  </a:lnTo>
                  <a:lnTo>
                    <a:pt x="225" y="36"/>
                  </a:lnTo>
                  <a:lnTo>
                    <a:pt x="222" y="42"/>
                  </a:lnTo>
                  <a:lnTo>
                    <a:pt x="221" y="49"/>
                  </a:lnTo>
                  <a:lnTo>
                    <a:pt x="220" y="56"/>
                  </a:lnTo>
                  <a:lnTo>
                    <a:pt x="221" y="64"/>
                  </a:lnTo>
                  <a:lnTo>
                    <a:pt x="221" y="67"/>
                  </a:lnTo>
                  <a:lnTo>
                    <a:pt x="222" y="70"/>
                  </a:lnTo>
                  <a:lnTo>
                    <a:pt x="225" y="76"/>
                  </a:lnTo>
                  <a:lnTo>
                    <a:pt x="227" y="79"/>
                  </a:lnTo>
                  <a:lnTo>
                    <a:pt x="229" y="81"/>
                  </a:lnTo>
                  <a:lnTo>
                    <a:pt x="233" y="85"/>
                  </a:lnTo>
                  <a:lnTo>
                    <a:pt x="239" y="88"/>
                  </a:lnTo>
                  <a:lnTo>
                    <a:pt x="245" y="89"/>
                  </a:lnTo>
                  <a:lnTo>
                    <a:pt x="248" y="90"/>
                  </a:lnTo>
                  <a:lnTo>
                    <a:pt x="252" y="90"/>
                  </a:lnTo>
                  <a:lnTo>
                    <a:pt x="258" y="89"/>
                  </a:lnTo>
                  <a:lnTo>
                    <a:pt x="264" y="88"/>
                  </a:lnTo>
                  <a:lnTo>
                    <a:pt x="268" y="86"/>
                  </a:lnTo>
                  <a:lnTo>
                    <a:pt x="273" y="83"/>
                  </a:lnTo>
                  <a:lnTo>
                    <a:pt x="276" y="80"/>
                  </a:lnTo>
                  <a:lnTo>
                    <a:pt x="279" y="75"/>
                  </a:lnTo>
                  <a:lnTo>
                    <a:pt x="281" y="70"/>
                  </a:lnTo>
                  <a:lnTo>
                    <a:pt x="283" y="65"/>
                  </a:lnTo>
                  <a:lnTo>
                    <a:pt x="264" y="64"/>
                  </a:lnTo>
                  <a:lnTo>
                    <a:pt x="264" y="66"/>
                  </a:lnTo>
                  <a:lnTo>
                    <a:pt x="263" y="69"/>
                  </a:lnTo>
                  <a:lnTo>
                    <a:pt x="260" y="72"/>
                  </a:lnTo>
                  <a:lnTo>
                    <a:pt x="259" y="73"/>
                  </a:lnTo>
                  <a:lnTo>
                    <a:pt x="257" y="74"/>
                  </a:lnTo>
                  <a:lnTo>
                    <a:pt x="255" y="74"/>
                  </a:lnTo>
                  <a:lnTo>
                    <a:pt x="252" y="75"/>
                  </a:lnTo>
                  <a:lnTo>
                    <a:pt x="249" y="74"/>
                  </a:lnTo>
                  <a:lnTo>
                    <a:pt x="247" y="73"/>
                  </a:lnTo>
                  <a:lnTo>
                    <a:pt x="244" y="72"/>
                  </a:lnTo>
                  <a:lnTo>
                    <a:pt x="243" y="70"/>
                  </a:lnTo>
                  <a:lnTo>
                    <a:pt x="241" y="67"/>
                  </a:lnTo>
                  <a:lnTo>
                    <a:pt x="240" y="64"/>
                  </a:lnTo>
                  <a:lnTo>
                    <a:pt x="239" y="60"/>
                  </a:lnTo>
                  <a:lnTo>
                    <a:pt x="239" y="56"/>
                  </a:lnTo>
                  <a:lnTo>
                    <a:pt x="239" y="52"/>
                  </a:lnTo>
                  <a:lnTo>
                    <a:pt x="240" y="50"/>
                  </a:lnTo>
                  <a:lnTo>
                    <a:pt x="240" y="48"/>
                  </a:lnTo>
                  <a:lnTo>
                    <a:pt x="241" y="45"/>
                  </a:lnTo>
                  <a:lnTo>
                    <a:pt x="242" y="42"/>
                  </a:lnTo>
                  <a:lnTo>
                    <a:pt x="244" y="40"/>
                  </a:lnTo>
                  <a:lnTo>
                    <a:pt x="247" y="39"/>
                  </a:lnTo>
                  <a:lnTo>
                    <a:pt x="249" y="38"/>
                  </a:lnTo>
                  <a:lnTo>
                    <a:pt x="252" y="38"/>
                  </a:lnTo>
                  <a:lnTo>
                    <a:pt x="257" y="38"/>
                  </a:lnTo>
                  <a:lnTo>
                    <a:pt x="260" y="40"/>
                  </a:lnTo>
                  <a:lnTo>
                    <a:pt x="262" y="42"/>
                  </a:lnTo>
                  <a:lnTo>
                    <a:pt x="263" y="43"/>
                  </a:lnTo>
                  <a:lnTo>
                    <a:pt x="264" y="47"/>
                  </a:lnTo>
                  <a:lnTo>
                    <a:pt x="282" y="47"/>
                  </a:lnTo>
                  <a:close/>
                  <a:moveTo>
                    <a:pt x="164" y="48"/>
                  </a:moveTo>
                  <a:lnTo>
                    <a:pt x="165" y="46"/>
                  </a:lnTo>
                  <a:lnTo>
                    <a:pt x="166" y="43"/>
                  </a:lnTo>
                  <a:lnTo>
                    <a:pt x="167" y="41"/>
                  </a:lnTo>
                  <a:lnTo>
                    <a:pt x="169" y="40"/>
                  </a:lnTo>
                  <a:lnTo>
                    <a:pt x="171" y="38"/>
                  </a:lnTo>
                  <a:lnTo>
                    <a:pt x="173" y="38"/>
                  </a:lnTo>
                  <a:lnTo>
                    <a:pt x="178" y="37"/>
                  </a:lnTo>
                  <a:lnTo>
                    <a:pt x="183" y="38"/>
                  </a:lnTo>
                  <a:lnTo>
                    <a:pt x="185" y="38"/>
                  </a:lnTo>
                  <a:lnTo>
                    <a:pt x="186" y="40"/>
                  </a:lnTo>
                  <a:lnTo>
                    <a:pt x="188" y="41"/>
                  </a:lnTo>
                  <a:lnTo>
                    <a:pt x="189" y="43"/>
                  </a:lnTo>
                  <a:lnTo>
                    <a:pt x="190" y="46"/>
                  </a:lnTo>
                  <a:lnTo>
                    <a:pt x="190" y="48"/>
                  </a:lnTo>
                  <a:lnTo>
                    <a:pt x="164" y="48"/>
                  </a:lnTo>
                  <a:close/>
                  <a:moveTo>
                    <a:pt x="209" y="62"/>
                  </a:moveTo>
                  <a:lnTo>
                    <a:pt x="209" y="56"/>
                  </a:lnTo>
                  <a:lnTo>
                    <a:pt x="209" y="50"/>
                  </a:lnTo>
                  <a:lnTo>
                    <a:pt x="208" y="46"/>
                  </a:lnTo>
                  <a:lnTo>
                    <a:pt x="206" y="41"/>
                  </a:lnTo>
                  <a:lnTo>
                    <a:pt x="204" y="37"/>
                  </a:lnTo>
                  <a:lnTo>
                    <a:pt x="202" y="33"/>
                  </a:lnTo>
                  <a:lnTo>
                    <a:pt x="199" y="30"/>
                  </a:lnTo>
                  <a:lnTo>
                    <a:pt x="195" y="27"/>
                  </a:lnTo>
                  <a:lnTo>
                    <a:pt x="192" y="25"/>
                  </a:lnTo>
                  <a:lnTo>
                    <a:pt x="187" y="24"/>
                  </a:lnTo>
                  <a:lnTo>
                    <a:pt x="183" y="23"/>
                  </a:lnTo>
                  <a:lnTo>
                    <a:pt x="178" y="23"/>
                  </a:lnTo>
                  <a:lnTo>
                    <a:pt x="171" y="23"/>
                  </a:lnTo>
                  <a:lnTo>
                    <a:pt x="165" y="25"/>
                  </a:lnTo>
                  <a:lnTo>
                    <a:pt x="162" y="26"/>
                  </a:lnTo>
                  <a:lnTo>
                    <a:pt x="159" y="28"/>
                  </a:lnTo>
                  <a:lnTo>
                    <a:pt x="154" y="32"/>
                  </a:lnTo>
                  <a:lnTo>
                    <a:pt x="152" y="34"/>
                  </a:lnTo>
                  <a:lnTo>
                    <a:pt x="150" y="37"/>
                  </a:lnTo>
                  <a:lnTo>
                    <a:pt x="148" y="43"/>
                  </a:lnTo>
                  <a:lnTo>
                    <a:pt x="146" y="49"/>
                  </a:lnTo>
                  <a:lnTo>
                    <a:pt x="145" y="53"/>
                  </a:lnTo>
                  <a:lnTo>
                    <a:pt x="145" y="56"/>
                  </a:lnTo>
                  <a:lnTo>
                    <a:pt x="146" y="63"/>
                  </a:lnTo>
                  <a:lnTo>
                    <a:pt x="148" y="70"/>
                  </a:lnTo>
                  <a:lnTo>
                    <a:pt x="150" y="76"/>
                  </a:lnTo>
                  <a:lnTo>
                    <a:pt x="152" y="78"/>
                  </a:lnTo>
                  <a:lnTo>
                    <a:pt x="154" y="81"/>
                  </a:lnTo>
                  <a:lnTo>
                    <a:pt x="159" y="85"/>
                  </a:lnTo>
                  <a:lnTo>
                    <a:pt x="165" y="87"/>
                  </a:lnTo>
                  <a:lnTo>
                    <a:pt x="168" y="88"/>
                  </a:lnTo>
                  <a:lnTo>
                    <a:pt x="171" y="89"/>
                  </a:lnTo>
                  <a:lnTo>
                    <a:pt x="174" y="90"/>
                  </a:lnTo>
                  <a:lnTo>
                    <a:pt x="178" y="90"/>
                  </a:lnTo>
                  <a:lnTo>
                    <a:pt x="184" y="89"/>
                  </a:lnTo>
                  <a:lnTo>
                    <a:pt x="189" y="88"/>
                  </a:lnTo>
                  <a:lnTo>
                    <a:pt x="193" y="87"/>
                  </a:lnTo>
                  <a:lnTo>
                    <a:pt x="198" y="84"/>
                  </a:lnTo>
                  <a:lnTo>
                    <a:pt x="201" y="81"/>
                  </a:lnTo>
                  <a:lnTo>
                    <a:pt x="203" y="80"/>
                  </a:lnTo>
                  <a:lnTo>
                    <a:pt x="205" y="78"/>
                  </a:lnTo>
                  <a:lnTo>
                    <a:pt x="207" y="74"/>
                  </a:lnTo>
                  <a:lnTo>
                    <a:pt x="209" y="69"/>
                  </a:lnTo>
                  <a:lnTo>
                    <a:pt x="190" y="69"/>
                  </a:lnTo>
                  <a:lnTo>
                    <a:pt x="188" y="72"/>
                  </a:lnTo>
                  <a:lnTo>
                    <a:pt x="185" y="74"/>
                  </a:lnTo>
                  <a:lnTo>
                    <a:pt x="182" y="75"/>
                  </a:lnTo>
                  <a:lnTo>
                    <a:pt x="178" y="75"/>
                  </a:lnTo>
                  <a:lnTo>
                    <a:pt x="176" y="75"/>
                  </a:lnTo>
                  <a:lnTo>
                    <a:pt x="173" y="74"/>
                  </a:lnTo>
                  <a:lnTo>
                    <a:pt x="171" y="73"/>
                  </a:lnTo>
                  <a:lnTo>
                    <a:pt x="169" y="72"/>
                  </a:lnTo>
                  <a:lnTo>
                    <a:pt x="167" y="70"/>
                  </a:lnTo>
                  <a:lnTo>
                    <a:pt x="166" y="67"/>
                  </a:lnTo>
                  <a:lnTo>
                    <a:pt x="165" y="65"/>
                  </a:lnTo>
                  <a:lnTo>
                    <a:pt x="164" y="62"/>
                  </a:lnTo>
                  <a:lnTo>
                    <a:pt x="209" y="62"/>
                  </a:lnTo>
                  <a:close/>
                  <a:moveTo>
                    <a:pt x="118" y="55"/>
                  </a:moveTo>
                  <a:lnTo>
                    <a:pt x="139" y="24"/>
                  </a:lnTo>
                  <a:lnTo>
                    <a:pt x="118" y="24"/>
                  </a:lnTo>
                  <a:lnTo>
                    <a:pt x="108" y="40"/>
                  </a:lnTo>
                  <a:lnTo>
                    <a:pt x="98" y="24"/>
                  </a:lnTo>
                  <a:lnTo>
                    <a:pt x="77" y="24"/>
                  </a:lnTo>
                  <a:lnTo>
                    <a:pt x="98" y="55"/>
                  </a:lnTo>
                  <a:lnTo>
                    <a:pt x="75" y="88"/>
                  </a:lnTo>
                  <a:lnTo>
                    <a:pt x="96" y="88"/>
                  </a:lnTo>
                  <a:lnTo>
                    <a:pt x="108" y="70"/>
                  </a:lnTo>
                  <a:lnTo>
                    <a:pt x="120" y="88"/>
                  </a:lnTo>
                  <a:lnTo>
                    <a:pt x="142" y="88"/>
                  </a:lnTo>
                  <a:lnTo>
                    <a:pt x="118" y="55"/>
                  </a:lnTo>
                  <a:close/>
                  <a:moveTo>
                    <a:pt x="66" y="0"/>
                  </a:moveTo>
                  <a:lnTo>
                    <a:pt x="0" y="0"/>
                  </a:lnTo>
                  <a:lnTo>
                    <a:pt x="0" y="88"/>
                  </a:lnTo>
                  <a:lnTo>
                    <a:pt x="67" y="88"/>
                  </a:lnTo>
                  <a:lnTo>
                    <a:pt x="67" y="71"/>
                  </a:lnTo>
                  <a:lnTo>
                    <a:pt x="20" y="71"/>
                  </a:lnTo>
                  <a:lnTo>
                    <a:pt x="20" y="50"/>
                  </a:lnTo>
                  <a:lnTo>
                    <a:pt x="60" y="50"/>
                  </a:lnTo>
                  <a:lnTo>
                    <a:pt x="60" y="34"/>
                  </a:lnTo>
                  <a:lnTo>
                    <a:pt x="20" y="34"/>
                  </a:lnTo>
                  <a:lnTo>
                    <a:pt x="20" y="17"/>
                  </a:lnTo>
                  <a:lnTo>
                    <a:pt x="66" y="17"/>
                  </a:lnTo>
                  <a:lnTo>
                    <a:pt x="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15" name="Freeform 8"/>
            <p:cNvSpPr>
              <a:spLocks noEditPoints="1"/>
            </p:cNvSpPr>
            <p:nvPr userDrawn="1"/>
          </p:nvSpPr>
          <p:spPr bwMode="auto">
            <a:xfrm>
              <a:off x="4067175" y="114301"/>
              <a:ext cx="566738" cy="560388"/>
            </a:xfrm>
            <a:custGeom>
              <a:avLst/>
              <a:gdLst>
                <a:gd name="T0" fmla="*/ 223 w 357"/>
                <a:gd name="T1" fmla="*/ 220 h 353"/>
                <a:gd name="T2" fmla="*/ 134 w 357"/>
                <a:gd name="T3" fmla="*/ 220 h 353"/>
                <a:gd name="T4" fmla="*/ 179 w 357"/>
                <a:gd name="T5" fmla="*/ 100 h 353"/>
                <a:gd name="T6" fmla="*/ 223 w 357"/>
                <a:gd name="T7" fmla="*/ 220 h 353"/>
                <a:gd name="T8" fmla="*/ 357 w 357"/>
                <a:gd name="T9" fmla="*/ 353 h 353"/>
                <a:gd name="T10" fmla="*/ 230 w 357"/>
                <a:gd name="T11" fmla="*/ 0 h 353"/>
                <a:gd name="T12" fmla="*/ 127 w 357"/>
                <a:gd name="T13" fmla="*/ 0 h 353"/>
                <a:gd name="T14" fmla="*/ 0 w 357"/>
                <a:gd name="T15" fmla="*/ 353 h 353"/>
                <a:gd name="T16" fmla="*/ 91 w 357"/>
                <a:gd name="T17" fmla="*/ 353 h 353"/>
                <a:gd name="T18" fmla="*/ 113 w 357"/>
                <a:gd name="T19" fmla="*/ 291 h 353"/>
                <a:gd name="T20" fmla="*/ 245 w 357"/>
                <a:gd name="T21" fmla="*/ 291 h 353"/>
                <a:gd name="T22" fmla="*/ 267 w 357"/>
                <a:gd name="T23" fmla="*/ 353 h 353"/>
                <a:gd name="T24" fmla="*/ 357 w 357"/>
                <a:gd name="T25"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7" h="353">
                  <a:moveTo>
                    <a:pt x="223" y="220"/>
                  </a:moveTo>
                  <a:lnTo>
                    <a:pt x="134" y="220"/>
                  </a:lnTo>
                  <a:lnTo>
                    <a:pt x="179" y="100"/>
                  </a:lnTo>
                  <a:lnTo>
                    <a:pt x="223" y="220"/>
                  </a:lnTo>
                  <a:close/>
                  <a:moveTo>
                    <a:pt x="357" y="353"/>
                  </a:moveTo>
                  <a:lnTo>
                    <a:pt x="230" y="0"/>
                  </a:lnTo>
                  <a:lnTo>
                    <a:pt x="127" y="0"/>
                  </a:lnTo>
                  <a:lnTo>
                    <a:pt x="0" y="353"/>
                  </a:lnTo>
                  <a:lnTo>
                    <a:pt x="91" y="353"/>
                  </a:lnTo>
                  <a:lnTo>
                    <a:pt x="113" y="291"/>
                  </a:lnTo>
                  <a:lnTo>
                    <a:pt x="245" y="291"/>
                  </a:lnTo>
                  <a:lnTo>
                    <a:pt x="267" y="353"/>
                  </a:lnTo>
                  <a:lnTo>
                    <a:pt x="357" y="3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16" name="Freeform 9"/>
            <p:cNvSpPr>
              <a:spLocks noEditPoints="1"/>
            </p:cNvSpPr>
            <p:nvPr userDrawn="1"/>
          </p:nvSpPr>
          <p:spPr bwMode="auto">
            <a:xfrm>
              <a:off x="4686300" y="114301"/>
              <a:ext cx="858838" cy="560388"/>
            </a:xfrm>
            <a:custGeom>
              <a:avLst/>
              <a:gdLst>
                <a:gd name="T0" fmla="*/ 541 w 541"/>
                <a:gd name="T1" fmla="*/ 75 h 353"/>
                <a:gd name="T2" fmla="*/ 541 w 541"/>
                <a:gd name="T3" fmla="*/ 0 h 353"/>
                <a:gd name="T4" fmla="*/ 303 w 541"/>
                <a:gd name="T5" fmla="*/ 0 h 353"/>
                <a:gd name="T6" fmla="*/ 303 w 541"/>
                <a:gd name="T7" fmla="*/ 353 h 353"/>
                <a:gd name="T8" fmla="*/ 541 w 541"/>
                <a:gd name="T9" fmla="*/ 353 h 353"/>
                <a:gd name="T10" fmla="*/ 541 w 541"/>
                <a:gd name="T11" fmla="*/ 278 h 353"/>
                <a:gd name="T12" fmla="*/ 388 w 541"/>
                <a:gd name="T13" fmla="*/ 278 h 353"/>
                <a:gd name="T14" fmla="*/ 388 w 541"/>
                <a:gd name="T15" fmla="*/ 210 h 353"/>
                <a:gd name="T16" fmla="*/ 536 w 541"/>
                <a:gd name="T17" fmla="*/ 210 h 353"/>
                <a:gd name="T18" fmla="*/ 536 w 541"/>
                <a:gd name="T19" fmla="*/ 139 h 353"/>
                <a:gd name="T20" fmla="*/ 388 w 541"/>
                <a:gd name="T21" fmla="*/ 139 h 353"/>
                <a:gd name="T22" fmla="*/ 388 w 541"/>
                <a:gd name="T23" fmla="*/ 75 h 353"/>
                <a:gd name="T24" fmla="*/ 541 w 541"/>
                <a:gd name="T25" fmla="*/ 75 h 353"/>
                <a:gd name="T26" fmla="*/ 239 w 541"/>
                <a:gd name="T27" fmla="*/ 75 h 353"/>
                <a:gd name="T28" fmla="*/ 239 w 541"/>
                <a:gd name="T29" fmla="*/ 0 h 353"/>
                <a:gd name="T30" fmla="*/ 0 w 541"/>
                <a:gd name="T31" fmla="*/ 0 h 353"/>
                <a:gd name="T32" fmla="*/ 0 w 541"/>
                <a:gd name="T33" fmla="*/ 353 h 353"/>
                <a:gd name="T34" fmla="*/ 239 w 541"/>
                <a:gd name="T35" fmla="*/ 353 h 353"/>
                <a:gd name="T36" fmla="*/ 239 w 541"/>
                <a:gd name="T37" fmla="*/ 278 h 353"/>
                <a:gd name="T38" fmla="*/ 85 w 541"/>
                <a:gd name="T39" fmla="*/ 278 h 353"/>
                <a:gd name="T40" fmla="*/ 85 w 541"/>
                <a:gd name="T41" fmla="*/ 210 h 353"/>
                <a:gd name="T42" fmla="*/ 235 w 541"/>
                <a:gd name="T43" fmla="*/ 210 h 353"/>
                <a:gd name="T44" fmla="*/ 235 w 541"/>
                <a:gd name="T45" fmla="*/ 139 h 353"/>
                <a:gd name="T46" fmla="*/ 85 w 541"/>
                <a:gd name="T47" fmla="*/ 139 h 353"/>
                <a:gd name="T48" fmla="*/ 85 w 541"/>
                <a:gd name="T49" fmla="*/ 75 h 353"/>
                <a:gd name="T50" fmla="*/ 239 w 541"/>
                <a:gd name="T51" fmla="*/ 75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1" h="353">
                  <a:moveTo>
                    <a:pt x="541" y="75"/>
                  </a:moveTo>
                  <a:lnTo>
                    <a:pt x="541" y="0"/>
                  </a:lnTo>
                  <a:lnTo>
                    <a:pt x="303" y="0"/>
                  </a:lnTo>
                  <a:lnTo>
                    <a:pt x="303" y="353"/>
                  </a:lnTo>
                  <a:lnTo>
                    <a:pt x="541" y="353"/>
                  </a:lnTo>
                  <a:lnTo>
                    <a:pt x="541" y="278"/>
                  </a:lnTo>
                  <a:lnTo>
                    <a:pt x="388" y="278"/>
                  </a:lnTo>
                  <a:lnTo>
                    <a:pt x="388" y="210"/>
                  </a:lnTo>
                  <a:lnTo>
                    <a:pt x="536" y="210"/>
                  </a:lnTo>
                  <a:lnTo>
                    <a:pt x="536" y="139"/>
                  </a:lnTo>
                  <a:lnTo>
                    <a:pt x="388" y="139"/>
                  </a:lnTo>
                  <a:lnTo>
                    <a:pt x="388" y="75"/>
                  </a:lnTo>
                  <a:lnTo>
                    <a:pt x="541" y="75"/>
                  </a:lnTo>
                  <a:close/>
                  <a:moveTo>
                    <a:pt x="239" y="75"/>
                  </a:moveTo>
                  <a:lnTo>
                    <a:pt x="239" y="0"/>
                  </a:lnTo>
                  <a:lnTo>
                    <a:pt x="0" y="0"/>
                  </a:lnTo>
                  <a:lnTo>
                    <a:pt x="0" y="353"/>
                  </a:lnTo>
                  <a:lnTo>
                    <a:pt x="239" y="353"/>
                  </a:lnTo>
                  <a:lnTo>
                    <a:pt x="239" y="278"/>
                  </a:lnTo>
                  <a:lnTo>
                    <a:pt x="85" y="278"/>
                  </a:lnTo>
                  <a:lnTo>
                    <a:pt x="85" y="210"/>
                  </a:lnTo>
                  <a:lnTo>
                    <a:pt x="235" y="210"/>
                  </a:lnTo>
                  <a:lnTo>
                    <a:pt x="235" y="139"/>
                  </a:lnTo>
                  <a:lnTo>
                    <a:pt x="85" y="139"/>
                  </a:lnTo>
                  <a:lnTo>
                    <a:pt x="85" y="75"/>
                  </a:lnTo>
                  <a:lnTo>
                    <a:pt x="23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grpSp>
    </p:spTree>
    <p:extLst>
      <p:ext uri="{BB962C8B-B14F-4D97-AF65-F5344CB8AC3E}">
        <p14:creationId xmlns:p14="http://schemas.microsoft.com/office/powerpoint/2010/main" val="3681245350"/>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8. Divider - Red">
    <p:spTree>
      <p:nvGrpSpPr>
        <p:cNvPr id="1" name=""/>
        <p:cNvGrpSpPr/>
        <p:nvPr/>
      </p:nvGrpSpPr>
      <p:grpSpPr>
        <a:xfrm>
          <a:off x="0" y="0"/>
          <a:ext cx="0" cy="0"/>
          <a:chOff x="0" y="0"/>
          <a:chExt cx="0" cy="0"/>
        </a:xfrm>
      </p:grpSpPr>
      <p:sp>
        <p:nvSpPr>
          <p:cNvPr id="5" name="Rectangle 4"/>
          <p:cNvSpPr/>
          <p:nvPr userDrawn="1"/>
        </p:nvSpPr>
        <p:spPr>
          <a:xfrm>
            <a:off x="-1066"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7" name="Text Placeholder 3"/>
          <p:cNvSpPr>
            <a:spLocks noGrp="1"/>
          </p:cNvSpPr>
          <p:nvPr>
            <p:ph type="body" sz="half" idx="11" hasCustomPrompt="1"/>
          </p:nvPr>
        </p:nvSpPr>
        <p:spPr>
          <a:xfrm>
            <a:off x="755650" y="1759425"/>
            <a:ext cx="7669159" cy="1352265"/>
          </a:xfrm>
          <a:prstGeom prst="rect">
            <a:avLst/>
          </a:prstGeom>
        </p:spPr>
        <p:txBody>
          <a:bodyPr lIns="0" rIns="0"/>
          <a:lstStyle>
            <a:lvl1pPr marL="0" indent="0" algn="l">
              <a:lnSpc>
                <a:spcPct val="100000"/>
              </a:lnSpc>
              <a:spcBef>
                <a:spcPts val="0"/>
              </a:spcBef>
              <a:buNone/>
              <a:defRPr sz="4000" b="1" baseline="0">
                <a:solidFill>
                  <a:schemeClr val="bg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Divider – Headline</a:t>
            </a:r>
          </a:p>
        </p:txBody>
      </p:sp>
      <p:sp>
        <p:nvSpPr>
          <p:cNvPr id="2" name="Päivämäärän paikkamerkki 1">
            <a:extLst>
              <a:ext uri="{FF2B5EF4-FFF2-40B4-BE49-F238E27FC236}">
                <a16:creationId xmlns:a16="http://schemas.microsoft.com/office/drawing/2014/main" id="{37C6C481-D72C-4B89-AA19-AC91EB21FEFA}"/>
              </a:ext>
            </a:extLst>
          </p:cNvPr>
          <p:cNvSpPr>
            <a:spLocks noGrp="1"/>
          </p:cNvSpPr>
          <p:nvPr>
            <p:ph type="dt" sz="half" idx="12"/>
          </p:nvPr>
        </p:nvSpPr>
        <p:spPr/>
        <p:txBody>
          <a:bodyPr/>
          <a:lstStyle>
            <a:lvl1pPr>
              <a:defRPr>
                <a:solidFill>
                  <a:srgbClr val="FFFFFF"/>
                </a:solidFill>
              </a:defRPr>
            </a:lvl1pPr>
          </a:lstStyle>
          <a:p>
            <a:r>
              <a:rPr lang="fi-FI" dirty="0"/>
              <a:t>dd.mm.yyyy</a:t>
            </a:r>
            <a:endParaRPr lang="en-US" dirty="0"/>
          </a:p>
        </p:txBody>
      </p:sp>
      <p:sp>
        <p:nvSpPr>
          <p:cNvPr id="3" name="Alatunnisteen paikkamerkki 2">
            <a:extLst>
              <a:ext uri="{FF2B5EF4-FFF2-40B4-BE49-F238E27FC236}">
                <a16:creationId xmlns:a16="http://schemas.microsoft.com/office/drawing/2014/main" id="{2A81A4FB-6563-4C02-8A9B-51D830F1EAB1}"/>
              </a:ext>
            </a:extLst>
          </p:cNvPr>
          <p:cNvSpPr>
            <a:spLocks noGrp="1"/>
          </p:cNvSpPr>
          <p:nvPr>
            <p:ph type="ftr" sz="quarter" idx="13"/>
          </p:nvPr>
        </p:nvSpPr>
        <p:spPr/>
        <p:txBody>
          <a:bodyPr/>
          <a:lstStyle>
            <a:lvl1pPr>
              <a:defRPr>
                <a:solidFill>
                  <a:srgbClr val="FFFFFF"/>
                </a:solidFill>
              </a:defRPr>
            </a:lvl1pPr>
          </a:lstStyle>
          <a:p>
            <a:r>
              <a:rPr lang="fi-FI" dirty="0"/>
              <a:t>Your text here</a:t>
            </a:r>
          </a:p>
        </p:txBody>
      </p:sp>
      <p:sp>
        <p:nvSpPr>
          <p:cNvPr id="4" name="Dian numeron paikkamerkki 3">
            <a:extLst>
              <a:ext uri="{FF2B5EF4-FFF2-40B4-BE49-F238E27FC236}">
                <a16:creationId xmlns:a16="http://schemas.microsoft.com/office/drawing/2014/main" id="{1F6A7C93-158F-48BA-8E95-EC2109A4B4DE}"/>
              </a:ext>
            </a:extLst>
          </p:cNvPr>
          <p:cNvSpPr>
            <a:spLocks noGrp="1"/>
          </p:cNvSpPr>
          <p:nvPr>
            <p:ph type="sldNum" sz="quarter" idx="14"/>
          </p:nvPr>
        </p:nvSpPr>
        <p:spPr/>
        <p:txBody>
          <a:bodyPr/>
          <a:lstStyle>
            <a:lvl1pPr>
              <a:defRPr>
                <a:solidFill>
                  <a:srgbClr val="FFFFFF"/>
                </a:solidFill>
              </a:defRPr>
            </a:lvl1pPr>
          </a:lstStyle>
          <a:p>
            <a:fld id="{28F7F04C-F568-F649-A2AE-EA61C66B69B4}" type="slidenum">
              <a:rPr lang="en-US" smtClean="0"/>
              <a:pPr/>
              <a:t>‹#›</a:t>
            </a:fld>
            <a:endParaRPr lang="en-US" dirty="0"/>
          </a:p>
        </p:txBody>
      </p:sp>
      <p:pic>
        <p:nvPicPr>
          <p:cNvPr id="10" name="Kuva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1580"/>
            <a:ext cx="1991440" cy="856800"/>
          </a:xfrm>
          <a:prstGeom prst="rect">
            <a:avLst/>
          </a:prstGeom>
        </p:spPr>
      </p:pic>
    </p:spTree>
    <p:extLst>
      <p:ext uri="{BB962C8B-B14F-4D97-AF65-F5344CB8AC3E}">
        <p14:creationId xmlns:p14="http://schemas.microsoft.com/office/powerpoint/2010/main" val="3803549555"/>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type="secHead" preserve="1">
  <p:cSld name="Section Header 3r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573882"/>
            <a:ext cx="7487081" cy="602326"/>
          </a:xfrm>
          <a:solidFill>
            <a:srgbClr val="B1059D"/>
          </a:solidFill>
        </p:spPr>
        <p:txBody>
          <a:bodyPr lIns="540000" rIns="540000" anchor="t"/>
          <a:lstStyle>
            <a:lvl1pPr algn="l">
              <a:defRPr sz="3299" b="1" cap="none"/>
            </a:lvl1pPr>
          </a:lstStyle>
          <a:p>
            <a:r>
              <a:rPr lang="en-US" dirty="0"/>
              <a:t>Click to add title</a:t>
            </a:r>
          </a:p>
        </p:txBody>
      </p:sp>
      <p:sp>
        <p:nvSpPr>
          <p:cNvPr id="3" name="Text Placeholder 2"/>
          <p:cNvSpPr>
            <a:spLocks noGrp="1"/>
          </p:cNvSpPr>
          <p:nvPr>
            <p:ph type="body" idx="1" hasCustomPrompt="1"/>
          </p:nvPr>
        </p:nvSpPr>
        <p:spPr>
          <a:xfrm>
            <a:off x="4572001" y="2842022"/>
            <a:ext cx="4572000" cy="567683"/>
          </a:xfrm>
          <a:solidFill>
            <a:srgbClr val="000000">
              <a:alpha val="89804"/>
            </a:srgbClr>
          </a:solidFill>
        </p:spPr>
        <p:txBody>
          <a:bodyPr wrap="square" lIns="324000" tIns="144000" rIns="324000" bIns="144000" anchor="t" anchorCtr="0">
            <a:spAutoFit/>
          </a:bodyPr>
          <a:lstStyle>
            <a:lvl1pPr marL="0" indent="0" algn="r">
              <a:buNone/>
              <a:defRPr sz="1799" b="1" i="0">
                <a:solidFill>
                  <a:schemeClr val="bg1"/>
                </a:solidFill>
              </a:defRPr>
            </a:lvl1pPr>
            <a:lvl2pPr marL="342797" indent="0">
              <a:buNone/>
              <a:defRPr sz="1349">
                <a:solidFill>
                  <a:schemeClr val="tx1">
                    <a:tint val="75000"/>
                  </a:schemeClr>
                </a:solidFill>
              </a:defRPr>
            </a:lvl2pPr>
            <a:lvl3pPr marL="685595" indent="0">
              <a:buNone/>
              <a:defRPr sz="1200">
                <a:solidFill>
                  <a:schemeClr val="tx1">
                    <a:tint val="75000"/>
                  </a:schemeClr>
                </a:solidFill>
              </a:defRPr>
            </a:lvl3pPr>
            <a:lvl4pPr marL="1028392" indent="0">
              <a:buNone/>
              <a:defRPr sz="1050">
                <a:solidFill>
                  <a:schemeClr val="tx1">
                    <a:tint val="75000"/>
                  </a:schemeClr>
                </a:solidFill>
              </a:defRPr>
            </a:lvl4pPr>
            <a:lvl5pPr marL="1371188" indent="0">
              <a:buNone/>
              <a:defRPr sz="1050">
                <a:solidFill>
                  <a:schemeClr val="tx1">
                    <a:tint val="75000"/>
                  </a:schemeClr>
                </a:solidFill>
              </a:defRPr>
            </a:lvl5pPr>
            <a:lvl6pPr marL="1713986" indent="0">
              <a:buNone/>
              <a:defRPr sz="1050">
                <a:solidFill>
                  <a:schemeClr val="tx1">
                    <a:tint val="75000"/>
                  </a:schemeClr>
                </a:solidFill>
              </a:defRPr>
            </a:lvl6pPr>
            <a:lvl7pPr marL="2056783" indent="0">
              <a:buNone/>
              <a:defRPr sz="1050">
                <a:solidFill>
                  <a:schemeClr val="tx1">
                    <a:tint val="75000"/>
                  </a:schemeClr>
                </a:solidFill>
              </a:defRPr>
            </a:lvl7pPr>
            <a:lvl8pPr marL="2399580" indent="0">
              <a:buNone/>
              <a:defRPr sz="1050">
                <a:solidFill>
                  <a:schemeClr val="tx1">
                    <a:tint val="75000"/>
                  </a:schemeClr>
                </a:solidFill>
              </a:defRPr>
            </a:lvl8pPr>
            <a:lvl9pPr marL="2742377" indent="0">
              <a:buNone/>
              <a:defRPr sz="1050">
                <a:solidFill>
                  <a:schemeClr val="tx1">
                    <a:tint val="75000"/>
                  </a:schemeClr>
                </a:solidFill>
              </a:defRPr>
            </a:lvl9pPr>
          </a:lstStyle>
          <a:p>
            <a:pPr lvl="0"/>
            <a:r>
              <a:rPr lang="en-US" dirty="0"/>
              <a:t>Click to add text</a:t>
            </a:r>
          </a:p>
        </p:txBody>
      </p:sp>
      <p:sp>
        <p:nvSpPr>
          <p:cNvPr id="4" name="Date Placeholder 3"/>
          <p:cNvSpPr>
            <a:spLocks noGrp="1"/>
          </p:cNvSpPr>
          <p:nvPr>
            <p:ph type="dt" sz="half" idx="10"/>
          </p:nvPr>
        </p:nvSpPr>
        <p:spPr/>
        <p:txBody>
          <a:bodyPr/>
          <a:lstStyle>
            <a:lvl1pPr>
              <a:defRPr>
                <a:solidFill>
                  <a:schemeClr val="bg1"/>
                </a:solidFill>
              </a:defRPr>
            </a:lvl1pPr>
          </a:lstStyle>
          <a:p>
            <a:fld id="{B8709EDD-CFFC-4EFE-A246-61EE6663AA23}" type="datetime1">
              <a:rPr lang="fi-FI" smtClean="0"/>
              <a:t>5.11.2023</a:t>
            </a:fld>
            <a:endParaRPr lang="en-US" dirty="0"/>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 Aalto University Executive Education</a:t>
            </a:r>
            <a:endParaRPr lang="en-US"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FCCA222D-FCF7-48C1-A274-EBDDEF75DC66}" type="slidenum">
              <a:rPr lang="en-US" smtClean="0"/>
              <a:pPr/>
              <a:t>‹#›</a:t>
            </a:fld>
            <a:endParaRPr lang="en-US" dirty="0"/>
          </a:p>
        </p:txBody>
      </p:sp>
      <p:grpSp>
        <p:nvGrpSpPr>
          <p:cNvPr id="12" name="Group 11"/>
          <p:cNvGrpSpPr>
            <a:grpSpLocks noChangeAspect="1"/>
          </p:cNvGrpSpPr>
          <p:nvPr userDrawn="1"/>
        </p:nvGrpSpPr>
        <p:grpSpPr>
          <a:xfrm>
            <a:off x="7595548" y="249492"/>
            <a:ext cx="1294117" cy="199800"/>
            <a:chOff x="4067175" y="114301"/>
            <a:chExt cx="3630613" cy="560388"/>
          </a:xfrm>
          <a:solidFill>
            <a:schemeClr val="bg1"/>
          </a:solidFill>
          <a:effectLst>
            <a:outerShdw blurRad="190500" algn="ctr" rotWithShape="0">
              <a:prstClr val="black">
                <a:alpha val="30000"/>
              </a:prstClr>
            </a:outerShdw>
          </a:effectLst>
        </p:grpSpPr>
        <p:sp>
          <p:nvSpPr>
            <p:cNvPr id="13" name="Freeform 6"/>
            <p:cNvSpPr>
              <a:spLocks noEditPoints="1"/>
            </p:cNvSpPr>
            <p:nvPr userDrawn="1"/>
          </p:nvSpPr>
          <p:spPr bwMode="auto">
            <a:xfrm>
              <a:off x="5749925" y="114301"/>
              <a:ext cx="1530350" cy="173038"/>
            </a:xfrm>
            <a:custGeom>
              <a:avLst/>
              <a:gdLst>
                <a:gd name="T0" fmla="*/ 922 w 964"/>
                <a:gd name="T1" fmla="*/ 84 h 109"/>
                <a:gd name="T2" fmla="*/ 918 w 964"/>
                <a:gd name="T3" fmla="*/ 109 h 109"/>
                <a:gd name="T4" fmla="*/ 944 w 964"/>
                <a:gd name="T5" fmla="*/ 25 h 109"/>
                <a:gd name="T6" fmla="*/ 860 w 964"/>
                <a:gd name="T7" fmla="*/ 68 h 109"/>
                <a:gd name="T8" fmla="*/ 890 w 964"/>
                <a:gd name="T9" fmla="*/ 89 h 109"/>
                <a:gd name="T10" fmla="*/ 890 w 964"/>
                <a:gd name="T11" fmla="*/ 39 h 109"/>
                <a:gd name="T12" fmla="*/ 819 w 964"/>
                <a:gd name="T13" fmla="*/ 89 h 109"/>
                <a:gd name="T14" fmla="*/ 793 w 964"/>
                <a:gd name="T15" fmla="*/ 26 h 109"/>
                <a:gd name="T16" fmla="*/ 753 w 964"/>
                <a:gd name="T17" fmla="*/ 33 h 109"/>
                <a:gd name="T18" fmla="*/ 757 w 964"/>
                <a:gd name="T19" fmla="*/ 58 h 109"/>
                <a:gd name="T20" fmla="*/ 788 w 964"/>
                <a:gd name="T21" fmla="*/ 72 h 109"/>
                <a:gd name="T22" fmla="*/ 767 w 964"/>
                <a:gd name="T23" fmla="*/ 70 h 109"/>
                <a:gd name="T24" fmla="*/ 772 w 964"/>
                <a:gd name="T25" fmla="*/ 90 h 109"/>
                <a:gd name="T26" fmla="*/ 806 w 964"/>
                <a:gd name="T27" fmla="*/ 73 h 109"/>
                <a:gd name="T28" fmla="*/ 788 w 964"/>
                <a:gd name="T29" fmla="*/ 49 h 109"/>
                <a:gd name="T30" fmla="*/ 777 w 964"/>
                <a:gd name="T31" fmla="*/ 37 h 109"/>
                <a:gd name="T32" fmla="*/ 700 w 964"/>
                <a:gd name="T33" fmla="*/ 89 h 109"/>
                <a:gd name="T34" fmla="*/ 729 w 964"/>
                <a:gd name="T35" fmla="*/ 42 h 109"/>
                <a:gd name="T36" fmla="*/ 723 w 964"/>
                <a:gd name="T37" fmla="*/ 27 h 109"/>
                <a:gd name="T38" fmla="*/ 643 w 964"/>
                <a:gd name="T39" fmla="*/ 42 h 109"/>
                <a:gd name="T40" fmla="*/ 666 w 964"/>
                <a:gd name="T41" fmla="*/ 44 h 109"/>
                <a:gd name="T42" fmla="*/ 682 w 964"/>
                <a:gd name="T43" fmla="*/ 38 h 109"/>
                <a:gd name="T44" fmla="*/ 647 w 964"/>
                <a:gd name="T45" fmla="*/ 24 h 109"/>
                <a:gd name="T46" fmla="*/ 623 w 964"/>
                <a:gd name="T47" fmla="*/ 46 h 109"/>
                <a:gd name="T48" fmla="*/ 641 w 964"/>
                <a:gd name="T49" fmla="*/ 88 h 109"/>
                <a:gd name="T50" fmla="*/ 679 w 964"/>
                <a:gd name="T51" fmla="*/ 82 h 109"/>
                <a:gd name="T52" fmla="*/ 656 w 964"/>
                <a:gd name="T53" fmla="*/ 76 h 109"/>
                <a:gd name="T54" fmla="*/ 687 w 964"/>
                <a:gd name="T55" fmla="*/ 62 h 109"/>
                <a:gd name="T56" fmla="*/ 575 w 964"/>
                <a:gd name="T57" fmla="*/ 89 h 109"/>
                <a:gd name="T58" fmla="*/ 521 w 964"/>
                <a:gd name="T59" fmla="*/ 89 h 109"/>
                <a:gd name="T60" fmla="*/ 467 w 964"/>
                <a:gd name="T61" fmla="*/ 42 h 109"/>
                <a:gd name="T62" fmla="*/ 483 w 964"/>
                <a:gd name="T63" fmla="*/ 44 h 109"/>
                <a:gd name="T64" fmla="*/ 497 w 964"/>
                <a:gd name="T65" fmla="*/ 29 h 109"/>
                <a:gd name="T66" fmla="*/ 463 w 964"/>
                <a:gd name="T67" fmla="*/ 25 h 109"/>
                <a:gd name="T68" fmla="*/ 398 w 964"/>
                <a:gd name="T69" fmla="*/ 73 h 109"/>
                <a:gd name="T70" fmla="*/ 376 w 964"/>
                <a:gd name="T71" fmla="*/ 63 h 109"/>
                <a:gd name="T72" fmla="*/ 364 w 964"/>
                <a:gd name="T73" fmla="*/ 81 h 109"/>
                <a:gd name="T74" fmla="*/ 406 w 964"/>
                <a:gd name="T75" fmla="*/ 89 h 109"/>
                <a:gd name="T76" fmla="*/ 427 w 964"/>
                <a:gd name="T77" fmla="*/ 60 h 109"/>
                <a:gd name="T78" fmla="*/ 292 w 964"/>
                <a:gd name="T79" fmla="*/ 49 h 109"/>
                <a:gd name="T80" fmla="*/ 284 w 964"/>
                <a:gd name="T81" fmla="*/ 74 h 109"/>
                <a:gd name="T82" fmla="*/ 263 w 964"/>
                <a:gd name="T83" fmla="*/ 61 h 109"/>
                <a:gd name="T84" fmla="*/ 274 w 964"/>
                <a:gd name="T85" fmla="*/ 38 h 109"/>
                <a:gd name="T86" fmla="*/ 247 w 964"/>
                <a:gd name="T87" fmla="*/ 40 h 109"/>
                <a:gd name="T88" fmla="*/ 249 w 964"/>
                <a:gd name="T89" fmla="*/ 76 h 109"/>
                <a:gd name="T90" fmla="*/ 291 w 964"/>
                <a:gd name="T91" fmla="*/ 88 h 109"/>
                <a:gd name="T92" fmla="*/ 311 w 964"/>
                <a:gd name="T93" fmla="*/ 57 h 109"/>
                <a:gd name="T94" fmla="*/ 291 w 964"/>
                <a:gd name="T95" fmla="*/ 26 h 109"/>
                <a:gd name="T96" fmla="*/ 196 w 964"/>
                <a:gd name="T97" fmla="*/ 26 h 109"/>
                <a:gd name="T98" fmla="*/ 214 w 964"/>
                <a:gd name="T99" fmla="*/ 88 h 109"/>
                <a:gd name="T100" fmla="*/ 224 w 964"/>
                <a:gd name="T101" fmla="*/ 70 h 109"/>
                <a:gd name="T102" fmla="*/ 184 w 964"/>
                <a:gd name="T103" fmla="*/ 0 h 109"/>
                <a:gd name="T104" fmla="*/ 108 w 964"/>
                <a:gd name="T105" fmla="*/ 71 h 109"/>
                <a:gd name="T106" fmla="*/ 110 w 964"/>
                <a:gd name="T107" fmla="*/ 45 h 109"/>
                <a:gd name="T108" fmla="*/ 130 w 964"/>
                <a:gd name="T109" fmla="*/ 41 h 109"/>
                <a:gd name="T110" fmla="*/ 103 w 964"/>
                <a:gd name="T111" fmla="*/ 52 h 109"/>
                <a:gd name="T112" fmla="*/ 91 w 964"/>
                <a:gd name="T113" fmla="*/ 79 h 109"/>
                <a:gd name="T114" fmla="*/ 123 w 964"/>
                <a:gd name="T115" fmla="*/ 89 h 109"/>
                <a:gd name="T116" fmla="*/ 149 w 964"/>
                <a:gd name="T117" fmla="*/ 42 h 109"/>
                <a:gd name="T118" fmla="*/ 115 w 964"/>
                <a:gd name="T119" fmla="*/ 23 h 109"/>
                <a:gd name="T120" fmla="*/ 93 w 964"/>
                <a:gd name="T121" fmla="*/ 45 h 109"/>
                <a:gd name="T122" fmla="*/ 56 w 964"/>
                <a:gd name="T1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4" h="109">
                  <a:moveTo>
                    <a:pt x="944" y="25"/>
                  </a:moveTo>
                  <a:lnTo>
                    <a:pt x="936" y="54"/>
                  </a:lnTo>
                  <a:lnTo>
                    <a:pt x="933" y="68"/>
                  </a:lnTo>
                  <a:lnTo>
                    <a:pt x="932" y="65"/>
                  </a:lnTo>
                  <a:lnTo>
                    <a:pt x="928" y="54"/>
                  </a:lnTo>
                  <a:lnTo>
                    <a:pt x="919" y="25"/>
                  </a:lnTo>
                  <a:lnTo>
                    <a:pt x="899" y="25"/>
                  </a:lnTo>
                  <a:lnTo>
                    <a:pt x="920" y="79"/>
                  </a:lnTo>
                  <a:lnTo>
                    <a:pt x="922" y="84"/>
                  </a:lnTo>
                  <a:lnTo>
                    <a:pt x="922" y="87"/>
                  </a:lnTo>
                  <a:lnTo>
                    <a:pt x="922" y="90"/>
                  </a:lnTo>
                  <a:lnTo>
                    <a:pt x="920" y="93"/>
                  </a:lnTo>
                  <a:lnTo>
                    <a:pt x="919" y="94"/>
                  </a:lnTo>
                  <a:lnTo>
                    <a:pt x="917" y="94"/>
                  </a:lnTo>
                  <a:lnTo>
                    <a:pt x="913" y="95"/>
                  </a:lnTo>
                  <a:lnTo>
                    <a:pt x="907" y="95"/>
                  </a:lnTo>
                  <a:lnTo>
                    <a:pt x="907" y="109"/>
                  </a:lnTo>
                  <a:lnTo>
                    <a:pt x="918" y="109"/>
                  </a:lnTo>
                  <a:lnTo>
                    <a:pt x="923" y="109"/>
                  </a:lnTo>
                  <a:lnTo>
                    <a:pt x="927" y="108"/>
                  </a:lnTo>
                  <a:lnTo>
                    <a:pt x="930" y="107"/>
                  </a:lnTo>
                  <a:lnTo>
                    <a:pt x="933" y="105"/>
                  </a:lnTo>
                  <a:lnTo>
                    <a:pt x="935" y="103"/>
                  </a:lnTo>
                  <a:lnTo>
                    <a:pt x="937" y="100"/>
                  </a:lnTo>
                  <a:lnTo>
                    <a:pt x="941" y="89"/>
                  </a:lnTo>
                  <a:lnTo>
                    <a:pt x="964" y="25"/>
                  </a:lnTo>
                  <a:lnTo>
                    <a:pt x="944" y="25"/>
                  </a:lnTo>
                  <a:close/>
                  <a:moveTo>
                    <a:pt x="890" y="26"/>
                  </a:moveTo>
                  <a:lnTo>
                    <a:pt x="879" y="26"/>
                  </a:lnTo>
                  <a:lnTo>
                    <a:pt x="879" y="5"/>
                  </a:lnTo>
                  <a:lnTo>
                    <a:pt x="860" y="5"/>
                  </a:lnTo>
                  <a:lnTo>
                    <a:pt x="860" y="26"/>
                  </a:lnTo>
                  <a:lnTo>
                    <a:pt x="851" y="26"/>
                  </a:lnTo>
                  <a:lnTo>
                    <a:pt x="851" y="39"/>
                  </a:lnTo>
                  <a:lnTo>
                    <a:pt x="860" y="39"/>
                  </a:lnTo>
                  <a:lnTo>
                    <a:pt x="860" y="68"/>
                  </a:lnTo>
                  <a:lnTo>
                    <a:pt x="860" y="74"/>
                  </a:lnTo>
                  <a:lnTo>
                    <a:pt x="861" y="79"/>
                  </a:lnTo>
                  <a:lnTo>
                    <a:pt x="862" y="82"/>
                  </a:lnTo>
                  <a:lnTo>
                    <a:pt x="863" y="84"/>
                  </a:lnTo>
                  <a:lnTo>
                    <a:pt x="866" y="86"/>
                  </a:lnTo>
                  <a:lnTo>
                    <a:pt x="869" y="88"/>
                  </a:lnTo>
                  <a:lnTo>
                    <a:pt x="873" y="88"/>
                  </a:lnTo>
                  <a:lnTo>
                    <a:pt x="879" y="89"/>
                  </a:lnTo>
                  <a:lnTo>
                    <a:pt x="890" y="89"/>
                  </a:lnTo>
                  <a:lnTo>
                    <a:pt x="890" y="75"/>
                  </a:lnTo>
                  <a:lnTo>
                    <a:pt x="883" y="75"/>
                  </a:lnTo>
                  <a:lnTo>
                    <a:pt x="881" y="74"/>
                  </a:lnTo>
                  <a:lnTo>
                    <a:pt x="880" y="74"/>
                  </a:lnTo>
                  <a:lnTo>
                    <a:pt x="879" y="73"/>
                  </a:lnTo>
                  <a:lnTo>
                    <a:pt x="879" y="70"/>
                  </a:lnTo>
                  <a:lnTo>
                    <a:pt x="879" y="64"/>
                  </a:lnTo>
                  <a:lnTo>
                    <a:pt x="879" y="39"/>
                  </a:lnTo>
                  <a:lnTo>
                    <a:pt x="890" y="39"/>
                  </a:lnTo>
                  <a:lnTo>
                    <a:pt x="890" y="26"/>
                  </a:lnTo>
                  <a:close/>
                  <a:moveTo>
                    <a:pt x="838" y="0"/>
                  </a:moveTo>
                  <a:lnTo>
                    <a:pt x="819" y="0"/>
                  </a:lnTo>
                  <a:lnTo>
                    <a:pt x="819" y="16"/>
                  </a:lnTo>
                  <a:lnTo>
                    <a:pt x="838" y="16"/>
                  </a:lnTo>
                  <a:lnTo>
                    <a:pt x="838" y="0"/>
                  </a:lnTo>
                  <a:close/>
                  <a:moveTo>
                    <a:pt x="838" y="25"/>
                  </a:moveTo>
                  <a:lnTo>
                    <a:pt x="819" y="25"/>
                  </a:lnTo>
                  <a:lnTo>
                    <a:pt x="819" y="89"/>
                  </a:lnTo>
                  <a:lnTo>
                    <a:pt x="838" y="89"/>
                  </a:lnTo>
                  <a:lnTo>
                    <a:pt x="838" y="25"/>
                  </a:lnTo>
                  <a:close/>
                  <a:moveTo>
                    <a:pt x="806" y="44"/>
                  </a:moveTo>
                  <a:lnTo>
                    <a:pt x="805" y="39"/>
                  </a:lnTo>
                  <a:lnTo>
                    <a:pt x="803" y="35"/>
                  </a:lnTo>
                  <a:lnTo>
                    <a:pt x="800" y="31"/>
                  </a:lnTo>
                  <a:lnTo>
                    <a:pt x="797" y="28"/>
                  </a:lnTo>
                  <a:lnTo>
                    <a:pt x="795" y="27"/>
                  </a:lnTo>
                  <a:lnTo>
                    <a:pt x="793" y="26"/>
                  </a:lnTo>
                  <a:lnTo>
                    <a:pt x="789" y="24"/>
                  </a:lnTo>
                  <a:lnTo>
                    <a:pt x="783" y="23"/>
                  </a:lnTo>
                  <a:lnTo>
                    <a:pt x="777" y="23"/>
                  </a:lnTo>
                  <a:lnTo>
                    <a:pt x="771" y="23"/>
                  </a:lnTo>
                  <a:lnTo>
                    <a:pt x="766" y="24"/>
                  </a:lnTo>
                  <a:lnTo>
                    <a:pt x="761" y="26"/>
                  </a:lnTo>
                  <a:lnTo>
                    <a:pt x="757" y="29"/>
                  </a:lnTo>
                  <a:lnTo>
                    <a:pt x="754" y="32"/>
                  </a:lnTo>
                  <a:lnTo>
                    <a:pt x="753" y="33"/>
                  </a:lnTo>
                  <a:lnTo>
                    <a:pt x="752" y="35"/>
                  </a:lnTo>
                  <a:lnTo>
                    <a:pt x="751" y="39"/>
                  </a:lnTo>
                  <a:lnTo>
                    <a:pt x="750" y="44"/>
                  </a:lnTo>
                  <a:lnTo>
                    <a:pt x="750" y="47"/>
                  </a:lnTo>
                  <a:lnTo>
                    <a:pt x="751" y="50"/>
                  </a:lnTo>
                  <a:lnTo>
                    <a:pt x="752" y="52"/>
                  </a:lnTo>
                  <a:lnTo>
                    <a:pt x="753" y="53"/>
                  </a:lnTo>
                  <a:lnTo>
                    <a:pt x="755" y="56"/>
                  </a:lnTo>
                  <a:lnTo>
                    <a:pt x="757" y="58"/>
                  </a:lnTo>
                  <a:lnTo>
                    <a:pt x="761" y="59"/>
                  </a:lnTo>
                  <a:lnTo>
                    <a:pt x="765" y="61"/>
                  </a:lnTo>
                  <a:lnTo>
                    <a:pt x="770" y="62"/>
                  </a:lnTo>
                  <a:lnTo>
                    <a:pt x="781" y="65"/>
                  </a:lnTo>
                  <a:lnTo>
                    <a:pt x="785" y="66"/>
                  </a:lnTo>
                  <a:lnTo>
                    <a:pt x="787" y="67"/>
                  </a:lnTo>
                  <a:lnTo>
                    <a:pt x="788" y="69"/>
                  </a:lnTo>
                  <a:lnTo>
                    <a:pt x="788" y="71"/>
                  </a:lnTo>
                  <a:lnTo>
                    <a:pt x="788" y="72"/>
                  </a:lnTo>
                  <a:lnTo>
                    <a:pt x="788" y="73"/>
                  </a:lnTo>
                  <a:lnTo>
                    <a:pt x="786" y="75"/>
                  </a:lnTo>
                  <a:lnTo>
                    <a:pt x="783" y="76"/>
                  </a:lnTo>
                  <a:lnTo>
                    <a:pt x="779" y="77"/>
                  </a:lnTo>
                  <a:lnTo>
                    <a:pt x="774" y="76"/>
                  </a:lnTo>
                  <a:lnTo>
                    <a:pt x="772" y="76"/>
                  </a:lnTo>
                  <a:lnTo>
                    <a:pt x="770" y="75"/>
                  </a:lnTo>
                  <a:lnTo>
                    <a:pt x="767" y="72"/>
                  </a:lnTo>
                  <a:lnTo>
                    <a:pt x="767" y="70"/>
                  </a:lnTo>
                  <a:lnTo>
                    <a:pt x="766" y="68"/>
                  </a:lnTo>
                  <a:lnTo>
                    <a:pt x="748" y="68"/>
                  </a:lnTo>
                  <a:lnTo>
                    <a:pt x="749" y="73"/>
                  </a:lnTo>
                  <a:lnTo>
                    <a:pt x="751" y="77"/>
                  </a:lnTo>
                  <a:lnTo>
                    <a:pt x="754" y="81"/>
                  </a:lnTo>
                  <a:lnTo>
                    <a:pt x="757" y="84"/>
                  </a:lnTo>
                  <a:lnTo>
                    <a:pt x="761" y="87"/>
                  </a:lnTo>
                  <a:lnTo>
                    <a:pt x="766" y="89"/>
                  </a:lnTo>
                  <a:lnTo>
                    <a:pt x="772" y="90"/>
                  </a:lnTo>
                  <a:lnTo>
                    <a:pt x="778" y="90"/>
                  </a:lnTo>
                  <a:lnTo>
                    <a:pt x="785" y="90"/>
                  </a:lnTo>
                  <a:lnTo>
                    <a:pt x="790" y="89"/>
                  </a:lnTo>
                  <a:lnTo>
                    <a:pt x="795" y="87"/>
                  </a:lnTo>
                  <a:lnTo>
                    <a:pt x="799" y="84"/>
                  </a:lnTo>
                  <a:lnTo>
                    <a:pt x="803" y="81"/>
                  </a:lnTo>
                  <a:lnTo>
                    <a:pt x="805" y="78"/>
                  </a:lnTo>
                  <a:lnTo>
                    <a:pt x="806" y="75"/>
                  </a:lnTo>
                  <a:lnTo>
                    <a:pt x="806" y="73"/>
                  </a:lnTo>
                  <a:lnTo>
                    <a:pt x="807" y="68"/>
                  </a:lnTo>
                  <a:lnTo>
                    <a:pt x="807" y="65"/>
                  </a:lnTo>
                  <a:lnTo>
                    <a:pt x="806" y="61"/>
                  </a:lnTo>
                  <a:lnTo>
                    <a:pt x="804" y="58"/>
                  </a:lnTo>
                  <a:lnTo>
                    <a:pt x="802" y="56"/>
                  </a:lnTo>
                  <a:lnTo>
                    <a:pt x="800" y="54"/>
                  </a:lnTo>
                  <a:lnTo>
                    <a:pt x="797" y="52"/>
                  </a:lnTo>
                  <a:lnTo>
                    <a:pt x="793" y="51"/>
                  </a:lnTo>
                  <a:lnTo>
                    <a:pt x="788" y="49"/>
                  </a:lnTo>
                  <a:lnTo>
                    <a:pt x="776" y="47"/>
                  </a:lnTo>
                  <a:lnTo>
                    <a:pt x="772" y="46"/>
                  </a:lnTo>
                  <a:lnTo>
                    <a:pt x="770" y="45"/>
                  </a:lnTo>
                  <a:lnTo>
                    <a:pt x="768" y="44"/>
                  </a:lnTo>
                  <a:lnTo>
                    <a:pt x="768" y="42"/>
                  </a:lnTo>
                  <a:lnTo>
                    <a:pt x="769" y="40"/>
                  </a:lnTo>
                  <a:lnTo>
                    <a:pt x="771" y="38"/>
                  </a:lnTo>
                  <a:lnTo>
                    <a:pt x="773" y="37"/>
                  </a:lnTo>
                  <a:lnTo>
                    <a:pt x="777" y="37"/>
                  </a:lnTo>
                  <a:lnTo>
                    <a:pt x="781" y="37"/>
                  </a:lnTo>
                  <a:lnTo>
                    <a:pt x="783" y="38"/>
                  </a:lnTo>
                  <a:lnTo>
                    <a:pt x="785" y="39"/>
                  </a:lnTo>
                  <a:lnTo>
                    <a:pt x="786" y="40"/>
                  </a:lnTo>
                  <a:lnTo>
                    <a:pt x="787" y="41"/>
                  </a:lnTo>
                  <a:lnTo>
                    <a:pt x="788" y="44"/>
                  </a:lnTo>
                  <a:lnTo>
                    <a:pt x="806" y="44"/>
                  </a:lnTo>
                  <a:close/>
                  <a:moveTo>
                    <a:pt x="700" y="25"/>
                  </a:moveTo>
                  <a:lnTo>
                    <a:pt x="700" y="89"/>
                  </a:lnTo>
                  <a:lnTo>
                    <a:pt x="719" y="89"/>
                  </a:lnTo>
                  <a:lnTo>
                    <a:pt x="719" y="71"/>
                  </a:lnTo>
                  <a:lnTo>
                    <a:pt x="719" y="56"/>
                  </a:lnTo>
                  <a:lnTo>
                    <a:pt x="720" y="52"/>
                  </a:lnTo>
                  <a:lnTo>
                    <a:pt x="721" y="48"/>
                  </a:lnTo>
                  <a:lnTo>
                    <a:pt x="722" y="46"/>
                  </a:lnTo>
                  <a:lnTo>
                    <a:pt x="724" y="45"/>
                  </a:lnTo>
                  <a:lnTo>
                    <a:pt x="727" y="42"/>
                  </a:lnTo>
                  <a:lnTo>
                    <a:pt x="729" y="42"/>
                  </a:lnTo>
                  <a:lnTo>
                    <a:pt x="731" y="41"/>
                  </a:lnTo>
                  <a:lnTo>
                    <a:pt x="735" y="40"/>
                  </a:lnTo>
                  <a:lnTo>
                    <a:pt x="740" y="41"/>
                  </a:lnTo>
                  <a:lnTo>
                    <a:pt x="740" y="23"/>
                  </a:lnTo>
                  <a:lnTo>
                    <a:pt x="735" y="23"/>
                  </a:lnTo>
                  <a:lnTo>
                    <a:pt x="731" y="24"/>
                  </a:lnTo>
                  <a:lnTo>
                    <a:pt x="728" y="24"/>
                  </a:lnTo>
                  <a:lnTo>
                    <a:pt x="725" y="26"/>
                  </a:lnTo>
                  <a:lnTo>
                    <a:pt x="723" y="27"/>
                  </a:lnTo>
                  <a:lnTo>
                    <a:pt x="721" y="30"/>
                  </a:lnTo>
                  <a:lnTo>
                    <a:pt x="719" y="33"/>
                  </a:lnTo>
                  <a:lnTo>
                    <a:pt x="718" y="36"/>
                  </a:lnTo>
                  <a:lnTo>
                    <a:pt x="718" y="25"/>
                  </a:lnTo>
                  <a:lnTo>
                    <a:pt x="700" y="25"/>
                  </a:lnTo>
                  <a:close/>
                  <a:moveTo>
                    <a:pt x="640" y="49"/>
                  </a:moveTo>
                  <a:lnTo>
                    <a:pt x="641" y="46"/>
                  </a:lnTo>
                  <a:lnTo>
                    <a:pt x="642" y="44"/>
                  </a:lnTo>
                  <a:lnTo>
                    <a:pt x="643" y="42"/>
                  </a:lnTo>
                  <a:lnTo>
                    <a:pt x="645" y="40"/>
                  </a:lnTo>
                  <a:lnTo>
                    <a:pt x="647" y="39"/>
                  </a:lnTo>
                  <a:lnTo>
                    <a:pt x="649" y="38"/>
                  </a:lnTo>
                  <a:lnTo>
                    <a:pt x="655" y="37"/>
                  </a:lnTo>
                  <a:lnTo>
                    <a:pt x="660" y="38"/>
                  </a:lnTo>
                  <a:lnTo>
                    <a:pt x="662" y="39"/>
                  </a:lnTo>
                  <a:lnTo>
                    <a:pt x="663" y="40"/>
                  </a:lnTo>
                  <a:lnTo>
                    <a:pt x="665" y="42"/>
                  </a:lnTo>
                  <a:lnTo>
                    <a:pt x="666" y="44"/>
                  </a:lnTo>
                  <a:lnTo>
                    <a:pt x="667" y="46"/>
                  </a:lnTo>
                  <a:lnTo>
                    <a:pt x="667" y="49"/>
                  </a:lnTo>
                  <a:lnTo>
                    <a:pt x="640" y="49"/>
                  </a:lnTo>
                  <a:close/>
                  <a:moveTo>
                    <a:pt x="687" y="62"/>
                  </a:moveTo>
                  <a:lnTo>
                    <a:pt x="686" y="56"/>
                  </a:lnTo>
                  <a:lnTo>
                    <a:pt x="686" y="51"/>
                  </a:lnTo>
                  <a:lnTo>
                    <a:pt x="685" y="47"/>
                  </a:lnTo>
                  <a:lnTo>
                    <a:pt x="684" y="43"/>
                  </a:lnTo>
                  <a:lnTo>
                    <a:pt x="682" y="38"/>
                  </a:lnTo>
                  <a:lnTo>
                    <a:pt x="679" y="34"/>
                  </a:lnTo>
                  <a:lnTo>
                    <a:pt x="676" y="31"/>
                  </a:lnTo>
                  <a:lnTo>
                    <a:pt x="673" y="28"/>
                  </a:lnTo>
                  <a:lnTo>
                    <a:pt x="669" y="26"/>
                  </a:lnTo>
                  <a:lnTo>
                    <a:pt x="667" y="25"/>
                  </a:lnTo>
                  <a:lnTo>
                    <a:pt x="665" y="24"/>
                  </a:lnTo>
                  <a:lnTo>
                    <a:pt x="660" y="23"/>
                  </a:lnTo>
                  <a:lnTo>
                    <a:pt x="655" y="23"/>
                  </a:lnTo>
                  <a:lnTo>
                    <a:pt x="647" y="24"/>
                  </a:lnTo>
                  <a:lnTo>
                    <a:pt x="641" y="26"/>
                  </a:lnTo>
                  <a:lnTo>
                    <a:pt x="638" y="27"/>
                  </a:lnTo>
                  <a:lnTo>
                    <a:pt x="635" y="29"/>
                  </a:lnTo>
                  <a:lnTo>
                    <a:pt x="630" y="32"/>
                  </a:lnTo>
                  <a:lnTo>
                    <a:pt x="628" y="35"/>
                  </a:lnTo>
                  <a:lnTo>
                    <a:pt x="627" y="37"/>
                  </a:lnTo>
                  <a:lnTo>
                    <a:pt x="625" y="40"/>
                  </a:lnTo>
                  <a:lnTo>
                    <a:pt x="624" y="43"/>
                  </a:lnTo>
                  <a:lnTo>
                    <a:pt x="623" y="46"/>
                  </a:lnTo>
                  <a:lnTo>
                    <a:pt x="622" y="50"/>
                  </a:lnTo>
                  <a:lnTo>
                    <a:pt x="621" y="53"/>
                  </a:lnTo>
                  <a:lnTo>
                    <a:pt x="621" y="57"/>
                  </a:lnTo>
                  <a:lnTo>
                    <a:pt x="622" y="64"/>
                  </a:lnTo>
                  <a:lnTo>
                    <a:pt x="624" y="71"/>
                  </a:lnTo>
                  <a:lnTo>
                    <a:pt x="626" y="76"/>
                  </a:lnTo>
                  <a:lnTo>
                    <a:pt x="630" y="81"/>
                  </a:lnTo>
                  <a:lnTo>
                    <a:pt x="635" y="85"/>
                  </a:lnTo>
                  <a:lnTo>
                    <a:pt x="641" y="88"/>
                  </a:lnTo>
                  <a:lnTo>
                    <a:pt x="644" y="89"/>
                  </a:lnTo>
                  <a:lnTo>
                    <a:pt x="647" y="90"/>
                  </a:lnTo>
                  <a:lnTo>
                    <a:pt x="650" y="90"/>
                  </a:lnTo>
                  <a:lnTo>
                    <a:pt x="655" y="90"/>
                  </a:lnTo>
                  <a:lnTo>
                    <a:pt x="661" y="90"/>
                  </a:lnTo>
                  <a:lnTo>
                    <a:pt x="666" y="89"/>
                  </a:lnTo>
                  <a:lnTo>
                    <a:pt x="671" y="87"/>
                  </a:lnTo>
                  <a:lnTo>
                    <a:pt x="675" y="85"/>
                  </a:lnTo>
                  <a:lnTo>
                    <a:pt x="679" y="82"/>
                  </a:lnTo>
                  <a:lnTo>
                    <a:pt x="680" y="80"/>
                  </a:lnTo>
                  <a:lnTo>
                    <a:pt x="682" y="78"/>
                  </a:lnTo>
                  <a:lnTo>
                    <a:pt x="684" y="74"/>
                  </a:lnTo>
                  <a:lnTo>
                    <a:pt x="686" y="70"/>
                  </a:lnTo>
                  <a:lnTo>
                    <a:pt x="667" y="70"/>
                  </a:lnTo>
                  <a:lnTo>
                    <a:pt x="665" y="73"/>
                  </a:lnTo>
                  <a:lnTo>
                    <a:pt x="662" y="74"/>
                  </a:lnTo>
                  <a:lnTo>
                    <a:pt x="659" y="75"/>
                  </a:lnTo>
                  <a:lnTo>
                    <a:pt x="656" y="76"/>
                  </a:lnTo>
                  <a:lnTo>
                    <a:pt x="653" y="76"/>
                  </a:lnTo>
                  <a:lnTo>
                    <a:pt x="649" y="75"/>
                  </a:lnTo>
                  <a:lnTo>
                    <a:pt x="647" y="74"/>
                  </a:lnTo>
                  <a:lnTo>
                    <a:pt x="645" y="72"/>
                  </a:lnTo>
                  <a:lnTo>
                    <a:pt x="643" y="70"/>
                  </a:lnTo>
                  <a:lnTo>
                    <a:pt x="642" y="68"/>
                  </a:lnTo>
                  <a:lnTo>
                    <a:pt x="641" y="65"/>
                  </a:lnTo>
                  <a:lnTo>
                    <a:pt x="640" y="62"/>
                  </a:lnTo>
                  <a:lnTo>
                    <a:pt x="687" y="62"/>
                  </a:lnTo>
                  <a:close/>
                  <a:moveTo>
                    <a:pt x="593" y="89"/>
                  </a:moveTo>
                  <a:lnTo>
                    <a:pt x="614" y="25"/>
                  </a:lnTo>
                  <a:lnTo>
                    <a:pt x="594" y="25"/>
                  </a:lnTo>
                  <a:lnTo>
                    <a:pt x="588" y="49"/>
                  </a:lnTo>
                  <a:lnTo>
                    <a:pt x="584" y="68"/>
                  </a:lnTo>
                  <a:lnTo>
                    <a:pt x="579" y="49"/>
                  </a:lnTo>
                  <a:lnTo>
                    <a:pt x="571" y="25"/>
                  </a:lnTo>
                  <a:lnTo>
                    <a:pt x="552" y="25"/>
                  </a:lnTo>
                  <a:lnTo>
                    <a:pt x="575" y="89"/>
                  </a:lnTo>
                  <a:lnTo>
                    <a:pt x="593" y="89"/>
                  </a:lnTo>
                  <a:close/>
                  <a:moveTo>
                    <a:pt x="540" y="0"/>
                  </a:moveTo>
                  <a:lnTo>
                    <a:pt x="521" y="0"/>
                  </a:lnTo>
                  <a:lnTo>
                    <a:pt x="521" y="16"/>
                  </a:lnTo>
                  <a:lnTo>
                    <a:pt x="540" y="16"/>
                  </a:lnTo>
                  <a:lnTo>
                    <a:pt x="540" y="0"/>
                  </a:lnTo>
                  <a:close/>
                  <a:moveTo>
                    <a:pt x="540" y="25"/>
                  </a:moveTo>
                  <a:lnTo>
                    <a:pt x="521" y="25"/>
                  </a:lnTo>
                  <a:lnTo>
                    <a:pt x="521" y="89"/>
                  </a:lnTo>
                  <a:lnTo>
                    <a:pt x="540" y="89"/>
                  </a:lnTo>
                  <a:lnTo>
                    <a:pt x="540" y="25"/>
                  </a:lnTo>
                  <a:close/>
                  <a:moveTo>
                    <a:pt x="445" y="25"/>
                  </a:moveTo>
                  <a:lnTo>
                    <a:pt x="445" y="89"/>
                  </a:lnTo>
                  <a:lnTo>
                    <a:pt x="464" y="89"/>
                  </a:lnTo>
                  <a:lnTo>
                    <a:pt x="464" y="53"/>
                  </a:lnTo>
                  <a:lnTo>
                    <a:pt x="465" y="46"/>
                  </a:lnTo>
                  <a:lnTo>
                    <a:pt x="465" y="44"/>
                  </a:lnTo>
                  <a:lnTo>
                    <a:pt x="467" y="42"/>
                  </a:lnTo>
                  <a:lnTo>
                    <a:pt x="468" y="41"/>
                  </a:lnTo>
                  <a:lnTo>
                    <a:pt x="470" y="40"/>
                  </a:lnTo>
                  <a:lnTo>
                    <a:pt x="472" y="39"/>
                  </a:lnTo>
                  <a:lnTo>
                    <a:pt x="475" y="39"/>
                  </a:lnTo>
                  <a:lnTo>
                    <a:pt x="477" y="39"/>
                  </a:lnTo>
                  <a:lnTo>
                    <a:pt x="479" y="40"/>
                  </a:lnTo>
                  <a:lnTo>
                    <a:pt x="481" y="41"/>
                  </a:lnTo>
                  <a:lnTo>
                    <a:pt x="482" y="43"/>
                  </a:lnTo>
                  <a:lnTo>
                    <a:pt x="483" y="44"/>
                  </a:lnTo>
                  <a:lnTo>
                    <a:pt x="484" y="47"/>
                  </a:lnTo>
                  <a:lnTo>
                    <a:pt x="484" y="54"/>
                  </a:lnTo>
                  <a:lnTo>
                    <a:pt x="484" y="89"/>
                  </a:lnTo>
                  <a:lnTo>
                    <a:pt x="503" y="89"/>
                  </a:lnTo>
                  <a:lnTo>
                    <a:pt x="503" y="47"/>
                  </a:lnTo>
                  <a:lnTo>
                    <a:pt x="503" y="42"/>
                  </a:lnTo>
                  <a:lnTo>
                    <a:pt x="502" y="37"/>
                  </a:lnTo>
                  <a:lnTo>
                    <a:pt x="500" y="33"/>
                  </a:lnTo>
                  <a:lnTo>
                    <a:pt x="497" y="29"/>
                  </a:lnTo>
                  <a:lnTo>
                    <a:pt x="494" y="27"/>
                  </a:lnTo>
                  <a:lnTo>
                    <a:pt x="490" y="25"/>
                  </a:lnTo>
                  <a:lnTo>
                    <a:pt x="486" y="23"/>
                  </a:lnTo>
                  <a:lnTo>
                    <a:pt x="481" y="23"/>
                  </a:lnTo>
                  <a:lnTo>
                    <a:pt x="476" y="23"/>
                  </a:lnTo>
                  <a:lnTo>
                    <a:pt x="472" y="25"/>
                  </a:lnTo>
                  <a:lnTo>
                    <a:pt x="468" y="27"/>
                  </a:lnTo>
                  <a:lnTo>
                    <a:pt x="463" y="31"/>
                  </a:lnTo>
                  <a:lnTo>
                    <a:pt x="463" y="25"/>
                  </a:lnTo>
                  <a:lnTo>
                    <a:pt x="445" y="25"/>
                  </a:lnTo>
                  <a:close/>
                  <a:moveTo>
                    <a:pt x="407" y="0"/>
                  </a:moveTo>
                  <a:lnTo>
                    <a:pt x="407" y="59"/>
                  </a:lnTo>
                  <a:lnTo>
                    <a:pt x="407" y="63"/>
                  </a:lnTo>
                  <a:lnTo>
                    <a:pt x="406" y="66"/>
                  </a:lnTo>
                  <a:lnTo>
                    <a:pt x="405" y="68"/>
                  </a:lnTo>
                  <a:lnTo>
                    <a:pt x="404" y="70"/>
                  </a:lnTo>
                  <a:lnTo>
                    <a:pt x="401" y="72"/>
                  </a:lnTo>
                  <a:lnTo>
                    <a:pt x="398" y="73"/>
                  </a:lnTo>
                  <a:lnTo>
                    <a:pt x="395" y="74"/>
                  </a:lnTo>
                  <a:lnTo>
                    <a:pt x="392" y="74"/>
                  </a:lnTo>
                  <a:lnTo>
                    <a:pt x="388" y="74"/>
                  </a:lnTo>
                  <a:lnTo>
                    <a:pt x="385" y="73"/>
                  </a:lnTo>
                  <a:lnTo>
                    <a:pt x="382" y="72"/>
                  </a:lnTo>
                  <a:lnTo>
                    <a:pt x="380" y="70"/>
                  </a:lnTo>
                  <a:lnTo>
                    <a:pt x="378" y="68"/>
                  </a:lnTo>
                  <a:lnTo>
                    <a:pt x="377" y="66"/>
                  </a:lnTo>
                  <a:lnTo>
                    <a:pt x="376" y="63"/>
                  </a:lnTo>
                  <a:lnTo>
                    <a:pt x="376" y="59"/>
                  </a:lnTo>
                  <a:lnTo>
                    <a:pt x="376" y="0"/>
                  </a:lnTo>
                  <a:lnTo>
                    <a:pt x="356" y="0"/>
                  </a:lnTo>
                  <a:lnTo>
                    <a:pt x="356" y="60"/>
                  </a:lnTo>
                  <a:lnTo>
                    <a:pt x="357" y="68"/>
                  </a:lnTo>
                  <a:lnTo>
                    <a:pt x="359" y="74"/>
                  </a:lnTo>
                  <a:lnTo>
                    <a:pt x="360" y="77"/>
                  </a:lnTo>
                  <a:lnTo>
                    <a:pt x="362" y="79"/>
                  </a:lnTo>
                  <a:lnTo>
                    <a:pt x="364" y="81"/>
                  </a:lnTo>
                  <a:lnTo>
                    <a:pt x="366" y="83"/>
                  </a:lnTo>
                  <a:lnTo>
                    <a:pt x="371" y="86"/>
                  </a:lnTo>
                  <a:lnTo>
                    <a:pt x="374" y="88"/>
                  </a:lnTo>
                  <a:lnTo>
                    <a:pt x="378" y="89"/>
                  </a:lnTo>
                  <a:lnTo>
                    <a:pt x="384" y="90"/>
                  </a:lnTo>
                  <a:lnTo>
                    <a:pt x="392" y="91"/>
                  </a:lnTo>
                  <a:lnTo>
                    <a:pt x="399" y="90"/>
                  </a:lnTo>
                  <a:lnTo>
                    <a:pt x="403" y="90"/>
                  </a:lnTo>
                  <a:lnTo>
                    <a:pt x="406" y="89"/>
                  </a:lnTo>
                  <a:lnTo>
                    <a:pt x="412" y="86"/>
                  </a:lnTo>
                  <a:lnTo>
                    <a:pt x="418" y="83"/>
                  </a:lnTo>
                  <a:lnTo>
                    <a:pt x="420" y="81"/>
                  </a:lnTo>
                  <a:lnTo>
                    <a:pt x="422" y="79"/>
                  </a:lnTo>
                  <a:lnTo>
                    <a:pt x="424" y="77"/>
                  </a:lnTo>
                  <a:lnTo>
                    <a:pt x="425" y="74"/>
                  </a:lnTo>
                  <a:lnTo>
                    <a:pt x="427" y="68"/>
                  </a:lnTo>
                  <a:lnTo>
                    <a:pt x="427" y="64"/>
                  </a:lnTo>
                  <a:lnTo>
                    <a:pt x="427" y="60"/>
                  </a:lnTo>
                  <a:lnTo>
                    <a:pt x="427" y="0"/>
                  </a:lnTo>
                  <a:lnTo>
                    <a:pt x="407" y="0"/>
                  </a:lnTo>
                  <a:close/>
                  <a:moveTo>
                    <a:pt x="277" y="38"/>
                  </a:moveTo>
                  <a:lnTo>
                    <a:pt x="281" y="38"/>
                  </a:lnTo>
                  <a:lnTo>
                    <a:pt x="284" y="39"/>
                  </a:lnTo>
                  <a:lnTo>
                    <a:pt x="286" y="41"/>
                  </a:lnTo>
                  <a:lnTo>
                    <a:pt x="289" y="43"/>
                  </a:lnTo>
                  <a:lnTo>
                    <a:pt x="290" y="46"/>
                  </a:lnTo>
                  <a:lnTo>
                    <a:pt x="292" y="49"/>
                  </a:lnTo>
                  <a:lnTo>
                    <a:pt x="292" y="53"/>
                  </a:lnTo>
                  <a:lnTo>
                    <a:pt x="293" y="57"/>
                  </a:lnTo>
                  <a:lnTo>
                    <a:pt x="292" y="61"/>
                  </a:lnTo>
                  <a:lnTo>
                    <a:pt x="292" y="65"/>
                  </a:lnTo>
                  <a:lnTo>
                    <a:pt x="290" y="68"/>
                  </a:lnTo>
                  <a:lnTo>
                    <a:pt x="289" y="71"/>
                  </a:lnTo>
                  <a:lnTo>
                    <a:pt x="288" y="72"/>
                  </a:lnTo>
                  <a:lnTo>
                    <a:pt x="286" y="73"/>
                  </a:lnTo>
                  <a:lnTo>
                    <a:pt x="284" y="74"/>
                  </a:lnTo>
                  <a:lnTo>
                    <a:pt x="281" y="75"/>
                  </a:lnTo>
                  <a:lnTo>
                    <a:pt x="277" y="75"/>
                  </a:lnTo>
                  <a:lnTo>
                    <a:pt x="274" y="75"/>
                  </a:lnTo>
                  <a:lnTo>
                    <a:pt x="271" y="74"/>
                  </a:lnTo>
                  <a:lnTo>
                    <a:pt x="269" y="73"/>
                  </a:lnTo>
                  <a:lnTo>
                    <a:pt x="266" y="71"/>
                  </a:lnTo>
                  <a:lnTo>
                    <a:pt x="265" y="68"/>
                  </a:lnTo>
                  <a:lnTo>
                    <a:pt x="264" y="65"/>
                  </a:lnTo>
                  <a:lnTo>
                    <a:pt x="263" y="61"/>
                  </a:lnTo>
                  <a:lnTo>
                    <a:pt x="263" y="57"/>
                  </a:lnTo>
                  <a:lnTo>
                    <a:pt x="263" y="52"/>
                  </a:lnTo>
                  <a:lnTo>
                    <a:pt x="264" y="49"/>
                  </a:lnTo>
                  <a:lnTo>
                    <a:pt x="265" y="46"/>
                  </a:lnTo>
                  <a:lnTo>
                    <a:pt x="266" y="43"/>
                  </a:lnTo>
                  <a:lnTo>
                    <a:pt x="267" y="42"/>
                  </a:lnTo>
                  <a:lnTo>
                    <a:pt x="269" y="41"/>
                  </a:lnTo>
                  <a:lnTo>
                    <a:pt x="271" y="39"/>
                  </a:lnTo>
                  <a:lnTo>
                    <a:pt x="274" y="38"/>
                  </a:lnTo>
                  <a:lnTo>
                    <a:pt x="277" y="38"/>
                  </a:lnTo>
                  <a:close/>
                  <a:moveTo>
                    <a:pt x="277" y="23"/>
                  </a:moveTo>
                  <a:lnTo>
                    <a:pt x="270" y="24"/>
                  </a:lnTo>
                  <a:lnTo>
                    <a:pt x="264" y="26"/>
                  </a:lnTo>
                  <a:lnTo>
                    <a:pt x="261" y="27"/>
                  </a:lnTo>
                  <a:lnTo>
                    <a:pt x="258" y="29"/>
                  </a:lnTo>
                  <a:lnTo>
                    <a:pt x="253" y="33"/>
                  </a:lnTo>
                  <a:lnTo>
                    <a:pt x="249" y="37"/>
                  </a:lnTo>
                  <a:lnTo>
                    <a:pt x="247" y="40"/>
                  </a:lnTo>
                  <a:lnTo>
                    <a:pt x="246" y="43"/>
                  </a:lnTo>
                  <a:lnTo>
                    <a:pt x="245" y="46"/>
                  </a:lnTo>
                  <a:lnTo>
                    <a:pt x="244" y="50"/>
                  </a:lnTo>
                  <a:lnTo>
                    <a:pt x="244" y="53"/>
                  </a:lnTo>
                  <a:lnTo>
                    <a:pt x="244" y="57"/>
                  </a:lnTo>
                  <a:lnTo>
                    <a:pt x="244" y="64"/>
                  </a:lnTo>
                  <a:lnTo>
                    <a:pt x="246" y="70"/>
                  </a:lnTo>
                  <a:lnTo>
                    <a:pt x="247" y="73"/>
                  </a:lnTo>
                  <a:lnTo>
                    <a:pt x="249" y="76"/>
                  </a:lnTo>
                  <a:lnTo>
                    <a:pt x="253" y="81"/>
                  </a:lnTo>
                  <a:lnTo>
                    <a:pt x="258" y="85"/>
                  </a:lnTo>
                  <a:lnTo>
                    <a:pt x="261" y="87"/>
                  </a:lnTo>
                  <a:lnTo>
                    <a:pt x="264" y="88"/>
                  </a:lnTo>
                  <a:lnTo>
                    <a:pt x="267" y="89"/>
                  </a:lnTo>
                  <a:lnTo>
                    <a:pt x="270" y="90"/>
                  </a:lnTo>
                  <a:lnTo>
                    <a:pt x="277" y="90"/>
                  </a:lnTo>
                  <a:lnTo>
                    <a:pt x="285" y="90"/>
                  </a:lnTo>
                  <a:lnTo>
                    <a:pt x="291" y="88"/>
                  </a:lnTo>
                  <a:lnTo>
                    <a:pt x="294" y="87"/>
                  </a:lnTo>
                  <a:lnTo>
                    <a:pt x="297" y="85"/>
                  </a:lnTo>
                  <a:lnTo>
                    <a:pt x="302" y="81"/>
                  </a:lnTo>
                  <a:lnTo>
                    <a:pt x="306" y="76"/>
                  </a:lnTo>
                  <a:lnTo>
                    <a:pt x="308" y="73"/>
                  </a:lnTo>
                  <a:lnTo>
                    <a:pt x="309" y="71"/>
                  </a:lnTo>
                  <a:lnTo>
                    <a:pt x="311" y="64"/>
                  </a:lnTo>
                  <a:lnTo>
                    <a:pt x="311" y="61"/>
                  </a:lnTo>
                  <a:lnTo>
                    <a:pt x="311" y="57"/>
                  </a:lnTo>
                  <a:lnTo>
                    <a:pt x="311" y="53"/>
                  </a:lnTo>
                  <a:lnTo>
                    <a:pt x="311" y="50"/>
                  </a:lnTo>
                  <a:lnTo>
                    <a:pt x="309" y="43"/>
                  </a:lnTo>
                  <a:lnTo>
                    <a:pt x="308" y="40"/>
                  </a:lnTo>
                  <a:lnTo>
                    <a:pt x="306" y="37"/>
                  </a:lnTo>
                  <a:lnTo>
                    <a:pt x="302" y="33"/>
                  </a:lnTo>
                  <a:lnTo>
                    <a:pt x="297" y="29"/>
                  </a:lnTo>
                  <a:lnTo>
                    <a:pt x="294" y="27"/>
                  </a:lnTo>
                  <a:lnTo>
                    <a:pt x="291" y="26"/>
                  </a:lnTo>
                  <a:lnTo>
                    <a:pt x="288" y="24"/>
                  </a:lnTo>
                  <a:lnTo>
                    <a:pt x="285" y="24"/>
                  </a:lnTo>
                  <a:lnTo>
                    <a:pt x="277" y="23"/>
                  </a:lnTo>
                  <a:close/>
                  <a:moveTo>
                    <a:pt x="235" y="26"/>
                  </a:moveTo>
                  <a:lnTo>
                    <a:pt x="224" y="26"/>
                  </a:lnTo>
                  <a:lnTo>
                    <a:pt x="224" y="5"/>
                  </a:lnTo>
                  <a:lnTo>
                    <a:pt x="205" y="5"/>
                  </a:lnTo>
                  <a:lnTo>
                    <a:pt x="205" y="26"/>
                  </a:lnTo>
                  <a:lnTo>
                    <a:pt x="196" y="26"/>
                  </a:lnTo>
                  <a:lnTo>
                    <a:pt x="196" y="39"/>
                  </a:lnTo>
                  <a:lnTo>
                    <a:pt x="205" y="39"/>
                  </a:lnTo>
                  <a:lnTo>
                    <a:pt x="205" y="68"/>
                  </a:lnTo>
                  <a:lnTo>
                    <a:pt x="205" y="74"/>
                  </a:lnTo>
                  <a:lnTo>
                    <a:pt x="206" y="79"/>
                  </a:lnTo>
                  <a:lnTo>
                    <a:pt x="207" y="82"/>
                  </a:lnTo>
                  <a:lnTo>
                    <a:pt x="209" y="84"/>
                  </a:lnTo>
                  <a:lnTo>
                    <a:pt x="211" y="86"/>
                  </a:lnTo>
                  <a:lnTo>
                    <a:pt x="214" y="88"/>
                  </a:lnTo>
                  <a:lnTo>
                    <a:pt x="218" y="88"/>
                  </a:lnTo>
                  <a:lnTo>
                    <a:pt x="224" y="89"/>
                  </a:lnTo>
                  <a:lnTo>
                    <a:pt x="235" y="89"/>
                  </a:lnTo>
                  <a:lnTo>
                    <a:pt x="235" y="75"/>
                  </a:lnTo>
                  <a:lnTo>
                    <a:pt x="228" y="75"/>
                  </a:lnTo>
                  <a:lnTo>
                    <a:pt x="226" y="74"/>
                  </a:lnTo>
                  <a:lnTo>
                    <a:pt x="225" y="74"/>
                  </a:lnTo>
                  <a:lnTo>
                    <a:pt x="224" y="73"/>
                  </a:lnTo>
                  <a:lnTo>
                    <a:pt x="224" y="70"/>
                  </a:lnTo>
                  <a:lnTo>
                    <a:pt x="224" y="64"/>
                  </a:lnTo>
                  <a:lnTo>
                    <a:pt x="224" y="39"/>
                  </a:lnTo>
                  <a:lnTo>
                    <a:pt x="235" y="39"/>
                  </a:lnTo>
                  <a:lnTo>
                    <a:pt x="235" y="26"/>
                  </a:lnTo>
                  <a:close/>
                  <a:moveTo>
                    <a:pt x="184" y="0"/>
                  </a:moveTo>
                  <a:lnTo>
                    <a:pt x="166" y="0"/>
                  </a:lnTo>
                  <a:lnTo>
                    <a:pt x="166" y="89"/>
                  </a:lnTo>
                  <a:lnTo>
                    <a:pt x="184" y="89"/>
                  </a:lnTo>
                  <a:lnTo>
                    <a:pt x="184" y="0"/>
                  </a:lnTo>
                  <a:close/>
                  <a:moveTo>
                    <a:pt x="131" y="68"/>
                  </a:moveTo>
                  <a:lnTo>
                    <a:pt x="129" y="72"/>
                  </a:lnTo>
                  <a:lnTo>
                    <a:pt x="126" y="74"/>
                  </a:lnTo>
                  <a:lnTo>
                    <a:pt x="122" y="76"/>
                  </a:lnTo>
                  <a:lnTo>
                    <a:pt x="117" y="76"/>
                  </a:lnTo>
                  <a:lnTo>
                    <a:pt x="114" y="76"/>
                  </a:lnTo>
                  <a:lnTo>
                    <a:pt x="111" y="74"/>
                  </a:lnTo>
                  <a:lnTo>
                    <a:pt x="109" y="72"/>
                  </a:lnTo>
                  <a:lnTo>
                    <a:pt x="108" y="71"/>
                  </a:lnTo>
                  <a:lnTo>
                    <a:pt x="108" y="69"/>
                  </a:lnTo>
                  <a:lnTo>
                    <a:pt x="109" y="67"/>
                  </a:lnTo>
                  <a:lnTo>
                    <a:pt x="110" y="65"/>
                  </a:lnTo>
                  <a:lnTo>
                    <a:pt x="113" y="63"/>
                  </a:lnTo>
                  <a:lnTo>
                    <a:pt x="118" y="62"/>
                  </a:lnTo>
                  <a:lnTo>
                    <a:pt x="124" y="60"/>
                  </a:lnTo>
                  <a:lnTo>
                    <a:pt x="131" y="58"/>
                  </a:lnTo>
                  <a:lnTo>
                    <a:pt x="131" y="68"/>
                  </a:lnTo>
                  <a:close/>
                  <a:moveTo>
                    <a:pt x="110" y="45"/>
                  </a:moveTo>
                  <a:lnTo>
                    <a:pt x="110" y="43"/>
                  </a:lnTo>
                  <a:lnTo>
                    <a:pt x="111" y="42"/>
                  </a:lnTo>
                  <a:lnTo>
                    <a:pt x="112" y="40"/>
                  </a:lnTo>
                  <a:lnTo>
                    <a:pt x="113" y="39"/>
                  </a:lnTo>
                  <a:lnTo>
                    <a:pt x="116" y="38"/>
                  </a:lnTo>
                  <a:lnTo>
                    <a:pt x="121" y="37"/>
                  </a:lnTo>
                  <a:lnTo>
                    <a:pt x="125" y="38"/>
                  </a:lnTo>
                  <a:lnTo>
                    <a:pt x="128" y="39"/>
                  </a:lnTo>
                  <a:lnTo>
                    <a:pt x="130" y="41"/>
                  </a:lnTo>
                  <a:lnTo>
                    <a:pt x="131" y="42"/>
                  </a:lnTo>
                  <a:lnTo>
                    <a:pt x="131" y="43"/>
                  </a:lnTo>
                  <a:lnTo>
                    <a:pt x="130" y="45"/>
                  </a:lnTo>
                  <a:lnTo>
                    <a:pt x="129" y="46"/>
                  </a:lnTo>
                  <a:lnTo>
                    <a:pt x="128" y="47"/>
                  </a:lnTo>
                  <a:lnTo>
                    <a:pt x="125" y="48"/>
                  </a:lnTo>
                  <a:lnTo>
                    <a:pt x="115" y="49"/>
                  </a:lnTo>
                  <a:lnTo>
                    <a:pt x="109" y="51"/>
                  </a:lnTo>
                  <a:lnTo>
                    <a:pt x="103" y="52"/>
                  </a:lnTo>
                  <a:lnTo>
                    <a:pt x="99" y="54"/>
                  </a:lnTo>
                  <a:lnTo>
                    <a:pt x="95" y="56"/>
                  </a:lnTo>
                  <a:lnTo>
                    <a:pt x="93" y="59"/>
                  </a:lnTo>
                  <a:lnTo>
                    <a:pt x="92" y="61"/>
                  </a:lnTo>
                  <a:lnTo>
                    <a:pt x="91" y="62"/>
                  </a:lnTo>
                  <a:lnTo>
                    <a:pt x="90" y="66"/>
                  </a:lnTo>
                  <a:lnTo>
                    <a:pt x="89" y="70"/>
                  </a:lnTo>
                  <a:lnTo>
                    <a:pt x="90" y="75"/>
                  </a:lnTo>
                  <a:lnTo>
                    <a:pt x="91" y="79"/>
                  </a:lnTo>
                  <a:lnTo>
                    <a:pt x="93" y="82"/>
                  </a:lnTo>
                  <a:lnTo>
                    <a:pt x="96" y="85"/>
                  </a:lnTo>
                  <a:lnTo>
                    <a:pt x="97" y="86"/>
                  </a:lnTo>
                  <a:lnTo>
                    <a:pt x="99" y="87"/>
                  </a:lnTo>
                  <a:lnTo>
                    <a:pt x="103" y="89"/>
                  </a:lnTo>
                  <a:lnTo>
                    <a:pt x="108" y="90"/>
                  </a:lnTo>
                  <a:lnTo>
                    <a:pt x="113" y="90"/>
                  </a:lnTo>
                  <a:lnTo>
                    <a:pt x="118" y="90"/>
                  </a:lnTo>
                  <a:lnTo>
                    <a:pt x="123" y="89"/>
                  </a:lnTo>
                  <a:lnTo>
                    <a:pt x="127" y="87"/>
                  </a:lnTo>
                  <a:lnTo>
                    <a:pt x="131" y="84"/>
                  </a:lnTo>
                  <a:lnTo>
                    <a:pt x="133" y="89"/>
                  </a:lnTo>
                  <a:lnTo>
                    <a:pt x="152" y="89"/>
                  </a:lnTo>
                  <a:lnTo>
                    <a:pt x="151" y="87"/>
                  </a:lnTo>
                  <a:lnTo>
                    <a:pt x="150" y="85"/>
                  </a:lnTo>
                  <a:lnTo>
                    <a:pt x="149" y="78"/>
                  </a:lnTo>
                  <a:lnTo>
                    <a:pt x="149" y="48"/>
                  </a:lnTo>
                  <a:lnTo>
                    <a:pt x="149" y="42"/>
                  </a:lnTo>
                  <a:lnTo>
                    <a:pt x="148" y="37"/>
                  </a:lnTo>
                  <a:lnTo>
                    <a:pt x="146" y="33"/>
                  </a:lnTo>
                  <a:lnTo>
                    <a:pt x="145" y="31"/>
                  </a:lnTo>
                  <a:lnTo>
                    <a:pt x="143" y="30"/>
                  </a:lnTo>
                  <a:lnTo>
                    <a:pt x="139" y="27"/>
                  </a:lnTo>
                  <a:lnTo>
                    <a:pt x="134" y="25"/>
                  </a:lnTo>
                  <a:lnTo>
                    <a:pt x="128" y="23"/>
                  </a:lnTo>
                  <a:lnTo>
                    <a:pt x="121" y="23"/>
                  </a:lnTo>
                  <a:lnTo>
                    <a:pt x="115" y="23"/>
                  </a:lnTo>
                  <a:lnTo>
                    <a:pt x="109" y="24"/>
                  </a:lnTo>
                  <a:lnTo>
                    <a:pt x="104" y="26"/>
                  </a:lnTo>
                  <a:lnTo>
                    <a:pt x="101" y="28"/>
                  </a:lnTo>
                  <a:lnTo>
                    <a:pt x="97" y="31"/>
                  </a:lnTo>
                  <a:lnTo>
                    <a:pt x="95" y="35"/>
                  </a:lnTo>
                  <a:lnTo>
                    <a:pt x="94" y="37"/>
                  </a:lnTo>
                  <a:lnTo>
                    <a:pt x="94" y="40"/>
                  </a:lnTo>
                  <a:lnTo>
                    <a:pt x="93" y="42"/>
                  </a:lnTo>
                  <a:lnTo>
                    <a:pt x="93" y="45"/>
                  </a:lnTo>
                  <a:lnTo>
                    <a:pt x="110" y="45"/>
                  </a:lnTo>
                  <a:close/>
                  <a:moveTo>
                    <a:pt x="52" y="55"/>
                  </a:moveTo>
                  <a:lnTo>
                    <a:pt x="32" y="55"/>
                  </a:lnTo>
                  <a:lnTo>
                    <a:pt x="43" y="20"/>
                  </a:lnTo>
                  <a:lnTo>
                    <a:pt x="52" y="55"/>
                  </a:lnTo>
                  <a:close/>
                  <a:moveTo>
                    <a:pt x="57" y="71"/>
                  </a:moveTo>
                  <a:lnTo>
                    <a:pt x="61" y="89"/>
                  </a:lnTo>
                  <a:lnTo>
                    <a:pt x="84" y="89"/>
                  </a:lnTo>
                  <a:lnTo>
                    <a:pt x="56" y="0"/>
                  </a:lnTo>
                  <a:lnTo>
                    <a:pt x="31" y="0"/>
                  </a:lnTo>
                  <a:lnTo>
                    <a:pt x="0" y="89"/>
                  </a:lnTo>
                  <a:lnTo>
                    <a:pt x="22" y="89"/>
                  </a:lnTo>
                  <a:lnTo>
                    <a:pt x="27" y="71"/>
                  </a:lnTo>
                  <a:lnTo>
                    <a:pt x="57"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14" name="Freeform 7"/>
            <p:cNvSpPr>
              <a:spLocks noEditPoints="1"/>
            </p:cNvSpPr>
            <p:nvPr userDrawn="1"/>
          </p:nvSpPr>
          <p:spPr bwMode="auto">
            <a:xfrm>
              <a:off x="5756275" y="325438"/>
              <a:ext cx="1941513" cy="142875"/>
            </a:xfrm>
            <a:custGeom>
              <a:avLst/>
              <a:gdLst>
                <a:gd name="T0" fmla="*/ 1197 w 1223"/>
                <a:gd name="T1" fmla="*/ 38 h 90"/>
                <a:gd name="T2" fmla="*/ 1220 w 1223"/>
                <a:gd name="T3" fmla="*/ 32 h 90"/>
                <a:gd name="T4" fmla="*/ 1120 w 1223"/>
                <a:gd name="T5" fmla="*/ 37 h 90"/>
                <a:gd name="T6" fmla="*/ 1131 w 1223"/>
                <a:gd name="T7" fmla="*/ 70 h 90"/>
                <a:gd name="T8" fmla="*/ 1105 w 1223"/>
                <a:gd name="T9" fmla="*/ 60 h 90"/>
                <a:gd name="T10" fmla="*/ 1112 w 1223"/>
                <a:gd name="T11" fmla="*/ 23 h 90"/>
                <a:gd name="T12" fmla="*/ 1088 w 1223"/>
                <a:gd name="T13" fmla="*/ 70 h 90"/>
                <a:gd name="T14" fmla="*/ 1136 w 1223"/>
                <a:gd name="T15" fmla="*/ 86 h 90"/>
                <a:gd name="T16" fmla="*/ 1150 w 1223"/>
                <a:gd name="T17" fmla="*/ 40 h 90"/>
                <a:gd name="T18" fmla="*/ 1074 w 1223"/>
                <a:gd name="T19" fmla="*/ 15 h 90"/>
                <a:gd name="T20" fmla="*/ 1002 w 1223"/>
                <a:gd name="T21" fmla="*/ 25 h 90"/>
                <a:gd name="T22" fmla="*/ 1041 w 1223"/>
                <a:gd name="T23" fmla="*/ 88 h 90"/>
                <a:gd name="T24" fmla="*/ 967 w 1223"/>
                <a:gd name="T25" fmla="*/ 74 h 90"/>
                <a:gd name="T26" fmla="*/ 966 w 1223"/>
                <a:gd name="T27" fmla="*/ 60 h 90"/>
                <a:gd name="T28" fmla="*/ 971 w 1223"/>
                <a:gd name="T29" fmla="*/ 40 h 90"/>
                <a:gd name="T30" fmla="*/ 934 w 1223"/>
                <a:gd name="T31" fmla="*/ 59 h 90"/>
                <a:gd name="T32" fmla="*/ 954 w 1223"/>
                <a:gd name="T33" fmla="*/ 90 h 90"/>
                <a:gd name="T34" fmla="*/ 990 w 1223"/>
                <a:gd name="T35" fmla="*/ 36 h 90"/>
                <a:gd name="T36" fmla="*/ 939 w 1223"/>
                <a:gd name="T37" fmla="*/ 31 h 90"/>
                <a:gd name="T38" fmla="*/ 907 w 1223"/>
                <a:gd name="T39" fmla="*/ 26 h 90"/>
                <a:gd name="T40" fmla="*/ 859 w 1223"/>
                <a:gd name="T41" fmla="*/ 49 h 90"/>
                <a:gd name="T42" fmla="*/ 891 w 1223"/>
                <a:gd name="T43" fmla="*/ 90 h 90"/>
                <a:gd name="T44" fmla="*/ 899 w 1223"/>
                <a:gd name="T45" fmla="*/ 72 h 90"/>
                <a:gd name="T46" fmla="*/ 878 w 1223"/>
                <a:gd name="T47" fmla="*/ 56 h 90"/>
                <a:gd name="T48" fmla="*/ 900 w 1223"/>
                <a:gd name="T49" fmla="*/ 42 h 90"/>
                <a:gd name="T50" fmla="*/ 823 w 1223"/>
                <a:gd name="T51" fmla="*/ 73 h 90"/>
                <a:gd name="T52" fmla="*/ 790 w 1223"/>
                <a:gd name="T53" fmla="*/ 71 h 90"/>
                <a:gd name="T54" fmla="*/ 828 w 1223"/>
                <a:gd name="T55" fmla="*/ 83 h 90"/>
                <a:gd name="T56" fmla="*/ 756 w 1223"/>
                <a:gd name="T57" fmla="*/ 52 h 90"/>
                <a:gd name="T58" fmla="*/ 735 w 1223"/>
                <a:gd name="T59" fmla="*/ 72 h 90"/>
                <a:gd name="T60" fmla="*/ 740 w 1223"/>
                <a:gd name="T61" fmla="*/ 38 h 90"/>
                <a:gd name="T62" fmla="*/ 719 w 1223"/>
                <a:gd name="T63" fmla="*/ 32 h 90"/>
                <a:gd name="T64" fmla="*/ 723 w 1223"/>
                <a:gd name="T65" fmla="*/ 85 h 90"/>
                <a:gd name="T66" fmla="*/ 757 w 1223"/>
                <a:gd name="T67" fmla="*/ 88 h 90"/>
                <a:gd name="T68" fmla="*/ 655 w 1223"/>
                <a:gd name="T69" fmla="*/ 34 h 90"/>
                <a:gd name="T70" fmla="*/ 556 w 1223"/>
                <a:gd name="T71" fmla="*/ 38 h 90"/>
                <a:gd name="T72" fmla="*/ 580 w 1223"/>
                <a:gd name="T73" fmla="*/ 41 h 90"/>
                <a:gd name="T74" fmla="*/ 533 w 1223"/>
                <a:gd name="T75" fmla="*/ 28 h 90"/>
                <a:gd name="T76" fmla="*/ 528 w 1223"/>
                <a:gd name="T77" fmla="*/ 81 h 90"/>
                <a:gd name="T78" fmla="*/ 577 w 1223"/>
                <a:gd name="T79" fmla="*/ 80 h 90"/>
                <a:gd name="T80" fmla="*/ 543 w 1223"/>
                <a:gd name="T81" fmla="*/ 72 h 90"/>
                <a:gd name="T82" fmla="*/ 471 w 1223"/>
                <a:gd name="T83" fmla="*/ 24 h 90"/>
                <a:gd name="T84" fmla="*/ 440 w 1223"/>
                <a:gd name="T85" fmla="*/ 88 h 90"/>
                <a:gd name="T86" fmla="*/ 376 w 1223"/>
                <a:gd name="T87" fmla="*/ 78 h 90"/>
                <a:gd name="T88" fmla="*/ 394 w 1223"/>
                <a:gd name="T89" fmla="*/ 69 h 90"/>
                <a:gd name="T90" fmla="*/ 329 w 1223"/>
                <a:gd name="T91" fmla="*/ 73 h 90"/>
                <a:gd name="T92" fmla="*/ 295 w 1223"/>
                <a:gd name="T93" fmla="*/ 71 h 90"/>
                <a:gd name="T94" fmla="*/ 333 w 1223"/>
                <a:gd name="T95" fmla="*/ 83 h 90"/>
                <a:gd name="T96" fmla="*/ 259 w 1223"/>
                <a:gd name="T97" fmla="*/ 23 h 90"/>
                <a:gd name="T98" fmla="*/ 221 w 1223"/>
                <a:gd name="T99" fmla="*/ 64 h 90"/>
                <a:gd name="T100" fmla="*/ 264 w 1223"/>
                <a:gd name="T101" fmla="*/ 88 h 90"/>
                <a:gd name="T102" fmla="*/ 257 w 1223"/>
                <a:gd name="T103" fmla="*/ 74 h 90"/>
                <a:gd name="T104" fmla="*/ 240 w 1223"/>
                <a:gd name="T105" fmla="*/ 50 h 90"/>
                <a:gd name="T106" fmla="*/ 264 w 1223"/>
                <a:gd name="T107" fmla="*/ 47 h 90"/>
                <a:gd name="T108" fmla="*/ 186 w 1223"/>
                <a:gd name="T109" fmla="*/ 40 h 90"/>
                <a:gd name="T110" fmla="*/ 202 w 1223"/>
                <a:gd name="T111" fmla="*/ 33 h 90"/>
                <a:gd name="T112" fmla="*/ 152 w 1223"/>
                <a:gd name="T113" fmla="*/ 34 h 90"/>
                <a:gd name="T114" fmla="*/ 165 w 1223"/>
                <a:gd name="T115" fmla="*/ 87 h 90"/>
                <a:gd name="T116" fmla="*/ 207 w 1223"/>
                <a:gd name="T117" fmla="*/ 74 h 90"/>
                <a:gd name="T118" fmla="*/ 166 w 1223"/>
                <a:gd name="T119" fmla="*/ 67 h 90"/>
                <a:gd name="T120" fmla="*/ 96 w 1223"/>
                <a:gd name="T121" fmla="*/ 88 h 90"/>
                <a:gd name="T122" fmla="*/ 60 w 1223"/>
                <a:gd name="T123" fmla="*/ 5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3" h="90">
                  <a:moveTo>
                    <a:pt x="1165" y="24"/>
                  </a:moveTo>
                  <a:lnTo>
                    <a:pt x="1165" y="88"/>
                  </a:lnTo>
                  <a:lnTo>
                    <a:pt x="1184" y="88"/>
                  </a:lnTo>
                  <a:lnTo>
                    <a:pt x="1184" y="52"/>
                  </a:lnTo>
                  <a:lnTo>
                    <a:pt x="1184" y="46"/>
                  </a:lnTo>
                  <a:lnTo>
                    <a:pt x="1185" y="44"/>
                  </a:lnTo>
                  <a:lnTo>
                    <a:pt x="1187" y="42"/>
                  </a:lnTo>
                  <a:lnTo>
                    <a:pt x="1188" y="40"/>
                  </a:lnTo>
                  <a:lnTo>
                    <a:pt x="1190" y="39"/>
                  </a:lnTo>
                  <a:lnTo>
                    <a:pt x="1192" y="38"/>
                  </a:lnTo>
                  <a:lnTo>
                    <a:pt x="1195" y="38"/>
                  </a:lnTo>
                  <a:lnTo>
                    <a:pt x="1197" y="38"/>
                  </a:lnTo>
                  <a:lnTo>
                    <a:pt x="1199" y="39"/>
                  </a:lnTo>
                  <a:lnTo>
                    <a:pt x="1201" y="40"/>
                  </a:lnTo>
                  <a:lnTo>
                    <a:pt x="1202" y="42"/>
                  </a:lnTo>
                  <a:lnTo>
                    <a:pt x="1203" y="44"/>
                  </a:lnTo>
                  <a:lnTo>
                    <a:pt x="1204" y="46"/>
                  </a:lnTo>
                  <a:lnTo>
                    <a:pt x="1204" y="53"/>
                  </a:lnTo>
                  <a:lnTo>
                    <a:pt x="1204" y="88"/>
                  </a:lnTo>
                  <a:lnTo>
                    <a:pt x="1223" y="88"/>
                  </a:lnTo>
                  <a:lnTo>
                    <a:pt x="1223" y="47"/>
                  </a:lnTo>
                  <a:lnTo>
                    <a:pt x="1223" y="41"/>
                  </a:lnTo>
                  <a:lnTo>
                    <a:pt x="1222" y="37"/>
                  </a:lnTo>
                  <a:lnTo>
                    <a:pt x="1220" y="32"/>
                  </a:lnTo>
                  <a:lnTo>
                    <a:pt x="1217" y="29"/>
                  </a:lnTo>
                  <a:lnTo>
                    <a:pt x="1214" y="26"/>
                  </a:lnTo>
                  <a:lnTo>
                    <a:pt x="1210" y="24"/>
                  </a:lnTo>
                  <a:lnTo>
                    <a:pt x="1206" y="23"/>
                  </a:lnTo>
                  <a:lnTo>
                    <a:pt x="1201" y="22"/>
                  </a:lnTo>
                  <a:lnTo>
                    <a:pt x="1196" y="23"/>
                  </a:lnTo>
                  <a:lnTo>
                    <a:pt x="1192" y="24"/>
                  </a:lnTo>
                  <a:lnTo>
                    <a:pt x="1188" y="27"/>
                  </a:lnTo>
                  <a:lnTo>
                    <a:pt x="1183" y="30"/>
                  </a:lnTo>
                  <a:lnTo>
                    <a:pt x="1183" y="24"/>
                  </a:lnTo>
                  <a:lnTo>
                    <a:pt x="1165" y="24"/>
                  </a:lnTo>
                  <a:close/>
                  <a:moveTo>
                    <a:pt x="1120" y="37"/>
                  </a:moveTo>
                  <a:lnTo>
                    <a:pt x="1123" y="38"/>
                  </a:lnTo>
                  <a:lnTo>
                    <a:pt x="1126" y="39"/>
                  </a:lnTo>
                  <a:lnTo>
                    <a:pt x="1129" y="40"/>
                  </a:lnTo>
                  <a:lnTo>
                    <a:pt x="1131" y="42"/>
                  </a:lnTo>
                  <a:lnTo>
                    <a:pt x="1132" y="45"/>
                  </a:lnTo>
                  <a:lnTo>
                    <a:pt x="1134" y="48"/>
                  </a:lnTo>
                  <a:lnTo>
                    <a:pt x="1134" y="52"/>
                  </a:lnTo>
                  <a:lnTo>
                    <a:pt x="1135" y="57"/>
                  </a:lnTo>
                  <a:lnTo>
                    <a:pt x="1134" y="61"/>
                  </a:lnTo>
                  <a:lnTo>
                    <a:pt x="1134" y="64"/>
                  </a:lnTo>
                  <a:lnTo>
                    <a:pt x="1132" y="67"/>
                  </a:lnTo>
                  <a:lnTo>
                    <a:pt x="1131" y="70"/>
                  </a:lnTo>
                  <a:lnTo>
                    <a:pt x="1130" y="71"/>
                  </a:lnTo>
                  <a:lnTo>
                    <a:pt x="1129" y="72"/>
                  </a:lnTo>
                  <a:lnTo>
                    <a:pt x="1126" y="74"/>
                  </a:lnTo>
                  <a:lnTo>
                    <a:pt x="1123" y="75"/>
                  </a:lnTo>
                  <a:lnTo>
                    <a:pt x="1120" y="75"/>
                  </a:lnTo>
                  <a:lnTo>
                    <a:pt x="1116" y="75"/>
                  </a:lnTo>
                  <a:lnTo>
                    <a:pt x="1113" y="74"/>
                  </a:lnTo>
                  <a:lnTo>
                    <a:pt x="1111" y="72"/>
                  </a:lnTo>
                  <a:lnTo>
                    <a:pt x="1109" y="70"/>
                  </a:lnTo>
                  <a:lnTo>
                    <a:pt x="1107" y="67"/>
                  </a:lnTo>
                  <a:lnTo>
                    <a:pt x="1106" y="64"/>
                  </a:lnTo>
                  <a:lnTo>
                    <a:pt x="1105" y="60"/>
                  </a:lnTo>
                  <a:lnTo>
                    <a:pt x="1105" y="56"/>
                  </a:lnTo>
                  <a:lnTo>
                    <a:pt x="1105" y="52"/>
                  </a:lnTo>
                  <a:lnTo>
                    <a:pt x="1106" y="48"/>
                  </a:lnTo>
                  <a:lnTo>
                    <a:pt x="1107" y="45"/>
                  </a:lnTo>
                  <a:lnTo>
                    <a:pt x="1109" y="42"/>
                  </a:lnTo>
                  <a:lnTo>
                    <a:pt x="1110" y="41"/>
                  </a:lnTo>
                  <a:lnTo>
                    <a:pt x="1111" y="40"/>
                  </a:lnTo>
                  <a:lnTo>
                    <a:pt x="1113" y="39"/>
                  </a:lnTo>
                  <a:lnTo>
                    <a:pt x="1116" y="38"/>
                  </a:lnTo>
                  <a:lnTo>
                    <a:pt x="1120" y="37"/>
                  </a:lnTo>
                  <a:close/>
                  <a:moveTo>
                    <a:pt x="1120" y="23"/>
                  </a:moveTo>
                  <a:lnTo>
                    <a:pt x="1112" y="23"/>
                  </a:lnTo>
                  <a:lnTo>
                    <a:pt x="1106" y="25"/>
                  </a:lnTo>
                  <a:lnTo>
                    <a:pt x="1103" y="26"/>
                  </a:lnTo>
                  <a:lnTo>
                    <a:pt x="1100" y="28"/>
                  </a:lnTo>
                  <a:lnTo>
                    <a:pt x="1095" y="32"/>
                  </a:lnTo>
                  <a:lnTo>
                    <a:pt x="1091" y="37"/>
                  </a:lnTo>
                  <a:lnTo>
                    <a:pt x="1090" y="40"/>
                  </a:lnTo>
                  <a:lnTo>
                    <a:pt x="1088" y="43"/>
                  </a:lnTo>
                  <a:lnTo>
                    <a:pt x="1087" y="46"/>
                  </a:lnTo>
                  <a:lnTo>
                    <a:pt x="1086" y="49"/>
                  </a:lnTo>
                  <a:lnTo>
                    <a:pt x="1086" y="56"/>
                  </a:lnTo>
                  <a:lnTo>
                    <a:pt x="1086" y="63"/>
                  </a:lnTo>
                  <a:lnTo>
                    <a:pt x="1088" y="70"/>
                  </a:lnTo>
                  <a:lnTo>
                    <a:pt x="1090" y="73"/>
                  </a:lnTo>
                  <a:lnTo>
                    <a:pt x="1091" y="76"/>
                  </a:lnTo>
                  <a:lnTo>
                    <a:pt x="1095" y="80"/>
                  </a:lnTo>
                  <a:lnTo>
                    <a:pt x="1100" y="84"/>
                  </a:lnTo>
                  <a:lnTo>
                    <a:pt x="1103" y="86"/>
                  </a:lnTo>
                  <a:lnTo>
                    <a:pt x="1106" y="87"/>
                  </a:lnTo>
                  <a:lnTo>
                    <a:pt x="1109" y="88"/>
                  </a:lnTo>
                  <a:lnTo>
                    <a:pt x="1112" y="89"/>
                  </a:lnTo>
                  <a:lnTo>
                    <a:pt x="1120" y="90"/>
                  </a:lnTo>
                  <a:lnTo>
                    <a:pt x="1127" y="89"/>
                  </a:lnTo>
                  <a:lnTo>
                    <a:pt x="1133" y="87"/>
                  </a:lnTo>
                  <a:lnTo>
                    <a:pt x="1136" y="86"/>
                  </a:lnTo>
                  <a:lnTo>
                    <a:pt x="1139" y="84"/>
                  </a:lnTo>
                  <a:lnTo>
                    <a:pt x="1144" y="80"/>
                  </a:lnTo>
                  <a:lnTo>
                    <a:pt x="1148" y="76"/>
                  </a:lnTo>
                  <a:lnTo>
                    <a:pt x="1150" y="73"/>
                  </a:lnTo>
                  <a:lnTo>
                    <a:pt x="1151" y="70"/>
                  </a:lnTo>
                  <a:lnTo>
                    <a:pt x="1153" y="64"/>
                  </a:lnTo>
                  <a:lnTo>
                    <a:pt x="1153" y="60"/>
                  </a:lnTo>
                  <a:lnTo>
                    <a:pt x="1154" y="57"/>
                  </a:lnTo>
                  <a:lnTo>
                    <a:pt x="1153" y="53"/>
                  </a:lnTo>
                  <a:lnTo>
                    <a:pt x="1153" y="49"/>
                  </a:lnTo>
                  <a:lnTo>
                    <a:pt x="1151" y="43"/>
                  </a:lnTo>
                  <a:lnTo>
                    <a:pt x="1150" y="40"/>
                  </a:lnTo>
                  <a:lnTo>
                    <a:pt x="1148" y="37"/>
                  </a:lnTo>
                  <a:lnTo>
                    <a:pt x="1144" y="32"/>
                  </a:lnTo>
                  <a:lnTo>
                    <a:pt x="1139" y="28"/>
                  </a:lnTo>
                  <a:lnTo>
                    <a:pt x="1136" y="26"/>
                  </a:lnTo>
                  <a:lnTo>
                    <a:pt x="1133" y="25"/>
                  </a:lnTo>
                  <a:lnTo>
                    <a:pt x="1130" y="24"/>
                  </a:lnTo>
                  <a:lnTo>
                    <a:pt x="1127" y="23"/>
                  </a:lnTo>
                  <a:lnTo>
                    <a:pt x="1120" y="23"/>
                  </a:lnTo>
                  <a:close/>
                  <a:moveTo>
                    <a:pt x="1074" y="0"/>
                  </a:moveTo>
                  <a:lnTo>
                    <a:pt x="1056" y="0"/>
                  </a:lnTo>
                  <a:lnTo>
                    <a:pt x="1056" y="15"/>
                  </a:lnTo>
                  <a:lnTo>
                    <a:pt x="1074" y="15"/>
                  </a:lnTo>
                  <a:lnTo>
                    <a:pt x="1074" y="0"/>
                  </a:lnTo>
                  <a:close/>
                  <a:moveTo>
                    <a:pt x="1074" y="24"/>
                  </a:moveTo>
                  <a:lnTo>
                    <a:pt x="1056" y="24"/>
                  </a:lnTo>
                  <a:lnTo>
                    <a:pt x="1056" y="88"/>
                  </a:lnTo>
                  <a:lnTo>
                    <a:pt x="1074" y="88"/>
                  </a:lnTo>
                  <a:lnTo>
                    <a:pt x="1074" y="24"/>
                  </a:lnTo>
                  <a:close/>
                  <a:moveTo>
                    <a:pt x="1041" y="25"/>
                  </a:moveTo>
                  <a:lnTo>
                    <a:pt x="1029" y="25"/>
                  </a:lnTo>
                  <a:lnTo>
                    <a:pt x="1029" y="5"/>
                  </a:lnTo>
                  <a:lnTo>
                    <a:pt x="1011" y="5"/>
                  </a:lnTo>
                  <a:lnTo>
                    <a:pt x="1011" y="25"/>
                  </a:lnTo>
                  <a:lnTo>
                    <a:pt x="1002" y="25"/>
                  </a:lnTo>
                  <a:lnTo>
                    <a:pt x="1002" y="38"/>
                  </a:lnTo>
                  <a:lnTo>
                    <a:pt x="1011" y="38"/>
                  </a:lnTo>
                  <a:lnTo>
                    <a:pt x="1011" y="67"/>
                  </a:lnTo>
                  <a:lnTo>
                    <a:pt x="1011" y="74"/>
                  </a:lnTo>
                  <a:lnTo>
                    <a:pt x="1011" y="78"/>
                  </a:lnTo>
                  <a:lnTo>
                    <a:pt x="1012" y="81"/>
                  </a:lnTo>
                  <a:lnTo>
                    <a:pt x="1014" y="84"/>
                  </a:lnTo>
                  <a:lnTo>
                    <a:pt x="1017" y="86"/>
                  </a:lnTo>
                  <a:lnTo>
                    <a:pt x="1020" y="87"/>
                  </a:lnTo>
                  <a:lnTo>
                    <a:pt x="1024" y="88"/>
                  </a:lnTo>
                  <a:lnTo>
                    <a:pt x="1029" y="88"/>
                  </a:lnTo>
                  <a:lnTo>
                    <a:pt x="1041" y="88"/>
                  </a:lnTo>
                  <a:lnTo>
                    <a:pt x="1041" y="74"/>
                  </a:lnTo>
                  <a:lnTo>
                    <a:pt x="1034" y="74"/>
                  </a:lnTo>
                  <a:lnTo>
                    <a:pt x="1032" y="74"/>
                  </a:lnTo>
                  <a:lnTo>
                    <a:pt x="1030" y="72"/>
                  </a:lnTo>
                  <a:lnTo>
                    <a:pt x="1029" y="69"/>
                  </a:lnTo>
                  <a:lnTo>
                    <a:pt x="1029" y="63"/>
                  </a:lnTo>
                  <a:lnTo>
                    <a:pt x="1029" y="38"/>
                  </a:lnTo>
                  <a:lnTo>
                    <a:pt x="1041" y="38"/>
                  </a:lnTo>
                  <a:lnTo>
                    <a:pt x="1041" y="25"/>
                  </a:lnTo>
                  <a:close/>
                  <a:moveTo>
                    <a:pt x="973" y="68"/>
                  </a:moveTo>
                  <a:lnTo>
                    <a:pt x="970" y="71"/>
                  </a:lnTo>
                  <a:lnTo>
                    <a:pt x="967" y="74"/>
                  </a:lnTo>
                  <a:lnTo>
                    <a:pt x="963" y="75"/>
                  </a:lnTo>
                  <a:lnTo>
                    <a:pt x="959" y="76"/>
                  </a:lnTo>
                  <a:lnTo>
                    <a:pt x="955" y="75"/>
                  </a:lnTo>
                  <a:lnTo>
                    <a:pt x="952" y="74"/>
                  </a:lnTo>
                  <a:lnTo>
                    <a:pt x="950" y="72"/>
                  </a:lnTo>
                  <a:lnTo>
                    <a:pt x="950" y="70"/>
                  </a:lnTo>
                  <a:lnTo>
                    <a:pt x="949" y="69"/>
                  </a:lnTo>
                  <a:lnTo>
                    <a:pt x="950" y="66"/>
                  </a:lnTo>
                  <a:lnTo>
                    <a:pt x="952" y="64"/>
                  </a:lnTo>
                  <a:lnTo>
                    <a:pt x="955" y="62"/>
                  </a:lnTo>
                  <a:lnTo>
                    <a:pt x="959" y="61"/>
                  </a:lnTo>
                  <a:lnTo>
                    <a:pt x="966" y="60"/>
                  </a:lnTo>
                  <a:lnTo>
                    <a:pt x="973" y="58"/>
                  </a:lnTo>
                  <a:lnTo>
                    <a:pt x="973" y="68"/>
                  </a:lnTo>
                  <a:close/>
                  <a:moveTo>
                    <a:pt x="951" y="44"/>
                  </a:moveTo>
                  <a:lnTo>
                    <a:pt x="951" y="43"/>
                  </a:lnTo>
                  <a:lnTo>
                    <a:pt x="952" y="41"/>
                  </a:lnTo>
                  <a:lnTo>
                    <a:pt x="953" y="40"/>
                  </a:lnTo>
                  <a:lnTo>
                    <a:pt x="954" y="39"/>
                  </a:lnTo>
                  <a:lnTo>
                    <a:pt x="958" y="37"/>
                  </a:lnTo>
                  <a:lnTo>
                    <a:pt x="962" y="37"/>
                  </a:lnTo>
                  <a:lnTo>
                    <a:pt x="966" y="37"/>
                  </a:lnTo>
                  <a:lnTo>
                    <a:pt x="970" y="38"/>
                  </a:lnTo>
                  <a:lnTo>
                    <a:pt x="971" y="40"/>
                  </a:lnTo>
                  <a:lnTo>
                    <a:pt x="972" y="41"/>
                  </a:lnTo>
                  <a:lnTo>
                    <a:pt x="972" y="43"/>
                  </a:lnTo>
                  <a:lnTo>
                    <a:pt x="972" y="44"/>
                  </a:lnTo>
                  <a:lnTo>
                    <a:pt x="971" y="46"/>
                  </a:lnTo>
                  <a:lnTo>
                    <a:pt x="969" y="46"/>
                  </a:lnTo>
                  <a:lnTo>
                    <a:pt x="966" y="47"/>
                  </a:lnTo>
                  <a:lnTo>
                    <a:pt x="956" y="49"/>
                  </a:lnTo>
                  <a:lnTo>
                    <a:pt x="950" y="50"/>
                  </a:lnTo>
                  <a:lnTo>
                    <a:pt x="945" y="52"/>
                  </a:lnTo>
                  <a:lnTo>
                    <a:pt x="940" y="54"/>
                  </a:lnTo>
                  <a:lnTo>
                    <a:pt x="937" y="56"/>
                  </a:lnTo>
                  <a:lnTo>
                    <a:pt x="934" y="59"/>
                  </a:lnTo>
                  <a:lnTo>
                    <a:pt x="933" y="60"/>
                  </a:lnTo>
                  <a:lnTo>
                    <a:pt x="932" y="62"/>
                  </a:lnTo>
                  <a:lnTo>
                    <a:pt x="931" y="66"/>
                  </a:lnTo>
                  <a:lnTo>
                    <a:pt x="931" y="70"/>
                  </a:lnTo>
                  <a:lnTo>
                    <a:pt x="931" y="74"/>
                  </a:lnTo>
                  <a:lnTo>
                    <a:pt x="933" y="78"/>
                  </a:lnTo>
                  <a:lnTo>
                    <a:pt x="935" y="81"/>
                  </a:lnTo>
                  <a:lnTo>
                    <a:pt x="937" y="84"/>
                  </a:lnTo>
                  <a:lnTo>
                    <a:pt x="941" y="87"/>
                  </a:lnTo>
                  <a:lnTo>
                    <a:pt x="945" y="88"/>
                  </a:lnTo>
                  <a:lnTo>
                    <a:pt x="949" y="89"/>
                  </a:lnTo>
                  <a:lnTo>
                    <a:pt x="954" y="90"/>
                  </a:lnTo>
                  <a:lnTo>
                    <a:pt x="960" y="90"/>
                  </a:lnTo>
                  <a:lnTo>
                    <a:pt x="964" y="88"/>
                  </a:lnTo>
                  <a:lnTo>
                    <a:pt x="968" y="86"/>
                  </a:lnTo>
                  <a:lnTo>
                    <a:pt x="973" y="83"/>
                  </a:lnTo>
                  <a:lnTo>
                    <a:pt x="974" y="88"/>
                  </a:lnTo>
                  <a:lnTo>
                    <a:pt x="993" y="88"/>
                  </a:lnTo>
                  <a:lnTo>
                    <a:pt x="992" y="86"/>
                  </a:lnTo>
                  <a:lnTo>
                    <a:pt x="991" y="84"/>
                  </a:lnTo>
                  <a:lnTo>
                    <a:pt x="991" y="77"/>
                  </a:lnTo>
                  <a:lnTo>
                    <a:pt x="991" y="48"/>
                  </a:lnTo>
                  <a:lnTo>
                    <a:pt x="991" y="41"/>
                  </a:lnTo>
                  <a:lnTo>
                    <a:pt x="990" y="36"/>
                  </a:lnTo>
                  <a:lnTo>
                    <a:pt x="988" y="32"/>
                  </a:lnTo>
                  <a:lnTo>
                    <a:pt x="986" y="31"/>
                  </a:lnTo>
                  <a:lnTo>
                    <a:pt x="985" y="29"/>
                  </a:lnTo>
                  <a:lnTo>
                    <a:pt x="980" y="26"/>
                  </a:lnTo>
                  <a:lnTo>
                    <a:pt x="975" y="24"/>
                  </a:lnTo>
                  <a:lnTo>
                    <a:pt x="969" y="23"/>
                  </a:lnTo>
                  <a:lnTo>
                    <a:pt x="962" y="23"/>
                  </a:lnTo>
                  <a:lnTo>
                    <a:pt x="956" y="23"/>
                  </a:lnTo>
                  <a:lnTo>
                    <a:pt x="951" y="24"/>
                  </a:lnTo>
                  <a:lnTo>
                    <a:pt x="946" y="26"/>
                  </a:lnTo>
                  <a:lnTo>
                    <a:pt x="942" y="28"/>
                  </a:lnTo>
                  <a:lnTo>
                    <a:pt x="939" y="31"/>
                  </a:lnTo>
                  <a:lnTo>
                    <a:pt x="937" y="35"/>
                  </a:lnTo>
                  <a:lnTo>
                    <a:pt x="936" y="37"/>
                  </a:lnTo>
                  <a:lnTo>
                    <a:pt x="935" y="39"/>
                  </a:lnTo>
                  <a:lnTo>
                    <a:pt x="934" y="42"/>
                  </a:lnTo>
                  <a:lnTo>
                    <a:pt x="934" y="44"/>
                  </a:lnTo>
                  <a:lnTo>
                    <a:pt x="951" y="44"/>
                  </a:lnTo>
                  <a:close/>
                  <a:moveTo>
                    <a:pt x="920" y="47"/>
                  </a:moveTo>
                  <a:lnTo>
                    <a:pt x="920" y="42"/>
                  </a:lnTo>
                  <a:lnTo>
                    <a:pt x="918" y="37"/>
                  </a:lnTo>
                  <a:lnTo>
                    <a:pt x="915" y="33"/>
                  </a:lnTo>
                  <a:lnTo>
                    <a:pt x="912" y="29"/>
                  </a:lnTo>
                  <a:lnTo>
                    <a:pt x="907" y="26"/>
                  </a:lnTo>
                  <a:lnTo>
                    <a:pt x="903" y="24"/>
                  </a:lnTo>
                  <a:lnTo>
                    <a:pt x="897" y="23"/>
                  </a:lnTo>
                  <a:lnTo>
                    <a:pt x="891" y="23"/>
                  </a:lnTo>
                  <a:lnTo>
                    <a:pt x="884" y="23"/>
                  </a:lnTo>
                  <a:lnTo>
                    <a:pt x="878" y="25"/>
                  </a:lnTo>
                  <a:lnTo>
                    <a:pt x="872" y="28"/>
                  </a:lnTo>
                  <a:lnTo>
                    <a:pt x="870" y="29"/>
                  </a:lnTo>
                  <a:lnTo>
                    <a:pt x="867" y="32"/>
                  </a:lnTo>
                  <a:lnTo>
                    <a:pt x="865" y="34"/>
                  </a:lnTo>
                  <a:lnTo>
                    <a:pt x="864" y="36"/>
                  </a:lnTo>
                  <a:lnTo>
                    <a:pt x="861" y="42"/>
                  </a:lnTo>
                  <a:lnTo>
                    <a:pt x="859" y="49"/>
                  </a:lnTo>
                  <a:lnTo>
                    <a:pt x="859" y="56"/>
                  </a:lnTo>
                  <a:lnTo>
                    <a:pt x="859" y="64"/>
                  </a:lnTo>
                  <a:lnTo>
                    <a:pt x="860" y="67"/>
                  </a:lnTo>
                  <a:lnTo>
                    <a:pt x="861" y="70"/>
                  </a:lnTo>
                  <a:lnTo>
                    <a:pt x="864" y="76"/>
                  </a:lnTo>
                  <a:lnTo>
                    <a:pt x="865" y="79"/>
                  </a:lnTo>
                  <a:lnTo>
                    <a:pt x="867" y="81"/>
                  </a:lnTo>
                  <a:lnTo>
                    <a:pt x="872" y="85"/>
                  </a:lnTo>
                  <a:lnTo>
                    <a:pt x="877" y="88"/>
                  </a:lnTo>
                  <a:lnTo>
                    <a:pt x="884" y="89"/>
                  </a:lnTo>
                  <a:lnTo>
                    <a:pt x="887" y="90"/>
                  </a:lnTo>
                  <a:lnTo>
                    <a:pt x="891" y="90"/>
                  </a:lnTo>
                  <a:lnTo>
                    <a:pt x="897" y="89"/>
                  </a:lnTo>
                  <a:lnTo>
                    <a:pt x="902" y="88"/>
                  </a:lnTo>
                  <a:lnTo>
                    <a:pt x="907" y="86"/>
                  </a:lnTo>
                  <a:lnTo>
                    <a:pt x="911" y="83"/>
                  </a:lnTo>
                  <a:lnTo>
                    <a:pt x="915" y="80"/>
                  </a:lnTo>
                  <a:lnTo>
                    <a:pt x="918" y="75"/>
                  </a:lnTo>
                  <a:lnTo>
                    <a:pt x="920" y="70"/>
                  </a:lnTo>
                  <a:lnTo>
                    <a:pt x="921" y="65"/>
                  </a:lnTo>
                  <a:lnTo>
                    <a:pt x="903" y="64"/>
                  </a:lnTo>
                  <a:lnTo>
                    <a:pt x="902" y="66"/>
                  </a:lnTo>
                  <a:lnTo>
                    <a:pt x="901" y="69"/>
                  </a:lnTo>
                  <a:lnTo>
                    <a:pt x="899" y="72"/>
                  </a:lnTo>
                  <a:lnTo>
                    <a:pt x="897" y="73"/>
                  </a:lnTo>
                  <a:lnTo>
                    <a:pt x="896" y="74"/>
                  </a:lnTo>
                  <a:lnTo>
                    <a:pt x="893" y="74"/>
                  </a:lnTo>
                  <a:lnTo>
                    <a:pt x="891" y="75"/>
                  </a:lnTo>
                  <a:lnTo>
                    <a:pt x="888" y="74"/>
                  </a:lnTo>
                  <a:lnTo>
                    <a:pt x="885" y="73"/>
                  </a:lnTo>
                  <a:lnTo>
                    <a:pt x="883" y="72"/>
                  </a:lnTo>
                  <a:lnTo>
                    <a:pt x="881" y="70"/>
                  </a:lnTo>
                  <a:lnTo>
                    <a:pt x="880" y="67"/>
                  </a:lnTo>
                  <a:lnTo>
                    <a:pt x="879" y="64"/>
                  </a:lnTo>
                  <a:lnTo>
                    <a:pt x="878" y="60"/>
                  </a:lnTo>
                  <a:lnTo>
                    <a:pt x="878" y="56"/>
                  </a:lnTo>
                  <a:lnTo>
                    <a:pt x="878" y="52"/>
                  </a:lnTo>
                  <a:lnTo>
                    <a:pt x="878" y="50"/>
                  </a:lnTo>
                  <a:lnTo>
                    <a:pt x="879" y="48"/>
                  </a:lnTo>
                  <a:lnTo>
                    <a:pt x="880" y="45"/>
                  </a:lnTo>
                  <a:lnTo>
                    <a:pt x="881" y="42"/>
                  </a:lnTo>
                  <a:lnTo>
                    <a:pt x="883" y="40"/>
                  </a:lnTo>
                  <a:lnTo>
                    <a:pt x="885" y="39"/>
                  </a:lnTo>
                  <a:lnTo>
                    <a:pt x="888" y="38"/>
                  </a:lnTo>
                  <a:lnTo>
                    <a:pt x="891" y="38"/>
                  </a:lnTo>
                  <a:lnTo>
                    <a:pt x="895" y="38"/>
                  </a:lnTo>
                  <a:lnTo>
                    <a:pt x="899" y="40"/>
                  </a:lnTo>
                  <a:lnTo>
                    <a:pt x="900" y="42"/>
                  </a:lnTo>
                  <a:lnTo>
                    <a:pt x="901" y="43"/>
                  </a:lnTo>
                  <a:lnTo>
                    <a:pt x="902" y="45"/>
                  </a:lnTo>
                  <a:lnTo>
                    <a:pt x="903" y="47"/>
                  </a:lnTo>
                  <a:lnTo>
                    <a:pt x="920" y="47"/>
                  </a:lnTo>
                  <a:close/>
                  <a:moveTo>
                    <a:pt x="847" y="24"/>
                  </a:moveTo>
                  <a:lnTo>
                    <a:pt x="828" y="24"/>
                  </a:lnTo>
                  <a:lnTo>
                    <a:pt x="828" y="60"/>
                  </a:lnTo>
                  <a:lnTo>
                    <a:pt x="828" y="67"/>
                  </a:lnTo>
                  <a:lnTo>
                    <a:pt x="827" y="69"/>
                  </a:lnTo>
                  <a:lnTo>
                    <a:pt x="826" y="70"/>
                  </a:lnTo>
                  <a:lnTo>
                    <a:pt x="825" y="72"/>
                  </a:lnTo>
                  <a:lnTo>
                    <a:pt x="823" y="73"/>
                  </a:lnTo>
                  <a:lnTo>
                    <a:pt x="821" y="74"/>
                  </a:lnTo>
                  <a:lnTo>
                    <a:pt x="818" y="74"/>
                  </a:lnTo>
                  <a:lnTo>
                    <a:pt x="816" y="74"/>
                  </a:lnTo>
                  <a:lnTo>
                    <a:pt x="814" y="73"/>
                  </a:lnTo>
                  <a:lnTo>
                    <a:pt x="812" y="72"/>
                  </a:lnTo>
                  <a:lnTo>
                    <a:pt x="810" y="70"/>
                  </a:lnTo>
                  <a:lnTo>
                    <a:pt x="809" y="67"/>
                  </a:lnTo>
                  <a:lnTo>
                    <a:pt x="808" y="60"/>
                  </a:lnTo>
                  <a:lnTo>
                    <a:pt x="808" y="24"/>
                  </a:lnTo>
                  <a:lnTo>
                    <a:pt x="789" y="24"/>
                  </a:lnTo>
                  <a:lnTo>
                    <a:pt x="789" y="64"/>
                  </a:lnTo>
                  <a:lnTo>
                    <a:pt x="790" y="71"/>
                  </a:lnTo>
                  <a:lnTo>
                    <a:pt x="791" y="76"/>
                  </a:lnTo>
                  <a:lnTo>
                    <a:pt x="792" y="78"/>
                  </a:lnTo>
                  <a:lnTo>
                    <a:pt x="793" y="80"/>
                  </a:lnTo>
                  <a:lnTo>
                    <a:pt x="795" y="83"/>
                  </a:lnTo>
                  <a:lnTo>
                    <a:pt x="799" y="86"/>
                  </a:lnTo>
                  <a:lnTo>
                    <a:pt x="803" y="88"/>
                  </a:lnTo>
                  <a:lnTo>
                    <a:pt x="808" y="89"/>
                  </a:lnTo>
                  <a:lnTo>
                    <a:pt x="812" y="90"/>
                  </a:lnTo>
                  <a:lnTo>
                    <a:pt x="818" y="89"/>
                  </a:lnTo>
                  <a:lnTo>
                    <a:pt x="822" y="88"/>
                  </a:lnTo>
                  <a:lnTo>
                    <a:pt x="826" y="85"/>
                  </a:lnTo>
                  <a:lnTo>
                    <a:pt x="828" y="83"/>
                  </a:lnTo>
                  <a:lnTo>
                    <a:pt x="829" y="81"/>
                  </a:lnTo>
                  <a:lnTo>
                    <a:pt x="829" y="88"/>
                  </a:lnTo>
                  <a:lnTo>
                    <a:pt x="847" y="88"/>
                  </a:lnTo>
                  <a:lnTo>
                    <a:pt x="847" y="24"/>
                  </a:lnTo>
                  <a:close/>
                  <a:moveTo>
                    <a:pt x="743" y="38"/>
                  </a:moveTo>
                  <a:lnTo>
                    <a:pt x="746" y="38"/>
                  </a:lnTo>
                  <a:lnTo>
                    <a:pt x="749" y="39"/>
                  </a:lnTo>
                  <a:lnTo>
                    <a:pt x="751" y="41"/>
                  </a:lnTo>
                  <a:lnTo>
                    <a:pt x="753" y="43"/>
                  </a:lnTo>
                  <a:lnTo>
                    <a:pt x="755" y="45"/>
                  </a:lnTo>
                  <a:lnTo>
                    <a:pt x="756" y="49"/>
                  </a:lnTo>
                  <a:lnTo>
                    <a:pt x="756" y="52"/>
                  </a:lnTo>
                  <a:lnTo>
                    <a:pt x="757" y="56"/>
                  </a:lnTo>
                  <a:lnTo>
                    <a:pt x="756" y="60"/>
                  </a:lnTo>
                  <a:lnTo>
                    <a:pt x="756" y="64"/>
                  </a:lnTo>
                  <a:lnTo>
                    <a:pt x="755" y="67"/>
                  </a:lnTo>
                  <a:lnTo>
                    <a:pt x="753" y="70"/>
                  </a:lnTo>
                  <a:lnTo>
                    <a:pt x="751" y="72"/>
                  </a:lnTo>
                  <a:lnTo>
                    <a:pt x="749" y="73"/>
                  </a:lnTo>
                  <a:lnTo>
                    <a:pt x="746" y="74"/>
                  </a:lnTo>
                  <a:lnTo>
                    <a:pt x="743" y="75"/>
                  </a:lnTo>
                  <a:lnTo>
                    <a:pt x="740" y="74"/>
                  </a:lnTo>
                  <a:lnTo>
                    <a:pt x="738" y="73"/>
                  </a:lnTo>
                  <a:lnTo>
                    <a:pt x="735" y="72"/>
                  </a:lnTo>
                  <a:lnTo>
                    <a:pt x="733" y="70"/>
                  </a:lnTo>
                  <a:lnTo>
                    <a:pt x="732" y="67"/>
                  </a:lnTo>
                  <a:lnTo>
                    <a:pt x="731" y="64"/>
                  </a:lnTo>
                  <a:lnTo>
                    <a:pt x="730" y="60"/>
                  </a:lnTo>
                  <a:lnTo>
                    <a:pt x="730" y="56"/>
                  </a:lnTo>
                  <a:lnTo>
                    <a:pt x="730" y="52"/>
                  </a:lnTo>
                  <a:lnTo>
                    <a:pt x="731" y="48"/>
                  </a:lnTo>
                  <a:lnTo>
                    <a:pt x="732" y="45"/>
                  </a:lnTo>
                  <a:lnTo>
                    <a:pt x="733" y="43"/>
                  </a:lnTo>
                  <a:lnTo>
                    <a:pt x="735" y="40"/>
                  </a:lnTo>
                  <a:lnTo>
                    <a:pt x="738" y="39"/>
                  </a:lnTo>
                  <a:lnTo>
                    <a:pt x="740" y="38"/>
                  </a:lnTo>
                  <a:lnTo>
                    <a:pt x="743" y="38"/>
                  </a:lnTo>
                  <a:close/>
                  <a:moveTo>
                    <a:pt x="775" y="0"/>
                  </a:moveTo>
                  <a:lnTo>
                    <a:pt x="756" y="0"/>
                  </a:lnTo>
                  <a:lnTo>
                    <a:pt x="756" y="29"/>
                  </a:lnTo>
                  <a:lnTo>
                    <a:pt x="753" y="26"/>
                  </a:lnTo>
                  <a:lnTo>
                    <a:pt x="749" y="24"/>
                  </a:lnTo>
                  <a:lnTo>
                    <a:pt x="745" y="23"/>
                  </a:lnTo>
                  <a:lnTo>
                    <a:pt x="740" y="22"/>
                  </a:lnTo>
                  <a:lnTo>
                    <a:pt x="734" y="23"/>
                  </a:lnTo>
                  <a:lnTo>
                    <a:pt x="728" y="25"/>
                  </a:lnTo>
                  <a:lnTo>
                    <a:pt x="723" y="28"/>
                  </a:lnTo>
                  <a:lnTo>
                    <a:pt x="719" y="32"/>
                  </a:lnTo>
                  <a:lnTo>
                    <a:pt x="716" y="37"/>
                  </a:lnTo>
                  <a:lnTo>
                    <a:pt x="713" y="42"/>
                  </a:lnTo>
                  <a:lnTo>
                    <a:pt x="712" y="46"/>
                  </a:lnTo>
                  <a:lnTo>
                    <a:pt x="712" y="49"/>
                  </a:lnTo>
                  <a:lnTo>
                    <a:pt x="711" y="56"/>
                  </a:lnTo>
                  <a:lnTo>
                    <a:pt x="712" y="64"/>
                  </a:lnTo>
                  <a:lnTo>
                    <a:pt x="712" y="67"/>
                  </a:lnTo>
                  <a:lnTo>
                    <a:pt x="713" y="70"/>
                  </a:lnTo>
                  <a:lnTo>
                    <a:pt x="716" y="76"/>
                  </a:lnTo>
                  <a:lnTo>
                    <a:pt x="717" y="78"/>
                  </a:lnTo>
                  <a:lnTo>
                    <a:pt x="719" y="81"/>
                  </a:lnTo>
                  <a:lnTo>
                    <a:pt x="723" y="85"/>
                  </a:lnTo>
                  <a:lnTo>
                    <a:pt x="728" y="87"/>
                  </a:lnTo>
                  <a:lnTo>
                    <a:pt x="730" y="88"/>
                  </a:lnTo>
                  <a:lnTo>
                    <a:pt x="733" y="89"/>
                  </a:lnTo>
                  <a:lnTo>
                    <a:pt x="736" y="90"/>
                  </a:lnTo>
                  <a:lnTo>
                    <a:pt x="739" y="90"/>
                  </a:lnTo>
                  <a:lnTo>
                    <a:pt x="745" y="89"/>
                  </a:lnTo>
                  <a:lnTo>
                    <a:pt x="747" y="89"/>
                  </a:lnTo>
                  <a:lnTo>
                    <a:pt x="749" y="88"/>
                  </a:lnTo>
                  <a:lnTo>
                    <a:pt x="751" y="87"/>
                  </a:lnTo>
                  <a:lnTo>
                    <a:pt x="753" y="85"/>
                  </a:lnTo>
                  <a:lnTo>
                    <a:pt x="757" y="81"/>
                  </a:lnTo>
                  <a:lnTo>
                    <a:pt x="757" y="88"/>
                  </a:lnTo>
                  <a:lnTo>
                    <a:pt x="775" y="88"/>
                  </a:lnTo>
                  <a:lnTo>
                    <a:pt x="775" y="0"/>
                  </a:lnTo>
                  <a:close/>
                  <a:moveTo>
                    <a:pt x="701" y="0"/>
                  </a:moveTo>
                  <a:lnTo>
                    <a:pt x="634" y="0"/>
                  </a:lnTo>
                  <a:lnTo>
                    <a:pt x="634" y="88"/>
                  </a:lnTo>
                  <a:lnTo>
                    <a:pt x="702" y="88"/>
                  </a:lnTo>
                  <a:lnTo>
                    <a:pt x="702" y="71"/>
                  </a:lnTo>
                  <a:lnTo>
                    <a:pt x="655" y="71"/>
                  </a:lnTo>
                  <a:lnTo>
                    <a:pt x="655" y="50"/>
                  </a:lnTo>
                  <a:lnTo>
                    <a:pt x="695" y="50"/>
                  </a:lnTo>
                  <a:lnTo>
                    <a:pt x="695" y="34"/>
                  </a:lnTo>
                  <a:lnTo>
                    <a:pt x="655" y="34"/>
                  </a:lnTo>
                  <a:lnTo>
                    <a:pt x="655" y="17"/>
                  </a:lnTo>
                  <a:lnTo>
                    <a:pt x="701" y="17"/>
                  </a:lnTo>
                  <a:lnTo>
                    <a:pt x="701" y="0"/>
                  </a:lnTo>
                  <a:close/>
                  <a:moveTo>
                    <a:pt x="538" y="48"/>
                  </a:moveTo>
                  <a:lnTo>
                    <a:pt x="539" y="46"/>
                  </a:lnTo>
                  <a:lnTo>
                    <a:pt x="540" y="43"/>
                  </a:lnTo>
                  <a:lnTo>
                    <a:pt x="541" y="41"/>
                  </a:lnTo>
                  <a:lnTo>
                    <a:pt x="543" y="40"/>
                  </a:lnTo>
                  <a:lnTo>
                    <a:pt x="544" y="38"/>
                  </a:lnTo>
                  <a:lnTo>
                    <a:pt x="547" y="38"/>
                  </a:lnTo>
                  <a:lnTo>
                    <a:pt x="552" y="37"/>
                  </a:lnTo>
                  <a:lnTo>
                    <a:pt x="556" y="38"/>
                  </a:lnTo>
                  <a:lnTo>
                    <a:pt x="558" y="38"/>
                  </a:lnTo>
                  <a:lnTo>
                    <a:pt x="560" y="40"/>
                  </a:lnTo>
                  <a:lnTo>
                    <a:pt x="562" y="41"/>
                  </a:lnTo>
                  <a:lnTo>
                    <a:pt x="563" y="43"/>
                  </a:lnTo>
                  <a:lnTo>
                    <a:pt x="564" y="46"/>
                  </a:lnTo>
                  <a:lnTo>
                    <a:pt x="564" y="48"/>
                  </a:lnTo>
                  <a:lnTo>
                    <a:pt x="538" y="48"/>
                  </a:lnTo>
                  <a:close/>
                  <a:moveTo>
                    <a:pt x="583" y="62"/>
                  </a:moveTo>
                  <a:lnTo>
                    <a:pt x="583" y="56"/>
                  </a:lnTo>
                  <a:lnTo>
                    <a:pt x="583" y="50"/>
                  </a:lnTo>
                  <a:lnTo>
                    <a:pt x="582" y="46"/>
                  </a:lnTo>
                  <a:lnTo>
                    <a:pt x="580" y="41"/>
                  </a:lnTo>
                  <a:lnTo>
                    <a:pt x="578" y="37"/>
                  </a:lnTo>
                  <a:lnTo>
                    <a:pt x="576" y="33"/>
                  </a:lnTo>
                  <a:lnTo>
                    <a:pt x="573" y="30"/>
                  </a:lnTo>
                  <a:lnTo>
                    <a:pt x="569" y="27"/>
                  </a:lnTo>
                  <a:lnTo>
                    <a:pt x="565" y="25"/>
                  </a:lnTo>
                  <a:lnTo>
                    <a:pt x="561" y="24"/>
                  </a:lnTo>
                  <a:lnTo>
                    <a:pt x="557" y="23"/>
                  </a:lnTo>
                  <a:lnTo>
                    <a:pt x="552" y="23"/>
                  </a:lnTo>
                  <a:lnTo>
                    <a:pt x="545" y="23"/>
                  </a:lnTo>
                  <a:lnTo>
                    <a:pt x="538" y="25"/>
                  </a:lnTo>
                  <a:lnTo>
                    <a:pt x="536" y="26"/>
                  </a:lnTo>
                  <a:lnTo>
                    <a:pt x="533" y="28"/>
                  </a:lnTo>
                  <a:lnTo>
                    <a:pt x="528" y="32"/>
                  </a:lnTo>
                  <a:lnTo>
                    <a:pt x="526" y="34"/>
                  </a:lnTo>
                  <a:lnTo>
                    <a:pt x="524" y="37"/>
                  </a:lnTo>
                  <a:lnTo>
                    <a:pt x="521" y="43"/>
                  </a:lnTo>
                  <a:lnTo>
                    <a:pt x="520" y="49"/>
                  </a:lnTo>
                  <a:lnTo>
                    <a:pt x="519" y="53"/>
                  </a:lnTo>
                  <a:lnTo>
                    <a:pt x="519" y="56"/>
                  </a:lnTo>
                  <a:lnTo>
                    <a:pt x="520" y="63"/>
                  </a:lnTo>
                  <a:lnTo>
                    <a:pt x="521" y="70"/>
                  </a:lnTo>
                  <a:lnTo>
                    <a:pt x="524" y="76"/>
                  </a:lnTo>
                  <a:lnTo>
                    <a:pt x="526" y="78"/>
                  </a:lnTo>
                  <a:lnTo>
                    <a:pt x="528" y="81"/>
                  </a:lnTo>
                  <a:lnTo>
                    <a:pt x="533" y="85"/>
                  </a:lnTo>
                  <a:lnTo>
                    <a:pt x="538" y="87"/>
                  </a:lnTo>
                  <a:lnTo>
                    <a:pt x="541" y="88"/>
                  </a:lnTo>
                  <a:lnTo>
                    <a:pt x="545" y="89"/>
                  </a:lnTo>
                  <a:lnTo>
                    <a:pt x="548" y="90"/>
                  </a:lnTo>
                  <a:lnTo>
                    <a:pt x="552" y="90"/>
                  </a:lnTo>
                  <a:lnTo>
                    <a:pt x="557" y="89"/>
                  </a:lnTo>
                  <a:lnTo>
                    <a:pt x="563" y="88"/>
                  </a:lnTo>
                  <a:lnTo>
                    <a:pt x="567" y="87"/>
                  </a:lnTo>
                  <a:lnTo>
                    <a:pt x="572" y="84"/>
                  </a:lnTo>
                  <a:lnTo>
                    <a:pt x="575" y="81"/>
                  </a:lnTo>
                  <a:lnTo>
                    <a:pt x="577" y="80"/>
                  </a:lnTo>
                  <a:lnTo>
                    <a:pt x="578" y="78"/>
                  </a:lnTo>
                  <a:lnTo>
                    <a:pt x="581" y="74"/>
                  </a:lnTo>
                  <a:lnTo>
                    <a:pt x="583" y="69"/>
                  </a:lnTo>
                  <a:lnTo>
                    <a:pt x="563" y="69"/>
                  </a:lnTo>
                  <a:lnTo>
                    <a:pt x="561" y="72"/>
                  </a:lnTo>
                  <a:lnTo>
                    <a:pt x="559" y="74"/>
                  </a:lnTo>
                  <a:lnTo>
                    <a:pt x="556" y="75"/>
                  </a:lnTo>
                  <a:lnTo>
                    <a:pt x="552" y="75"/>
                  </a:lnTo>
                  <a:lnTo>
                    <a:pt x="549" y="75"/>
                  </a:lnTo>
                  <a:lnTo>
                    <a:pt x="547" y="74"/>
                  </a:lnTo>
                  <a:lnTo>
                    <a:pt x="545" y="73"/>
                  </a:lnTo>
                  <a:lnTo>
                    <a:pt x="543" y="72"/>
                  </a:lnTo>
                  <a:lnTo>
                    <a:pt x="541" y="70"/>
                  </a:lnTo>
                  <a:lnTo>
                    <a:pt x="540" y="67"/>
                  </a:lnTo>
                  <a:lnTo>
                    <a:pt x="539" y="65"/>
                  </a:lnTo>
                  <a:lnTo>
                    <a:pt x="538" y="62"/>
                  </a:lnTo>
                  <a:lnTo>
                    <a:pt x="583" y="62"/>
                  </a:lnTo>
                  <a:close/>
                  <a:moveTo>
                    <a:pt x="493" y="88"/>
                  </a:moveTo>
                  <a:lnTo>
                    <a:pt x="514" y="24"/>
                  </a:lnTo>
                  <a:lnTo>
                    <a:pt x="494" y="24"/>
                  </a:lnTo>
                  <a:lnTo>
                    <a:pt x="488" y="49"/>
                  </a:lnTo>
                  <a:lnTo>
                    <a:pt x="484" y="67"/>
                  </a:lnTo>
                  <a:lnTo>
                    <a:pt x="479" y="49"/>
                  </a:lnTo>
                  <a:lnTo>
                    <a:pt x="471" y="24"/>
                  </a:lnTo>
                  <a:lnTo>
                    <a:pt x="452" y="24"/>
                  </a:lnTo>
                  <a:lnTo>
                    <a:pt x="475" y="88"/>
                  </a:lnTo>
                  <a:lnTo>
                    <a:pt x="493" y="88"/>
                  </a:lnTo>
                  <a:close/>
                  <a:moveTo>
                    <a:pt x="440" y="0"/>
                  </a:moveTo>
                  <a:lnTo>
                    <a:pt x="421" y="0"/>
                  </a:lnTo>
                  <a:lnTo>
                    <a:pt x="421" y="15"/>
                  </a:lnTo>
                  <a:lnTo>
                    <a:pt x="440" y="15"/>
                  </a:lnTo>
                  <a:lnTo>
                    <a:pt x="440" y="0"/>
                  </a:lnTo>
                  <a:close/>
                  <a:moveTo>
                    <a:pt x="440" y="24"/>
                  </a:moveTo>
                  <a:lnTo>
                    <a:pt x="421" y="24"/>
                  </a:lnTo>
                  <a:lnTo>
                    <a:pt x="421" y="88"/>
                  </a:lnTo>
                  <a:lnTo>
                    <a:pt x="440" y="88"/>
                  </a:lnTo>
                  <a:lnTo>
                    <a:pt x="440" y="24"/>
                  </a:lnTo>
                  <a:close/>
                  <a:moveTo>
                    <a:pt x="405" y="25"/>
                  </a:moveTo>
                  <a:lnTo>
                    <a:pt x="394" y="25"/>
                  </a:lnTo>
                  <a:lnTo>
                    <a:pt x="394" y="5"/>
                  </a:lnTo>
                  <a:lnTo>
                    <a:pt x="375" y="5"/>
                  </a:lnTo>
                  <a:lnTo>
                    <a:pt x="375" y="25"/>
                  </a:lnTo>
                  <a:lnTo>
                    <a:pt x="366" y="25"/>
                  </a:lnTo>
                  <a:lnTo>
                    <a:pt x="366" y="38"/>
                  </a:lnTo>
                  <a:lnTo>
                    <a:pt x="375" y="38"/>
                  </a:lnTo>
                  <a:lnTo>
                    <a:pt x="375" y="67"/>
                  </a:lnTo>
                  <a:lnTo>
                    <a:pt x="375" y="74"/>
                  </a:lnTo>
                  <a:lnTo>
                    <a:pt x="376" y="78"/>
                  </a:lnTo>
                  <a:lnTo>
                    <a:pt x="377" y="81"/>
                  </a:lnTo>
                  <a:lnTo>
                    <a:pt x="378" y="84"/>
                  </a:lnTo>
                  <a:lnTo>
                    <a:pt x="381" y="86"/>
                  </a:lnTo>
                  <a:lnTo>
                    <a:pt x="384" y="87"/>
                  </a:lnTo>
                  <a:lnTo>
                    <a:pt x="388" y="88"/>
                  </a:lnTo>
                  <a:lnTo>
                    <a:pt x="394" y="88"/>
                  </a:lnTo>
                  <a:lnTo>
                    <a:pt x="405" y="88"/>
                  </a:lnTo>
                  <a:lnTo>
                    <a:pt x="405" y="74"/>
                  </a:lnTo>
                  <a:lnTo>
                    <a:pt x="398" y="74"/>
                  </a:lnTo>
                  <a:lnTo>
                    <a:pt x="396" y="74"/>
                  </a:lnTo>
                  <a:lnTo>
                    <a:pt x="394" y="72"/>
                  </a:lnTo>
                  <a:lnTo>
                    <a:pt x="394" y="69"/>
                  </a:lnTo>
                  <a:lnTo>
                    <a:pt x="394" y="63"/>
                  </a:lnTo>
                  <a:lnTo>
                    <a:pt x="394" y="38"/>
                  </a:lnTo>
                  <a:lnTo>
                    <a:pt x="405" y="38"/>
                  </a:lnTo>
                  <a:lnTo>
                    <a:pt x="405" y="25"/>
                  </a:lnTo>
                  <a:close/>
                  <a:moveTo>
                    <a:pt x="353" y="24"/>
                  </a:moveTo>
                  <a:lnTo>
                    <a:pt x="334" y="24"/>
                  </a:lnTo>
                  <a:lnTo>
                    <a:pt x="334" y="60"/>
                  </a:lnTo>
                  <a:lnTo>
                    <a:pt x="334" y="67"/>
                  </a:lnTo>
                  <a:lnTo>
                    <a:pt x="333" y="69"/>
                  </a:lnTo>
                  <a:lnTo>
                    <a:pt x="332" y="70"/>
                  </a:lnTo>
                  <a:lnTo>
                    <a:pt x="331" y="72"/>
                  </a:lnTo>
                  <a:lnTo>
                    <a:pt x="329" y="73"/>
                  </a:lnTo>
                  <a:lnTo>
                    <a:pt x="327" y="74"/>
                  </a:lnTo>
                  <a:lnTo>
                    <a:pt x="324" y="74"/>
                  </a:lnTo>
                  <a:lnTo>
                    <a:pt x="322" y="74"/>
                  </a:lnTo>
                  <a:lnTo>
                    <a:pt x="319" y="73"/>
                  </a:lnTo>
                  <a:lnTo>
                    <a:pt x="317" y="72"/>
                  </a:lnTo>
                  <a:lnTo>
                    <a:pt x="316" y="70"/>
                  </a:lnTo>
                  <a:lnTo>
                    <a:pt x="314" y="67"/>
                  </a:lnTo>
                  <a:lnTo>
                    <a:pt x="314" y="60"/>
                  </a:lnTo>
                  <a:lnTo>
                    <a:pt x="314" y="24"/>
                  </a:lnTo>
                  <a:lnTo>
                    <a:pt x="295" y="24"/>
                  </a:lnTo>
                  <a:lnTo>
                    <a:pt x="295" y="64"/>
                  </a:lnTo>
                  <a:lnTo>
                    <a:pt x="295" y="71"/>
                  </a:lnTo>
                  <a:lnTo>
                    <a:pt x="296" y="76"/>
                  </a:lnTo>
                  <a:lnTo>
                    <a:pt x="297" y="78"/>
                  </a:lnTo>
                  <a:lnTo>
                    <a:pt x="298" y="80"/>
                  </a:lnTo>
                  <a:lnTo>
                    <a:pt x="301" y="83"/>
                  </a:lnTo>
                  <a:lnTo>
                    <a:pt x="305" y="86"/>
                  </a:lnTo>
                  <a:lnTo>
                    <a:pt x="309" y="88"/>
                  </a:lnTo>
                  <a:lnTo>
                    <a:pt x="313" y="89"/>
                  </a:lnTo>
                  <a:lnTo>
                    <a:pt x="318" y="90"/>
                  </a:lnTo>
                  <a:lnTo>
                    <a:pt x="323" y="89"/>
                  </a:lnTo>
                  <a:lnTo>
                    <a:pt x="328" y="88"/>
                  </a:lnTo>
                  <a:lnTo>
                    <a:pt x="332" y="85"/>
                  </a:lnTo>
                  <a:lnTo>
                    <a:pt x="333" y="83"/>
                  </a:lnTo>
                  <a:lnTo>
                    <a:pt x="335" y="81"/>
                  </a:lnTo>
                  <a:lnTo>
                    <a:pt x="335" y="88"/>
                  </a:lnTo>
                  <a:lnTo>
                    <a:pt x="353" y="88"/>
                  </a:lnTo>
                  <a:lnTo>
                    <a:pt x="353" y="24"/>
                  </a:lnTo>
                  <a:close/>
                  <a:moveTo>
                    <a:pt x="282" y="47"/>
                  </a:moveTo>
                  <a:lnTo>
                    <a:pt x="281" y="42"/>
                  </a:lnTo>
                  <a:lnTo>
                    <a:pt x="279" y="37"/>
                  </a:lnTo>
                  <a:lnTo>
                    <a:pt x="276" y="33"/>
                  </a:lnTo>
                  <a:lnTo>
                    <a:pt x="273" y="29"/>
                  </a:lnTo>
                  <a:lnTo>
                    <a:pt x="269" y="26"/>
                  </a:lnTo>
                  <a:lnTo>
                    <a:pt x="264" y="24"/>
                  </a:lnTo>
                  <a:lnTo>
                    <a:pt x="259" y="23"/>
                  </a:lnTo>
                  <a:lnTo>
                    <a:pt x="253" y="23"/>
                  </a:lnTo>
                  <a:lnTo>
                    <a:pt x="245" y="23"/>
                  </a:lnTo>
                  <a:lnTo>
                    <a:pt x="239" y="25"/>
                  </a:lnTo>
                  <a:lnTo>
                    <a:pt x="233" y="28"/>
                  </a:lnTo>
                  <a:lnTo>
                    <a:pt x="231" y="29"/>
                  </a:lnTo>
                  <a:lnTo>
                    <a:pt x="229" y="32"/>
                  </a:lnTo>
                  <a:lnTo>
                    <a:pt x="227" y="34"/>
                  </a:lnTo>
                  <a:lnTo>
                    <a:pt x="225" y="36"/>
                  </a:lnTo>
                  <a:lnTo>
                    <a:pt x="222" y="42"/>
                  </a:lnTo>
                  <a:lnTo>
                    <a:pt x="221" y="49"/>
                  </a:lnTo>
                  <a:lnTo>
                    <a:pt x="220" y="56"/>
                  </a:lnTo>
                  <a:lnTo>
                    <a:pt x="221" y="64"/>
                  </a:lnTo>
                  <a:lnTo>
                    <a:pt x="221" y="67"/>
                  </a:lnTo>
                  <a:lnTo>
                    <a:pt x="222" y="70"/>
                  </a:lnTo>
                  <a:lnTo>
                    <a:pt x="225" y="76"/>
                  </a:lnTo>
                  <a:lnTo>
                    <a:pt x="227" y="79"/>
                  </a:lnTo>
                  <a:lnTo>
                    <a:pt x="229" y="81"/>
                  </a:lnTo>
                  <a:lnTo>
                    <a:pt x="233" y="85"/>
                  </a:lnTo>
                  <a:lnTo>
                    <a:pt x="239" y="88"/>
                  </a:lnTo>
                  <a:lnTo>
                    <a:pt x="245" y="89"/>
                  </a:lnTo>
                  <a:lnTo>
                    <a:pt x="248" y="90"/>
                  </a:lnTo>
                  <a:lnTo>
                    <a:pt x="252" y="90"/>
                  </a:lnTo>
                  <a:lnTo>
                    <a:pt x="258" y="89"/>
                  </a:lnTo>
                  <a:lnTo>
                    <a:pt x="264" y="88"/>
                  </a:lnTo>
                  <a:lnTo>
                    <a:pt x="268" y="86"/>
                  </a:lnTo>
                  <a:lnTo>
                    <a:pt x="273" y="83"/>
                  </a:lnTo>
                  <a:lnTo>
                    <a:pt x="276" y="80"/>
                  </a:lnTo>
                  <a:lnTo>
                    <a:pt x="279" y="75"/>
                  </a:lnTo>
                  <a:lnTo>
                    <a:pt x="281" y="70"/>
                  </a:lnTo>
                  <a:lnTo>
                    <a:pt x="283" y="65"/>
                  </a:lnTo>
                  <a:lnTo>
                    <a:pt x="264" y="64"/>
                  </a:lnTo>
                  <a:lnTo>
                    <a:pt x="264" y="66"/>
                  </a:lnTo>
                  <a:lnTo>
                    <a:pt x="263" y="69"/>
                  </a:lnTo>
                  <a:lnTo>
                    <a:pt x="260" y="72"/>
                  </a:lnTo>
                  <a:lnTo>
                    <a:pt x="259" y="73"/>
                  </a:lnTo>
                  <a:lnTo>
                    <a:pt x="257" y="74"/>
                  </a:lnTo>
                  <a:lnTo>
                    <a:pt x="255" y="74"/>
                  </a:lnTo>
                  <a:lnTo>
                    <a:pt x="252" y="75"/>
                  </a:lnTo>
                  <a:lnTo>
                    <a:pt x="249" y="74"/>
                  </a:lnTo>
                  <a:lnTo>
                    <a:pt x="247" y="73"/>
                  </a:lnTo>
                  <a:lnTo>
                    <a:pt x="244" y="72"/>
                  </a:lnTo>
                  <a:lnTo>
                    <a:pt x="243" y="70"/>
                  </a:lnTo>
                  <a:lnTo>
                    <a:pt x="241" y="67"/>
                  </a:lnTo>
                  <a:lnTo>
                    <a:pt x="240" y="64"/>
                  </a:lnTo>
                  <a:lnTo>
                    <a:pt x="239" y="60"/>
                  </a:lnTo>
                  <a:lnTo>
                    <a:pt x="239" y="56"/>
                  </a:lnTo>
                  <a:lnTo>
                    <a:pt x="239" y="52"/>
                  </a:lnTo>
                  <a:lnTo>
                    <a:pt x="240" y="50"/>
                  </a:lnTo>
                  <a:lnTo>
                    <a:pt x="240" y="48"/>
                  </a:lnTo>
                  <a:lnTo>
                    <a:pt x="241" y="45"/>
                  </a:lnTo>
                  <a:lnTo>
                    <a:pt x="242" y="42"/>
                  </a:lnTo>
                  <a:lnTo>
                    <a:pt x="244" y="40"/>
                  </a:lnTo>
                  <a:lnTo>
                    <a:pt x="247" y="39"/>
                  </a:lnTo>
                  <a:lnTo>
                    <a:pt x="249" y="38"/>
                  </a:lnTo>
                  <a:lnTo>
                    <a:pt x="252" y="38"/>
                  </a:lnTo>
                  <a:lnTo>
                    <a:pt x="257" y="38"/>
                  </a:lnTo>
                  <a:lnTo>
                    <a:pt x="260" y="40"/>
                  </a:lnTo>
                  <a:lnTo>
                    <a:pt x="262" y="42"/>
                  </a:lnTo>
                  <a:lnTo>
                    <a:pt x="263" y="43"/>
                  </a:lnTo>
                  <a:lnTo>
                    <a:pt x="264" y="47"/>
                  </a:lnTo>
                  <a:lnTo>
                    <a:pt x="282" y="47"/>
                  </a:lnTo>
                  <a:close/>
                  <a:moveTo>
                    <a:pt x="164" y="48"/>
                  </a:moveTo>
                  <a:lnTo>
                    <a:pt x="165" y="46"/>
                  </a:lnTo>
                  <a:lnTo>
                    <a:pt x="166" y="43"/>
                  </a:lnTo>
                  <a:lnTo>
                    <a:pt x="167" y="41"/>
                  </a:lnTo>
                  <a:lnTo>
                    <a:pt x="169" y="40"/>
                  </a:lnTo>
                  <a:lnTo>
                    <a:pt x="171" y="38"/>
                  </a:lnTo>
                  <a:lnTo>
                    <a:pt x="173" y="38"/>
                  </a:lnTo>
                  <a:lnTo>
                    <a:pt x="178" y="37"/>
                  </a:lnTo>
                  <a:lnTo>
                    <a:pt x="183" y="38"/>
                  </a:lnTo>
                  <a:lnTo>
                    <a:pt x="185" y="38"/>
                  </a:lnTo>
                  <a:lnTo>
                    <a:pt x="186" y="40"/>
                  </a:lnTo>
                  <a:lnTo>
                    <a:pt x="188" y="41"/>
                  </a:lnTo>
                  <a:lnTo>
                    <a:pt x="189" y="43"/>
                  </a:lnTo>
                  <a:lnTo>
                    <a:pt x="190" y="46"/>
                  </a:lnTo>
                  <a:lnTo>
                    <a:pt x="190" y="48"/>
                  </a:lnTo>
                  <a:lnTo>
                    <a:pt x="164" y="48"/>
                  </a:lnTo>
                  <a:close/>
                  <a:moveTo>
                    <a:pt x="209" y="62"/>
                  </a:moveTo>
                  <a:lnTo>
                    <a:pt x="209" y="56"/>
                  </a:lnTo>
                  <a:lnTo>
                    <a:pt x="209" y="50"/>
                  </a:lnTo>
                  <a:lnTo>
                    <a:pt x="208" y="46"/>
                  </a:lnTo>
                  <a:lnTo>
                    <a:pt x="206" y="41"/>
                  </a:lnTo>
                  <a:lnTo>
                    <a:pt x="204" y="37"/>
                  </a:lnTo>
                  <a:lnTo>
                    <a:pt x="202" y="33"/>
                  </a:lnTo>
                  <a:lnTo>
                    <a:pt x="199" y="30"/>
                  </a:lnTo>
                  <a:lnTo>
                    <a:pt x="195" y="27"/>
                  </a:lnTo>
                  <a:lnTo>
                    <a:pt x="192" y="25"/>
                  </a:lnTo>
                  <a:lnTo>
                    <a:pt x="187" y="24"/>
                  </a:lnTo>
                  <a:lnTo>
                    <a:pt x="183" y="23"/>
                  </a:lnTo>
                  <a:lnTo>
                    <a:pt x="178" y="23"/>
                  </a:lnTo>
                  <a:lnTo>
                    <a:pt x="171" y="23"/>
                  </a:lnTo>
                  <a:lnTo>
                    <a:pt x="165" y="25"/>
                  </a:lnTo>
                  <a:lnTo>
                    <a:pt x="162" y="26"/>
                  </a:lnTo>
                  <a:lnTo>
                    <a:pt x="159" y="28"/>
                  </a:lnTo>
                  <a:lnTo>
                    <a:pt x="154" y="32"/>
                  </a:lnTo>
                  <a:lnTo>
                    <a:pt x="152" y="34"/>
                  </a:lnTo>
                  <a:lnTo>
                    <a:pt x="150" y="37"/>
                  </a:lnTo>
                  <a:lnTo>
                    <a:pt x="148" y="43"/>
                  </a:lnTo>
                  <a:lnTo>
                    <a:pt x="146" y="49"/>
                  </a:lnTo>
                  <a:lnTo>
                    <a:pt x="145" y="53"/>
                  </a:lnTo>
                  <a:lnTo>
                    <a:pt x="145" y="56"/>
                  </a:lnTo>
                  <a:lnTo>
                    <a:pt x="146" y="63"/>
                  </a:lnTo>
                  <a:lnTo>
                    <a:pt x="148" y="70"/>
                  </a:lnTo>
                  <a:lnTo>
                    <a:pt x="150" y="76"/>
                  </a:lnTo>
                  <a:lnTo>
                    <a:pt x="152" y="78"/>
                  </a:lnTo>
                  <a:lnTo>
                    <a:pt x="154" y="81"/>
                  </a:lnTo>
                  <a:lnTo>
                    <a:pt x="159" y="85"/>
                  </a:lnTo>
                  <a:lnTo>
                    <a:pt x="165" y="87"/>
                  </a:lnTo>
                  <a:lnTo>
                    <a:pt x="168" y="88"/>
                  </a:lnTo>
                  <a:lnTo>
                    <a:pt x="171" y="89"/>
                  </a:lnTo>
                  <a:lnTo>
                    <a:pt x="174" y="90"/>
                  </a:lnTo>
                  <a:lnTo>
                    <a:pt x="178" y="90"/>
                  </a:lnTo>
                  <a:lnTo>
                    <a:pt x="184" y="89"/>
                  </a:lnTo>
                  <a:lnTo>
                    <a:pt x="189" y="88"/>
                  </a:lnTo>
                  <a:lnTo>
                    <a:pt x="193" y="87"/>
                  </a:lnTo>
                  <a:lnTo>
                    <a:pt x="198" y="84"/>
                  </a:lnTo>
                  <a:lnTo>
                    <a:pt x="201" y="81"/>
                  </a:lnTo>
                  <a:lnTo>
                    <a:pt x="203" y="80"/>
                  </a:lnTo>
                  <a:lnTo>
                    <a:pt x="205" y="78"/>
                  </a:lnTo>
                  <a:lnTo>
                    <a:pt x="207" y="74"/>
                  </a:lnTo>
                  <a:lnTo>
                    <a:pt x="209" y="69"/>
                  </a:lnTo>
                  <a:lnTo>
                    <a:pt x="190" y="69"/>
                  </a:lnTo>
                  <a:lnTo>
                    <a:pt x="188" y="72"/>
                  </a:lnTo>
                  <a:lnTo>
                    <a:pt x="185" y="74"/>
                  </a:lnTo>
                  <a:lnTo>
                    <a:pt x="182" y="75"/>
                  </a:lnTo>
                  <a:lnTo>
                    <a:pt x="178" y="75"/>
                  </a:lnTo>
                  <a:lnTo>
                    <a:pt x="176" y="75"/>
                  </a:lnTo>
                  <a:lnTo>
                    <a:pt x="173" y="74"/>
                  </a:lnTo>
                  <a:lnTo>
                    <a:pt x="171" y="73"/>
                  </a:lnTo>
                  <a:lnTo>
                    <a:pt x="169" y="72"/>
                  </a:lnTo>
                  <a:lnTo>
                    <a:pt x="167" y="70"/>
                  </a:lnTo>
                  <a:lnTo>
                    <a:pt x="166" y="67"/>
                  </a:lnTo>
                  <a:lnTo>
                    <a:pt x="165" y="65"/>
                  </a:lnTo>
                  <a:lnTo>
                    <a:pt x="164" y="62"/>
                  </a:lnTo>
                  <a:lnTo>
                    <a:pt x="209" y="62"/>
                  </a:lnTo>
                  <a:close/>
                  <a:moveTo>
                    <a:pt x="118" y="55"/>
                  </a:moveTo>
                  <a:lnTo>
                    <a:pt x="139" y="24"/>
                  </a:lnTo>
                  <a:lnTo>
                    <a:pt x="118" y="24"/>
                  </a:lnTo>
                  <a:lnTo>
                    <a:pt x="108" y="40"/>
                  </a:lnTo>
                  <a:lnTo>
                    <a:pt x="98" y="24"/>
                  </a:lnTo>
                  <a:lnTo>
                    <a:pt x="77" y="24"/>
                  </a:lnTo>
                  <a:lnTo>
                    <a:pt x="98" y="55"/>
                  </a:lnTo>
                  <a:lnTo>
                    <a:pt x="75" y="88"/>
                  </a:lnTo>
                  <a:lnTo>
                    <a:pt x="96" y="88"/>
                  </a:lnTo>
                  <a:lnTo>
                    <a:pt x="108" y="70"/>
                  </a:lnTo>
                  <a:lnTo>
                    <a:pt x="120" y="88"/>
                  </a:lnTo>
                  <a:lnTo>
                    <a:pt x="142" y="88"/>
                  </a:lnTo>
                  <a:lnTo>
                    <a:pt x="118" y="55"/>
                  </a:lnTo>
                  <a:close/>
                  <a:moveTo>
                    <a:pt x="66" y="0"/>
                  </a:moveTo>
                  <a:lnTo>
                    <a:pt x="0" y="0"/>
                  </a:lnTo>
                  <a:lnTo>
                    <a:pt x="0" y="88"/>
                  </a:lnTo>
                  <a:lnTo>
                    <a:pt x="67" y="88"/>
                  </a:lnTo>
                  <a:lnTo>
                    <a:pt x="67" y="71"/>
                  </a:lnTo>
                  <a:lnTo>
                    <a:pt x="20" y="71"/>
                  </a:lnTo>
                  <a:lnTo>
                    <a:pt x="20" y="50"/>
                  </a:lnTo>
                  <a:lnTo>
                    <a:pt x="60" y="50"/>
                  </a:lnTo>
                  <a:lnTo>
                    <a:pt x="60" y="34"/>
                  </a:lnTo>
                  <a:lnTo>
                    <a:pt x="20" y="34"/>
                  </a:lnTo>
                  <a:lnTo>
                    <a:pt x="20" y="17"/>
                  </a:lnTo>
                  <a:lnTo>
                    <a:pt x="66" y="17"/>
                  </a:lnTo>
                  <a:lnTo>
                    <a:pt x="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15" name="Freeform 8"/>
            <p:cNvSpPr>
              <a:spLocks noEditPoints="1"/>
            </p:cNvSpPr>
            <p:nvPr userDrawn="1"/>
          </p:nvSpPr>
          <p:spPr bwMode="auto">
            <a:xfrm>
              <a:off x="4067175" y="114301"/>
              <a:ext cx="566738" cy="560388"/>
            </a:xfrm>
            <a:custGeom>
              <a:avLst/>
              <a:gdLst>
                <a:gd name="T0" fmla="*/ 223 w 357"/>
                <a:gd name="T1" fmla="*/ 220 h 353"/>
                <a:gd name="T2" fmla="*/ 134 w 357"/>
                <a:gd name="T3" fmla="*/ 220 h 353"/>
                <a:gd name="T4" fmla="*/ 179 w 357"/>
                <a:gd name="T5" fmla="*/ 100 h 353"/>
                <a:gd name="T6" fmla="*/ 223 w 357"/>
                <a:gd name="T7" fmla="*/ 220 h 353"/>
                <a:gd name="T8" fmla="*/ 357 w 357"/>
                <a:gd name="T9" fmla="*/ 353 h 353"/>
                <a:gd name="T10" fmla="*/ 230 w 357"/>
                <a:gd name="T11" fmla="*/ 0 h 353"/>
                <a:gd name="T12" fmla="*/ 127 w 357"/>
                <a:gd name="T13" fmla="*/ 0 h 353"/>
                <a:gd name="T14" fmla="*/ 0 w 357"/>
                <a:gd name="T15" fmla="*/ 353 h 353"/>
                <a:gd name="T16" fmla="*/ 91 w 357"/>
                <a:gd name="T17" fmla="*/ 353 h 353"/>
                <a:gd name="T18" fmla="*/ 113 w 357"/>
                <a:gd name="T19" fmla="*/ 291 h 353"/>
                <a:gd name="T20" fmla="*/ 245 w 357"/>
                <a:gd name="T21" fmla="*/ 291 h 353"/>
                <a:gd name="T22" fmla="*/ 267 w 357"/>
                <a:gd name="T23" fmla="*/ 353 h 353"/>
                <a:gd name="T24" fmla="*/ 357 w 357"/>
                <a:gd name="T25"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7" h="353">
                  <a:moveTo>
                    <a:pt x="223" y="220"/>
                  </a:moveTo>
                  <a:lnTo>
                    <a:pt x="134" y="220"/>
                  </a:lnTo>
                  <a:lnTo>
                    <a:pt x="179" y="100"/>
                  </a:lnTo>
                  <a:lnTo>
                    <a:pt x="223" y="220"/>
                  </a:lnTo>
                  <a:close/>
                  <a:moveTo>
                    <a:pt x="357" y="353"/>
                  </a:moveTo>
                  <a:lnTo>
                    <a:pt x="230" y="0"/>
                  </a:lnTo>
                  <a:lnTo>
                    <a:pt x="127" y="0"/>
                  </a:lnTo>
                  <a:lnTo>
                    <a:pt x="0" y="353"/>
                  </a:lnTo>
                  <a:lnTo>
                    <a:pt x="91" y="353"/>
                  </a:lnTo>
                  <a:lnTo>
                    <a:pt x="113" y="291"/>
                  </a:lnTo>
                  <a:lnTo>
                    <a:pt x="245" y="291"/>
                  </a:lnTo>
                  <a:lnTo>
                    <a:pt x="267" y="353"/>
                  </a:lnTo>
                  <a:lnTo>
                    <a:pt x="357" y="3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16" name="Freeform 9"/>
            <p:cNvSpPr>
              <a:spLocks noEditPoints="1"/>
            </p:cNvSpPr>
            <p:nvPr userDrawn="1"/>
          </p:nvSpPr>
          <p:spPr bwMode="auto">
            <a:xfrm>
              <a:off x="4686300" y="114301"/>
              <a:ext cx="858838" cy="560388"/>
            </a:xfrm>
            <a:custGeom>
              <a:avLst/>
              <a:gdLst>
                <a:gd name="T0" fmla="*/ 541 w 541"/>
                <a:gd name="T1" fmla="*/ 75 h 353"/>
                <a:gd name="T2" fmla="*/ 541 w 541"/>
                <a:gd name="T3" fmla="*/ 0 h 353"/>
                <a:gd name="T4" fmla="*/ 303 w 541"/>
                <a:gd name="T5" fmla="*/ 0 h 353"/>
                <a:gd name="T6" fmla="*/ 303 w 541"/>
                <a:gd name="T7" fmla="*/ 353 h 353"/>
                <a:gd name="T8" fmla="*/ 541 w 541"/>
                <a:gd name="T9" fmla="*/ 353 h 353"/>
                <a:gd name="T10" fmla="*/ 541 w 541"/>
                <a:gd name="T11" fmla="*/ 278 h 353"/>
                <a:gd name="T12" fmla="*/ 388 w 541"/>
                <a:gd name="T13" fmla="*/ 278 h 353"/>
                <a:gd name="T14" fmla="*/ 388 w 541"/>
                <a:gd name="T15" fmla="*/ 210 h 353"/>
                <a:gd name="T16" fmla="*/ 536 w 541"/>
                <a:gd name="T17" fmla="*/ 210 h 353"/>
                <a:gd name="T18" fmla="*/ 536 w 541"/>
                <a:gd name="T19" fmla="*/ 139 h 353"/>
                <a:gd name="T20" fmla="*/ 388 w 541"/>
                <a:gd name="T21" fmla="*/ 139 h 353"/>
                <a:gd name="T22" fmla="*/ 388 w 541"/>
                <a:gd name="T23" fmla="*/ 75 h 353"/>
                <a:gd name="T24" fmla="*/ 541 w 541"/>
                <a:gd name="T25" fmla="*/ 75 h 353"/>
                <a:gd name="T26" fmla="*/ 239 w 541"/>
                <a:gd name="T27" fmla="*/ 75 h 353"/>
                <a:gd name="T28" fmla="*/ 239 w 541"/>
                <a:gd name="T29" fmla="*/ 0 h 353"/>
                <a:gd name="T30" fmla="*/ 0 w 541"/>
                <a:gd name="T31" fmla="*/ 0 h 353"/>
                <a:gd name="T32" fmla="*/ 0 w 541"/>
                <a:gd name="T33" fmla="*/ 353 h 353"/>
                <a:gd name="T34" fmla="*/ 239 w 541"/>
                <a:gd name="T35" fmla="*/ 353 h 353"/>
                <a:gd name="T36" fmla="*/ 239 w 541"/>
                <a:gd name="T37" fmla="*/ 278 h 353"/>
                <a:gd name="T38" fmla="*/ 85 w 541"/>
                <a:gd name="T39" fmla="*/ 278 h 353"/>
                <a:gd name="T40" fmla="*/ 85 w 541"/>
                <a:gd name="T41" fmla="*/ 210 h 353"/>
                <a:gd name="T42" fmla="*/ 235 w 541"/>
                <a:gd name="T43" fmla="*/ 210 h 353"/>
                <a:gd name="T44" fmla="*/ 235 w 541"/>
                <a:gd name="T45" fmla="*/ 139 h 353"/>
                <a:gd name="T46" fmla="*/ 85 w 541"/>
                <a:gd name="T47" fmla="*/ 139 h 353"/>
                <a:gd name="T48" fmla="*/ 85 w 541"/>
                <a:gd name="T49" fmla="*/ 75 h 353"/>
                <a:gd name="T50" fmla="*/ 239 w 541"/>
                <a:gd name="T51" fmla="*/ 75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1" h="353">
                  <a:moveTo>
                    <a:pt x="541" y="75"/>
                  </a:moveTo>
                  <a:lnTo>
                    <a:pt x="541" y="0"/>
                  </a:lnTo>
                  <a:lnTo>
                    <a:pt x="303" y="0"/>
                  </a:lnTo>
                  <a:lnTo>
                    <a:pt x="303" y="353"/>
                  </a:lnTo>
                  <a:lnTo>
                    <a:pt x="541" y="353"/>
                  </a:lnTo>
                  <a:lnTo>
                    <a:pt x="541" y="278"/>
                  </a:lnTo>
                  <a:lnTo>
                    <a:pt x="388" y="278"/>
                  </a:lnTo>
                  <a:lnTo>
                    <a:pt x="388" y="210"/>
                  </a:lnTo>
                  <a:lnTo>
                    <a:pt x="536" y="210"/>
                  </a:lnTo>
                  <a:lnTo>
                    <a:pt x="536" y="139"/>
                  </a:lnTo>
                  <a:lnTo>
                    <a:pt x="388" y="139"/>
                  </a:lnTo>
                  <a:lnTo>
                    <a:pt x="388" y="75"/>
                  </a:lnTo>
                  <a:lnTo>
                    <a:pt x="541" y="75"/>
                  </a:lnTo>
                  <a:close/>
                  <a:moveTo>
                    <a:pt x="239" y="75"/>
                  </a:moveTo>
                  <a:lnTo>
                    <a:pt x="239" y="0"/>
                  </a:lnTo>
                  <a:lnTo>
                    <a:pt x="0" y="0"/>
                  </a:lnTo>
                  <a:lnTo>
                    <a:pt x="0" y="353"/>
                  </a:lnTo>
                  <a:lnTo>
                    <a:pt x="239" y="353"/>
                  </a:lnTo>
                  <a:lnTo>
                    <a:pt x="239" y="278"/>
                  </a:lnTo>
                  <a:lnTo>
                    <a:pt x="85" y="278"/>
                  </a:lnTo>
                  <a:lnTo>
                    <a:pt x="85" y="210"/>
                  </a:lnTo>
                  <a:lnTo>
                    <a:pt x="235" y="210"/>
                  </a:lnTo>
                  <a:lnTo>
                    <a:pt x="235" y="139"/>
                  </a:lnTo>
                  <a:lnTo>
                    <a:pt x="85" y="139"/>
                  </a:lnTo>
                  <a:lnTo>
                    <a:pt x="85" y="75"/>
                  </a:lnTo>
                  <a:lnTo>
                    <a:pt x="23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grpSp>
    </p:spTree>
    <p:extLst>
      <p:ext uri="{BB962C8B-B14F-4D97-AF65-F5344CB8AC3E}">
        <p14:creationId xmlns:p14="http://schemas.microsoft.com/office/powerpoint/2010/main" val="1325857746"/>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type="secHead" preserve="1">
  <p:cSld name="Section Header 4th">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573882"/>
            <a:ext cx="7487081" cy="602326"/>
          </a:xfrm>
          <a:solidFill>
            <a:srgbClr val="B1059D"/>
          </a:solidFill>
        </p:spPr>
        <p:txBody>
          <a:bodyPr lIns="540000" rIns="540000" anchor="t"/>
          <a:lstStyle>
            <a:lvl1pPr algn="l">
              <a:defRPr sz="3299" b="1" cap="none"/>
            </a:lvl1pPr>
          </a:lstStyle>
          <a:p>
            <a:r>
              <a:rPr lang="en-US" dirty="0"/>
              <a:t>Click to add title</a:t>
            </a:r>
          </a:p>
        </p:txBody>
      </p:sp>
      <p:sp>
        <p:nvSpPr>
          <p:cNvPr id="3" name="Text Placeholder 2"/>
          <p:cNvSpPr>
            <a:spLocks noGrp="1"/>
          </p:cNvSpPr>
          <p:nvPr>
            <p:ph type="body" idx="1" hasCustomPrompt="1"/>
          </p:nvPr>
        </p:nvSpPr>
        <p:spPr>
          <a:xfrm>
            <a:off x="4572001" y="2842022"/>
            <a:ext cx="4572000" cy="567683"/>
          </a:xfrm>
          <a:solidFill>
            <a:srgbClr val="000000">
              <a:alpha val="89804"/>
            </a:srgbClr>
          </a:solidFill>
        </p:spPr>
        <p:txBody>
          <a:bodyPr wrap="square" lIns="324000" tIns="144000" rIns="324000" bIns="144000" anchor="t" anchorCtr="0">
            <a:spAutoFit/>
          </a:bodyPr>
          <a:lstStyle>
            <a:lvl1pPr marL="0" indent="0" algn="r">
              <a:buNone/>
              <a:defRPr sz="1799" b="1" i="0">
                <a:solidFill>
                  <a:schemeClr val="bg1"/>
                </a:solidFill>
              </a:defRPr>
            </a:lvl1pPr>
            <a:lvl2pPr marL="342797" indent="0">
              <a:buNone/>
              <a:defRPr sz="1349">
                <a:solidFill>
                  <a:schemeClr val="tx1">
                    <a:tint val="75000"/>
                  </a:schemeClr>
                </a:solidFill>
              </a:defRPr>
            </a:lvl2pPr>
            <a:lvl3pPr marL="685595" indent="0">
              <a:buNone/>
              <a:defRPr sz="1200">
                <a:solidFill>
                  <a:schemeClr val="tx1">
                    <a:tint val="75000"/>
                  </a:schemeClr>
                </a:solidFill>
              </a:defRPr>
            </a:lvl3pPr>
            <a:lvl4pPr marL="1028392" indent="0">
              <a:buNone/>
              <a:defRPr sz="1050">
                <a:solidFill>
                  <a:schemeClr val="tx1">
                    <a:tint val="75000"/>
                  </a:schemeClr>
                </a:solidFill>
              </a:defRPr>
            </a:lvl4pPr>
            <a:lvl5pPr marL="1371188" indent="0">
              <a:buNone/>
              <a:defRPr sz="1050">
                <a:solidFill>
                  <a:schemeClr val="tx1">
                    <a:tint val="75000"/>
                  </a:schemeClr>
                </a:solidFill>
              </a:defRPr>
            </a:lvl5pPr>
            <a:lvl6pPr marL="1713986" indent="0">
              <a:buNone/>
              <a:defRPr sz="1050">
                <a:solidFill>
                  <a:schemeClr val="tx1">
                    <a:tint val="75000"/>
                  </a:schemeClr>
                </a:solidFill>
              </a:defRPr>
            </a:lvl6pPr>
            <a:lvl7pPr marL="2056783" indent="0">
              <a:buNone/>
              <a:defRPr sz="1050">
                <a:solidFill>
                  <a:schemeClr val="tx1">
                    <a:tint val="75000"/>
                  </a:schemeClr>
                </a:solidFill>
              </a:defRPr>
            </a:lvl7pPr>
            <a:lvl8pPr marL="2399580" indent="0">
              <a:buNone/>
              <a:defRPr sz="1050">
                <a:solidFill>
                  <a:schemeClr val="tx1">
                    <a:tint val="75000"/>
                  </a:schemeClr>
                </a:solidFill>
              </a:defRPr>
            </a:lvl8pPr>
            <a:lvl9pPr marL="2742377" indent="0">
              <a:buNone/>
              <a:defRPr sz="1050">
                <a:solidFill>
                  <a:schemeClr val="tx1">
                    <a:tint val="75000"/>
                  </a:schemeClr>
                </a:solidFill>
              </a:defRPr>
            </a:lvl9pPr>
          </a:lstStyle>
          <a:p>
            <a:pPr lvl="0"/>
            <a:r>
              <a:rPr lang="en-US" dirty="0"/>
              <a:t>Click to add text</a:t>
            </a:r>
          </a:p>
        </p:txBody>
      </p:sp>
      <p:sp>
        <p:nvSpPr>
          <p:cNvPr id="4" name="Date Placeholder 3"/>
          <p:cNvSpPr>
            <a:spLocks noGrp="1"/>
          </p:cNvSpPr>
          <p:nvPr>
            <p:ph type="dt" sz="half" idx="10"/>
          </p:nvPr>
        </p:nvSpPr>
        <p:spPr/>
        <p:txBody>
          <a:bodyPr/>
          <a:lstStyle>
            <a:lvl1pPr>
              <a:defRPr>
                <a:solidFill>
                  <a:schemeClr val="bg1"/>
                </a:solidFill>
              </a:defRPr>
            </a:lvl1pPr>
          </a:lstStyle>
          <a:p>
            <a:fld id="{4D5D504E-EDA1-4FB2-9CCE-0AD2A7B2CDC2}" type="datetime1">
              <a:rPr lang="fi-FI" smtClean="0"/>
              <a:t>5.11.2023</a:t>
            </a:fld>
            <a:endParaRPr lang="en-US" dirty="0"/>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t>© Aalto University Executive Education</a:t>
            </a:r>
            <a:endParaRPr lang="en-US"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FCCA222D-FCF7-48C1-A274-EBDDEF75DC66}" type="slidenum">
              <a:rPr lang="en-US" smtClean="0"/>
              <a:pPr/>
              <a:t>‹#›</a:t>
            </a:fld>
            <a:endParaRPr lang="en-US" dirty="0"/>
          </a:p>
        </p:txBody>
      </p:sp>
      <p:grpSp>
        <p:nvGrpSpPr>
          <p:cNvPr id="19" name="Group 18"/>
          <p:cNvGrpSpPr>
            <a:grpSpLocks noChangeAspect="1"/>
          </p:cNvGrpSpPr>
          <p:nvPr userDrawn="1"/>
        </p:nvGrpSpPr>
        <p:grpSpPr>
          <a:xfrm>
            <a:off x="7595548" y="249492"/>
            <a:ext cx="1294117" cy="199800"/>
            <a:chOff x="4067175" y="114301"/>
            <a:chExt cx="3630613" cy="560388"/>
          </a:xfrm>
          <a:solidFill>
            <a:schemeClr val="bg1"/>
          </a:solidFill>
        </p:grpSpPr>
        <p:sp>
          <p:nvSpPr>
            <p:cNvPr id="20" name="Freeform 6"/>
            <p:cNvSpPr>
              <a:spLocks noEditPoints="1"/>
            </p:cNvSpPr>
            <p:nvPr userDrawn="1"/>
          </p:nvSpPr>
          <p:spPr bwMode="auto">
            <a:xfrm>
              <a:off x="5749925" y="114301"/>
              <a:ext cx="1530350" cy="173038"/>
            </a:xfrm>
            <a:custGeom>
              <a:avLst/>
              <a:gdLst>
                <a:gd name="T0" fmla="*/ 922 w 964"/>
                <a:gd name="T1" fmla="*/ 84 h 109"/>
                <a:gd name="T2" fmla="*/ 918 w 964"/>
                <a:gd name="T3" fmla="*/ 109 h 109"/>
                <a:gd name="T4" fmla="*/ 944 w 964"/>
                <a:gd name="T5" fmla="*/ 25 h 109"/>
                <a:gd name="T6" fmla="*/ 860 w 964"/>
                <a:gd name="T7" fmla="*/ 68 h 109"/>
                <a:gd name="T8" fmla="*/ 890 w 964"/>
                <a:gd name="T9" fmla="*/ 89 h 109"/>
                <a:gd name="T10" fmla="*/ 890 w 964"/>
                <a:gd name="T11" fmla="*/ 39 h 109"/>
                <a:gd name="T12" fmla="*/ 819 w 964"/>
                <a:gd name="T13" fmla="*/ 89 h 109"/>
                <a:gd name="T14" fmla="*/ 793 w 964"/>
                <a:gd name="T15" fmla="*/ 26 h 109"/>
                <a:gd name="T16" fmla="*/ 753 w 964"/>
                <a:gd name="T17" fmla="*/ 33 h 109"/>
                <a:gd name="T18" fmla="*/ 757 w 964"/>
                <a:gd name="T19" fmla="*/ 58 h 109"/>
                <a:gd name="T20" fmla="*/ 788 w 964"/>
                <a:gd name="T21" fmla="*/ 72 h 109"/>
                <a:gd name="T22" fmla="*/ 767 w 964"/>
                <a:gd name="T23" fmla="*/ 70 h 109"/>
                <a:gd name="T24" fmla="*/ 772 w 964"/>
                <a:gd name="T25" fmla="*/ 90 h 109"/>
                <a:gd name="T26" fmla="*/ 806 w 964"/>
                <a:gd name="T27" fmla="*/ 73 h 109"/>
                <a:gd name="T28" fmla="*/ 788 w 964"/>
                <a:gd name="T29" fmla="*/ 49 h 109"/>
                <a:gd name="T30" fmla="*/ 777 w 964"/>
                <a:gd name="T31" fmla="*/ 37 h 109"/>
                <a:gd name="T32" fmla="*/ 700 w 964"/>
                <a:gd name="T33" fmla="*/ 89 h 109"/>
                <a:gd name="T34" fmla="*/ 729 w 964"/>
                <a:gd name="T35" fmla="*/ 42 h 109"/>
                <a:gd name="T36" fmla="*/ 723 w 964"/>
                <a:gd name="T37" fmla="*/ 27 h 109"/>
                <a:gd name="T38" fmla="*/ 643 w 964"/>
                <a:gd name="T39" fmla="*/ 42 h 109"/>
                <a:gd name="T40" fmla="*/ 666 w 964"/>
                <a:gd name="T41" fmla="*/ 44 h 109"/>
                <a:gd name="T42" fmla="*/ 682 w 964"/>
                <a:gd name="T43" fmla="*/ 38 h 109"/>
                <a:gd name="T44" fmla="*/ 647 w 964"/>
                <a:gd name="T45" fmla="*/ 24 h 109"/>
                <a:gd name="T46" fmla="*/ 623 w 964"/>
                <a:gd name="T47" fmla="*/ 46 h 109"/>
                <a:gd name="T48" fmla="*/ 641 w 964"/>
                <a:gd name="T49" fmla="*/ 88 h 109"/>
                <a:gd name="T50" fmla="*/ 679 w 964"/>
                <a:gd name="T51" fmla="*/ 82 h 109"/>
                <a:gd name="T52" fmla="*/ 656 w 964"/>
                <a:gd name="T53" fmla="*/ 76 h 109"/>
                <a:gd name="T54" fmla="*/ 687 w 964"/>
                <a:gd name="T55" fmla="*/ 62 h 109"/>
                <a:gd name="T56" fmla="*/ 575 w 964"/>
                <a:gd name="T57" fmla="*/ 89 h 109"/>
                <a:gd name="T58" fmla="*/ 521 w 964"/>
                <a:gd name="T59" fmla="*/ 89 h 109"/>
                <a:gd name="T60" fmla="*/ 467 w 964"/>
                <a:gd name="T61" fmla="*/ 42 h 109"/>
                <a:gd name="T62" fmla="*/ 483 w 964"/>
                <a:gd name="T63" fmla="*/ 44 h 109"/>
                <a:gd name="T64" fmla="*/ 497 w 964"/>
                <a:gd name="T65" fmla="*/ 29 h 109"/>
                <a:gd name="T66" fmla="*/ 463 w 964"/>
                <a:gd name="T67" fmla="*/ 25 h 109"/>
                <a:gd name="T68" fmla="*/ 398 w 964"/>
                <a:gd name="T69" fmla="*/ 73 h 109"/>
                <a:gd name="T70" fmla="*/ 376 w 964"/>
                <a:gd name="T71" fmla="*/ 63 h 109"/>
                <a:gd name="T72" fmla="*/ 364 w 964"/>
                <a:gd name="T73" fmla="*/ 81 h 109"/>
                <a:gd name="T74" fmla="*/ 406 w 964"/>
                <a:gd name="T75" fmla="*/ 89 h 109"/>
                <a:gd name="T76" fmla="*/ 427 w 964"/>
                <a:gd name="T77" fmla="*/ 60 h 109"/>
                <a:gd name="T78" fmla="*/ 292 w 964"/>
                <a:gd name="T79" fmla="*/ 49 h 109"/>
                <a:gd name="T80" fmla="*/ 284 w 964"/>
                <a:gd name="T81" fmla="*/ 74 h 109"/>
                <a:gd name="T82" fmla="*/ 263 w 964"/>
                <a:gd name="T83" fmla="*/ 61 h 109"/>
                <a:gd name="T84" fmla="*/ 274 w 964"/>
                <a:gd name="T85" fmla="*/ 38 h 109"/>
                <a:gd name="T86" fmla="*/ 247 w 964"/>
                <a:gd name="T87" fmla="*/ 40 h 109"/>
                <a:gd name="T88" fmla="*/ 249 w 964"/>
                <a:gd name="T89" fmla="*/ 76 h 109"/>
                <a:gd name="T90" fmla="*/ 291 w 964"/>
                <a:gd name="T91" fmla="*/ 88 h 109"/>
                <a:gd name="T92" fmla="*/ 311 w 964"/>
                <a:gd name="T93" fmla="*/ 57 h 109"/>
                <a:gd name="T94" fmla="*/ 291 w 964"/>
                <a:gd name="T95" fmla="*/ 26 h 109"/>
                <a:gd name="T96" fmla="*/ 196 w 964"/>
                <a:gd name="T97" fmla="*/ 26 h 109"/>
                <a:gd name="T98" fmla="*/ 214 w 964"/>
                <a:gd name="T99" fmla="*/ 88 h 109"/>
                <a:gd name="T100" fmla="*/ 224 w 964"/>
                <a:gd name="T101" fmla="*/ 70 h 109"/>
                <a:gd name="T102" fmla="*/ 184 w 964"/>
                <a:gd name="T103" fmla="*/ 0 h 109"/>
                <a:gd name="T104" fmla="*/ 108 w 964"/>
                <a:gd name="T105" fmla="*/ 71 h 109"/>
                <a:gd name="T106" fmla="*/ 110 w 964"/>
                <a:gd name="T107" fmla="*/ 45 h 109"/>
                <a:gd name="T108" fmla="*/ 130 w 964"/>
                <a:gd name="T109" fmla="*/ 41 h 109"/>
                <a:gd name="T110" fmla="*/ 103 w 964"/>
                <a:gd name="T111" fmla="*/ 52 h 109"/>
                <a:gd name="T112" fmla="*/ 91 w 964"/>
                <a:gd name="T113" fmla="*/ 79 h 109"/>
                <a:gd name="T114" fmla="*/ 123 w 964"/>
                <a:gd name="T115" fmla="*/ 89 h 109"/>
                <a:gd name="T116" fmla="*/ 149 w 964"/>
                <a:gd name="T117" fmla="*/ 42 h 109"/>
                <a:gd name="T118" fmla="*/ 115 w 964"/>
                <a:gd name="T119" fmla="*/ 23 h 109"/>
                <a:gd name="T120" fmla="*/ 93 w 964"/>
                <a:gd name="T121" fmla="*/ 45 h 109"/>
                <a:gd name="T122" fmla="*/ 56 w 964"/>
                <a:gd name="T1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4" h="109">
                  <a:moveTo>
                    <a:pt x="944" y="25"/>
                  </a:moveTo>
                  <a:lnTo>
                    <a:pt x="936" y="54"/>
                  </a:lnTo>
                  <a:lnTo>
                    <a:pt x="933" y="68"/>
                  </a:lnTo>
                  <a:lnTo>
                    <a:pt x="932" y="65"/>
                  </a:lnTo>
                  <a:lnTo>
                    <a:pt x="928" y="54"/>
                  </a:lnTo>
                  <a:lnTo>
                    <a:pt x="919" y="25"/>
                  </a:lnTo>
                  <a:lnTo>
                    <a:pt x="899" y="25"/>
                  </a:lnTo>
                  <a:lnTo>
                    <a:pt x="920" y="79"/>
                  </a:lnTo>
                  <a:lnTo>
                    <a:pt x="922" y="84"/>
                  </a:lnTo>
                  <a:lnTo>
                    <a:pt x="922" y="87"/>
                  </a:lnTo>
                  <a:lnTo>
                    <a:pt x="922" y="90"/>
                  </a:lnTo>
                  <a:lnTo>
                    <a:pt x="920" y="93"/>
                  </a:lnTo>
                  <a:lnTo>
                    <a:pt x="919" y="94"/>
                  </a:lnTo>
                  <a:lnTo>
                    <a:pt x="917" y="94"/>
                  </a:lnTo>
                  <a:lnTo>
                    <a:pt x="913" y="95"/>
                  </a:lnTo>
                  <a:lnTo>
                    <a:pt x="907" y="95"/>
                  </a:lnTo>
                  <a:lnTo>
                    <a:pt x="907" y="109"/>
                  </a:lnTo>
                  <a:lnTo>
                    <a:pt x="918" y="109"/>
                  </a:lnTo>
                  <a:lnTo>
                    <a:pt x="923" y="109"/>
                  </a:lnTo>
                  <a:lnTo>
                    <a:pt x="927" y="108"/>
                  </a:lnTo>
                  <a:lnTo>
                    <a:pt x="930" y="107"/>
                  </a:lnTo>
                  <a:lnTo>
                    <a:pt x="933" y="105"/>
                  </a:lnTo>
                  <a:lnTo>
                    <a:pt x="935" y="103"/>
                  </a:lnTo>
                  <a:lnTo>
                    <a:pt x="937" y="100"/>
                  </a:lnTo>
                  <a:lnTo>
                    <a:pt x="941" y="89"/>
                  </a:lnTo>
                  <a:lnTo>
                    <a:pt x="964" y="25"/>
                  </a:lnTo>
                  <a:lnTo>
                    <a:pt x="944" y="25"/>
                  </a:lnTo>
                  <a:close/>
                  <a:moveTo>
                    <a:pt x="890" y="26"/>
                  </a:moveTo>
                  <a:lnTo>
                    <a:pt x="879" y="26"/>
                  </a:lnTo>
                  <a:lnTo>
                    <a:pt x="879" y="5"/>
                  </a:lnTo>
                  <a:lnTo>
                    <a:pt x="860" y="5"/>
                  </a:lnTo>
                  <a:lnTo>
                    <a:pt x="860" y="26"/>
                  </a:lnTo>
                  <a:lnTo>
                    <a:pt x="851" y="26"/>
                  </a:lnTo>
                  <a:lnTo>
                    <a:pt x="851" y="39"/>
                  </a:lnTo>
                  <a:lnTo>
                    <a:pt x="860" y="39"/>
                  </a:lnTo>
                  <a:lnTo>
                    <a:pt x="860" y="68"/>
                  </a:lnTo>
                  <a:lnTo>
                    <a:pt x="860" y="74"/>
                  </a:lnTo>
                  <a:lnTo>
                    <a:pt x="861" y="79"/>
                  </a:lnTo>
                  <a:lnTo>
                    <a:pt x="862" y="82"/>
                  </a:lnTo>
                  <a:lnTo>
                    <a:pt x="863" y="84"/>
                  </a:lnTo>
                  <a:lnTo>
                    <a:pt x="866" y="86"/>
                  </a:lnTo>
                  <a:lnTo>
                    <a:pt x="869" y="88"/>
                  </a:lnTo>
                  <a:lnTo>
                    <a:pt x="873" y="88"/>
                  </a:lnTo>
                  <a:lnTo>
                    <a:pt x="879" y="89"/>
                  </a:lnTo>
                  <a:lnTo>
                    <a:pt x="890" y="89"/>
                  </a:lnTo>
                  <a:lnTo>
                    <a:pt x="890" y="75"/>
                  </a:lnTo>
                  <a:lnTo>
                    <a:pt x="883" y="75"/>
                  </a:lnTo>
                  <a:lnTo>
                    <a:pt x="881" y="74"/>
                  </a:lnTo>
                  <a:lnTo>
                    <a:pt x="880" y="74"/>
                  </a:lnTo>
                  <a:lnTo>
                    <a:pt x="879" y="73"/>
                  </a:lnTo>
                  <a:lnTo>
                    <a:pt x="879" y="70"/>
                  </a:lnTo>
                  <a:lnTo>
                    <a:pt x="879" y="64"/>
                  </a:lnTo>
                  <a:lnTo>
                    <a:pt x="879" y="39"/>
                  </a:lnTo>
                  <a:lnTo>
                    <a:pt x="890" y="39"/>
                  </a:lnTo>
                  <a:lnTo>
                    <a:pt x="890" y="26"/>
                  </a:lnTo>
                  <a:close/>
                  <a:moveTo>
                    <a:pt x="838" y="0"/>
                  </a:moveTo>
                  <a:lnTo>
                    <a:pt x="819" y="0"/>
                  </a:lnTo>
                  <a:lnTo>
                    <a:pt x="819" y="16"/>
                  </a:lnTo>
                  <a:lnTo>
                    <a:pt x="838" y="16"/>
                  </a:lnTo>
                  <a:lnTo>
                    <a:pt x="838" y="0"/>
                  </a:lnTo>
                  <a:close/>
                  <a:moveTo>
                    <a:pt x="838" y="25"/>
                  </a:moveTo>
                  <a:lnTo>
                    <a:pt x="819" y="25"/>
                  </a:lnTo>
                  <a:lnTo>
                    <a:pt x="819" y="89"/>
                  </a:lnTo>
                  <a:lnTo>
                    <a:pt x="838" y="89"/>
                  </a:lnTo>
                  <a:lnTo>
                    <a:pt x="838" y="25"/>
                  </a:lnTo>
                  <a:close/>
                  <a:moveTo>
                    <a:pt x="806" y="44"/>
                  </a:moveTo>
                  <a:lnTo>
                    <a:pt x="805" y="39"/>
                  </a:lnTo>
                  <a:lnTo>
                    <a:pt x="803" y="35"/>
                  </a:lnTo>
                  <a:lnTo>
                    <a:pt x="800" y="31"/>
                  </a:lnTo>
                  <a:lnTo>
                    <a:pt x="797" y="28"/>
                  </a:lnTo>
                  <a:lnTo>
                    <a:pt x="795" y="27"/>
                  </a:lnTo>
                  <a:lnTo>
                    <a:pt x="793" y="26"/>
                  </a:lnTo>
                  <a:lnTo>
                    <a:pt x="789" y="24"/>
                  </a:lnTo>
                  <a:lnTo>
                    <a:pt x="783" y="23"/>
                  </a:lnTo>
                  <a:lnTo>
                    <a:pt x="777" y="23"/>
                  </a:lnTo>
                  <a:lnTo>
                    <a:pt x="771" y="23"/>
                  </a:lnTo>
                  <a:lnTo>
                    <a:pt x="766" y="24"/>
                  </a:lnTo>
                  <a:lnTo>
                    <a:pt x="761" y="26"/>
                  </a:lnTo>
                  <a:lnTo>
                    <a:pt x="757" y="29"/>
                  </a:lnTo>
                  <a:lnTo>
                    <a:pt x="754" y="32"/>
                  </a:lnTo>
                  <a:lnTo>
                    <a:pt x="753" y="33"/>
                  </a:lnTo>
                  <a:lnTo>
                    <a:pt x="752" y="35"/>
                  </a:lnTo>
                  <a:lnTo>
                    <a:pt x="751" y="39"/>
                  </a:lnTo>
                  <a:lnTo>
                    <a:pt x="750" y="44"/>
                  </a:lnTo>
                  <a:lnTo>
                    <a:pt x="750" y="47"/>
                  </a:lnTo>
                  <a:lnTo>
                    <a:pt x="751" y="50"/>
                  </a:lnTo>
                  <a:lnTo>
                    <a:pt x="752" y="52"/>
                  </a:lnTo>
                  <a:lnTo>
                    <a:pt x="753" y="53"/>
                  </a:lnTo>
                  <a:lnTo>
                    <a:pt x="755" y="56"/>
                  </a:lnTo>
                  <a:lnTo>
                    <a:pt x="757" y="58"/>
                  </a:lnTo>
                  <a:lnTo>
                    <a:pt x="761" y="59"/>
                  </a:lnTo>
                  <a:lnTo>
                    <a:pt x="765" y="61"/>
                  </a:lnTo>
                  <a:lnTo>
                    <a:pt x="770" y="62"/>
                  </a:lnTo>
                  <a:lnTo>
                    <a:pt x="781" y="65"/>
                  </a:lnTo>
                  <a:lnTo>
                    <a:pt x="785" y="66"/>
                  </a:lnTo>
                  <a:lnTo>
                    <a:pt x="787" y="67"/>
                  </a:lnTo>
                  <a:lnTo>
                    <a:pt x="788" y="69"/>
                  </a:lnTo>
                  <a:lnTo>
                    <a:pt x="788" y="71"/>
                  </a:lnTo>
                  <a:lnTo>
                    <a:pt x="788" y="72"/>
                  </a:lnTo>
                  <a:lnTo>
                    <a:pt x="788" y="73"/>
                  </a:lnTo>
                  <a:lnTo>
                    <a:pt x="786" y="75"/>
                  </a:lnTo>
                  <a:lnTo>
                    <a:pt x="783" y="76"/>
                  </a:lnTo>
                  <a:lnTo>
                    <a:pt x="779" y="77"/>
                  </a:lnTo>
                  <a:lnTo>
                    <a:pt x="774" y="76"/>
                  </a:lnTo>
                  <a:lnTo>
                    <a:pt x="772" y="76"/>
                  </a:lnTo>
                  <a:lnTo>
                    <a:pt x="770" y="75"/>
                  </a:lnTo>
                  <a:lnTo>
                    <a:pt x="767" y="72"/>
                  </a:lnTo>
                  <a:lnTo>
                    <a:pt x="767" y="70"/>
                  </a:lnTo>
                  <a:lnTo>
                    <a:pt x="766" y="68"/>
                  </a:lnTo>
                  <a:lnTo>
                    <a:pt x="748" y="68"/>
                  </a:lnTo>
                  <a:lnTo>
                    <a:pt x="749" y="73"/>
                  </a:lnTo>
                  <a:lnTo>
                    <a:pt x="751" y="77"/>
                  </a:lnTo>
                  <a:lnTo>
                    <a:pt x="754" y="81"/>
                  </a:lnTo>
                  <a:lnTo>
                    <a:pt x="757" y="84"/>
                  </a:lnTo>
                  <a:lnTo>
                    <a:pt x="761" y="87"/>
                  </a:lnTo>
                  <a:lnTo>
                    <a:pt x="766" y="89"/>
                  </a:lnTo>
                  <a:lnTo>
                    <a:pt x="772" y="90"/>
                  </a:lnTo>
                  <a:lnTo>
                    <a:pt x="778" y="90"/>
                  </a:lnTo>
                  <a:lnTo>
                    <a:pt x="785" y="90"/>
                  </a:lnTo>
                  <a:lnTo>
                    <a:pt x="790" y="89"/>
                  </a:lnTo>
                  <a:lnTo>
                    <a:pt x="795" y="87"/>
                  </a:lnTo>
                  <a:lnTo>
                    <a:pt x="799" y="84"/>
                  </a:lnTo>
                  <a:lnTo>
                    <a:pt x="803" y="81"/>
                  </a:lnTo>
                  <a:lnTo>
                    <a:pt x="805" y="78"/>
                  </a:lnTo>
                  <a:lnTo>
                    <a:pt x="806" y="75"/>
                  </a:lnTo>
                  <a:lnTo>
                    <a:pt x="806" y="73"/>
                  </a:lnTo>
                  <a:lnTo>
                    <a:pt x="807" y="68"/>
                  </a:lnTo>
                  <a:lnTo>
                    <a:pt x="807" y="65"/>
                  </a:lnTo>
                  <a:lnTo>
                    <a:pt x="806" y="61"/>
                  </a:lnTo>
                  <a:lnTo>
                    <a:pt x="804" y="58"/>
                  </a:lnTo>
                  <a:lnTo>
                    <a:pt x="802" y="56"/>
                  </a:lnTo>
                  <a:lnTo>
                    <a:pt x="800" y="54"/>
                  </a:lnTo>
                  <a:lnTo>
                    <a:pt x="797" y="52"/>
                  </a:lnTo>
                  <a:lnTo>
                    <a:pt x="793" y="51"/>
                  </a:lnTo>
                  <a:lnTo>
                    <a:pt x="788" y="49"/>
                  </a:lnTo>
                  <a:lnTo>
                    <a:pt x="776" y="47"/>
                  </a:lnTo>
                  <a:lnTo>
                    <a:pt x="772" y="46"/>
                  </a:lnTo>
                  <a:lnTo>
                    <a:pt x="770" y="45"/>
                  </a:lnTo>
                  <a:lnTo>
                    <a:pt x="768" y="44"/>
                  </a:lnTo>
                  <a:lnTo>
                    <a:pt x="768" y="42"/>
                  </a:lnTo>
                  <a:lnTo>
                    <a:pt x="769" y="40"/>
                  </a:lnTo>
                  <a:lnTo>
                    <a:pt x="771" y="38"/>
                  </a:lnTo>
                  <a:lnTo>
                    <a:pt x="773" y="37"/>
                  </a:lnTo>
                  <a:lnTo>
                    <a:pt x="777" y="37"/>
                  </a:lnTo>
                  <a:lnTo>
                    <a:pt x="781" y="37"/>
                  </a:lnTo>
                  <a:lnTo>
                    <a:pt x="783" y="38"/>
                  </a:lnTo>
                  <a:lnTo>
                    <a:pt x="785" y="39"/>
                  </a:lnTo>
                  <a:lnTo>
                    <a:pt x="786" y="40"/>
                  </a:lnTo>
                  <a:lnTo>
                    <a:pt x="787" y="41"/>
                  </a:lnTo>
                  <a:lnTo>
                    <a:pt x="788" y="44"/>
                  </a:lnTo>
                  <a:lnTo>
                    <a:pt x="806" y="44"/>
                  </a:lnTo>
                  <a:close/>
                  <a:moveTo>
                    <a:pt x="700" y="25"/>
                  </a:moveTo>
                  <a:lnTo>
                    <a:pt x="700" y="89"/>
                  </a:lnTo>
                  <a:lnTo>
                    <a:pt x="719" y="89"/>
                  </a:lnTo>
                  <a:lnTo>
                    <a:pt x="719" y="71"/>
                  </a:lnTo>
                  <a:lnTo>
                    <a:pt x="719" y="56"/>
                  </a:lnTo>
                  <a:lnTo>
                    <a:pt x="720" y="52"/>
                  </a:lnTo>
                  <a:lnTo>
                    <a:pt x="721" y="48"/>
                  </a:lnTo>
                  <a:lnTo>
                    <a:pt x="722" y="46"/>
                  </a:lnTo>
                  <a:lnTo>
                    <a:pt x="724" y="45"/>
                  </a:lnTo>
                  <a:lnTo>
                    <a:pt x="727" y="42"/>
                  </a:lnTo>
                  <a:lnTo>
                    <a:pt x="729" y="42"/>
                  </a:lnTo>
                  <a:lnTo>
                    <a:pt x="731" y="41"/>
                  </a:lnTo>
                  <a:lnTo>
                    <a:pt x="735" y="40"/>
                  </a:lnTo>
                  <a:lnTo>
                    <a:pt x="740" y="41"/>
                  </a:lnTo>
                  <a:lnTo>
                    <a:pt x="740" y="23"/>
                  </a:lnTo>
                  <a:lnTo>
                    <a:pt x="735" y="23"/>
                  </a:lnTo>
                  <a:lnTo>
                    <a:pt x="731" y="24"/>
                  </a:lnTo>
                  <a:lnTo>
                    <a:pt x="728" y="24"/>
                  </a:lnTo>
                  <a:lnTo>
                    <a:pt x="725" y="26"/>
                  </a:lnTo>
                  <a:lnTo>
                    <a:pt x="723" y="27"/>
                  </a:lnTo>
                  <a:lnTo>
                    <a:pt x="721" y="30"/>
                  </a:lnTo>
                  <a:lnTo>
                    <a:pt x="719" y="33"/>
                  </a:lnTo>
                  <a:lnTo>
                    <a:pt x="718" y="36"/>
                  </a:lnTo>
                  <a:lnTo>
                    <a:pt x="718" y="25"/>
                  </a:lnTo>
                  <a:lnTo>
                    <a:pt x="700" y="25"/>
                  </a:lnTo>
                  <a:close/>
                  <a:moveTo>
                    <a:pt x="640" y="49"/>
                  </a:moveTo>
                  <a:lnTo>
                    <a:pt x="641" y="46"/>
                  </a:lnTo>
                  <a:lnTo>
                    <a:pt x="642" y="44"/>
                  </a:lnTo>
                  <a:lnTo>
                    <a:pt x="643" y="42"/>
                  </a:lnTo>
                  <a:lnTo>
                    <a:pt x="645" y="40"/>
                  </a:lnTo>
                  <a:lnTo>
                    <a:pt x="647" y="39"/>
                  </a:lnTo>
                  <a:lnTo>
                    <a:pt x="649" y="38"/>
                  </a:lnTo>
                  <a:lnTo>
                    <a:pt x="655" y="37"/>
                  </a:lnTo>
                  <a:lnTo>
                    <a:pt x="660" y="38"/>
                  </a:lnTo>
                  <a:lnTo>
                    <a:pt x="662" y="39"/>
                  </a:lnTo>
                  <a:lnTo>
                    <a:pt x="663" y="40"/>
                  </a:lnTo>
                  <a:lnTo>
                    <a:pt x="665" y="42"/>
                  </a:lnTo>
                  <a:lnTo>
                    <a:pt x="666" y="44"/>
                  </a:lnTo>
                  <a:lnTo>
                    <a:pt x="667" y="46"/>
                  </a:lnTo>
                  <a:lnTo>
                    <a:pt x="667" y="49"/>
                  </a:lnTo>
                  <a:lnTo>
                    <a:pt x="640" y="49"/>
                  </a:lnTo>
                  <a:close/>
                  <a:moveTo>
                    <a:pt x="687" y="62"/>
                  </a:moveTo>
                  <a:lnTo>
                    <a:pt x="686" y="56"/>
                  </a:lnTo>
                  <a:lnTo>
                    <a:pt x="686" y="51"/>
                  </a:lnTo>
                  <a:lnTo>
                    <a:pt x="685" y="47"/>
                  </a:lnTo>
                  <a:lnTo>
                    <a:pt x="684" y="43"/>
                  </a:lnTo>
                  <a:lnTo>
                    <a:pt x="682" y="38"/>
                  </a:lnTo>
                  <a:lnTo>
                    <a:pt x="679" y="34"/>
                  </a:lnTo>
                  <a:lnTo>
                    <a:pt x="676" y="31"/>
                  </a:lnTo>
                  <a:lnTo>
                    <a:pt x="673" y="28"/>
                  </a:lnTo>
                  <a:lnTo>
                    <a:pt x="669" y="26"/>
                  </a:lnTo>
                  <a:lnTo>
                    <a:pt x="667" y="25"/>
                  </a:lnTo>
                  <a:lnTo>
                    <a:pt x="665" y="24"/>
                  </a:lnTo>
                  <a:lnTo>
                    <a:pt x="660" y="23"/>
                  </a:lnTo>
                  <a:lnTo>
                    <a:pt x="655" y="23"/>
                  </a:lnTo>
                  <a:lnTo>
                    <a:pt x="647" y="24"/>
                  </a:lnTo>
                  <a:lnTo>
                    <a:pt x="641" y="26"/>
                  </a:lnTo>
                  <a:lnTo>
                    <a:pt x="638" y="27"/>
                  </a:lnTo>
                  <a:lnTo>
                    <a:pt x="635" y="29"/>
                  </a:lnTo>
                  <a:lnTo>
                    <a:pt x="630" y="32"/>
                  </a:lnTo>
                  <a:lnTo>
                    <a:pt x="628" y="35"/>
                  </a:lnTo>
                  <a:lnTo>
                    <a:pt x="627" y="37"/>
                  </a:lnTo>
                  <a:lnTo>
                    <a:pt x="625" y="40"/>
                  </a:lnTo>
                  <a:lnTo>
                    <a:pt x="624" y="43"/>
                  </a:lnTo>
                  <a:lnTo>
                    <a:pt x="623" y="46"/>
                  </a:lnTo>
                  <a:lnTo>
                    <a:pt x="622" y="50"/>
                  </a:lnTo>
                  <a:lnTo>
                    <a:pt x="621" y="53"/>
                  </a:lnTo>
                  <a:lnTo>
                    <a:pt x="621" y="57"/>
                  </a:lnTo>
                  <a:lnTo>
                    <a:pt x="622" y="64"/>
                  </a:lnTo>
                  <a:lnTo>
                    <a:pt x="624" y="71"/>
                  </a:lnTo>
                  <a:lnTo>
                    <a:pt x="626" y="76"/>
                  </a:lnTo>
                  <a:lnTo>
                    <a:pt x="630" y="81"/>
                  </a:lnTo>
                  <a:lnTo>
                    <a:pt x="635" y="85"/>
                  </a:lnTo>
                  <a:lnTo>
                    <a:pt x="641" y="88"/>
                  </a:lnTo>
                  <a:lnTo>
                    <a:pt x="644" y="89"/>
                  </a:lnTo>
                  <a:lnTo>
                    <a:pt x="647" y="90"/>
                  </a:lnTo>
                  <a:lnTo>
                    <a:pt x="650" y="90"/>
                  </a:lnTo>
                  <a:lnTo>
                    <a:pt x="655" y="90"/>
                  </a:lnTo>
                  <a:lnTo>
                    <a:pt x="661" y="90"/>
                  </a:lnTo>
                  <a:lnTo>
                    <a:pt x="666" y="89"/>
                  </a:lnTo>
                  <a:lnTo>
                    <a:pt x="671" y="87"/>
                  </a:lnTo>
                  <a:lnTo>
                    <a:pt x="675" y="85"/>
                  </a:lnTo>
                  <a:lnTo>
                    <a:pt x="679" y="82"/>
                  </a:lnTo>
                  <a:lnTo>
                    <a:pt x="680" y="80"/>
                  </a:lnTo>
                  <a:lnTo>
                    <a:pt x="682" y="78"/>
                  </a:lnTo>
                  <a:lnTo>
                    <a:pt x="684" y="74"/>
                  </a:lnTo>
                  <a:lnTo>
                    <a:pt x="686" y="70"/>
                  </a:lnTo>
                  <a:lnTo>
                    <a:pt x="667" y="70"/>
                  </a:lnTo>
                  <a:lnTo>
                    <a:pt x="665" y="73"/>
                  </a:lnTo>
                  <a:lnTo>
                    <a:pt x="662" y="74"/>
                  </a:lnTo>
                  <a:lnTo>
                    <a:pt x="659" y="75"/>
                  </a:lnTo>
                  <a:lnTo>
                    <a:pt x="656" y="76"/>
                  </a:lnTo>
                  <a:lnTo>
                    <a:pt x="653" y="76"/>
                  </a:lnTo>
                  <a:lnTo>
                    <a:pt x="649" y="75"/>
                  </a:lnTo>
                  <a:lnTo>
                    <a:pt x="647" y="74"/>
                  </a:lnTo>
                  <a:lnTo>
                    <a:pt x="645" y="72"/>
                  </a:lnTo>
                  <a:lnTo>
                    <a:pt x="643" y="70"/>
                  </a:lnTo>
                  <a:lnTo>
                    <a:pt x="642" y="68"/>
                  </a:lnTo>
                  <a:lnTo>
                    <a:pt x="641" y="65"/>
                  </a:lnTo>
                  <a:lnTo>
                    <a:pt x="640" y="62"/>
                  </a:lnTo>
                  <a:lnTo>
                    <a:pt x="687" y="62"/>
                  </a:lnTo>
                  <a:close/>
                  <a:moveTo>
                    <a:pt x="593" y="89"/>
                  </a:moveTo>
                  <a:lnTo>
                    <a:pt x="614" y="25"/>
                  </a:lnTo>
                  <a:lnTo>
                    <a:pt x="594" y="25"/>
                  </a:lnTo>
                  <a:lnTo>
                    <a:pt x="588" y="49"/>
                  </a:lnTo>
                  <a:lnTo>
                    <a:pt x="584" y="68"/>
                  </a:lnTo>
                  <a:lnTo>
                    <a:pt x="579" y="49"/>
                  </a:lnTo>
                  <a:lnTo>
                    <a:pt x="571" y="25"/>
                  </a:lnTo>
                  <a:lnTo>
                    <a:pt x="552" y="25"/>
                  </a:lnTo>
                  <a:lnTo>
                    <a:pt x="575" y="89"/>
                  </a:lnTo>
                  <a:lnTo>
                    <a:pt x="593" y="89"/>
                  </a:lnTo>
                  <a:close/>
                  <a:moveTo>
                    <a:pt x="540" y="0"/>
                  </a:moveTo>
                  <a:lnTo>
                    <a:pt x="521" y="0"/>
                  </a:lnTo>
                  <a:lnTo>
                    <a:pt x="521" y="16"/>
                  </a:lnTo>
                  <a:lnTo>
                    <a:pt x="540" y="16"/>
                  </a:lnTo>
                  <a:lnTo>
                    <a:pt x="540" y="0"/>
                  </a:lnTo>
                  <a:close/>
                  <a:moveTo>
                    <a:pt x="540" y="25"/>
                  </a:moveTo>
                  <a:lnTo>
                    <a:pt x="521" y="25"/>
                  </a:lnTo>
                  <a:lnTo>
                    <a:pt x="521" y="89"/>
                  </a:lnTo>
                  <a:lnTo>
                    <a:pt x="540" y="89"/>
                  </a:lnTo>
                  <a:lnTo>
                    <a:pt x="540" y="25"/>
                  </a:lnTo>
                  <a:close/>
                  <a:moveTo>
                    <a:pt x="445" y="25"/>
                  </a:moveTo>
                  <a:lnTo>
                    <a:pt x="445" y="89"/>
                  </a:lnTo>
                  <a:lnTo>
                    <a:pt x="464" y="89"/>
                  </a:lnTo>
                  <a:lnTo>
                    <a:pt x="464" y="53"/>
                  </a:lnTo>
                  <a:lnTo>
                    <a:pt x="465" y="46"/>
                  </a:lnTo>
                  <a:lnTo>
                    <a:pt x="465" y="44"/>
                  </a:lnTo>
                  <a:lnTo>
                    <a:pt x="467" y="42"/>
                  </a:lnTo>
                  <a:lnTo>
                    <a:pt x="468" y="41"/>
                  </a:lnTo>
                  <a:lnTo>
                    <a:pt x="470" y="40"/>
                  </a:lnTo>
                  <a:lnTo>
                    <a:pt x="472" y="39"/>
                  </a:lnTo>
                  <a:lnTo>
                    <a:pt x="475" y="39"/>
                  </a:lnTo>
                  <a:lnTo>
                    <a:pt x="477" y="39"/>
                  </a:lnTo>
                  <a:lnTo>
                    <a:pt x="479" y="40"/>
                  </a:lnTo>
                  <a:lnTo>
                    <a:pt x="481" y="41"/>
                  </a:lnTo>
                  <a:lnTo>
                    <a:pt x="482" y="43"/>
                  </a:lnTo>
                  <a:lnTo>
                    <a:pt x="483" y="44"/>
                  </a:lnTo>
                  <a:lnTo>
                    <a:pt x="484" y="47"/>
                  </a:lnTo>
                  <a:lnTo>
                    <a:pt x="484" y="54"/>
                  </a:lnTo>
                  <a:lnTo>
                    <a:pt x="484" y="89"/>
                  </a:lnTo>
                  <a:lnTo>
                    <a:pt x="503" y="89"/>
                  </a:lnTo>
                  <a:lnTo>
                    <a:pt x="503" y="47"/>
                  </a:lnTo>
                  <a:lnTo>
                    <a:pt x="503" y="42"/>
                  </a:lnTo>
                  <a:lnTo>
                    <a:pt x="502" y="37"/>
                  </a:lnTo>
                  <a:lnTo>
                    <a:pt x="500" y="33"/>
                  </a:lnTo>
                  <a:lnTo>
                    <a:pt x="497" y="29"/>
                  </a:lnTo>
                  <a:lnTo>
                    <a:pt x="494" y="27"/>
                  </a:lnTo>
                  <a:lnTo>
                    <a:pt x="490" y="25"/>
                  </a:lnTo>
                  <a:lnTo>
                    <a:pt x="486" y="23"/>
                  </a:lnTo>
                  <a:lnTo>
                    <a:pt x="481" y="23"/>
                  </a:lnTo>
                  <a:lnTo>
                    <a:pt x="476" y="23"/>
                  </a:lnTo>
                  <a:lnTo>
                    <a:pt x="472" y="25"/>
                  </a:lnTo>
                  <a:lnTo>
                    <a:pt x="468" y="27"/>
                  </a:lnTo>
                  <a:lnTo>
                    <a:pt x="463" y="31"/>
                  </a:lnTo>
                  <a:lnTo>
                    <a:pt x="463" y="25"/>
                  </a:lnTo>
                  <a:lnTo>
                    <a:pt x="445" y="25"/>
                  </a:lnTo>
                  <a:close/>
                  <a:moveTo>
                    <a:pt x="407" y="0"/>
                  </a:moveTo>
                  <a:lnTo>
                    <a:pt x="407" y="59"/>
                  </a:lnTo>
                  <a:lnTo>
                    <a:pt x="407" y="63"/>
                  </a:lnTo>
                  <a:lnTo>
                    <a:pt x="406" y="66"/>
                  </a:lnTo>
                  <a:lnTo>
                    <a:pt x="405" y="68"/>
                  </a:lnTo>
                  <a:lnTo>
                    <a:pt x="404" y="70"/>
                  </a:lnTo>
                  <a:lnTo>
                    <a:pt x="401" y="72"/>
                  </a:lnTo>
                  <a:lnTo>
                    <a:pt x="398" y="73"/>
                  </a:lnTo>
                  <a:lnTo>
                    <a:pt x="395" y="74"/>
                  </a:lnTo>
                  <a:lnTo>
                    <a:pt x="392" y="74"/>
                  </a:lnTo>
                  <a:lnTo>
                    <a:pt x="388" y="74"/>
                  </a:lnTo>
                  <a:lnTo>
                    <a:pt x="385" y="73"/>
                  </a:lnTo>
                  <a:lnTo>
                    <a:pt x="382" y="72"/>
                  </a:lnTo>
                  <a:lnTo>
                    <a:pt x="380" y="70"/>
                  </a:lnTo>
                  <a:lnTo>
                    <a:pt x="378" y="68"/>
                  </a:lnTo>
                  <a:lnTo>
                    <a:pt x="377" y="66"/>
                  </a:lnTo>
                  <a:lnTo>
                    <a:pt x="376" y="63"/>
                  </a:lnTo>
                  <a:lnTo>
                    <a:pt x="376" y="59"/>
                  </a:lnTo>
                  <a:lnTo>
                    <a:pt x="376" y="0"/>
                  </a:lnTo>
                  <a:lnTo>
                    <a:pt x="356" y="0"/>
                  </a:lnTo>
                  <a:lnTo>
                    <a:pt x="356" y="60"/>
                  </a:lnTo>
                  <a:lnTo>
                    <a:pt x="357" y="68"/>
                  </a:lnTo>
                  <a:lnTo>
                    <a:pt x="359" y="74"/>
                  </a:lnTo>
                  <a:lnTo>
                    <a:pt x="360" y="77"/>
                  </a:lnTo>
                  <a:lnTo>
                    <a:pt x="362" y="79"/>
                  </a:lnTo>
                  <a:lnTo>
                    <a:pt x="364" y="81"/>
                  </a:lnTo>
                  <a:lnTo>
                    <a:pt x="366" y="83"/>
                  </a:lnTo>
                  <a:lnTo>
                    <a:pt x="371" y="86"/>
                  </a:lnTo>
                  <a:lnTo>
                    <a:pt x="374" y="88"/>
                  </a:lnTo>
                  <a:lnTo>
                    <a:pt x="378" y="89"/>
                  </a:lnTo>
                  <a:lnTo>
                    <a:pt x="384" y="90"/>
                  </a:lnTo>
                  <a:lnTo>
                    <a:pt x="392" y="91"/>
                  </a:lnTo>
                  <a:lnTo>
                    <a:pt x="399" y="90"/>
                  </a:lnTo>
                  <a:lnTo>
                    <a:pt x="403" y="90"/>
                  </a:lnTo>
                  <a:lnTo>
                    <a:pt x="406" y="89"/>
                  </a:lnTo>
                  <a:lnTo>
                    <a:pt x="412" y="86"/>
                  </a:lnTo>
                  <a:lnTo>
                    <a:pt x="418" y="83"/>
                  </a:lnTo>
                  <a:lnTo>
                    <a:pt x="420" y="81"/>
                  </a:lnTo>
                  <a:lnTo>
                    <a:pt x="422" y="79"/>
                  </a:lnTo>
                  <a:lnTo>
                    <a:pt x="424" y="77"/>
                  </a:lnTo>
                  <a:lnTo>
                    <a:pt x="425" y="74"/>
                  </a:lnTo>
                  <a:lnTo>
                    <a:pt x="427" y="68"/>
                  </a:lnTo>
                  <a:lnTo>
                    <a:pt x="427" y="64"/>
                  </a:lnTo>
                  <a:lnTo>
                    <a:pt x="427" y="60"/>
                  </a:lnTo>
                  <a:lnTo>
                    <a:pt x="427" y="0"/>
                  </a:lnTo>
                  <a:lnTo>
                    <a:pt x="407" y="0"/>
                  </a:lnTo>
                  <a:close/>
                  <a:moveTo>
                    <a:pt x="277" y="38"/>
                  </a:moveTo>
                  <a:lnTo>
                    <a:pt x="281" y="38"/>
                  </a:lnTo>
                  <a:lnTo>
                    <a:pt x="284" y="39"/>
                  </a:lnTo>
                  <a:lnTo>
                    <a:pt x="286" y="41"/>
                  </a:lnTo>
                  <a:lnTo>
                    <a:pt x="289" y="43"/>
                  </a:lnTo>
                  <a:lnTo>
                    <a:pt x="290" y="46"/>
                  </a:lnTo>
                  <a:lnTo>
                    <a:pt x="292" y="49"/>
                  </a:lnTo>
                  <a:lnTo>
                    <a:pt x="292" y="53"/>
                  </a:lnTo>
                  <a:lnTo>
                    <a:pt x="293" y="57"/>
                  </a:lnTo>
                  <a:lnTo>
                    <a:pt x="292" y="61"/>
                  </a:lnTo>
                  <a:lnTo>
                    <a:pt x="292" y="65"/>
                  </a:lnTo>
                  <a:lnTo>
                    <a:pt x="290" y="68"/>
                  </a:lnTo>
                  <a:lnTo>
                    <a:pt x="289" y="71"/>
                  </a:lnTo>
                  <a:lnTo>
                    <a:pt x="288" y="72"/>
                  </a:lnTo>
                  <a:lnTo>
                    <a:pt x="286" y="73"/>
                  </a:lnTo>
                  <a:lnTo>
                    <a:pt x="284" y="74"/>
                  </a:lnTo>
                  <a:lnTo>
                    <a:pt x="281" y="75"/>
                  </a:lnTo>
                  <a:lnTo>
                    <a:pt x="277" y="75"/>
                  </a:lnTo>
                  <a:lnTo>
                    <a:pt x="274" y="75"/>
                  </a:lnTo>
                  <a:lnTo>
                    <a:pt x="271" y="74"/>
                  </a:lnTo>
                  <a:lnTo>
                    <a:pt x="269" y="73"/>
                  </a:lnTo>
                  <a:lnTo>
                    <a:pt x="266" y="71"/>
                  </a:lnTo>
                  <a:lnTo>
                    <a:pt x="265" y="68"/>
                  </a:lnTo>
                  <a:lnTo>
                    <a:pt x="264" y="65"/>
                  </a:lnTo>
                  <a:lnTo>
                    <a:pt x="263" y="61"/>
                  </a:lnTo>
                  <a:lnTo>
                    <a:pt x="263" y="57"/>
                  </a:lnTo>
                  <a:lnTo>
                    <a:pt x="263" y="52"/>
                  </a:lnTo>
                  <a:lnTo>
                    <a:pt x="264" y="49"/>
                  </a:lnTo>
                  <a:lnTo>
                    <a:pt x="265" y="46"/>
                  </a:lnTo>
                  <a:lnTo>
                    <a:pt x="266" y="43"/>
                  </a:lnTo>
                  <a:lnTo>
                    <a:pt x="267" y="42"/>
                  </a:lnTo>
                  <a:lnTo>
                    <a:pt x="269" y="41"/>
                  </a:lnTo>
                  <a:lnTo>
                    <a:pt x="271" y="39"/>
                  </a:lnTo>
                  <a:lnTo>
                    <a:pt x="274" y="38"/>
                  </a:lnTo>
                  <a:lnTo>
                    <a:pt x="277" y="38"/>
                  </a:lnTo>
                  <a:close/>
                  <a:moveTo>
                    <a:pt x="277" y="23"/>
                  </a:moveTo>
                  <a:lnTo>
                    <a:pt x="270" y="24"/>
                  </a:lnTo>
                  <a:lnTo>
                    <a:pt x="264" y="26"/>
                  </a:lnTo>
                  <a:lnTo>
                    <a:pt x="261" y="27"/>
                  </a:lnTo>
                  <a:lnTo>
                    <a:pt x="258" y="29"/>
                  </a:lnTo>
                  <a:lnTo>
                    <a:pt x="253" y="33"/>
                  </a:lnTo>
                  <a:lnTo>
                    <a:pt x="249" y="37"/>
                  </a:lnTo>
                  <a:lnTo>
                    <a:pt x="247" y="40"/>
                  </a:lnTo>
                  <a:lnTo>
                    <a:pt x="246" y="43"/>
                  </a:lnTo>
                  <a:lnTo>
                    <a:pt x="245" y="46"/>
                  </a:lnTo>
                  <a:lnTo>
                    <a:pt x="244" y="50"/>
                  </a:lnTo>
                  <a:lnTo>
                    <a:pt x="244" y="53"/>
                  </a:lnTo>
                  <a:lnTo>
                    <a:pt x="244" y="57"/>
                  </a:lnTo>
                  <a:lnTo>
                    <a:pt x="244" y="64"/>
                  </a:lnTo>
                  <a:lnTo>
                    <a:pt x="246" y="70"/>
                  </a:lnTo>
                  <a:lnTo>
                    <a:pt x="247" y="73"/>
                  </a:lnTo>
                  <a:lnTo>
                    <a:pt x="249" y="76"/>
                  </a:lnTo>
                  <a:lnTo>
                    <a:pt x="253" y="81"/>
                  </a:lnTo>
                  <a:lnTo>
                    <a:pt x="258" y="85"/>
                  </a:lnTo>
                  <a:lnTo>
                    <a:pt x="261" y="87"/>
                  </a:lnTo>
                  <a:lnTo>
                    <a:pt x="264" y="88"/>
                  </a:lnTo>
                  <a:lnTo>
                    <a:pt x="267" y="89"/>
                  </a:lnTo>
                  <a:lnTo>
                    <a:pt x="270" y="90"/>
                  </a:lnTo>
                  <a:lnTo>
                    <a:pt x="277" y="90"/>
                  </a:lnTo>
                  <a:lnTo>
                    <a:pt x="285" y="90"/>
                  </a:lnTo>
                  <a:lnTo>
                    <a:pt x="291" y="88"/>
                  </a:lnTo>
                  <a:lnTo>
                    <a:pt x="294" y="87"/>
                  </a:lnTo>
                  <a:lnTo>
                    <a:pt x="297" y="85"/>
                  </a:lnTo>
                  <a:lnTo>
                    <a:pt x="302" y="81"/>
                  </a:lnTo>
                  <a:lnTo>
                    <a:pt x="306" y="76"/>
                  </a:lnTo>
                  <a:lnTo>
                    <a:pt x="308" y="73"/>
                  </a:lnTo>
                  <a:lnTo>
                    <a:pt x="309" y="71"/>
                  </a:lnTo>
                  <a:lnTo>
                    <a:pt x="311" y="64"/>
                  </a:lnTo>
                  <a:lnTo>
                    <a:pt x="311" y="61"/>
                  </a:lnTo>
                  <a:lnTo>
                    <a:pt x="311" y="57"/>
                  </a:lnTo>
                  <a:lnTo>
                    <a:pt x="311" y="53"/>
                  </a:lnTo>
                  <a:lnTo>
                    <a:pt x="311" y="50"/>
                  </a:lnTo>
                  <a:lnTo>
                    <a:pt x="309" y="43"/>
                  </a:lnTo>
                  <a:lnTo>
                    <a:pt x="308" y="40"/>
                  </a:lnTo>
                  <a:lnTo>
                    <a:pt x="306" y="37"/>
                  </a:lnTo>
                  <a:lnTo>
                    <a:pt x="302" y="33"/>
                  </a:lnTo>
                  <a:lnTo>
                    <a:pt x="297" y="29"/>
                  </a:lnTo>
                  <a:lnTo>
                    <a:pt x="294" y="27"/>
                  </a:lnTo>
                  <a:lnTo>
                    <a:pt x="291" y="26"/>
                  </a:lnTo>
                  <a:lnTo>
                    <a:pt x="288" y="24"/>
                  </a:lnTo>
                  <a:lnTo>
                    <a:pt x="285" y="24"/>
                  </a:lnTo>
                  <a:lnTo>
                    <a:pt x="277" y="23"/>
                  </a:lnTo>
                  <a:close/>
                  <a:moveTo>
                    <a:pt x="235" y="26"/>
                  </a:moveTo>
                  <a:lnTo>
                    <a:pt x="224" y="26"/>
                  </a:lnTo>
                  <a:lnTo>
                    <a:pt x="224" y="5"/>
                  </a:lnTo>
                  <a:lnTo>
                    <a:pt x="205" y="5"/>
                  </a:lnTo>
                  <a:lnTo>
                    <a:pt x="205" y="26"/>
                  </a:lnTo>
                  <a:lnTo>
                    <a:pt x="196" y="26"/>
                  </a:lnTo>
                  <a:lnTo>
                    <a:pt x="196" y="39"/>
                  </a:lnTo>
                  <a:lnTo>
                    <a:pt x="205" y="39"/>
                  </a:lnTo>
                  <a:lnTo>
                    <a:pt x="205" y="68"/>
                  </a:lnTo>
                  <a:lnTo>
                    <a:pt x="205" y="74"/>
                  </a:lnTo>
                  <a:lnTo>
                    <a:pt x="206" y="79"/>
                  </a:lnTo>
                  <a:lnTo>
                    <a:pt x="207" y="82"/>
                  </a:lnTo>
                  <a:lnTo>
                    <a:pt x="209" y="84"/>
                  </a:lnTo>
                  <a:lnTo>
                    <a:pt x="211" y="86"/>
                  </a:lnTo>
                  <a:lnTo>
                    <a:pt x="214" y="88"/>
                  </a:lnTo>
                  <a:lnTo>
                    <a:pt x="218" y="88"/>
                  </a:lnTo>
                  <a:lnTo>
                    <a:pt x="224" y="89"/>
                  </a:lnTo>
                  <a:lnTo>
                    <a:pt x="235" y="89"/>
                  </a:lnTo>
                  <a:lnTo>
                    <a:pt x="235" y="75"/>
                  </a:lnTo>
                  <a:lnTo>
                    <a:pt x="228" y="75"/>
                  </a:lnTo>
                  <a:lnTo>
                    <a:pt x="226" y="74"/>
                  </a:lnTo>
                  <a:lnTo>
                    <a:pt x="225" y="74"/>
                  </a:lnTo>
                  <a:lnTo>
                    <a:pt x="224" y="73"/>
                  </a:lnTo>
                  <a:lnTo>
                    <a:pt x="224" y="70"/>
                  </a:lnTo>
                  <a:lnTo>
                    <a:pt x="224" y="64"/>
                  </a:lnTo>
                  <a:lnTo>
                    <a:pt x="224" y="39"/>
                  </a:lnTo>
                  <a:lnTo>
                    <a:pt x="235" y="39"/>
                  </a:lnTo>
                  <a:lnTo>
                    <a:pt x="235" y="26"/>
                  </a:lnTo>
                  <a:close/>
                  <a:moveTo>
                    <a:pt x="184" y="0"/>
                  </a:moveTo>
                  <a:lnTo>
                    <a:pt x="166" y="0"/>
                  </a:lnTo>
                  <a:lnTo>
                    <a:pt x="166" y="89"/>
                  </a:lnTo>
                  <a:lnTo>
                    <a:pt x="184" y="89"/>
                  </a:lnTo>
                  <a:lnTo>
                    <a:pt x="184" y="0"/>
                  </a:lnTo>
                  <a:close/>
                  <a:moveTo>
                    <a:pt x="131" y="68"/>
                  </a:moveTo>
                  <a:lnTo>
                    <a:pt x="129" y="72"/>
                  </a:lnTo>
                  <a:lnTo>
                    <a:pt x="126" y="74"/>
                  </a:lnTo>
                  <a:lnTo>
                    <a:pt x="122" y="76"/>
                  </a:lnTo>
                  <a:lnTo>
                    <a:pt x="117" y="76"/>
                  </a:lnTo>
                  <a:lnTo>
                    <a:pt x="114" y="76"/>
                  </a:lnTo>
                  <a:lnTo>
                    <a:pt x="111" y="74"/>
                  </a:lnTo>
                  <a:lnTo>
                    <a:pt x="109" y="72"/>
                  </a:lnTo>
                  <a:lnTo>
                    <a:pt x="108" y="71"/>
                  </a:lnTo>
                  <a:lnTo>
                    <a:pt x="108" y="69"/>
                  </a:lnTo>
                  <a:lnTo>
                    <a:pt x="109" y="67"/>
                  </a:lnTo>
                  <a:lnTo>
                    <a:pt x="110" y="65"/>
                  </a:lnTo>
                  <a:lnTo>
                    <a:pt x="113" y="63"/>
                  </a:lnTo>
                  <a:lnTo>
                    <a:pt x="118" y="62"/>
                  </a:lnTo>
                  <a:lnTo>
                    <a:pt x="124" y="60"/>
                  </a:lnTo>
                  <a:lnTo>
                    <a:pt x="131" y="58"/>
                  </a:lnTo>
                  <a:lnTo>
                    <a:pt x="131" y="68"/>
                  </a:lnTo>
                  <a:close/>
                  <a:moveTo>
                    <a:pt x="110" y="45"/>
                  </a:moveTo>
                  <a:lnTo>
                    <a:pt x="110" y="43"/>
                  </a:lnTo>
                  <a:lnTo>
                    <a:pt x="111" y="42"/>
                  </a:lnTo>
                  <a:lnTo>
                    <a:pt x="112" y="40"/>
                  </a:lnTo>
                  <a:lnTo>
                    <a:pt x="113" y="39"/>
                  </a:lnTo>
                  <a:lnTo>
                    <a:pt x="116" y="38"/>
                  </a:lnTo>
                  <a:lnTo>
                    <a:pt x="121" y="37"/>
                  </a:lnTo>
                  <a:lnTo>
                    <a:pt x="125" y="38"/>
                  </a:lnTo>
                  <a:lnTo>
                    <a:pt x="128" y="39"/>
                  </a:lnTo>
                  <a:lnTo>
                    <a:pt x="130" y="41"/>
                  </a:lnTo>
                  <a:lnTo>
                    <a:pt x="131" y="42"/>
                  </a:lnTo>
                  <a:lnTo>
                    <a:pt x="131" y="43"/>
                  </a:lnTo>
                  <a:lnTo>
                    <a:pt x="130" y="45"/>
                  </a:lnTo>
                  <a:lnTo>
                    <a:pt x="129" y="46"/>
                  </a:lnTo>
                  <a:lnTo>
                    <a:pt x="128" y="47"/>
                  </a:lnTo>
                  <a:lnTo>
                    <a:pt x="125" y="48"/>
                  </a:lnTo>
                  <a:lnTo>
                    <a:pt x="115" y="49"/>
                  </a:lnTo>
                  <a:lnTo>
                    <a:pt x="109" y="51"/>
                  </a:lnTo>
                  <a:lnTo>
                    <a:pt x="103" y="52"/>
                  </a:lnTo>
                  <a:lnTo>
                    <a:pt x="99" y="54"/>
                  </a:lnTo>
                  <a:lnTo>
                    <a:pt x="95" y="56"/>
                  </a:lnTo>
                  <a:lnTo>
                    <a:pt x="93" y="59"/>
                  </a:lnTo>
                  <a:lnTo>
                    <a:pt x="92" y="61"/>
                  </a:lnTo>
                  <a:lnTo>
                    <a:pt x="91" y="62"/>
                  </a:lnTo>
                  <a:lnTo>
                    <a:pt x="90" y="66"/>
                  </a:lnTo>
                  <a:lnTo>
                    <a:pt x="89" y="70"/>
                  </a:lnTo>
                  <a:lnTo>
                    <a:pt x="90" y="75"/>
                  </a:lnTo>
                  <a:lnTo>
                    <a:pt x="91" y="79"/>
                  </a:lnTo>
                  <a:lnTo>
                    <a:pt x="93" y="82"/>
                  </a:lnTo>
                  <a:lnTo>
                    <a:pt x="96" y="85"/>
                  </a:lnTo>
                  <a:lnTo>
                    <a:pt x="97" y="86"/>
                  </a:lnTo>
                  <a:lnTo>
                    <a:pt x="99" y="87"/>
                  </a:lnTo>
                  <a:lnTo>
                    <a:pt x="103" y="89"/>
                  </a:lnTo>
                  <a:lnTo>
                    <a:pt x="108" y="90"/>
                  </a:lnTo>
                  <a:lnTo>
                    <a:pt x="113" y="90"/>
                  </a:lnTo>
                  <a:lnTo>
                    <a:pt x="118" y="90"/>
                  </a:lnTo>
                  <a:lnTo>
                    <a:pt x="123" y="89"/>
                  </a:lnTo>
                  <a:lnTo>
                    <a:pt x="127" y="87"/>
                  </a:lnTo>
                  <a:lnTo>
                    <a:pt x="131" y="84"/>
                  </a:lnTo>
                  <a:lnTo>
                    <a:pt x="133" y="89"/>
                  </a:lnTo>
                  <a:lnTo>
                    <a:pt x="152" y="89"/>
                  </a:lnTo>
                  <a:lnTo>
                    <a:pt x="151" y="87"/>
                  </a:lnTo>
                  <a:lnTo>
                    <a:pt x="150" y="85"/>
                  </a:lnTo>
                  <a:lnTo>
                    <a:pt x="149" y="78"/>
                  </a:lnTo>
                  <a:lnTo>
                    <a:pt x="149" y="48"/>
                  </a:lnTo>
                  <a:lnTo>
                    <a:pt x="149" y="42"/>
                  </a:lnTo>
                  <a:lnTo>
                    <a:pt x="148" y="37"/>
                  </a:lnTo>
                  <a:lnTo>
                    <a:pt x="146" y="33"/>
                  </a:lnTo>
                  <a:lnTo>
                    <a:pt x="145" y="31"/>
                  </a:lnTo>
                  <a:lnTo>
                    <a:pt x="143" y="30"/>
                  </a:lnTo>
                  <a:lnTo>
                    <a:pt x="139" y="27"/>
                  </a:lnTo>
                  <a:lnTo>
                    <a:pt x="134" y="25"/>
                  </a:lnTo>
                  <a:lnTo>
                    <a:pt x="128" y="23"/>
                  </a:lnTo>
                  <a:lnTo>
                    <a:pt x="121" y="23"/>
                  </a:lnTo>
                  <a:lnTo>
                    <a:pt x="115" y="23"/>
                  </a:lnTo>
                  <a:lnTo>
                    <a:pt x="109" y="24"/>
                  </a:lnTo>
                  <a:lnTo>
                    <a:pt x="104" y="26"/>
                  </a:lnTo>
                  <a:lnTo>
                    <a:pt x="101" y="28"/>
                  </a:lnTo>
                  <a:lnTo>
                    <a:pt x="97" y="31"/>
                  </a:lnTo>
                  <a:lnTo>
                    <a:pt x="95" y="35"/>
                  </a:lnTo>
                  <a:lnTo>
                    <a:pt x="94" y="37"/>
                  </a:lnTo>
                  <a:lnTo>
                    <a:pt x="94" y="40"/>
                  </a:lnTo>
                  <a:lnTo>
                    <a:pt x="93" y="42"/>
                  </a:lnTo>
                  <a:lnTo>
                    <a:pt x="93" y="45"/>
                  </a:lnTo>
                  <a:lnTo>
                    <a:pt x="110" y="45"/>
                  </a:lnTo>
                  <a:close/>
                  <a:moveTo>
                    <a:pt x="52" y="55"/>
                  </a:moveTo>
                  <a:lnTo>
                    <a:pt x="32" y="55"/>
                  </a:lnTo>
                  <a:lnTo>
                    <a:pt x="43" y="20"/>
                  </a:lnTo>
                  <a:lnTo>
                    <a:pt x="52" y="55"/>
                  </a:lnTo>
                  <a:close/>
                  <a:moveTo>
                    <a:pt x="57" y="71"/>
                  </a:moveTo>
                  <a:lnTo>
                    <a:pt x="61" y="89"/>
                  </a:lnTo>
                  <a:lnTo>
                    <a:pt x="84" y="89"/>
                  </a:lnTo>
                  <a:lnTo>
                    <a:pt x="56" y="0"/>
                  </a:lnTo>
                  <a:lnTo>
                    <a:pt x="31" y="0"/>
                  </a:lnTo>
                  <a:lnTo>
                    <a:pt x="0" y="89"/>
                  </a:lnTo>
                  <a:lnTo>
                    <a:pt x="22" y="89"/>
                  </a:lnTo>
                  <a:lnTo>
                    <a:pt x="27" y="71"/>
                  </a:lnTo>
                  <a:lnTo>
                    <a:pt x="57"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21" name="Freeform 7"/>
            <p:cNvSpPr>
              <a:spLocks noEditPoints="1"/>
            </p:cNvSpPr>
            <p:nvPr userDrawn="1"/>
          </p:nvSpPr>
          <p:spPr bwMode="auto">
            <a:xfrm>
              <a:off x="5756275" y="325438"/>
              <a:ext cx="1941513" cy="142875"/>
            </a:xfrm>
            <a:custGeom>
              <a:avLst/>
              <a:gdLst>
                <a:gd name="T0" fmla="*/ 1197 w 1223"/>
                <a:gd name="T1" fmla="*/ 38 h 90"/>
                <a:gd name="T2" fmla="*/ 1220 w 1223"/>
                <a:gd name="T3" fmla="*/ 32 h 90"/>
                <a:gd name="T4" fmla="*/ 1120 w 1223"/>
                <a:gd name="T5" fmla="*/ 37 h 90"/>
                <a:gd name="T6" fmla="*/ 1131 w 1223"/>
                <a:gd name="T7" fmla="*/ 70 h 90"/>
                <a:gd name="T8" fmla="*/ 1105 w 1223"/>
                <a:gd name="T9" fmla="*/ 60 h 90"/>
                <a:gd name="T10" fmla="*/ 1112 w 1223"/>
                <a:gd name="T11" fmla="*/ 23 h 90"/>
                <a:gd name="T12" fmla="*/ 1088 w 1223"/>
                <a:gd name="T13" fmla="*/ 70 h 90"/>
                <a:gd name="T14" fmla="*/ 1136 w 1223"/>
                <a:gd name="T15" fmla="*/ 86 h 90"/>
                <a:gd name="T16" fmla="*/ 1150 w 1223"/>
                <a:gd name="T17" fmla="*/ 40 h 90"/>
                <a:gd name="T18" fmla="*/ 1074 w 1223"/>
                <a:gd name="T19" fmla="*/ 15 h 90"/>
                <a:gd name="T20" fmla="*/ 1002 w 1223"/>
                <a:gd name="T21" fmla="*/ 25 h 90"/>
                <a:gd name="T22" fmla="*/ 1041 w 1223"/>
                <a:gd name="T23" fmla="*/ 88 h 90"/>
                <a:gd name="T24" fmla="*/ 967 w 1223"/>
                <a:gd name="T25" fmla="*/ 74 h 90"/>
                <a:gd name="T26" fmla="*/ 966 w 1223"/>
                <a:gd name="T27" fmla="*/ 60 h 90"/>
                <a:gd name="T28" fmla="*/ 971 w 1223"/>
                <a:gd name="T29" fmla="*/ 40 h 90"/>
                <a:gd name="T30" fmla="*/ 934 w 1223"/>
                <a:gd name="T31" fmla="*/ 59 h 90"/>
                <a:gd name="T32" fmla="*/ 954 w 1223"/>
                <a:gd name="T33" fmla="*/ 90 h 90"/>
                <a:gd name="T34" fmla="*/ 990 w 1223"/>
                <a:gd name="T35" fmla="*/ 36 h 90"/>
                <a:gd name="T36" fmla="*/ 939 w 1223"/>
                <a:gd name="T37" fmla="*/ 31 h 90"/>
                <a:gd name="T38" fmla="*/ 907 w 1223"/>
                <a:gd name="T39" fmla="*/ 26 h 90"/>
                <a:gd name="T40" fmla="*/ 859 w 1223"/>
                <a:gd name="T41" fmla="*/ 49 h 90"/>
                <a:gd name="T42" fmla="*/ 891 w 1223"/>
                <a:gd name="T43" fmla="*/ 90 h 90"/>
                <a:gd name="T44" fmla="*/ 899 w 1223"/>
                <a:gd name="T45" fmla="*/ 72 h 90"/>
                <a:gd name="T46" fmla="*/ 878 w 1223"/>
                <a:gd name="T47" fmla="*/ 56 h 90"/>
                <a:gd name="T48" fmla="*/ 900 w 1223"/>
                <a:gd name="T49" fmla="*/ 42 h 90"/>
                <a:gd name="T50" fmla="*/ 823 w 1223"/>
                <a:gd name="T51" fmla="*/ 73 h 90"/>
                <a:gd name="T52" fmla="*/ 790 w 1223"/>
                <a:gd name="T53" fmla="*/ 71 h 90"/>
                <a:gd name="T54" fmla="*/ 828 w 1223"/>
                <a:gd name="T55" fmla="*/ 83 h 90"/>
                <a:gd name="T56" fmla="*/ 756 w 1223"/>
                <a:gd name="T57" fmla="*/ 52 h 90"/>
                <a:gd name="T58" fmla="*/ 735 w 1223"/>
                <a:gd name="T59" fmla="*/ 72 h 90"/>
                <a:gd name="T60" fmla="*/ 740 w 1223"/>
                <a:gd name="T61" fmla="*/ 38 h 90"/>
                <a:gd name="T62" fmla="*/ 719 w 1223"/>
                <a:gd name="T63" fmla="*/ 32 h 90"/>
                <a:gd name="T64" fmla="*/ 723 w 1223"/>
                <a:gd name="T65" fmla="*/ 85 h 90"/>
                <a:gd name="T66" fmla="*/ 757 w 1223"/>
                <a:gd name="T67" fmla="*/ 88 h 90"/>
                <a:gd name="T68" fmla="*/ 655 w 1223"/>
                <a:gd name="T69" fmla="*/ 34 h 90"/>
                <a:gd name="T70" fmla="*/ 556 w 1223"/>
                <a:gd name="T71" fmla="*/ 38 h 90"/>
                <a:gd name="T72" fmla="*/ 580 w 1223"/>
                <a:gd name="T73" fmla="*/ 41 h 90"/>
                <a:gd name="T74" fmla="*/ 533 w 1223"/>
                <a:gd name="T75" fmla="*/ 28 h 90"/>
                <a:gd name="T76" fmla="*/ 528 w 1223"/>
                <a:gd name="T77" fmla="*/ 81 h 90"/>
                <a:gd name="T78" fmla="*/ 577 w 1223"/>
                <a:gd name="T79" fmla="*/ 80 h 90"/>
                <a:gd name="T80" fmla="*/ 543 w 1223"/>
                <a:gd name="T81" fmla="*/ 72 h 90"/>
                <a:gd name="T82" fmla="*/ 471 w 1223"/>
                <a:gd name="T83" fmla="*/ 24 h 90"/>
                <a:gd name="T84" fmla="*/ 440 w 1223"/>
                <a:gd name="T85" fmla="*/ 88 h 90"/>
                <a:gd name="T86" fmla="*/ 376 w 1223"/>
                <a:gd name="T87" fmla="*/ 78 h 90"/>
                <a:gd name="T88" fmla="*/ 394 w 1223"/>
                <a:gd name="T89" fmla="*/ 69 h 90"/>
                <a:gd name="T90" fmla="*/ 329 w 1223"/>
                <a:gd name="T91" fmla="*/ 73 h 90"/>
                <a:gd name="T92" fmla="*/ 295 w 1223"/>
                <a:gd name="T93" fmla="*/ 71 h 90"/>
                <a:gd name="T94" fmla="*/ 333 w 1223"/>
                <a:gd name="T95" fmla="*/ 83 h 90"/>
                <a:gd name="T96" fmla="*/ 259 w 1223"/>
                <a:gd name="T97" fmla="*/ 23 h 90"/>
                <a:gd name="T98" fmla="*/ 221 w 1223"/>
                <a:gd name="T99" fmla="*/ 64 h 90"/>
                <a:gd name="T100" fmla="*/ 264 w 1223"/>
                <a:gd name="T101" fmla="*/ 88 h 90"/>
                <a:gd name="T102" fmla="*/ 257 w 1223"/>
                <a:gd name="T103" fmla="*/ 74 h 90"/>
                <a:gd name="T104" fmla="*/ 240 w 1223"/>
                <a:gd name="T105" fmla="*/ 50 h 90"/>
                <a:gd name="T106" fmla="*/ 264 w 1223"/>
                <a:gd name="T107" fmla="*/ 47 h 90"/>
                <a:gd name="T108" fmla="*/ 186 w 1223"/>
                <a:gd name="T109" fmla="*/ 40 h 90"/>
                <a:gd name="T110" fmla="*/ 202 w 1223"/>
                <a:gd name="T111" fmla="*/ 33 h 90"/>
                <a:gd name="T112" fmla="*/ 152 w 1223"/>
                <a:gd name="T113" fmla="*/ 34 h 90"/>
                <a:gd name="T114" fmla="*/ 165 w 1223"/>
                <a:gd name="T115" fmla="*/ 87 h 90"/>
                <a:gd name="T116" fmla="*/ 207 w 1223"/>
                <a:gd name="T117" fmla="*/ 74 h 90"/>
                <a:gd name="T118" fmla="*/ 166 w 1223"/>
                <a:gd name="T119" fmla="*/ 67 h 90"/>
                <a:gd name="T120" fmla="*/ 96 w 1223"/>
                <a:gd name="T121" fmla="*/ 88 h 90"/>
                <a:gd name="T122" fmla="*/ 60 w 1223"/>
                <a:gd name="T123" fmla="*/ 5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3" h="90">
                  <a:moveTo>
                    <a:pt x="1165" y="24"/>
                  </a:moveTo>
                  <a:lnTo>
                    <a:pt x="1165" y="88"/>
                  </a:lnTo>
                  <a:lnTo>
                    <a:pt x="1184" y="88"/>
                  </a:lnTo>
                  <a:lnTo>
                    <a:pt x="1184" y="52"/>
                  </a:lnTo>
                  <a:lnTo>
                    <a:pt x="1184" y="46"/>
                  </a:lnTo>
                  <a:lnTo>
                    <a:pt x="1185" y="44"/>
                  </a:lnTo>
                  <a:lnTo>
                    <a:pt x="1187" y="42"/>
                  </a:lnTo>
                  <a:lnTo>
                    <a:pt x="1188" y="40"/>
                  </a:lnTo>
                  <a:lnTo>
                    <a:pt x="1190" y="39"/>
                  </a:lnTo>
                  <a:lnTo>
                    <a:pt x="1192" y="38"/>
                  </a:lnTo>
                  <a:lnTo>
                    <a:pt x="1195" y="38"/>
                  </a:lnTo>
                  <a:lnTo>
                    <a:pt x="1197" y="38"/>
                  </a:lnTo>
                  <a:lnTo>
                    <a:pt x="1199" y="39"/>
                  </a:lnTo>
                  <a:lnTo>
                    <a:pt x="1201" y="40"/>
                  </a:lnTo>
                  <a:lnTo>
                    <a:pt x="1202" y="42"/>
                  </a:lnTo>
                  <a:lnTo>
                    <a:pt x="1203" y="44"/>
                  </a:lnTo>
                  <a:lnTo>
                    <a:pt x="1204" y="46"/>
                  </a:lnTo>
                  <a:lnTo>
                    <a:pt x="1204" y="53"/>
                  </a:lnTo>
                  <a:lnTo>
                    <a:pt x="1204" y="88"/>
                  </a:lnTo>
                  <a:lnTo>
                    <a:pt x="1223" y="88"/>
                  </a:lnTo>
                  <a:lnTo>
                    <a:pt x="1223" y="47"/>
                  </a:lnTo>
                  <a:lnTo>
                    <a:pt x="1223" y="41"/>
                  </a:lnTo>
                  <a:lnTo>
                    <a:pt x="1222" y="37"/>
                  </a:lnTo>
                  <a:lnTo>
                    <a:pt x="1220" y="32"/>
                  </a:lnTo>
                  <a:lnTo>
                    <a:pt x="1217" y="29"/>
                  </a:lnTo>
                  <a:lnTo>
                    <a:pt x="1214" y="26"/>
                  </a:lnTo>
                  <a:lnTo>
                    <a:pt x="1210" y="24"/>
                  </a:lnTo>
                  <a:lnTo>
                    <a:pt x="1206" y="23"/>
                  </a:lnTo>
                  <a:lnTo>
                    <a:pt x="1201" y="22"/>
                  </a:lnTo>
                  <a:lnTo>
                    <a:pt x="1196" y="23"/>
                  </a:lnTo>
                  <a:lnTo>
                    <a:pt x="1192" y="24"/>
                  </a:lnTo>
                  <a:lnTo>
                    <a:pt x="1188" y="27"/>
                  </a:lnTo>
                  <a:lnTo>
                    <a:pt x="1183" y="30"/>
                  </a:lnTo>
                  <a:lnTo>
                    <a:pt x="1183" y="24"/>
                  </a:lnTo>
                  <a:lnTo>
                    <a:pt x="1165" y="24"/>
                  </a:lnTo>
                  <a:close/>
                  <a:moveTo>
                    <a:pt x="1120" y="37"/>
                  </a:moveTo>
                  <a:lnTo>
                    <a:pt x="1123" y="38"/>
                  </a:lnTo>
                  <a:lnTo>
                    <a:pt x="1126" y="39"/>
                  </a:lnTo>
                  <a:lnTo>
                    <a:pt x="1129" y="40"/>
                  </a:lnTo>
                  <a:lnTo>
                    <a:pt x="1131" y="42"/>
                  </a:lnTo>
                  <a:lnTo>
                    <a:pt x="1132" y="45"/>
                  </a:lnTo>
                  <a:lnTo>
                    <a:pt x="1134" y="48"/>
                  </a:lnTo>
                  <a:lnTo>
                    <a:pt x="1134" y="52"/>
                  </a:lnTo>
                  <a:lnTo>
                    <a:pt x="1135" y="57"/>
                  </a:lnTo>
                  <a:lnTo>
                    <a:pt x="1134" y="61"/>
                  </a:lnTo>
                  <a:lnTo>
                    <a:pt x="1134" y="64"/>
                  </a:lnTo>
                  <a:lnTo>
                    <a:pt x="1132" y="67"/>
                  </a:lnTo>
                  <a:lnTo>
                    <a:pt x="1131" y="70"/>
                  </a:lnTo>
                  <a:lnTo>
                    <a:pt x="1130" y="71"/>
                  </a:lnTo>
                  <a:lnTo>
                    <a:pt x="1129" y="72"/>
                  </a:lnTo>
                  <a:lnTo>
                    <a:pt x="1126" y="74"/>
                  </a:lnTo>
                  <a:lnTo>
                    <a:pt x="1123" y="75"/>
                  </a:lnTo>
                  <a:lnTo>
                    <a:pt x="1120" y="75"/>
                  </a:lnTo>
                  <a:lnTo>
                    <a:pt x="1116" y="75"/>
                  </a:lnTo>
                  <a:lnTo>
                    <a:pt x="1113" y="74"/>
                  </a:lnTo>
                  <a:lnTo>
                    <a:pt x="1111" y="72"/>
                  </a:lnTo>
                  <a:lnTo>
                    <a:pt x="1109" y="70"/>
                  </a:lnTo>
                  <a:lnTo>
                    <a:pt x="1107" y="67"/>
                  </a:lnTo>
                  <a:lnTo>
                    <a:pt x="1106" y="64"/>
                  </a:lnTo>
                  <a:lnTo>
                    <a:pt x="1105" y="60"/>
                  </a:lnTo>
                  <a:lnTo>
                    <a:pt x="1105" y="56"/>
                  </a:lnTo>
                  <a:lnTo>
                    <a:pt x="1105" y="52"/>
                  </a:lnTo>
                  <a:lnTo>
                    <a:pt x="1106" y="48"/>
                  </a:lnTo>
                  <a:lnTo>
                    <a:pt x="1107" y="45"/>
                  </a:lnTo>
                  <a:lnTo>
                    <a:pt x="1109" y="42"/>
                  </a:lnTo>
                  <a:lnTo>
                    <a:pt x="1110" y="41"/>
                  </a:lnTo>
                  <a:lnTo>
                    <a:pt x="1111" y="40"/>
                  </a:lnTo>
                  <a:lnTo>
                    <a:pt x="1113" y="39"/>
                  </a:lnTo>
                  <a:lnTo>
                    <a:pt x="1116" y="38"/>
                  </a:lnTo>
                  <a:lnTo>
                    <a:pt x="1120" y="37"/>
                  </a:lnTo>
                  <a:close/>
                  <a:moveTo>
                    <a:pt x="1120" y="23"/>
                  </a:moveTo>
                  <a:lnTo>
                    <a:pt x="1112" y="23"/>
                  </a:lnTo>
                  <a:lnTo>
                    <a:pt x="1106" y="25"/>
                  </a:lnTo>
                  <a:lnTo>
                    <a:pt x="1103" y="26"/>
                  </a:lnTo>
                  <a:lnTo>
                    <a:pt x="1100" y="28"/>
                  </a:lnTo>
                  <a:lnTo>
                    <a:pt x="1095" y="32"/>
                  </a:lnTo>
                  <a:lnTo>
                    <a:pt x="1091" y="37"/>
                  </a:lnTo>
                  <a:lnTo>
                    <a:pt x="1090" y="40"/>
                  </a:lnTo>
                  <a:lnTo>
                    <a:pt x="1088" y="43"/>
                  </a:lnTo>
                  <a:lnTo>
                    <a:pt x="1087" y="46"/>
                  </a:lnTo>
                  <a:lnTo>
                    <a:pt x="1086" y="49"/>
                  </a:lnTo>
                  <a:lnTo>
                    <a:pt x="1086" y="56"/>
                  </a:lnTo>
                  <a:lnTo>
                    <a:pt x="1086" y="63"/>
                  </a:lnTo>
                  <a:lnTo>
                    <a:pt x="1088" y="70"/>
                  </a:lnTo>
                  <a:lnTo>
                    <a:pt x="1090" y="73"/>
                  </a:lnTo>
                  <a:lnTo>
                    <a:pt x="1091" y="76"/>
                  </a:lnTo>
                  <a:lnTo>
                    <a:pt x="1095" y="80"/>
                  </a:lnTo>
                  <a:lnTo>
                    <a:pt x="1100" y="84"/>
                  </a:lnTo>
                  <a:lnTo>
                    <a:pt x="1103" y="86"/>
                  </a:lnTo>
                  <a:lnTo>
                    <a:pt x="1106" y="87"/>
                  </a:lnTo>
                  <a:lnTo>
                    <a:pt x="1109" y="88"/>
                  </a:lnTo>
                  <a:lnTo>
                    <a:pt x="1112" y="89"/>
                  </a:lnTo>
                  <a:lnTo>
                    <a:pt x="1120" y="90"/>
                  </a:lnTo>
                  <a:lnTo>
                    <a:pt x="1127" y="89"/>
                  </a:lnTo>
                  <a:lnTo>
                    <a:pt x="1133" y="87"/>
                  </a:lnTo>
                  <a:lnTo>
                    <a:pt x="1136" y="86"/>
                  </a:lnTo>
                  <a:lnTo>
                    <a:pt x="1139" y="84"/>
                  </a:lnTo>
                  <a:lnTo>
                    <a:pt x="1144" y="80"/>
                  </a:lnTo>
                  <a:lnTo>
                    <a:pt x="1148" y="76"/>
                  </a:lnTo>
                  <a:lnTo>
                    <a:pt x="1150" y="73"/>
                  </a:lnTo>
                  <a:lnTo>
                    <a:pt x="1151" y="70"/>
                  </a:lnTo>
                  <a:lnTo>
                    <a:pt x="1153" y="64"/>
                  </a:lnTo>
                  <a:lnTo>
                    <a:pt x="1153" y="60"/>
                  </a:lnTo>
                  <a:lnTo>
                    <a:pt x="1154" y="57"/>
                  </a:lnTo>
                  <a:lnTo>
                    <a:pt x="1153" y="53"/>
                  </a:lnTo>
                  <a:lnTo>
                    <a:pt x="1153" y="49"/>
                  </a:lnTo>
                  <a:lnTo>
                    <a:pt x="1151" y="43"/>
                  </a:lnTo>
                  <a:lnTo>
                    <a:pt x="1150" y="40"/>
                  </a:lnTo>
                  <a:lnTo>
                    <a:pt x="1148" y="37"/>
                  </a:lnTo>
                  <a:lnTo>
                    <a:pt x="1144" y="32"/>
                  </a:lnTo>
                  <a:lnTo>
                    <a:pt x="1139" y="28"/>
                  </a:lnTo>
                  <a:lnTo>
                    <a:pt x="1136" y="26"/>
                  </a:lnTo>
                  <a:lnTo>
                    <a:pt x="1133" y="25"/>
                  </a:lnTo>
                  <a:lnTo>
                    <a:pt x="1130" y="24"/>
                  </a:lnTo>
                  <a:lnTo>
                    <a:pt x="1127" y="23"/>
                  </a:lnTo>
                  <a:lnTo>
                    <a:pt x="1120" y="23"/>
                  </a:lnTo>
                  <a:close/>
                  <a:moveTo>
                    <a:pt x="1074" y="0"/>
                  </a:moveTo>
                  <a:lnTo>
                    <a:pt x="1056" y="0"/>
                  </a:lnTo>
                  <a:lnTo>
                    <a:pt x="1056" y="15"/>
                  </a:lnTo>
                  <a:lnTo>
                    <a:pt x="1074" y="15"/>
                  </a:lnTo>
                  <a:lnTo>
                    <a:pt x="1074" y="0"/>
                  </a:lnTo>
                  <a:close/>
                  <a:moveTo>
                    <a:pt x="1074" y="24"/>
                  </a:moveTo>
                  <a:lnTo>
                    <a:pt x="1056" y="24"/>
                  </a:lnTo>
                  <a:lnTo>
                    <a:pt x="1056" y="88"/>
                  </a:lnTo>
                  <a:lnTo>
                    <a:pt x="1074" y="88"/>
                  </a:lnTo>
                  <a:lnTo>
                    <a:pt x="1074" y="24"/>
                  </a:lnTo>
                  <a:close/>
                  <a:moveTo>
                    <a:pt x="1041" y="25"/>
                  </a:moveTo>
                  <a:lnTo>
                    <a:pt x="1029" y="25"/>
                  </a:lnTo>
                  <a:lnTo>
                    <a:pt x="1029" y="5"/>
                  </a:lnTo>
                  <a:lnTo>
                    <a:pt x="1011" y="5"/>
                  </a:lnTo>
                  <a:lnTo>
                    <a:pt x="1011" y="25"/>
                  </a:lnTo>
                  <a:lnTo>
                    <a:pt x="1002" y="25"/>
                  </a:lnTo>
                  <a:lnTo>
                    <a:pt x="1002" y="38"/>
                  </a:lnTo>
                  <a:lnTo>
                    <a:pt x="1011" y="38"/>
                  </a:lnTo>
                  <a:lnTo>
                    <a:pt x="1011" y="67"/>
                  </a:lnTo>
                  <a:lnTo>
                    <a:pt x="1011" y="74"/>
                  </a:lnTo>
                  <a:lnTo>
                    <a:pt x="1011" y="78"/>
                  </a:lnTo>
                  <a:lnTo>
                    <a:pt x="1012" y="81"/>
                  </a:lnTo>
                  <a:lnTo>
                    <a:pt x="1014" y="84"/>
                  </a:lnTo>
                  <a:lnTo>
                    <a:pt x="1017" y="86"/>
                  </a:lnTo>
                  <a:lnTo>
                    <a:pt x="1020" y="87"/>
                  </a:lnTo>
                  <a:lnTo>
                    <a:pt x="1024" y="88"/>
                  </a:lnTo>
                  <a:lnTo>
                    <a:pt x="1029" y="88"/>
                  </a:lnTo>
                  <a:lnTo>
                    <a:pt x="1041" y="88"/>
                  </a:lnTo>
                  <a:lnTo>
                    <a:pt x="1041" y="74"/>
                  </a:lnTo>
                  <a:lnTo>
                    <a:pt x="1034" y="74"/>
                  </a:lnTo>
                  <a:lnTo>
                    <a:pt x="1032" y="74"/>
                  </a:lnTo>
                  <a:lnTo>
                    <a:pt x="1030" y="72"/>
                  </a:lnTo>
                  <a:lnTo>
                    <a:pt x="1029" y="69"/>
                  </a:lnTo>
                  <a:lnTo>
                    <a:pt x="1029" y="63"/>
                  </a:lnTo>
                  <a:lnTo>
                    <a:pt x="1029" y="38"/>
                  </a:lnTo>
                  <a:lnTo>
                    <a:pt x="1041" y="38"/>
                  </a:lnTo>
                  <a:lnTo>
                    <a:pt x="1041" y="25"/>
                  </a:lnTo>
                  <a:close/>
                  <a:moveTo>
                    <a:pt x="973" y="68"/>
                  </a:moveTo>
                  <a:lnTo>
                    <a:pt x="970" y="71"/>
                  </a:lnTo>
                  <a:lnTo>
                    <a:pt x="967" y="74"/>
                  </a:lnTo>
                  <a:lnTo>
                    <a:pt x="963" y="75"/>
                  </a:lnTo>
                  <a:lnTo>
                    <a:pt x="959" y="76"/>
                  </a:lnTo>
                  <a:lnTo>
                    <a:pt x="955" y="75"/>
                  </a:lnTo>
                  <a:lnTo>
                    <a:pt x="952" y="74"/>
                  </a:lnTo>
                  <a:lnTo>
                    <a:pt x="950" y="72"/>
                  </a:lnTo>
                  <a:lnTo>
                    <a:pt x="950" y="70"/>
                  </a:lnTo>
                  <a:lnTo>
                    <a:pt x="949" y="69"/>
                  </a:lnTo>
                  <a:lnTo>
                    <a:pt x="950" y="66"/>
                  </a:lnTo>
                  <a:lnTo>
                    <a:pt x="952" y="64"/>
                  </a:lnTo>
                  <a:lnTo>
                    <a:pt x="955" y="62"/>
                  </a:lnTo>
                  <a:lnTo>
                    <a:pt x="959" y="61"/>
                  </a:lnTo>
                  <a:lnTo>
                    <a:pt x="966" y="60"/>
                  </a:lnTo>
                  <a:lnTo>
                    <a:pt x="973" y="58"/>
                  </a:lnTo>
                  <a:lnTo>
                    <a:pt x="973" y="68"/>
                  </a:lnTo>
                  <a:close/>
                  <a:moveTo>
                    <a:pt x="951" y="44"/>
                  </a:moveTo>
                  <a:lnTo>
                    <a:pt x="951" y="43"/>
                  </a:lnTo>
                  <a:lnTo>
                    <a:pt x="952" y="41"/>
                  </a:lnTo>
                  <a:lnTo>
                    <a:pt x="953" y="40"/>
                  </a:lnTo>
                  <a:lnTo>
                    <a:pt x="954" y="39"/>
                  </a:lnTo>
                  <a:lnTo>
                    <a:pt x="958" y="37"/>
                  </a:lnTo>
                  <a:lnTo>
                    <a:pt x="962" y="37"/>
                  </a:lnTo>
                  <a:lnTo>
                    <a:pt x="966" y="37"/>
                  </a:lnTo>
                  <a:lnTo>
                    <a:pt x="970" y="38"/>
                  </a:lnTo>
                  <a:lnTo>
                    <a:pt x="971" y="40"/>
                  </a:lnTo>
                  <a:lnTo>
                    <a:pt x="972" y="41"/>
                  </a:lnTo>
                  <a:lnTo>
                    <a:pt x="972" y="43"/>
                  </a:lnTo>
                  <a:lnTo>
                    <a:pt x="972" y="44"/>
                  </a:lnTo>
                  <a:lnTo>
                    <a:pt x="971" y="46"/>
                  </a:lnTo>
                  <a:lnTo>
                    <a:pt x="969" y="46"/>
                  </a:lnTo>
                  <a:lnTo>
                    <a:pt x="966" y="47"/>
                  </a:lnTo>
                  <a:lnTo>
                    <a:pt x="956" y="49"/>
                  </a:lnTo>
                  <a:lnTo>
                    <a:pt x="950" y="50"/>
                  </a:lnTo>
                  <a:lnTo>
                    <a:pt x="945" y="52"/>
                  </a:lnTo>
                  <a:lnTo>
                    <a:pt x="940" y="54"/>
                  </a:lnTo>
                  <a:lnTo>
                    <a:pt x="937" y="56"/>
                  </a:lnTo>
                  <a:lnTo>
                    <a:pt x="934" y="59"/>
                  </a:lnTo>
                  <a:lnTo>
                    <a:pt x="933" y="60"/>
                  </a:lnTo>
                  <a:lnTo>
                    <a:pt x="932" y="62"/>
                  </a:lnTo>
                  <a:lnTo>
                    <a:pt x="931" y="66"/>
                  </a:lnTo>
                  <a:lnTo>
                    <a:pt x="931" y="70"/>
                  </a:lnTo>
                  <a:lnTo>
                    <a:pt x="931" y="74"/>
                  </a:lnTo>
                  <a:lnTo>
                    <a:pt x="933" y="78"/>
                  </a:lnTo>
                  <a:lnTo>
                    <a:pt x="935" y="81"/>
                  </a:lnTo>
                  <a:lnTo>
                    <a:pt x="937" y="84"/>
                  </a:lnTo>
                  <a:lnTo>
                    <a:pt x="941" y="87"/>
                  </a:lnTo>
                  <a:lnTo>
                    <a:pt x="945" y="88"/>
                  </a:lnTo>
                  <a:lnTo>
                    <a:pt x="949" y="89"/>
                  </a:lnTo>
                  <a:lnTo>
                    <a:pt x="954" y="90"/>
                  </a:lnTo>
                  <a:lnTo>
                    <a:pt x="960" y="90"/>
                  </a:lnTo>
                  <a:lnTo>
                    <a:pt x="964" y="88"/>
                  </a:lnTo>
                  <a:lnTo>
                    <a:pt x="968" y="86"/>
                  </a:lnTo>
                  <a:lnTo>
                    <a:pt x="973" y="83"/>
                  </a:lnTo>
                  <a:lnTo>
                    <a:pt x="974" y="88"/>
                  </a:lnTo>
                  <a:lnTo>
                    <a:pt x="993" y="88"/>
                  </a:lnTo>
                  <a:lnTo>
                    <a:pt x="992" y="86"/>
                  </a:lnTo>
                  <a:lnTo>
                    <a:pt x="991" y="84"/>
                  </a:lnTo>
                  <a:lnTo>
                    <a:pt x="991" y="77"/>
                  </a:lnTo>
                  <a:lnTo>
                    <a:pt x="991" y="48"/>
                  </a:lnTo>
                  <a:lnTo>
                    <a:pt x="991" y="41"/>
                  </a:lnTo>
                  <a:lnTo>
                    <a:pt x="990" y="36"/>
                  </a:lnTo>
                  <a:lnTo>
                    <a:pt x="988" y="32"/>
                  </a:lnTo>
                  <a:lnTo>
                    <a:pt x="986" y="31"/>
                  </a:lnTo>
                  <a:lnTo>
                    <a:pt x="985" y="29"/>
                  </a:lnTo>
                  <a:lnTo>
                    <a:pt x="980" y="26"/>
                  </a:lnTo>
                  <a:lnTo>
                    <a:pt x="975" y="24"/>
                  </a:lnTo>
                  <a:lnTo>
                    <a:pt x="969" y="23"/>
                  </a:lnTo>
                  <a:lnTo>
                    <a:pt x="962" y="23"/>
                  </a:lnTo>
                  <a:lnTo>
                    <a:pt x="956" y="23"/>
                  </a:lnTo>
                  <a:lnTo>
                    <a:pt x="951" y="24"/>
                  </a:lnTo>
                  <a:lnTo>
                    <a:pt x="946" y="26"/>
                  </a:lnTo>
                  <a:lnTo>
                    <a:pt x="942" y="28"/>
                  </a:lnTo>
                  <a:lnTo>
                    <a:pt x="939" y="31"/>
                  </a:lnTo>
                  <a:lnTo>
                    <a:pt x="937" y="35"/>
                  </a:lnTo>
                  <a:lnTo>
                    <a:pt x="936" y="37"/>
                  </a:lnTo>
                  <a:lnTo>
                    <a:pt x="935" y="39"/>
                  </a:lnTo>
                  <a:lnTo>
                    <a:pt x="934" y="42"/>
                  </a:lnTo>
                  <a:lnTo>
                    <a:pt x="934" y="44"/>
                  </a:lnTo>
                  <a:lnTo>
                    <a:pt x="951" y="44"/>
                  </a:lnTo>
                  <a:close/>
                  <a:moveTo>
                    <a:pt x="920" y="47"/>
                  </a:moveTo>
                  <a:lnTo>
                    <a:pt x="920" y="42"/>
                  </a:lnTo>
                  <a:lnTo>
                    <a:pt x="918" y="37"/>
                  </a:lnTo>
                  <a:lnTo>
                    <a:pt x="915" y="33"/>
                  </a:lnTo>
                  <a:lnTo>
                    <a:pt x="912" y="29"/>
                  </a:lnTo>
                  <a:lnTo>
                    <a:pt x="907" y="26"/>
                  </a:lnTo>
                  <a:lnTo>
                    <a:pt x="903" y="24"/>
                  </a:lnTo>
                  <a:lnTo>
                    <a:pt x="897" y="23"/>
                  </a:lnTo>
                  <a:lnTo>
                    <a:pt x="891" y="23"/>
                  </a:lnTo>
                  <a:lnTo>
                    <a:pt x="884" y="23"/>
                  </a:lnTo>
                  <a:lnTo>
                    <a:pt x="878" y="25"/>
                  </a:lnTo>
                  <a:lnTo>
                    <a:pt x="872" y="28"/>
                  </a:lnTo>
                  <a:lnTo>
                    <a:pt x="870" y="29"/>
                  </a:lnTo>
                  <a:lnTo>
                    <a:pt x="867" y="32"/>
                  </a:lnTo>
                  <a:lnTo>
                    <a:pt x="865" y="34"/>
                  </a:lnTo>
                  <a:lnTo>
                    <a:pt x="864" y="36"/>
                  </a:lnTo>
                  <a:lnTo>
                    <a:pt x="861" y="42"/>
                  </a:lnTo>
                  <a:lnTo>
                    <a:pt x="859" y="49"/>
                  </a:lnTo>
                  <a:lnTo>
                    <a:pt x="859" y="56"/>
                  </a:lnTo>
                  <a:lnTo>
                    <a:pt x="859" y="64"/>
                  </a:lnTo>
                  <a:lnTo>
                    <a:pt x="860" y="67"/>
                  </a:lnTo>
                  <a:lnTo>
                    <a:pt x="861" y="70"/>
                  </a:lnTo>
                  <a:lnTo>
                    <a:pt x="864" y="76"/>
                  </a:lnTo>
                  <a:lnTo>
                    <a:pt x="865" y="79"/>
                  </a:lnTo>
                  <a:lnTo>
                    <a:pt x="867" y="81"/>
                  </a:lnTo>
                  <a:lnTo>
                    <a:pt x="872" y="85"/>
                  </a:lnTo>
                  <a:lnTo>
                    <a:pt x="877" y="88"/>
                  </a:lnTo>
                  <a:lnTo>
                    <a:pt x="884" y="89"/>
                  </a:lnTo>
                  <a:lnTo>
                    <a:pt x="887" y="90"/>
                  </a:lnTo>
                  <a:lnTo>
                    <a:pt x="891" y="90"/>
                  </a:lnTo>
                  <a:lnTo>
                    <a:pt x="897" y="89"/>
                  </a:lnTo>
                  <a:lnTo>
                    <a:pt x="902" y="88"/>
                  </a:lnTo>
                  <a:lnTo>
                    <a:pt x="907" y="86"/>
                  </a:lnTo>
                  <a:lnTo>
                    <a:pt x="911" y="83"/>
                  </a:lnTo>
                  <a:lnTo>
                    <a:pt x="915" y="80"/>
                  </a:lnTo>
                  <a:lnTo>
                    <a:pt x="918" y="75"/>
                  </a:lnTo>
                  <a:lnTo>
                    <a:pt x="920" y="70"/>
                  </a:lnTo>
                  <a:lnTo>
                    <a:pt x="921" y="65"/>
                  </a:lnTo>
                  <a:lnTo>
                    <a:pt x="903" y="64"/>
                  </a:lnTo>
                  <a:lnTo>
                    <a:pt x="902" y="66"/>
                  </a:lnTo>
                  <a:lnTo>
                    <a:pt x="901" y="69"/>
                  </a:lnTo>
                  <a:lnTo>
                    <a:pt x="899" y="72"/>
                  </a:lnTo>
                  <a:lnTo>
                    <a:pt x="897" y="73"/>
                  </a:lnTo>
                  <a:lnTo>
                    <a:pt x="896" y="74"/>
                  </a:lnTo>
                  <a:lnTo>
                    <a:pt x="893" y="74"/>
                  </a:lnTo>
                  <a:lnTo>
                    <a:pt x="891" y="75"/>
                  </a:lnTo>
                  <a:lnTo>
                    <a:pt x="888" y="74"/>
                  </a:lnTo>
                  <a:lnTo>
                    <a:pt x="885" y="73"/>
                  </a:lnTo>
                  <a:lnTo>
                    <a:pt x="883" y="72"/>
                  </a:lnTo>
                  <a:lnTo>
                    <a:pt x="881" y="70"/>
                  </a:lnTo>
                  <a:lnTo>
                    <a:pt x="880" y="67"/>
                  </a:lnTo>
                  <a:lnTo>
                    <a:pt x="879" y="64"/>
                  </a:lnTo>
                  <a:lnTo>
                    <a:pt x="878" y="60"/>
                  </a:lnTo>
                  <a:lnTo>
                    <a:pt x="878" y="56"/>
                  </a:lnTo>
                  <a:lnTo>
                    <a:pt x="878" y="52"/>
                  </a:lnTo>
                  <a:lnTo>
                    <a:pt x="878" y="50"/>
                  </a:lnTo>
                  <a:lnTo>
                    <a:pt x="879" y="48"/>
                  </a:lnTo>
                  <a:lnTo>
                    <a:pt x="880" y="45"/>
                  </a:lnTo>
                  <a:lnTo>
                    <a:pt x="881" y="42"/>
                  </a:lnTo>
                  <a:lnTo>
                    <a:pt x="883" y="40"/>
                  </a:lnTo>
                  <a:lnTo>
                    <a:pt x="885" y="39"/>
                  </a:lnTo>
                  <a:lnTo>
                    <a:pt x="888" y="38"/>
                  </a:lnTo>
                  <a:lnTo>
                    <a:pt x="891" y="38"/>
                  </a:lnTo>
                  <a:lnTo>
                    <a:pt x="895" y="38"/>
                  </a:lnTo>
                  <a:lnTo>
                    <a:pt x="899" y="40"/>
                  </a:lnTo>
                  <a:lnTo>
                    <a:pt x="900" y="42"/>
                  </a:lnTo>
                  <a:lnTo>
                    <a:pt x="901" y="43"/>
                  </a:lnTo>
                  <a:lnTo>
                    <a:pt x="902" y="45"/>
                  </a:lnTo>
                  <a:lnTo>
                    <a:pt x="903" y="47"/>
                  </a:lnTo>
                  <a:lnTo>
                    <a:pt x="920" y="47"/>
                  </a:lnTo>
                  <a:close/>
                  <a:moveTo>
                    <a:pt x="847" y="24"/>
                  </a:moveTo>
                  <a:lnTo>
                    <a:pt x="828" y="24"/>
                  </a:lnTo>
                  <a:lnTo>
                    <a:pt x="828" y="60"/>
                  </a:lnTo>
                  <a:lnTo>
                    <a:pt x="828" y="67"/>
                  </a:lnTo>
                  <a:lnTo>
                    <a:pt x="827" y="69"/>
                  </a:lnTo>
                  <a:lnTo>
                    <a:pt x="826" y="70"/>
                  </a:lnTo>
                  <a:lnTo>
                    <a:pt x="825" y="72"/>
                  </a:lnTo>
                  <a:lnTo>
                    <a:pt x="823" y="73"/>
                  </a:lnTo>
                  <a:lnTo>
                    <a:pt x="821" y="74"/>
                  </a:lnTo>
                  <a:lnTo>
                    <a:pt x="818" y="74"/>
                  </a:lnTo>
                  <a:lnTo>
                    <a:pt x="816" y="74"/>
                  </a:lnTo>
                  <a:lnTo>
                    <a:pt x="814" y="73"/>
                  </a:lnTo>
                  <a:lnTo>
                    <a:pt x="812" y="72"/>
                  </a:lnTo>
                  <a:lnTo>
                    <a:pt x="810" y="70"/>
                  </a:lnTo>
                  <a:lnTo>
                    <a:pt x="809" y="67"/>
                  </a:lnTo>
                  <a:lnTo>
                    <a:pt x="808" y="60"/>
                  </a:lnTo>
                  <a:lnTo>
                    <a:pt x="808" y="24"/>
                  </a:lnTo>
                  <a:lnTo>
                    <a:pt x="789" y="24"/>
                  </a:lnTo>
                  <a:lnTo>
                    <a:pt x="789" y="64"/>
                  </a:lnTo>
                  <a:lnTo>
                    <a:pt x="790" y="71"/>
                  </a:lnTo>
                  <a:lnTo>
                    <a:pt x="791" y="76"/>
                  </a:lnTo>
                  <a:lnTo>
                    <a:pt x="792" y="78"/>
                  </a:lnTo>
                  <a:lnTo>
                    <a:pt x="793" y="80"/>
                  </a:lnTo>
                  <a:lnTo>
                    <a:pt x="795" y="83"/>
                  </a:lnTo>
                  <a:lnTo>
                    <a:pt x="799" y="86"/>
                  </a:lnTo>
                  <a:lnTo>
                    <a:pt x="803" y="88"/>
                  </a:lnTo>
                  <a:lnTo>
                    <a:pt x="808" y="89"/>
                  </a:lnTo>
                  <a:lnTo>
                    <a:pt x="812" y="90"/>
                  </a:lnTo>
                  <a:lnTo>
                    <a:pt x="818" y="89"/>
                  </a:lnTo>
                  <a:lnTo>
                    <a:pt x="822" y="88"/>
                  </a:lnTo>
                  <a:lnTo>
                    <a:pt x="826" y="85"/>
                  </a:lnTo>
                  <a:lnTo>
                    <a:pt x="828" y="83"/>
                  </a:lnTo>
                  <a:lnTo>
                    <a:pt x="829" y="81"/>
                  </a:lnTo>
                  <a:lnTo>
                    <a:pt x="829" y="88"/>
                  </a:lnTo>
                  <a:lnTo>
                    <a:pt x="847" y="88"/>
                  </a:lnTo>
                  <a:lnTo>
                    <a:pt x="847" y="24"/>
                  </a:lnTo>
                  <a:close/>
                  <a:moveTo>
                    <a:pt x="743" y="38"/>
                  </a:moveTo>
                  <a:lnTo>
                    <a:pt x="746" y="38"/>
                  </a:lnTo>
                  <a:lnTo>
                    <a:pt x="749" y="39"/>
                  </a:lnTo>
                  <a:lnTo>
                    <a:pt x="751" y="41"/>
                  </a:lnTo>
                  <a:lnTo>
                    <a:pt x="753" y="43"/>
                  </a:lnTo>
                  <a:lnTo>
                    <a:pt x="755" y="45"/>
                  </a:lnTo>
                  <a:lnTo>
                    <a:pt x="756" y="49"/>
                  </a:lnTo>
                  <a:lnTo>
                    <a:pt x="756" y="52"/>
                  </a:lnTo>
                  <a:lnTo>
                    <a:pt x="757" y="56"/>
                  </a:lnTo>
                  <a:lnTo>
                    <a:pt x="756" y="60"/>
                  </a:lnTo>
                  <a:lnTo>
                    <a:pt x="756" y="64"/>
                  </a:lnTo>
                  <a:lnTo>
                    <a:pt x="755" y="67"/>
                  </a:lnTo>
                  <a:lnTo>
                    <a:pt x="753" y="70"/>
                  </a:lnTo>
                  <a:lnTo>
                    <a:pt x="751" y="72"/>
                  </a:lnTo>
                  <a:lnTo>
                    <a:pt x="749" y="73"/>
                  </a:lnTo>
                  <a:lnTo>
                    <a:pt x="746" y="74"/>
                  </a:lnTo>
                  <a:lnTo>
                    <a:pt x="743" y="75"/>
                  </a:lnTo>
                  <a:lnTo>
                    <a:pt x="740" y="74"/>
                  </a:lnTo>
                  <a:lnTo>
                    <a:pt x="738" y="73"/>
                  </a:lnTo>
                  <a:lnTo>
                    <a:pt x="735" y="72"/>
                  </a:lnTo>
                  <a:lnTo>
                    <a:pt x="733" y="70"/>
                  </a:lnTo>
                  <a:lnTo>
                    <a:pt x="732" y="67"/>
                  </a:lnTo>
                  <a:lnTo>
                    <a:pt x="731" y="64"/>
                  </a:lnTo>
                  <a:lnTo>
                    <a:pt x="730" y="60"/>
                  </a:lnTo>
                  <a:lnTo>
                    <a:pt x="730" y="56"/>
                  </a:lnTo>
                  <a:lnTo>
                    <a:pt x="730" y="52"/>
                  </a:lnTo>
                  <a:lnTo>
                    <a:pt x="731" y="48"/>
                  </a:lnTo>
                  <a:lnTo>
                    <a:pt x="732" y="45"/>
                  </a:lnTo>
                  <a:lnTo>
                    <a:pt x="733" y="43"/>
                  </a:lnTo>
                  <a:lnTo>
                    <a:pt x="735" y="40"/>
                  </a:lnTo>
                  <a:lnTo>
                    <a:pt x="738" y="39"/>
                  </a:lnTo>
                  <a:lnTo>
                    <a:pt x="740" y="38"/>
                  </a:lnTo>
                  <a:lnTo>
                    <a:pt x="743" y="38"/>
                  </a:lnTo>
                  <a:close/>
                  <a:moveTo>
                    <a:pt x="775" y="0"/>
                  </a:moveTo>
                  <a:lnTo>
                    <a:pt x="756" y="0"/>
                  </a:lnTo>
                  <a:lnTo>
                    <a:pt x="756" y="29"/>
                  </a:lnTo>
                  <a:lnTo>
                    <a:pt x="753" y="26"/>
                  </a:lnTo>
                  <a:lnTo>
                    <a:pt x="749" y="24"/>
                  </a:lnTo>
                  <a:lnTo>
                    <a:pt x="745" y="23"/>
                  </a:lnTo>
                  <a:lnTo>
                    <a:pt x="740" y="22"/>
                  </a:lnTo>
                  <a:lnTo>
                    <a:pt x="734" y="23"/>
                  </a:lnTo>
                  <a:lnTo>
                    <a:pt x="728" y="25"/>
                  </a:lnTo>
                  <a:lnTo>
                    <a:pt x="723" y="28"/>
                  </a:lnTo>
                  <a:lnTo>
                    <a:pt x="719" y="32"/>
                  </a:lnTo>
                  <a:lnTo>
                    <a:pt x="716" y="37"/>
                  </a:lnTo>
                  <a:lnTo>
                    <a:pt x="713" y="42"/>
                  </a:lnTo>
                  <a:lnTo>
                    <a:pt x="712" y="46"/>
                  </a:lnTo>
                  <a:lnTo>
                    <a:pt x="712" y="49"/>
                  </a:lnTo>
                  <a:lnTo>
                    <a:pt x="711" y="56"/>
                  </a:lnTo>
                  <a:lnTo>
                    <a:pt x="712" y="64"/>
                  </a:lnTo>
                  <a:lnTo>
                    <a:pt x="712" y="67"/>
                  </a:lnTo>
                  <a:lnTo>
                    <a:pt x="713" y="70"/>
                  </a:lnTo>
                  <a:lnTo>
                    <a:pt x="716" y="76"/>
                  </a:lnTo>
                  <a:lnTo>
                    <a:pt x="717" y="78"/>
                  </a:lnTo>
                  <a:lnTo>
                    <a:pt x="719" y="81"/>
                  </a:lnTo>
                  <a:lnTo>
                    <a:pt x="723" y="85"/>
                  </a:lnTo>
                  <a:lnTo>
                    <a:pt x="728" y="87"/>
                  </a:lnTo>
                  <a:lnTo>
                    <a:pt x="730" y="88"/>
                  </a:lnTo>
                  <a:lnTo>
                    <a:pt x="733" y="89"/>
                  </a:lnTo>
                  <a:lnTo>
                    <a:pt x="736" y="90"/>
                  </a:lnTo>
                  <a:lnTo>
                    <a:pt x="739" y="90"/>
                  </a:lnTo>
                  <a:lnTo>
                    <a:pt x="745" y="89"/>
                  </a:lnTo>
                  <a:lnTo>
                    <a:pt x="747" y="89"/>
                  </a:lnTo>
                  <a:lnTo>
                    <a:pt x="749" y="88"/>
                  </a:lnTo>
                  <a:lnTo>
                    <a:pt x="751" y="87"/>
                  </a:lnTo>
                  <a:lnTo>
                    <a:pt x="753" y="85"/>
                  </a:lnTo>
                  <a:lnTo>
                    <a:pt x="757" y="81"/>
                  </a:lnTo>
                  <a:lnTo>
                    <a:pt x="757" y="88"/>
                  </a:lnTo>
                  <a:lnTo>
                    <a:pt x="775" y="88"/>
                  </a:lnTo>
                  <a:lnTo>
                    <a:pt x="775" y="0"/>
                  </a:lnTo>
                  <a:close/>
                  <a:moveTo>
                    <a:pt x="701" y="0"/>
                  </a:moveTo>
                  <a:lnTo>
                    <a:pt x="634" y="0"/>
                  </a:lnTo>
                  <a:lnTo>
                    <a:pt x="634" y="88"/>
                  </a:lnTo>
                  <a:lnTo>
                    <a:pt x="702" y="88"/>
                  </a:lnTo>
                  <a:lnTo>
                    <a:pt x="702" y="71"/>
                  </a:lnTo>
                  <a:lnTo>
                    <a:pt x="655" y="71"/>
                  </a:lnTo>
                  <a:lnTo>
                    <a:pt x="655" y="50"/>
                  </a:lnTo>
                  <a:lnTo>
                    <a:pt x="695" y="50"/>
                  </a:lnTo>
                  <a:lnTo>
                    <a:pt x="695" y="34"/>
                  </a:lnTo>
                  <a:lnTo>
                    <a:pt x="655" y="34"/>
                  </a:lnTo>
                  <a:lnTo>
                    <a:pt x="655" y="17"/>
                  </a:lnTo>
                  <a:lnTo>
                    <a:pt x="701" y="17"/>
                  </a:lnTo>
                  <a:lnTo>
                    <a:pt x="701" y="0"/>
                  </a:lnTo>
                  <a:close/>
                  <a:moveTo>
                    <a:pt x="538" y="48"/>
                  </a:moveTo>
                  <a:lnTo>
                    <a:pt x="539" y="46"/>
                  </a:lnTo>
                  <a:lnTo>
                    <a:pt x="540" y="43"/>
                  </a:lnTo>
                  <a:lnTo>
                    <a:pt x="541" y="41"/>
                  </a:lnTo>
                  <a:lnTo>
                    <a:pt x="543" y="40"/>
                  </a:lnTo>
                  <a:lnTo>
                    <a:pt x="544" y="38"/>
                  </a:lnTo>
                  <a:lnTo>
                    <a:pt x="547" y="38"/>
                  </a:lnTo>
                  <a:lnTo>
                    <a:pt x="552" y="37"/>
                  </a:lnTo>
                  <a:lnTo>
                    <a:pt x="556" y="38"/>
                  </a:lnTo>
                  <a:lnTo>
                    <a:pt x="558" y="38"/>
                  </a:lnTo>
                  <a:lnTo>
                    <a:pt x="560" y="40"/>
                  </a:lnTo>
                  <a:lnTo>
                    <a:pt x="562" y="41"/>
                  </a:lnTo>
                  <a:lnTo>
                    <a:pt x="563" y="43"/>
                  </a:lnTo>
                  <a:lnTo>
                    <a:pt x="564" y="46"/>
                  </a:lnTo>
                  <a:lnTo>
                    <a:pt x="564" y="48"/>
                  </a:lnTo>
                  <a:lnTo>
                    <a:pt x="538" y="48"/>
                  </a:lnTo>
                  <a:close/>
                  <a:moveTo>
                    <a:pt x="583" y="62"/>
                  </a:moveTo>
                  <a:lnTo>
                    <a:pt x="583" y="56"/>
                  </a:lnTo>
                  <a:lnTo>
                    <a:pt x="583" y="50"/>
                  </a:lnTo>
                  <a:lnTo>
                    <a:pt x="582" y="46"/>
                  </a:lnTo>
                  <a:lnTo>
                    <a:pt x="580" y="41"/>
                  </a:lnTo>
                  <a:lnTo>
                    <a:pt x="578" y="37"/>
                  </a:lnTo>
                  <a:lnTo>
                    <a:pt x="576" y="33"/>
                  </a:lnTo>
                  <a:lnTo>
                    <a:pt x="573" y="30"/>
                  </a:lnTo>
                  <a:lnTo>
                    <a:pt x="569" y="27"/>
                  </a:lnTo>
                  <a:lnTo>
                    <a:pt x="565" y="25"/>
                  </a:lnTo>
                  <a:lnTo>
                    <a:pt x="561" y="24"/>
                  </a:lnTo>
                  <a:lnTo>
                    <a:pt x="557" y="23"/>
                  </a:lnTo>
                  <a:lnTo>
                    <a:pt x="552" y="23"/>
                  </a:lnTo>
                  <a:lnTo>
                    <a:pt x="545" y="23"/>
                  </a:lnTo>
                  <a:lnTo>
                    <a:pt x="538" y="25"/>
                  </a:lnTo>
                  <a:lnTo>
                    <a:pt x="536" y="26"/>
                  </a:lnTo>
                  <a:lnTo>
                    <a:pt x="533" y="28"/>
                  </a:lnTo>
                  <a:lnTo>
                    <a:pt x="528" y="32"/>
                  </a:lnTo>
                  <a:lnTo>
                    <a:pt x="526" y="34"/>
                  </a:lnTo>
                  <a:lnTo>
                    <a:pt x="524" y="37"/>
                  </a:lnTo>
                  <a:lnTo>
                    <a:pt x="521" y="43"/>
                  </a:lnTo>
                  <a:lnTo>
                    <a:pt x="520" y="49"/>
                  </a:lnTo>
                  <a:lnTo>
                    <a:pt x="519" y="53"/>
                  </a:lnTo>
                  <a:lnTo>
                    <a:pt x="519" y="56"/>
                  </a:lnTo>
                  <a:lnTo>
                    <a:pt x="520" y="63"/>
                  </a:lnTo>
                  <a:lnTo>
                    <a:pt x="521" y="70"/>
                  </a:lnTo>
                  <a:lnTo>
                    <a:pt x="524" y="76"/>
                  </a:lnTo>
                  <a:lnTo>
                    <a:pt x="526" y="78"/>
                  </a:lnTo>
                  <a:lnTo>
                    <a:pt x="528" y="81"/>
                  </a:lnTo>
                  <a:lnTo>
                    <a:pt x="533" y="85"/>
                  </a:lnTo>
                  <a:lnTo>
                    <a:pt x="538" y="87"/>
                  </a:lnTo>
                  <a:lnTo>
                    <a:pt x="541" y="88"/>
                  </a:lnTo>
                  <a:lnTo>
                    <a:pt x="545" y="89"/>
                  </a:lnTo>
                  <a:lnTo>
                    <a:pt x="548" y="90"/>
                  </a:lnTo>
                  <a:lnTo>
                    <a:pt x="552" y="90"/>
                  </a:lnTo>
                  <a:lnTo>
                    <a:pt x="557" y="89"/>
                  </a:lnTo>
                  <a:lnTo>
                    <a:pt x="563" y="88"/>
                  </a:lnTo>
                  <a:lnTo>
                    <a:pt x="567" y="87"/>
                  </a:lnTo>
                  <a:lnTo>
                    <a:pt x="572" y="84"/>
                  </a:lnTo>
                  <a:lnTo>
                    <a:pt x="575" y="81"/>
                  </a:lnTo>
                  <a:lnTo>
                    <a:pt x="577" y="80"/>
                  </a:lnTo>
                  <a:lnTo>
                    <a:pt x="578" y="78"/>
                  </a:lnTo>
                  <a:lnTo>
                    <a:pt x="581" y="74"/>
                  </a:lnTo>
                  <a:lnTo>
                    <a:pt x="583" y="69"/>
                  </a:lnTo>
                  <a:lnTo>
                    <a:pt x="563" y="69"/>
                  </a:lnTo>
                  <a:lnTo>
                    <a:pt x="561" y="72"/>
                  </a:lnTo>
                  <a:lnTo>
                    <a:pt x="559" y="74"/>
                  </a:lnTo>
                  <a:lnTo>
                    <a:pt x="556" y="75"/>
                  </a:lnTo>
                  <a:lnTo>
                    <a:pt x="552" y="75"/>
                  </a:lnTo>
                  <a:lnTo>
                    <a:pt x="549" y="75"/>
                  </a:lnTo>
                  <a:lnTo>
                    <a:pt x="547" y="74"/>
                  </a:lnTo>
                  <a:lnTo>
                    <a:pt x="545" y="73"/>
                  </a:lnTo>
                  <a:lnTo>
                    <a:pt x="543" y="72"/>
                  </a:lnTo>
                  <a:lnTo>
                    <a:pt x="541" y="70"/>
                  </a:lnTo>
                  <a:lnTo>
                    <a:pt x="540" y="67"/>
                  </a:lnTo>
                  <a:lnTo>
                    <a:pt x="539" y="65"/>
                  </a:lnTo>
                  <a:lnTo>
                    <a:pt x="538" y="62"/>
                  </a:lnTo>
                  <a:lnTo>
                    <a:pt x="583" y="62"/>
                  </a:lnTo>
                  <a:close/>
                  <a:moveTo>
                    <a:pt x="493" y="88"/>
                  </a:moveTo>
                  <a:lnTo>
                    <a:pt x="514" y="24"/>
                  </a:lnTo>
                  <a:lnTo>
                    <a:pt x="494" y="24"/>
                  </a:lnTo>
                  <a:lnTo>
                    <a:pt x="488" y="49"/>
                  </a:lnTo>
                  <a:lnTo>
                    <a:pt x="484" y="67"/>
                  </a:lnTo>
                  <a:lnTo>
                    <a:pt x="479" y="49"/>
                  </a:lnTo>
                  <a:lnTo>
                    <a:pt x="471" y="24"/>
                  </a:lnTo>
                  <a:lnTo>
                    <a:pt x="452" y="24"/>
                  </a:lnTo>
                  <a:lnTo>
                    <a:pt x="475" y="88"/>
                  </a:lnTo>
                  <a:lnTo>
                    <a:pt x="493" y="88"/>
                  </a:lnTo>
                  <a:close/>
                  <a:moveTo>
                    <a:pt x="440" y="0"/>
                  </a:moveTo>
                  <a:lnTo>
                    <a:pt x="421" y="0"/>
                  </a:lnTo>
                  <a:lnTo>
                    <a:pt x="421" y="15"/>
                  </a:lnTo>
                  <a:lnTo>
                    <a:pt x="440" y="15"/>
                  </a:lnTo>
                  <a:lnTo>
                    <a:pt x="440" y="0"/>
                  </a:lnTo>
                  <a:close/>
                  <a:moveTo>
                    <a:pt x="440" y="24"/>
                  </a:moveTo>
                  <a:lnTo>
                    <a:pt x="421" y="24"/>
                  </a:lnTo>
                  <a:lnTo>
                    <a:pt x="421" y="88"/>
                  </a:lnTo>
                  <a:lnTo>
                    <a:pt x="440" y="88"/>
                  </a:lnTo>
                  <a:lnTo>
                    <a:pt x="440" y="24"/>
                  </a:lnTo>
                  <a:close/>
                  <a:moveTo>
                    <a:pt x="405" y="25"/>
                  </a:moveTo>
                  <a:lnTo>
                    <a:pt x="394" y="25"/>
                  </a:lnTo>
                  <a:lnTo>
                    <a:pt x="394" y="5"/>
                  </a:lnTo>
                  <a:lnTo>
                    <a:pt x="375" y="5"/>
                  </a:lnTo>
                  <a:lnTo>
                    <a:pt x="375" y="25"/>
                  </a:lnTo>
                  <a:lnTo>
                    <a:pt x="366" y="25"/>
                  </a:lnTo>
                  <a:lnTo>
                    <a:pt x="366" y="38"/>
                  </a:lnTo>
                  <a:lnTo>
                    <a:pt x="375" y="38"/>
                  </a:lnTo>
                  <a:lnTo>
                    <a:pt x="375" y="67"/>
                  </a:lnTo>
                  <a:lnTo>
                    <a:pt x="375" y="74"/>
                  </a:lnTo>
                  <a:lnTo>
                    <a:pt x="376" y="78"/>
                  </a:lnTo>
                  <a:lnTo>
                    <a:pt x="377" y="81"/>
                  </a:lnTo>
                  <a:lnTo>
                    <a:pt x="378" y="84"/>
                  </a:lnTo>
                  <a:lnTo>
                    <a:pt x="381" y="86"/>
                  </a:lnTo>
                  <a:lnTo>
                    <a:pt x="384" y="87"/>
                  </a:lnTo>
                  <a:lnTo>
                    <a:pt x="388" y="88"/>
                  </a:lnTo>
                  <a:lnTo>
                    <a:pt x="394" y="88"/>
                  </a:lnTo>
                  <a:lnTo>
                    <a:pt x="405" y="88"/>
                  </a:lnTo>
                  <a:lnTo>
                    <a:pt x="405" y="74"/>
                  </a:lnTo>
                  <a:lnTo>
                    <a:pt x="398" y="74"/>
                  </a:lnTo>
                  <a:lnTo>
                    <a:pt x="396" y="74"/>
                  </a:lnTo>
                  <a:lnTo>
                    <a:pt x="394" y="72"/>
                  </a:lnTo>
                  <a:lnTo>
                    <a:pt x="394" y="69"/>
                  </a:lnTo>
                  <a:lnTo>
                    <a:pt x="394" y="63"/>
                  </a:lnTo>
                  <a:lnTo>
                    <a:pt x="394" y="38"/>
                  </a:lnTo>
                  <a:lnTo>
                    <a:pt x="405" y="38"/>
                  </a:lnTo>
                  <a:lnTo>
                    <a:pt x="405" y="25"/>
                  </a:lnTo>
                  <a:close/>
                  <a:moveTo>
                    <a:pt x="353" y="24"/>
                  </a:moveTo>
                  <a:lnTo>
                    <a:pt x="334" y="24"/>
                  </a:lnTo>
                  <a:lnTo>
                    <a:pt x="334" y="60"/>
                  </a:lnTo>
                  <a:lnTo>
                    <a:pt x="334" y="67"/>
                  </a:lnTo>
                  <a:lnTo>
                    <a:pt x="333" y="69"/>
                  </a:lnTo>
                  <a:lnTo>
                    <a:pt x="332" y="70"/>
                  </a:lnTo>
                  <a:lnTo>
                    <a:pt x="331" y="72"/>
                  </a:lnTo>
                  <a:lnTo>
                    <a:pt x="329" y="73"/>
                  </a:lnTo>
                  <a:lnTo>
                    <a:pt x="327" y="74"/>
                  </a:lnTo>
                  <a:lnTo>
                    <a:pt x="324" y="74"/>
                  </a:lnTo>
                  <a:lnTo>
                    <a:pt x="322" y="74"/>
                  </a:lnTo>
                  <a:lnTo>
                    <a:pt x="319" y="73"/>
                  </a:lnTo>
                  <a:lnTo>
                    <a:pt x="317" y="72"/>
                  </a:lnTo>
                  <a:lnTo>
                    <a:pt x="316" y="70"/>
                  </a:lnTo>
                  <a:lnTo>
                    <a:pt x="314" y="67"/>
                  </a:lnTo>
                  <a:lnTo>
                    <a:pt x="314" y="60"/>
                  </a:lnTo>
                  <a:lnTo>
                    <a:pt x="314" y="24"/>
                  </a:lnTo>
                  <a:lnTo>
                    <a:pt x="295" y="24"/>
                  </a:lnTo>
                  <a:lnTo>
                    <a:pt x="295" y="64"/>
                  </a:lnTo>
                  <a:lnTo>
                    <a:pt x="295" y="71"/>
                  </a:lnTo>
                  <a:lnTo>
                    <a:pt x="296" y="76"/>
                  </a:lnTo>
                  <a:lnTo>
                    <a:pt x="297" y="78"/>
                  </a:lnTo>
                  <a:lnTo>
                    <a:pt x="298" y="80"/>
                  </a:lnTo>
                  <a:lnTo>
                    <a:pt x="301" y="83"/>
                  </a:lnTo>
                  <a:lnTo>
                    <a:pt x="305" y="86"/>
                  </a:lnTo>
                  <a:lnTo>
                    <a:pt x="309" y="88"/>
                  </a:lnTo>
                  <a:lnTo>
                    <a:pt x="313" y="89"/>
                  </a:lnTo>
                  <a:lnTo>
                    <a:pt x="318" y="90"/>
                  </a:lnTo>
                  <a:lnTo>
                    <a:pt x="323" y="89"/>
                  </a:lnTo>
                  <a:lnTo>
                    <a:pt x="328" y="88"/>
                  </a:lnTo>
                  <a:lnTo>
                    <a:pt x="332" y="85"/>
                  </a:lnTo>
                  <a:lnTo>
                    <a:pt x="333" y="83"/>
                  </a:lnTo>
                  <a:lnTo>
                    <a:pt x="335" y="81"/>
                  </a:lnTo>
                  <a:lnTo>
                    <a:pt x="335" y="88"/>
                  </a:lnTo>
                  <a:lnTo>
                    <a:pt x="353" y="88"/>
                  </a:lnTo>
                  <a:lnTo>
                    <a:pt x="353" y="24"/>
                  </a:lnTo>
                  <a:close/>
                  <a:moveTo>
                    <a:pt x="282" y="47"/>
                  </a:moveTo>
                  <a:lnTo>
                    <a:pt x="281" y="42"/>
                  </a:lnTo>
                  <a:lnTo>
                    <a:pt x="279" y="37"/>
                  </a:lnTo>
                  <a:lnTo>
                    <a:pt x="276" y="33"/>
                  </a:lnTo>
                  <a:lnTo>
                    <a:pt x="273" y="29"/>
                  </a:lnTo>
                  <a:lnTo>
                    <a:pt x="269" y="26"/>
                  </a:lnTo>
                  <a:lnTo>
                    <a:pt x="264" y="24"/>
                  </a:lnTo>
                  <a:lnTo>
                    <a:pt x="259" y="23"/>
                  </a:lnTo>
                  <a:lnTo>
                    <a:pt x="253" y="23"/>
                  </a:lnTo>
                  <a:lnTo>
                    <a:pt x="245" y="23"/>
                  </a:lnTo>
                  <a:lnTo>
                    <a:pt x="239" y="25"/>
                  </a:lnTo>
                  <a:lnTo>
                    <a:pt x="233" y="28"/>
                  </a:lnTo>
                  <a:lnTo>
                    <a:pt x="231" y="29"/>
                  </a:lnTo>
                  <a:lnTo>
                    <a:pt x="229" y="32"/>
                  </a:lnTo>
                  <a:lnTo>
                    <a:pt x="227" y="34"/>
                  </a:lnTo>
                  <a:lnTo>
                    <a:pt x="225" y="36"/>
                  </a:lnTo>
                  <a:lnTo>
                    <a:pt x="222" y="42"/>
                  </a:lnTo>
                  <a:lnTo>
                    <a:pt x="221" y="49"/>
                  </a:lnTo>
                  <a:lnTo>
                    <a:pt x="220" y="56"/>
                  </a:lnTo>
                  <a:lnTo>
                    <a:pt x="221" y="64"/>
                  </a:lnTo>
                  <a:lnTo>
                    <a:pt x="221" y="67"/>
                  </a:lnTo>
                  <a:lnTo>
                    <a:pt x="222" y="70"/>
                  </a:lnTo>
                  <a:lnTo>
                    <a:pt x="225" y="76"/>
                  </a:lnTo>
                  <a:lnTo>
                    <a:pt x="227" y="79"/>
                  </a:lnTo>
                  <a:lnTo>
                    <a:pt x="229" y="81"/>
                  </a:lnTo>
                  <a:lnTo>
                    <a:pt x="233" y="85"/>
                  </a:lnTo>
                  <a:lnTo>
                    <a:pt x="239" y="88"/>
                  </a:lnTo>
                  <a:lnTo>
                    <a:pt x="245" y="89"/>
                  </a:lnTo>
                  <a:lnTo>
                    <a:pt x="248" y="90"/>
                  </a:lnTo>
                  <a:lnTo>
                    <a:pt x="252" y="90"/>
                  </a:lnTo>
                  <a:lnTo>
                    <a:pt x="258" y="89"/>
                  </a:lnTo>
                  <a:lnTo>
                    <a:pt x="264" y="88"/>
                  </a:lnTo>
                  <a:lnTo>
                    <a:pt x="268" y="86"/>
                  </a:lnTo>
                  <a:lnTo>
                    <a:pt x="273" y="83"/>
                  </a:lnTo>
                  <a:lnTo>
                    <a:pt x="276" y="80"/>
                  </a:lnTo>
                  <a:lnTo>
                    <a:pt x="279" y="75"/>
                  </a:lnTo>
                  <a:lnTo>
                    <a:pt x="281" y="70"/>
                  </a:lnTo>
                  <a:lnTo>
                    <a:pt x="283" y="65"/>
                  </a:lnTo>
                  <a:lnTo>
                    <a:pt x="264" y="64"/>
                  </a:lnTo>
                  <a:lnTo>
                    <a:pt x="264" y="66"/>
                  </a:lnTo>
                  <a:lnTo>
                    <a:pt x="263" y="69"/>
                  </a:lnTo>
                  <a:lnTo>
                    <a:pt x="260" y="72"/>
                  </a:lnTo>
                  <a:lnTo>
                    <a:pt x="259" y="73"/>
                  </a:lnTo>
                  <a:lnTo>
                    <a:pt x="257" y="74"/>
                  </a:lnTo>
                  <a:lnTo>
                    <a:pt x="255" y="74"/>
                  </a:lnTo>
                  <a:lnTo>
                    <a:pt x="252" y="75"/>
                  </a:lnTo>
                  <a:lnTo>
                    <a:pt x="249" y="74"/>
                  </a:lnTo>
                  <a:lnTo>
                    <a:pt x="247" y="73"/>
                  </a:lnTo>
                  <a:lnTo>
                    <a:pt x="244" y="72"/>
                  </a:lnTo>
                  <a:lnTo>
                    <a:pt x="243" y="70"/>
                  </a:lnTo>
                  <a:lnTo>
                    <a:pt x="241" y="67"/>
                  </a:lnTo>
                  <a:lnTo>
                    <a:pt x="240" y="64"/>
                  </a:lnTo>
                  <a:lnTo>
                    <a:pt x="239" y="60"/>
                  </a:lnTo>
                  <a:lnTo>
                    <a:pt x="239" y="56"/>
                  </a:lnTo>
                  <a:lnTo>
                    <a:pt x="239" y="52"/>
                  </a:lnTo>
                  <a:lnTo>
                    <a:pt x="240" y="50"/>
                  </a:lnTo>
                  <a:lnTo>
                    <a:pt x="240" y="48"/>
                  </a:lnTo>
                  <a:lnTo>
                    <a:pt x="241" y="45"/>
                  </a:lnTo>
                  <a:lnTo>
                    <a:pt x="242" y="42"/>
                  </a:lnTo>
                  <a:lnTo>
                    <a:pt x="244" y="40"/>
                  </a:lnTo>
                  <a:lnTo>
                    <a:pt x="247" y="39"/>
                  </a:lnTo>
                  <a:lnTo>
                    <a:pt x="249" y="38"/>
                  </a:lnTo>
                  <a:lnTo>
                    <a:pt x="252" y="38"/>
                  </a:lnTo>
                  <a:lnTo>
                    <a:pt x="257" y="38"/>
                  </a:lnTo>
                  <a:lnTo>
                    <a:pt x="260" y="40"/>
                  </a:lnTo>
                  <a:lnTo>
                    <a:pt x="262" y="42"/>
                  </a:lnTo>
                  <a:lnTo>
                    <a:pt x="263" y="43"/>
                  </a:lnTo>
                  <a:lnTo>
                    <a:pt x="264" y="47"/>
                  </a:lnTo>
                  <a:lnTo>
                    <a:pt x="282" y="47"/>
                  </a:lnTo>
                  <a:close/>
                  <a:moveTo>
                    <a:pt x="164" y="48"/>
                  </a:moveTo>
                  <a:lnTo>
                    <a:pt x="165" y="46"/>
                  </a:lnTo>
                  <a:lnTo>
                    <a:pt x="166" y="43"/>
                  </a:lnTo>
                  <a:lnTo>
                    <a:pt x="167" y="41"/>
                  </a:lnTo>
                  <a:lnTo>
                    <a:pt x="169" y="40"/>
                  </a:lnTo>
                  <a:lnTo>
                    <a:pt x="171" y="38"/>
                  </a:lnTo>
                  <a:lnTo>
                    <a:pt x="173" y="38"/>
                  </a:lnTo>
                  <a:lnTo>
                    <a:pt x="178" y="37"/>
                  </a:lnTo>
                  <a:lnTo>
                    <a:pt x="183" y="38"/>
                  </a:lnTo>
                  <a:lnTo>
                    <a:pt x="185" y="38"/>
                  </a:lnTo>
                  <a:lnTo>
                    <a:pt x="186" y="40"/>
                  </a:lnTo>
                  <a:lnTo>
                    <a:pt x="188" y="41"/>
                  </a:lnTo>
                  <a:lnTo>
                    <a:pt x="189" y="43"/>
                  </a:lnTo>
                  <a:lnTo>
                    <a:pt x="190" y="46"/>
                  </a:lnTo>
                  <a:lnTo>
                    <a:pt x="190" y="48"/>
                  </a:lnTo>
                  <a:lnTo>
                    <a:pt x="164" y="48"/>
                  </a:lnTo>
                  <a:close/>
                  <a:moveTo>
                    <a:pt x="209" y="62"/>
                  </a:moveTo>
                  <a:lnTo>
                    <a:pt x="209" y="56"/>
                  </a:lnTo>
                  <a:lnTo>
                    <a:pt x="209" y="50"/>
                  </a:lnTo>
                  <a:lnTo>
                    <a:pt x="208" y="46"/>
                  </a:lnTo>
                  <a:lnTo>
                    <a:pt x="206" y="41"/>
                  </a:lnTo>
                  <a:lnTo>
                    <a:pt x="204" y="37"/>
                  </a:lnTo>
                  <a:lnTo>
                    <a:pt x="202" y="33"/>
                  </a:lnTo>
                  <a:lnTo>
                    <a:pt x="199" y="30"/>
                  </a:lnTo>
                  <a:lnTo>
                    <a:pt x="195" y="27"/>
                  </a:lnTo>
                  <a:lnTo>
                    <a:pt x="192" y="25"/>
                  </a:lnTo>
                  <a:lnTo>
                    <a:pt x="187" y="24"/>
                  </a:lnTo>
                  <a:lnTo>
                    <a:pt x="183" y="23"/>
                  </a:lnTo>
                  <a:lnTo>
                    <a:pt x="178" y="23"/>
                  </a:lnTo>
                  <a:lnTo>
                    <a:pt x="171" y="23"/>
                  </a:lnTo>
                  <a:lnTo>
                    <a:pt x="165" y="25"/>
                  </a:lnTo>
                  <a:lnTo>
                    <a:pt x="162" y="26"/>
                  </a:lnTo>
                  <a:lnTo>
                    <a:pt x="159" y="28"/>
                  </a:lnTo>
                  <a:lnTo>
                    <a:pt x="154" y="32"/>
                  </a:lnTo>
                  <a:lnTo>
                    <a:pt x="152" y="34"/>
                  </a:lnTo>
                  <a:lnTo>
                    <a:pt x="150" y="37"/>
                  </a:lnTo>
                  <a:lnTo>
                    <a:pt x="148" y="43"/>
                  </a:lnTo>
                  <a:lnTo>
                    <a:pt x="146" y="49"/>
                  </a:lnTo>
                  <a:lnTo>
                    <a:pt x="145" y="53"/>
                  </a:lnTo>
                  <a:lnTo>
                    <a:pt x="145" y="56"/>
                  </a:lnTo>
                  <a:lnTo>
                    <a:pt x="146" y="63"/>
                  </a:lnTo>
                  <a:lnTo>
                    <a:pt x="148" y="70"/>
                  </a:lnTo>
                  <a:lnTo>
                    <a:pt x="150" y="76"/>
                  </a:lnTo>
                  <a:lnTo>
                    <a:pt x="152" y="78"/>
                  </a:lnTo>
                  <a:lnTo>
                    <a:pt x="154" y="81"/>
                  </a:lnTo>
                  <a:lnTo>
                    <a:pt x="159" y="85"/>
                  </a:lnTo>
                  <a:lnTo>
                    <a:pt x="165" y="87"/>
                  </a:lnTo>
                  <a:lnTo>
                    <a:pt x="168" y="88"/>
                  </a:lnTo>
                  <a:lnTo>
                    <a:pt x="171" y="89"/>
                  </a:lnTo>
                  <a:lnTo>
                    <a:pt x="174" y="90"/>
                  </a:lnTo>
                  <a:lnTo>
                    <a:pt x="178" y="90"/>
                  </a:lnTo>
                  <a:lnTo>
                    <a:pt x="184" y="89"/>
                  </a:lnTo>
                  <a:lnTo>
                    <a:pt x="189" y="88"/>
                  </a:lnTo>
                  <a:lnTo>
                    <a:pt x="193" y="87"/>
                  </a:lnTo>
                  <a:lnTo>
                    <a:pt x="198" y="84"/>
                  </a:lnTo>
                  <a:lnTo>
                    <a:pt x="201" y="81"/>
                  </a:lnTo>
                  <a:lnTo>
                    <a:pt x="203" y="80"/>
                  </a:lnTo>
                  <a:lnTo>
                    <a:pt x="205" y="78"/>
                  </a:lnTo>
                  <a:lnTo>
                    <a:pt x="207" y="74"/>
                  </a:lnTo>
                  <a:lnTo>
                    <a:pt x="209" y="69"/>
                  </a:lnTo>
                  <a:lnTo>
                    <a:pt x="190" y="69"/>
                  </a:lnTo>
                  <a:lnTo>
                    <a:pt x="188" y="72"/>
                  </a:lnTo>
                  <a:lnTo>
                    <a:pt x="185" y="74"/>
                  </a:lnTo>
                  <a:lnTo>
                    <a:pt x="182" y="75"/>
                  </a:lnTo>
                  <a:lnTo>
                    <a:pt x="178" y="75"/>
                  </a:lnTo>
                  <a:lnTo>
                    <a:pt x="176" y="75"/>
                  </a:lnTo>
                  <a:lnTo>
                    <a:pt x="173" y="74"/>
                  </a:lnTo>
                  <a:lnTo>
                    <a:pt x="171" y="73"/>
                  </a:lnTo>
                  <a:lnTo>
                    <a:pt x="169" y="72"/>
                  </a:lnTo>
                  <a:lnTo>
                    <a:pt x="167" y="70"/>
                  </a:lnTo>
                  <a:lnTo>
                    <a:pt x="166" y="67"/>
                  </a:lnTo>
                  <a:lnTo>
                    <a:pt x="165" y="65"/>
                  </a:lnTo>
                  <a:lnTo>
                    <a:pt x="164" y="62"/>
                  </a:lnTo>
                  <a:lnTo>
                    <a:pt x="209" y="62"/>
                  </a:lnTo>
                  <a:close/>
                  <a:moveTo>
                    <a:pt x="118" y="55"/>
                  </a:moveTo>
                  <a:lnTo>
                    <a:pt x="139" y="24"/>
                  </a:lnTo>
                  <a:lnTo>
                    <a:pt x="118" y="24"/>
                  </a:lnTo>
                  <a:lnTo>
                    <a:pt x="108" y="40"/>
                  </a:lnTo>
                  <a:lnTo>
                    <a:pt x="98" y="24"/>
                  </a:lnTo>
                  <a:lnTo>
                    <a:pt x="77" y="24"/>
                  </a:lnTo>
                  <a:lnTo>
                    <a:pt x="98" y="55"/>
                  </a:lnTo>
                  <a:lnTo>
                    <a:pt x="75" y="88"/>
                  </a:lnTo>
                  <a:lnTo>
                    <a:pt x="96" y="88"/>
                  </a:lnTo>
                  <a:lnTo>
                    <a:pt x="108" y="70"/>
                  </a:lnTo>
                  <a:lnTo>
                    <a:pt x="120" y="88"/>
                  </a:lnTo>
                  <a:lnTo>
                    <a:pt x="142" y="88"/>
                  </a:lnTo>
                  <a:lnTo>
                    <a:pt x="118" y="55"/>
                  </a:lnTo>
                  <a:close/>
                  <a:moveTo>
                    <a:pt x="66" y="0"/>
                  </a:moveTo>
                  <a:lnTo>
                    <a:pt x="0" y="0"/>
                  </a:lnTo>
                  <a:lnTo>
                    <a:pt x="0" y="88"/>
                  </a:lnTo>
                  <a:lnTo>
                    <a:pt x="67" y="88"/>
                  </a:lnTo>
                  <a:lnTo>
                    <a:pt x="67" y="71"/>
                  </a:lnTo>
                  <a:lnTo>
                    <a:pt x="20" y="71"/>
                  </a:lnTo>
                  <a:lnTo>
                    <a:pt x="20" y="50"/>
                  </a:lnTo>
                  <a:lnTo>
                    <a:pt x="60" y="50"/>
                  </a:lnTo>
                  <a:lnTo>
                    <a:pt x="60" y="34"/>
                  </a:lnTo>
                  <a:lnTo>
                    <a:pt x="20" y="34"/>
                  </a:lnTo>
                  <a:lnTo>
                    <a:pt x="20" y="17"/>
                  </a:lnTo>
                  <a:lnTo>
                    <a:pt x="66" y="17"/>
                  </a:lnTo>
                  <a:lnTo>
                    <a:pt x="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22" name="Freeform 8"/>
            <p:cNvSpPr>
              <a:spLocks noEditPoints="1"/>
            </p:cNvSpPr>
            <p:nvPr userDrawn="1"/>
          </p:nvSpPr>
          <p:spPr bwMode="auto">
            <a:xfrm>
              <a:off x="4067175" y="114301"/>
              <a:ext cx="566738" cy="560388"/>
            </a:xfrm>
            <a:custGeom>
              <a:avLst/>
              <a:gdLst>
                <a:gd name="T0" fmla="*/ 223 w 357"/>
                <a:gd name="T1" fmla="*/ 220 h 353"/>
                <a:gd name="T2" fmla="*/ 134 w 357"/>
                <a:gd name="T3" fmla="*/ 220 h 353"/>
                <a:gd name="T4" fmla="*/ 179 w 357"/>
                <a:gd name="T5" fmla="*/ 100 h 353"/>
                <a:gd name="T6" fmla="*/ 223 w 357"/>
                <a:gd name="T7" fmla="*/ 220 h 353"/>
                <a:gd name="T8" fmla="*/ 357 w 357"/>
                <a:gd name="T9" fmla="*/ 353 h 353"/>
                <a:gd name="T10" fmla="*/ 230 w 357"/>
                <a:gd name="T11" fmla="*/ 0 h 353"/>
                <a:gd name="T12" fmla="*/ 127 w 357"/>
                <a:gd name="T13" fmla="*/ 0 h 353"/>
                <a:gd name="T14" fmla="*/ 0 w 357"/>
                <a:gd name="T15" fmla="*/ 353 h 353"/>
                <a:gd name="T16" fmla="*/ 91 w 357"/>
                <a:gd name="T17" fmla="*/ 353 h 353"/>
                <a:gd name="T18" fmla="*/ 113 w 357"/>
                <a:gd name="T19" fmla="*/ 291 h 353"/>
                <a:gd name="T20" fmla="*/ 245 w 357"/>
                <a:gd name="T21" fmla="*/ 291 h 353"/>
                <a:gd name="T22" fmla="*/ 267 w 357"/>
                <a:gd name="T23" fmla="*/ 353 h 353"/>
                <a:gd name="T24" fmla="*/ 357 w 357"/>
                <a:gd name="T25"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7" h="353">
                  <a:moveTo>
                    <a:pt x="223" y="220"/>
                  </a:moveTo>
                  <a:lnTo>
                    <a:pt x="134" y="220"/>
                  </a:lnTo>
                  <a:lnTo>
                    <a:pt x="179" y="100"/>
                  </a:lnTo>
                  <a:lnTo>
                    <a:pt x="223" y="220"/>
                  </a:lnTo>
                  <a:close/>
                  <a:moveTo>
                    <a:pt x="357" y="353"/>
                  </a:moveTo>
                  <a:lnTo>
                    <a:pt x="230" y="0"/>
                  </a:lnTo>
                  <a:lnTo>
                    <a:pt x="127" y="0"/>
                  </a:lnTo>
                  <a:lnTo>
                    <a:pt x="0" y="353"/>
                  </a:lnTo>
                  <a:lnTo>
                    <a:pt x="91" y="353"/>
                  </a:lnTo>
                  <a:lnTo>
                    <a:pt x="113" y="291"/>
                  </a:lnTo>
                  <a:lnTo>
                    <a:pt x="245" y="291"/>
                  </a:lnTo>
                  <a:lnTo>
                    <a:pt x="267" y="353"/>
                  </a:lnTo>
                  <a:lnTo>
                    <a:pt x="357" y="3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23" name="Freeform 9"/>
            <p:cNvSpPr>
              <a:spLocks noEditPoints="1"/>
            </p:cNvSpPr>
            <p:nvPr userDrawn="1"/>
          </p:nvSpPr>
          <p:spPr bwMode="auto">
            <a:xfrm>
              <a:off x="4686300" y="114301"/>
              <a:ext cx="858838" cy="560388"/>
            </a:xfrm>
            <a:custGeom>
              <a:avLst/>
              <a:gdLst>
                <a:gd name="T0" fmla="*/ 541 w 541"/>
                <a:gd name="T1" fmla="*/ 75 h 353"/>
                <a:gd name="T2" fmla="*/ 541 w 541"/>
                <a:gd name="T3" fmla="*/ 0 h 353"/>
                <a:gd name="T4" fmla="*/ 303 w 541"/>
                <a:gd name="T5" fmla="*/ 0 h 353"/>
                <a:gd name="T6" fmla="*/ 303 w 541"/>
                <a:gd name="T7" fmla="*/ 353 h 353"/>
                <a:gd name="T8" fmla="*/ 541 w 541"/>
                <a:gd name="T9" fmla="*/ 353 h 353"/>
                <a:gd name="T10" fmla="*/ 541 w 541"/>
                <a:gd name="T11" fmla="*/ 278 h 353"/>
                <a:gd name="T12" fmla="*/ 388 w 541"/>
                <a:gd name="T13" fmla="*/ 278 h 353"/>
                <a:gd name="T14" fmla="*/ 388 w 541"/>
                <a:gd name="T15" fmla="*/ 210 h 353"/>
                <a:gd name="T16" fmla="*/ 536 w 541"/>
                <a:gd name="T17" fmla="*/ 210 h 353"/>
                <a:gd name="T18" fmla="*/ 536 w 541"/>
                <a:gd name="T19" fmla="*/ 139 h 353"/>
                <a:gd name="T20" fmla="*/ 388 w 541"/>
                <a:gd name="T21" fmla="*/ 139 h 353"/>
                <a:gd name="T22" fmla="*/ 388 w 541"/>
                <a:gd name="T23" fmla="*/ 75 h 353"/>
                <a:gd name="T24" fmla="*/ 541 w 541"/>
                <a:gd name="T25" fmla="*/ 75 h 353"/>
                <a:gd name="T26" fmla="*/ 239 w 541"/>
                <a:gd name="T27" fmla="*/ 75 h 353"/>
                <a:gd name="T28" fmla="*/ 239 w 541"/>
                <a:gd name="T29" fmla="*/ 0 h 353"/>
                <a:gd name="T30" fmla="*/ 0 w 541"/>
                <a:gd name="T31" fmla="*/ 0 h 353"/>
                <a:gd name="T32" fmla="*/ 0 w 541"/>
                <a:gd name="T33" fmla="*/ 353 h 353"/>
                <a:gd name="T34" fmla="*/ 239 w 541"/>
                <a:gd name="T35" fmla="*/ 353 h 353"/>
                <a:gd name="T36" fmla="*/ 239 w 541"/>
                <a:gd name="T37" fmla="*/ 278 h 353"/>
                <a:gd name="T38" fmla="*/ 85 w 541"/>
                <a:gd name="T39" fmla="*/ 278 h 353"/>
                <a:gd name="T40" fmla="*/ 85 w 541"/>
                <a:gd name="T41" fmla="*/ 210 h 353"/>
                <a:gd name="T42" fmla="*/ 235 w 541"/>
                <a:gd name="T43" fmla="*/ 210 h 353"/>
                <a:gd name="T44" fmla="*/ 235 w 541"/>
                <a:gd name="T45" fmla="*/ 139 h 353"/>
                <a:gd name="T46" fmla="*/ 85 w 541"/>
                <a:gd name="T47" fmla="*/ 139 h 353"/>
                <a:gd name="T48" fmla="*/ 85 w 541"/>
                <a:gd name="T49" fmla="*/ 75 h 353"/>
                <a:gd name="T50" fmla="*/ 239 w 541"/>
                <a:gd name="T51" fmla="*/ 75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1" h="353">
                  <a:moveTo>
                    <a:pt x="541" y="75"/>
                  </a:moveTo>
                  <a:lnTo>
                    <a:pt x="541" y="0"/>
                  </a:lnTo>
                  <a:lnTo>
                    <a:pt x="303" y="0"/>
                  </a:lnTo>
                  <a:lnTo>
                    <a:pt x="303" y="353"/>
                  </a:lnTo>
                  <a:lnTo>
                    <a:pt x="541" y="353"/>
                  </a:lnTo>
                  <a:lnTo>
                    <a:pt x="541" y="278"/>
                  </a:lnTo>
                  <a:lnTo>
                    <a:pt x="388" y="278"/>
                  </a:lnTo>
                  <a:lnTo>
                    <a:pt x="388" y="210"/>
                  </a:lnTo>
                  <a:lnTo>
                    <a:pt x="536" y="210"/>
                  </a:lnTo>
                  <a:lnTo>
                    <a:pt x="536" y="139"/>
                  </a:lnTo>
                  <a:lnTo>
                    <a:pt x="388" y="139"/>
                  </a:lnTo>
                  <a:lnTo>
                    <a:pt x="388" y="75"/>
                  </a:lnTo>
                  <a:lnTo>
                    <a:pt x="541" y="75"/>
                  </a:lnTo>
                  <a:close/>
                  <a:moveTo>
                    <a:pt x="239" y="75"/>
                  </a:moveTo>
                  <a:lnTo>
                    <a:pt x="239" y="0"/>
                  </a:lnTo>
                  <a:lnTo>
                    <a:pt x="0" y="0"/>
                  </a:lnTo>
                  <a:lnTo>
                    <a:pt x="0" y="353"/>
                  </a:lnTo>
                  <a:lnTo>
                    <a:pt x="239" y="353"/>
                  </a:lnTo>
                  <a:lnTo>
                    <a:pt x="239" y="278"/>
                  </a:lnTo>
                  <a:lnTo>
                    <a:pt x="85" y="278"/>
                  </a:lnTo>
                  <a:lnTo>
                    <a:pt x="85" y="210"/>
                  </a:lnTo>
                  <a:lnTo>
                    <a:pt x="235" y="210"/>
                  </a:lnTo>
                  <a:lnTo>
                    <a:pt x="235" y="139"/>
                  </a:lnTo>
                  <a:lnTo>
                    <a:pt x="85" y="139"/>
                  </a:lnTo>
                  <a:lnTo>
                    <a:pt x="85" y="75"/>
                  </a:lnTo>
                  <a:lnTo>
                    <a:pt x="23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grpSp>
    </p:spTree>
    <p:extLst>
      <p:ext uri="{BB962C8B-B14F-4D97-AF65-F5344CB8AC3E}">
        <p14:creationId xmlns:p14="http://schemas.microsoft.com/office/powerpoint/2010/main" val="2791896870"/>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type="obj" preserve="1">
  <p:cSld name="Introductio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573882"/>
            <a:ext cx="7487081" cy="602326"/>
          </a:xfrm>
          <a:solidFill>
            <a:srgbClr val="B1059D"/>
          </a:solidFill>
        </p:spPr>
        <p:txBody>
          <a:bodyPr/>
          <a:lstStyle>
            <a:lvl1pPr>
              <a:defRPr/>
            </a:lvl1pPr>
          </a:lstStyle>
          <a:p>
            <a:r>
              <a:rPr lang="en-US" dirty="0"/>
              <a:t>Click to add title</a:t>
            </a:r>
          </a:p>
        </p:txBody>
      </p:sp>
      <p:sp>
        <p:nvSpPr>
          <p:cNvPr id="3" name="Content Placeholder 2"/>
          <p:cNvSpPr>
            <a:spLocks noGrp="1"/>
          </p:cNvSpPr>
          <p:nvPr>
            <p:ph idx="1" hasCustomPrompt="1"/>
          </p:nvPr>
        </p:nvSpPr>
        <p:spPr>
          <a:xfrm>
            <a:off x="1" y="1869283"/>
            <a:ext cx="7487081" cy="2538413"/>
          </a:xfrm>
          <a:solidFill>
            <a:srgbClr val="B1059D"/>
          </a:solidFill>
        </p:spPr>
        <p:txBody>
          <a:bodyPr lIns="540000" tIns="324000" rIns="540000" bIns="324000"/>
          <a:lstStyle>
            <a:lvl1pPr marL="0" indent="0">
              <a:buFontTx/>
              <a:buNone/>
              <a:defRPr b="1">
                <a:solidFill>
                  <a:schemeClr val="bg1"/>
                </a:solidFill>
              </a:defRPr>
            </a:lvl1pPr>
            <a:lvl2pPr marL="199965" indent="-199965">
              <a:buFont typeface="Arial" pitchFamily="34" charset="0"/>
              <a:buChar char="•"/>
              <a:defRPr>
                <a:solidFill>
                  <a:schemeClr val="bg1"/>
                </a:solidFill>
              </a:defRPr>
            </a:lvl2pPr>
          </a:lstStyle>
          <a:p>
            <a:pPr lvl="0"/>
            <a:r>
              <a:rPr lang="en-US" dirty="0"/>
              <a:t>Click to add text</a:t>
            </a:r>
          </a:p>
          <a:p>
            <a:pPr lvl="1"/>
            <a:r>
              <a:rPr lang="en-US" dirty="0"/>
              <a:t>Second level</a:t>
            </a:r>
          </a:p>
        </p:txBody>
      </p:sp>
      <p:sp>
        <p:nvSpPr>
          <p:cNvPr id="7" name="Date Placeholder 6"/>
          <p:cNvSpPr>
            <a:spLocks noGrp="1"/>
          </p:cNvSpPr>
          <p:nvPr>
            <p:ph type="dt" sz="half" idx="10"/>
          </p:nvPr>
        </p:nvSpPr>
        <p:spPr/>
        <p:txBody>
          <a:bodyPr/>
          <a:lstStyle>
            <a:lvl1pPr>
              <a:defRPr>
                <a:solidFill>
                  <a:schemeClr val="bg1"/>
                </a:solidFill>
              </a:defRPr>
            </a:lvl1pPr>
          </a:lstStyle>
          <a:p>
            <a:fld id="{5F1BDA99-5F31-43AE-BDD2-CFE4F36082F2}" type="datetime1">
              <a:rPr lang="fi-FI" smtClean="0"/>
              <a:t>5.11.2023</a:t>
            </a:fld>
            <a:endParaRPr lang="en-US" dirty="0"/>
          </a:p>
        </p:txBody>
      </p:sp>
      <p:sp>
        <p:nvSpPr>
          <p:cNvPr id="8" name="Footer Placeholder 7"/>
          <p:cNvSpPr>
            <a:spLocks noGrp="1"/>
          </p:cNvSpPr>
          <p:nvPr>
            <p:ph type="ftr" sz="quarter" idx="11"/>
          </p:nvPr>
        </p:nvSpPr>
        <p:spPr/>
        <p:txBody>
          <a:bodyPr/>
          <a:lstStyle>
            <a:lvl1pPr>
              <a:defRPr>
                <a:solidFill>
                  <a:schemeClr val="bg1"/>
                </a:solidFill>
              </a:defRPr>
            </a:lvl1pPr>
          </a:lstStyle>
          <a:p>
            <a:r>
              <a:rPr lang="en-US"/>
              <a:t>© Aalto University Executive Education</a:t>
            </a:r>
            <a:endParaRPr lang="en-US" dirty="0"/>
          </a:p>
        </p:txBody>
      </p:sp>
      <p:sp>
        <p:nvSpPr>
          <p:cNvPr id="9" name="Slide Number Placeholder 8"/>
          <p:cNvSpPr>
            <a:spLocks noGrp="1"/>
          </p:cNvSpPr>
          <p:nvPr>
            <p:ph type="sldNum" sz="quarter" idx="12"/>
          </p:nvPr>
        </p:nvSpPr>
        <p:spPr/>
        <p:txBody>
          <a:bodyPr/>
          <a:lstStyle>
            <a:lvl1pPr>
              <a:defRPr>
                <a:solidFill>
                  <a:schemeClr val="bg1"/>
                </a:solidFill>
              </a:defRPr>
            </a:lvl1pPr>
          </a:lstStyle>
          <a:p>
            <a:fld id="{FCCA222D-FCF7-48C1-A274-EBDDEF75DC66}" type="slidenum">
              <a:rPr lang="en-US" smtClean="0"/>
              <a:pPr/>
              <a:t>‹#›</a:t>
            </a:fld>
            <a:endParaRPr lang="en-US" dirty="0"/>
          </a:p>
        </p:txBody>
      </p:sp>
      <p:grpSp>
        <p:nvGrpSpPr>
          <p:cNvPr id="17" name="Group 16"/>
          <p:cNvGrpSpPr>
            <a:grpSpLocks noChangeAspect="1"/>
          </p:cNvGrpSpPr>
          <p:nvPr userDrawn="1"/>
        </p:nvGrpSpPr>
        <p:grpSpPr>
          <a:xfrm>
            <a:off x="7595548" y="249492"/>
            <a:ext cx="1294117" cy="199800"/>
            <a:chOff x="4067175" y="114301"/>
            <a:chExt cx="3630613" cy="560388"/>
          </a:xfrm>
          <a:solidFill>
            <a:schemeClr val="bg1"/>
          </a:solidFill>
          <a:effectLst>
            <a:outerShdw blurRad="190500" algn="ctr" rotWithShape="0">
              <a:prstClr val="black">
                <a:alpha val="30000"/>
              </a:prstClr>
            </a:outerShdw>
          </a:effectLst>
        </p:grpSpPr>
        <p:sp>
          <p:nvSpPr>
            <p:cNvPr id="18" name="Freeform 6"/>
            <p:cNvSpPr>
              <a:spLocks noEditPoints="1"/>
            </p:cNvSpPr>
            <p:nvPr userDrawn="1"/>
          </p:nvSpPr>
          <p:spPr bwMode="auto">
            <a:xfrm>
              <a:off x="5749925" y="114301"/>
              <a:ext cx="1530350" cy="173038"/>
            </a:xfrm>
            <a:custGeom>
              <a:avLst/>
              <a:gdLst>
                <a:gd name="T0" fmla="*/ 922 w 964"/>
                <a:gd name="T1" fmla="*/ 84 h 109"/>
                <a:gd name="T2" fmla="*/ 918 w 964"/>
                <a:gd name="T3" fmla="*/ 109 h 109"/>
                <a:gd name="T4" fmla="*/ 944 w 964"/>
                <a:gd name="T5" fmla="*/ 25 h 109"/>
                <a:gd name="T6" fmla="*/ 860 w 964"/>
                <a:gd name="T7" fmla="*/ 68 h 109"/>
                <a:gd name="T8" fmla="*/ 890 w 964"/>
                <a:gd name="T9" fmla="*/ 89 h 109"/>
                <a:gd name="T10" fmla="*/ 890 w 964"/>
                <a:gd name="T11" fmla="*/ 39 h 109"/>
                <a:gd name="T12" fmla="*/ 819 w 964"/>
                <a:gd name="T13" fmla="*/ 89 h 109"/>
                <a:gd name="T14" fmla="*/ 793 w 964"/>
                <a:gd name="T15" fmla="*/ 26 h 109"/>
                <a:gd name="T16" fmla="*/ 753 w 964"/>
                <a:gd name="T17" fmla="*/ 33 h 109"/>
                <a:gd name="T18" fmla="*/ 757 w 964"/>
                <a:gd name="T19" fmla="*/ 58 h 109"/>
                <a:gd name="T20" fmla="*/ 788 w 964"/>
                <a:gd name="T21" fmla="*/ 72 h 109"/>
                <a:gd name="T22" fmla="*/ 767 w 964"/>
                <a:gd name="T23" fmla="*/ 70 h 109"/>
                <a:gd name="T24" fmla="*/ 772 w 964"/>
                <a:gd name="T25" fmla="*/ 90 h 109"/>
                <a:gd name="T26" fmla="*/ 806 w 964"/>
                <a:gd name="T27" fmla="*/ 73 h 109"/>
                <a:gd name="T28" fmla="*/ 788 w 964"/>
                <a:gd name="T29" fmla="*/ 49 h 109"/>
                <a:gd name="T30" fmla="*/ 777 w 964"/>
                <a:gd name="T31" fmla="*/ 37 h 109"/>
                <a:gd name="T32" fmla="*/ 700 w 964"/>
                <a:gd name="T33" fmla="*/ 89 h 109"/>
                <a:gd name="T34" fmla="*/ 729 w 964"/>
                <a:gd name="T35" fmla="*/ 42 h 109"/>
                <a:gd name="T36" fmla="*/ 723 w 964"/>
                <a:gd name="T37" fmla="*/ 27 h 109"/>
                <a:gd name="T38" fmla="*/ 643 w 964"/>
                <a:gd name="T39" fmla="*/ 42 h 109"/>
                <a:gd name="T40" fmla="*/ 666 w 964"/>
                <a:gd name="T41" fmla="*/ 44 h 109"/>
                <a:gd name="T42" fmla="*/ 682 w 964"/>
                <a:gd name="T43" fmla="*/ 38 h 109"/>
                <a:gd name="T44" fmla="*/ 647 w 964"/>
                <a:gd name="T45" fmla="*/ 24 h 109"/>
                <a:gd name="T46" fmla="*/ 623 w 964"/>
                <a:gd name="T47" fmla="*/ 46 h 109"/>
                <a:gd name="T48" fmla="*/ 641 w 964"/>
                <a:gd name="T49" fmla="*/ 88 h 109"/>
                <a:gd name="T50" fmla="*/ 679 w 964"/>
                <a:gd name="T51" fmla="*/ 82 h 109"/>
                <a:gd name="T52" fmla="*/ 656 w 964"/>
                <a:gd name="T53" fmla="*/ 76 h 109"/>
                <a:gd name="T54" fmla="*/ 687 w 964"/>
                <a:gd name="T55" fmla="*/ 62 h 109"/>
                <a:gd name="T56" fmla="*/ 575 w 964"/>
                <a:gd name="T57" fmla="*/ 89 h 109"/>
                <a:gd name="T58" fmla="*/ 521 w 964"/>
                <a:gd name="T59" fmla="*/ 89 h 109"/>
                <a:gd name="T60" fmla="*/ 467 w 964"/>
                <a:gd name="T61" fmla="*/ 42 h 109"/>
                <a:gd name="T62" fmla="*/ 483 w 964"/>
                <a:gd name="T63" fmla="*/ 44 h 109"/>
                <a:gd name="T64" fmla="*/ 497 w 964"/>
                <a:gd name="T65" fmla="*/ 29 h 109"/>
                <a:gd name="T66" fmla="*/ 463 w 964"/>
                <a:gd name="T67" fmla="*/ 25 h 109"/>
                <a:gd name="T68" fmla="*/ 398 w 964"/>
                <a:gd name="T69" fmla="*/ 73 h 109"/>
                <a:gd name="T70" fmla="*/ 376 w 964"/>
                <a:gd name="T71" fmla="*/ 63 h 109"/>
                <a:gd name="T72" fmla="*/ 364 w 964"/>
                <a:gd name="T73" fmla="*/ 81 h 109"/>
                <a:gd name="T74" fmla="*/ 406 w 964"/>
                <a:gd name="T75" fmla="*/ 89 h 109"/>
                <a:gd name="T76" fmla="*/ 427 w 964"/>
                <a:gd name="T77" fmla="*/ 60 h 109"/>
                <a:gd name="T78" fmla="*/ 292 w 964"/>
                <a:gd name="T79" fmla="*/ 49 h 109"/>
                <a:gd name="T80" fmla="*/ 284 w 964"/>
                <a:gd name="T81" fmla="*/ 74 h 109"/>
                <a:gd name="T82" fmla="*/ 263 w 964"/>
                <a:gd name="T83" fmla="*/ 61 h 109"/>
                <a:gd name="T84" fmla="*/ 274 w 964"/>
                <a:gd name="T85" fmla="*/ 38 h 109"/>
                <a:gd name="T86" fmla="*/ 247 w 964"/>
                <a:gd name="T87" fmla="*/ 40 h 109"/>
                <a:gd name="T88" fmla="*/ 249 w 964"/>
                <a:gd name="T89" fmla="*/ 76 h 109"/>
                <a:gd name="T90" fmla="*/ 291 w 964"/>
                <a:gd name="T91" fmla="*/ 88 h 109"/>
                <a:gd name="T92" fmla="*/ 311 w 964"/>
                <a:gd name="T93" fmla="*/ 57 h 109"/>
                <a:gd name="T94" fmla="*/ 291 w 964"/>
                <a:gd name="T95" fmla="*/ 26 h 109"/>
                <a:gd name="T96" fmla="*/ 196 w 964"/>
                <a:gd name="T97" fmla="*/ 26 h 109"/>
                <a:gd name="T98" fmla="*/ 214 w 964"/>
                <a:gd name="T99" fmla="*/ 88 h 109"/>
                <a:gd name="T100" fmla="*/ 224 w 964"/>
                <a:gd name="T101" fmla="*/ 70 h 109"/>
                <a:gd name="T102" fmla="*/ 184 w 964"/>
                <a:gd name="T103" fmla="*/ 0 h 109"/>
                <a:gd name="T104" fmla="*/ 108 w 964"/>
                <a:gd name="T105" fmla="*/ 71 h 109"/>
                <a:gd name="T106" fmla="*/ 110 w 964"/>
                <a:gd name="T107" fmla="*/ 45 h 109"/>
                <a:gd name="T108" fmla="*/ 130 w 964"/>
                <a:gd name="T109" fmla="*/ 41 h 109"/>
                <a:gd name="T110" fmla="*/ 103 w 964"/>
                <a:gd name="T111" fmla="*/ 52 h 109"/>
                <a:gd name="T112" fmla="*/ 91 w 964"/>
                <a:gd name="T113" fmla="*/ 79 h 109"/>
                <a:gd name="T114" fmla="*/ 123 w 964"/>
                <a:gd name="T115" fmla="*/ 89 h 109"/>
                <a:gd name="T116" fmla="*/ 149 w 964"/>
                <a:gd name="T117" fmla="*/ 42 h 109"/>
                <a:gd name="T118" fmla="*/ 115 w 964"/>
                <a:gd name="T119" fmla="*/ 23 h 109"/>
                <a:gd name="T120" fmla="*/ 93 w 964"/>
                <a:gd name="T121" fmla="*/ 45 h 109"/>
                <a:gd name="T122" fmla="*/ 56 w 964"/>
                <a:gd name="T1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4" h="109">
                  <a:moveTo>
                    <a:pt x="944" y="25"/>
                  </a:moveTo>
                  <a:lnTo>
                    <a:pt x="936" y="54"/>
                  </a:lnTo>
                  <a:lnTo>
                    <a:pt x="933" y="68"/>
                  </a:lnTo>
                  <a:lnTo>
                    <a:pt x="932" y="65"/>
                  </a:lnTo>
                  <a:lnTo>
                    <a:pt x="928" y="54"/>
                  </a:lnTo>
                  <a:lnTo>
                    <a:pt x="919" y="25"/>
                  </a:lnTo>
                  <a:lnTo>
                    <a:pt x="899" y="25"/>
                  </a:lnTo>
                  <a:lnTo>
                    <a:pt x="920" y="79"/>
                  </a:lnTo>
                  <a:lnTo>
                    <a:pt x="922" y="84"/>
                  </a:lnTo>
                  <a:lnTo>
                    <a:pt x="922" y="87"/>
                  </a:lnTo>
                  <a:lnTo>
                    <a:pt x="922" y="90"/>
                  </a:lnTo>
                  <a:lnTo>
                    <a:pt x="920" y="93"/>
                  </a:lnTo>
                  <a:lnTo>
                    <a:pt x="919" y="94"/>
                  </a:lnTo>
                  <a:lnTo>
                    <a:pt x="917" y="94"/>
                  </a:lnTo>
                  <a:lnTo>
                    <a:pt x="913" y="95"/>
                  </a:lnTo>
                  <a:lnTo>
                    <a:pt x="907" y="95"/>
                  </a:lnTo>
                  <a:lnTo>
                    <a:pt x="907" y="109"/>
                  </a:lnTo>
                  <a:lnTo>
                    <a:pt x="918" y="109"/>
                  </a:lnTo>
                  <a:lnTo>
                    <a:pt x="923" y="109"/>
                  </a:lnTo>
                  <a:lnTo>
                    <a:pt x="927" y="108"/>
                  </a:lnTo>
                  <a:lnTo>
                    <a:pt x="930" y="107"/>
                  </a:lnTo>
                  <a:lnTo>
                    <a:pt x="933" y="105"/>
                  </a:lnTo>
                  <a:lnTo>
                    <a:pt x="935" y="103"/>
                  </a:lnTo>
                  <a:lnTo>
                    <a:pt x="937" y="100"/>
                  </a:lnTo>
                  <a:lnTo>
                    <a:pt x="941" y="89"/>
                  </a:lnTo>
                  <a:lnTo>
                    <a:pt x="964" y="25"/>
                  </a:lnTo>
                  <a:lnTo>
                    <a:pt x="944" y="25"/>
                  </a:lnTo>
                  <a:close/>
                  <a:moveTo>
                    <a:pt x="890" y="26"/>
                  </a:moveTo>
                  <a:lnTo>
                    <a:pt x="879" y="26"/>
                  </a:lnTo>
                  <a:lnTo>
                    <a:pt x="879" y="5"/>
                  </a:lnTo>
                  <a:lnTo>
                    <a:pt x="860" y="5"/>
                  </a:lnTo>
                  <a:lnTo>
                    <a:pt x="860" y="26"/>
                  </a:lnTo>
                  <a:lnTo>
                    <a:pt x="851" y="26"/>
                  </a:lnTo>
                  <a:lnTo>
                    <a:pt x="851" y="39"/>
                  </a:lnTo>
                  <a:lnTo>
                    <a:pt x="860" y="39"/>
                  </a:lnTo>
                  <a:lnTo>
                    <a:pt x="860" y="68"/>
                  </a:lnTo>
                  <a:lnTo>
                    <a:pt x="860" y="74"/>
                  </a:lnTo>
                  <a:lnTo>
                    <a:pt x="861" y="79"/>
                  </a:lnTo>
                  <a:lnTo>
                    <a:pt x="862" y="82"/>
                  </a:lnTo>
                  <a:lnTo>
                    <a:pt x="863" y="84"/>
                  </a:lnTo>
                  <a:lnTo>
                    <a:pt x="866" y="86"/>
                  </a:lnTo>
                  <a:lnTo>
                    <a:pt x="869" y="88"/>
                  </a:lnTo>
                  <a:lnTo>
                    <a:pt x="873" y="88"/>
                  </a:lnTo>
                  <a:lnTo>
                    <a:pt x="879" y="89"/>
                  </a:lnTo>
                  <a:lnTo>
                    <a:pt x="890" y="89"/>
                  </a:lnTo>
                  <a:lnTo>
                    <a:pt x="890" y="75"/>
                  </a:lnTo>
                  <a:lnTo>
                    <a:pt x="883" y="75"/>
                  </a:lnTo>
                  <a:lnTo>
                    <a:pt x="881" y="74"/>
                  </a:lnTo>
                  <a:lnTo>
                    <a:pt x="880" y="74"/>
                  </a:lnTo>
                  <a:lnTo>
                    <a:pt x="879" y="73"/>
                  </a:lnTo>
                  <a:lnTo>
                    <a:pt x="879" y="70"/>
                  </a:lnTo>
                  <a:lnTo>
                    <a:pt x="879" y="64"/>
                  </a:lnTo>
                  <a:lnTo>
                    <a:pt x="879" y="39"/>
                  </a:lnTo>
                  <a:lnTo>
                    <a:pt x="890" y="39"/>
                  </a:lnTo>
                  <a:lnTo>
                    <a:pt x="890" y="26"/>
                  </a:lnTo>
                  <a:close/>
                  <a:moveTo>
                    <a:pt x="838" y="0"/>
                  </a:moveTo>
                  <a:lnTo>
                    <a:pt x="819" y="0"/>
                  </a:lnTo>
                  <a:lnTo>
                    <a:pt x="819" y="16"/>
                  </a:lnTo>
                  <a:lnTo>
                    <a:pt x="838" y="16"/>
                  </a:lnTo>
                  <a:lnTo>
                    <a:pt x="838" y="0"/>
                  </a:lnTo>
                  <a:close/>
                  <a:moveTo>
                    <a:pt x="838" y="25"/>
                  </a:moveTo>
                  <a:lnTo>
                    <a:pt x="819" y="25"/>
                  </a:lnTo>
                  <a:lnTo>
                    <a:pt x="819" y="89"/>
                  </a:lnTo>
                  <a:lnTo>
                    <a:pt x="838" y="89"/>
                  </a:lnTo>
                  <a:lnTo>
                    <a:pt x="838" y="25"/>
                  </a:lnTo>
                  <a:close/>
                  <a:moveTo>
                    <a:pt x="806" y="44"/>
                  </a:moveTo>
                  <a:lnTo>
                    <a:pt x="805" y="39"/>
                  </a:lnTo>
                  <a:lnTo>
                    <a:pt x="803" y="35"/>
                  </a:lnTo>
                  <a:lnTo>
                    <a:pt x="800" y="31"/>
                  </a:lnTo>
                  <a:lnTo>
                    <a:pt x="797" y="28"/>
                  </a:lnTo>
                  <a:lnTo>
                    <a:pt x="795" y="27"/>
                  </a:lnTo>
                  <a:lnTo>
                    <a:pt x="793" y="26"/>
                  </a:lnTo>
                  <a:lnTo>
                    <a:pt x="789" y="24"/>
                  </a:lnTo>
                  <a:lnTo>
                    <a:pt x="783" y="23"/>
                  </a:lnTo>
                  <a:lnTo>
                    <a:pt x="777" y="23"/>
                  </a:lnTo>
                  <a:lnTo>
                    <a:pt x="771" y="23"/>
                  </a:lnTo>
                  <a:lnTo>
                    <a:pt x="766" y="24"/>
                  </a:lnTo>
                  <a:lnTo>
                    <a:pt x="761" y="26"/>
                  </a:lnTo>
                  <a:lnTo>
                    <a:pt x="757" y="29"/>
                  </a:lnTo>
                  <a:lnTo>
                    <a:pt x="754" y="32"/>
                  </a:lnTo>
                  <a:lnTo>
                    <a:pt x="753" y="33"/>
                  </a:lnTo>
                  <a:lnTo>
                    <a:pt x="752" y="35"/>
                  </a:lnTo>
                  <a:lnTo>
                    <a:pt x="751" y="39"/>
                  </a:lnTo>
                  <a:lnTo>
                    <a:pt x="750" y="44"/>
                  </a:lnTo>
                  <a:lnTo>
                    <a:pt x="750" y="47"/>
                  </a:lnTo>
                  <a:lnTo>
                    <a:pt x="751" y="50"/>
                  </a:lnTo>
                  <a:lnTo>
                    <a:pt x="752" y="52"/>
                  </a:lnTo>
                  <a:lnTo>
                    <a:pt x="753" y="53"/>
                  </a:lnTo>
                  <a:lnTo>
                    <a:pt x="755" y="56"/>
                  </a:lnTo>
                  <a:lnTo>
                    <a:pt x="757" y="58"/>
                  </a:lnTo>
                  <a:lnTo>
                    <a:pt x="761" y="59"/>
                  </a:lnTo>
                  <a:lnTo>
                    <a:pt x="765" y="61"/>
                  </a:lnTo>
                  <a:lnTo>
                    <a:pt x="770" y="62"/>
                  </a:lnTo>
                  <a:lnTo>
                    <a:pt x="781" y="65"/>
                  </a:lnTo>
                  <a:lnTo>
                    <a:pt x="785" y="66"/>
                  </a:lnTo>
                  <a:lnTo>
                    <a:pt x="787" y="67"/>
                  </a:lnTo>
                  <a:lnTo>
                    <a:pt x="788" y="69"/>
                  </a:lnTo>
                  <a:lnTo>
                    <a:pt x="788" y="71"/>
                  </a:lnTo>
                  <a:lnTo>
                    <a:pt x="788" y="72"/>
                  </a:lnTo>
                  <a:lnTo>
                    <a:pt x="788" y="73"/>
                  </a:lnTo>
                  <a:lnTo>
                    <a:pt x="786" y="75"/>
                  </a:lnTo>
                  <a:lnTo>
                    <a:pt x="783" y="76"/>
                  </a:lnTo>
                  <a:lnTo>
                    <a:pt x="779" y="77"/>
                  </a:lnTo>
                  <a:lnTo>
                    <a:pt x="774" y="76"/>
                  </a:lnTo>
                  <a:lnTo>
                    <a:pt x="772" y="76"/>
                  </a:lnTo>
                  <a:lnTo>
                    <a:pt x="770" y="75"/>
                  </a:lnTo>
                  <a:lnTo>
                    <a:pt x="767" y="72"/>
                  </a:lnTo>
                  <a:lnTo>
                    <a:pt x="767" y="70"/>
                  </a:lnTo>
                  <a:lnTo>
                    <a:pt x="766" y="68"/>
                  </a:lnTo>
                  <a:lnTo>
                    <a:pt x="748" y="68"/>
                  </a:lnTo>
                  <a:lnTo>
                    <a:pt x="749" y="73"/>
                  </a:lnTo>
                  <a:lnTo>
                    <a:pt x="751" y="77"/>
                  </a:lnTo>
                  <a:lnTo>
                    <a:pt x="754" y="81"/>
                  </a:lnTo>
                  <a:lnTo>
                    <a:pt x="757" y="84"/>
                  </a:lnTo>
                  <a:lnTo>
                    <a:pt x="761" y="87"/>
                  </a:lnTo>
                  <a:lnTo>
                    <a:pt x="766" y="89"/>
                  </a:lnTo>
                  <a:lnTo>
                    <a:pt x="772" y="90"/>
                  </a:lnTo>
                  <a:lnTo>
                    <a:pt x="778" y="90"/>
                  </a:lnTo>
                  <a:lnTo>
                    <a:pt x="785" y="90"/>
                  </a:lnTo>
                  <a:lnTo>
                    <a:pt x="790" y="89"/>
                  </a:lnTo>
                  <a:lnTo>
                    <a:pt x="795" y="87"/>
                  </a:lnTo>
                  <a:lnTo>
                    <a:pt x="799" y="84"/>
                  </a:lnTo>
                  <a:lnTo>
                    <a:pt x="803" y="81"/>
                  </a:lnTo>
                  <a:lnTo>
                    <a:pt x="805" y="78"/>
                  </a:lnTo>
                  <a:lnTo>
                    <a:pt x="806" y="75"/>
                  </a:lnTo>
                  <a:lnTo>
                    <a:pt x="806" y="73"/>
                  </a:lnTo>
                  <a:lnTo>
                    <a:pt x="807" y="68"/>
                  </a:lnTo>
                  <a:lnTo>
                    <a:pt x="807" y="65"/>
                  </a:lnTo>
                  <a:lnTo>
                    <a:pt x="806" y="61"/>
                  </a:lnTo>
                  <a:lnTo>
                    <a:pt x="804" y="58"/>
                  </a:lnTo>
                  <a:lnTo>
                    <a:pt x="802" y="56"/>
                  </a:lnTo>
                  <a:lnTo>
                    <a:pt x="800" y="54"/>
                  </a:lnTo>
                  <a:lnTo>
                    <a:pt x="797" y="52"/>
                  </a:lnTo>
                  <a:lnTo>
                    <a:pt x="793" y="51"/>
                  </a:lnTo>
                  <a:lnTo>
                    <a:pt x="788" y="49"/>
                  </a:lnTo>
                  <a:lnTo>
                    <a:pt x="776" y="47"/>
                  </a:lnTo>
                  <a:lnTo>
                    <a:pt x="772" y="46"/>
                  </a:lnTo>
                  <a:lnTo>
                    <a:pt x="770" y="45"/>
                  </a:lnTo>
                  <a:lnTo>
                    <a:pt x="768" y="44"/>
                  </a:lnTo>
                  <a:lnTo>
                    <a:pt x="768" y="42"/>
                  </a:lnTo>
                  <a:lnTo>
                    <a:pt x="769" y="40"/>
                  </a:lnTo>
                  <a:lnTo>
                    <a:pt x="771" y="38"/>
                  </a:lnTo>
                  <a:lnTo>
                    <a:pt x="773" y="37"/>
                  </a:lnTo>
                  <a:lnTo>
                    <a:pt x="777" y="37"/>
                  </a:lnTo>
                  <a:lnTo>
                    <a:pt x="781" y="37"/>
                  </a:lnTo>
                  <a:lnTo>
                    <a:pt x="783" y="38"/>
                  </a:lnTo>
                  <a:lnTo>
                    <a:pt x="785" y="39"/>
                  </a:lnTo>
                  <a:lnTo>
                    <a:pt x="786" y="40"/>
                  </a:lnTo>
                  <a:lnTo>
                    <a:pt x="787" y="41"/>
                  </a:lnTo>
                  <a:lnTo>
                    <a:pt x="788" y="44"/>
                  </a:lnTo>
                  <a:lnTo>
                    <a:pt x="806" y="44"/>
                  </a:lnTo>
                  <a:close/>
                  <a:moveTo>
                    <a:pt x="700" y="25"/>
                  </a:moveTo>
                  <a:lnTo>
                    <a:pt x="700" y="89"/>
                  </a:lnTo>
                  <a:lnTo>
                    <a:pt x="719" y="89"/>
                  </a:lnTo>
                  <a:lnTo>
                    <a:pt x="719" y="71"/>
                  </a:lnTo>
                  <a:lnTo>
                    <a:pt x="719" y="56"/>
                  </a:lnTo>
                  <a:lnTo>
                    <a:pt x="720" y="52"/>
                  </a:lnTo>
                  <a:lnTo>
                    <a:pt x="721" y="48"/>
                  </a:lnTo>
                  <a:lnTo>
                    <a:pt x="722" y="46"/>
                  </a:lnTo>
                  <a:lnTo>
                    <a:pt x="724" y="45"/>
                  </a:lnTo>
                  <a:lnTo>
                    <a:pt x="727" y="42"/>
                  </a:lnTo>
                  <a:lnTo>
                    <a:pt x="729" y="42"/>
                  </a:lnTo>
                  <a:lnTo>
                    <a:pt x="731" y="41"/>
                  </a:lnTo>
                  <a:lnTo>
                    <a:pt x="735" y="40"/>
                  </a:lnTo>
                  <a:lnTo>
                    <a:pt x="740" y="41"/>
                  </a:lnTo>
                  <a:lnTo>
                    <a:pt x="740" y="23"/>
                  </a:lnTo>
                  <a:lnTo>
                    <a:pt x="735" y="23"/>
                  </a:lnTo>
                  <a:lnTo>
                    <a:pt x="731" y="24"/>
                  </a:lnTo>
                  <a:lnTo>
                    <a:pt x="728" y="24"/>
                  </a:lnTo>
                  <a:lnTo>
                    <a:pt x="725" y="26"/>
                  </a:lnTo>
                  <a:lnTo>
                    <a:pt x="723" y="27"/>
                  </a:lnTo>
                  <a:lnTo>
                    <a:pt x="721" y="30"/>
                  </a:lnTo>
                  <a:lnTo>
                    <a:pt x="719" y="33"/>
                  </a:lnTo>
                  <a:lnTo>
                    <a:pt x="718" y="36"/>
                  </a:lnTo>
                  <a:lnTo>
                    <a:pt x="718" y="25"/>
                  </a:lnTo>
                  <a:lnTo>
                    <a:pt x="700" y="25"/>
                  </a:lnTo>
                  <a:close/>
                  <a:moveTo>
                    <a:pt x="640" y="49"/>
                  </a:moveTo>
                  <a:lnTo>
                    <a:pt x="641" y="46"/>
                  </a:lnTo>
                  <a:lnTo>
                    <a:pt x="642" y="44"/>
                  </a:lnTo>
                  <a:lnTo>
                    <a:pt x="643" y="42"/>
                  </a:lnTo>
                  <a:lnTo>
                    <a:pt x="645" y="40"/>
                  </a:lnTo>
                  <a:lnTo>
                    <a:pt x="647" y="39"/>
                  </a:lnTo>
                  <a:lnTo>
                    <a:pt x="649" y="38"/>
                  </a:lnTo>
                  <a:lnTo>
                    <a:pt x="655" y="37"/>
                  </a:lnTo>
                  <a:lnTo>
                    <a:pt x="660" y="38"/>
                  </a:lnTo>
                  <a:lnTo>
                    <a:pt x="662" y="39"/>
                  </a:lnTo>
                  <a:lnTo>
                    <a:pt x="663" y="40"/>
                  </a:lnTo>
                  <a:lnTo>
                    <a:pt x="665" y="42"/>
                  </a:lnTo>
                  <a:lnTo>
                    <a:pt x="666" y="44"/>
                  </a:lnTo>
                  <a:lnTo>
                    <a:pt x="667" y="46"/>
                  </a:lnTo>
                  <a:lnTo>
                    <a:pt x="667" y="49"/>
                  </a:lnTo>
                  <a:lnTo>
                    <a:pt x="640" y="49"/>
                  </a:lnTo>
                  <a:close/>
                  <a:moveTo>
                    <a:pt x="687" y="62"/>
                  </a:moveTo>
                  <a:lnTo>
                    <a:pt x="686" y="56"/>
                  </a:lnTo>
                  <a:lnTo>
                    <a:pt x="686" y="51"/>
                  </a:lnTo>
                  <a:lnTo>
                    <a:pt x="685" y="47"/>
                  </a:lnTo>
                  <a:lnTo>
                    <a:pt x="684" y="43"/>
                  </a:lnTo>
                  <a:lnTo>
                    <a:pt x="682" y="38"/>
                  </a:lnTo>
                  <a:lnTo>
                    <a:pt x="679" y="34"/>
                  </a:lnTo>
                  <a:lnTo>
                    <a:pt x="676" y="31"/>
                  </a:lnTo>
                  <a:lnTo>
                    <a:pt x="673" y="28"/>
                  </a:lnTo>
                  <a:lnTo>
                    <a:pt x="669" y="26"/>
                  </a:lnTo>
                  <a:lnTo>
                    <a:pt x="667" y="25"/>
                  </a:lnTo>
                  <a:lnTo>
                    <a:pt x="665" y="24"/>
                  </a:lnTo>
                  <a:lnTo>
                    <a:pt x="660" y="23"/>
                  </a:lnTo>
                  <a:lnTo>
                    <a:pt x="655" y="23"/>
                  </a:lnTo>
                  <a:lnTo>
                    <a:pt x="647" y="24"/>
                  </a:lnTo>
                  <a:lnTo>
                    <a:pt x="641" y="26"/>
                  </a:lnTo>
                  <a:lnTo>
                    <a:pt x="638" y="27"/>
                  </a:lnTo>
                  <a:lnTo>
                    <a:pt x="635" y="29"/>
                  </a:lnTo>
                  <a:lnTo>
                    <a:pt x="630" y="32"/>
                  </a:lnTo>
                  <a:lnTo>
                    <a:pt x="628" y="35"/>
                  </a:lnTo>
                  <a:lnTo>
                    <a:pt x="627" y="37"/>
                  </a:lnTo>
                  <a:lnTo>
                    <a:pt x="625" y="40"/>
                  </a:lnTo>
                  <a:lnTo>
                    <a:pt x="624" y="43"/>
                  </a:lnTo>
                  <a:lnTo>
                    <a:pt x="623" y="46"/>
                  </a:lnTo>
                  <a:lnTo>
                    <a:pt x="622" y="50"/>
                  </a:lnTo>
                  <a:lnTo>
                    <a:pt x="621" y="53"/>
                  </a:lnTo>
                  <a:lnTo>
                    <a:pt x="621" y="57"/>
                  </a:lnTo>
                  <a:lnTo>
                    <a:pt x="622" y="64"/>
                  </a:lnTo>
                  <a:lnTo>
                    <a:pt x="624" y="71"/>
                  </a:lnTo>
                  <a:lnTo>
                    <a:pt x="626" y="76"/>
                  </a:lnTo>
                  <a:lnTo>
                    <a:pt x="630" y="81"/>
                  </a:lnTo>
                  <a:lnTo>
                    <a:pt x="635" y="85"/>
                  </a:lnTo>
                  <a:lnTo>
                    <a:pt x="641" y="88"/>
                  </a:lnTo>
                  <a:lnTo>
                    <a:pt x="644" y="89"/>
                  </a:lnTo>
                  <a:lnTo>
                    <a:pt x="647" y="90"/>
                  </a:lnTo>
                  <a:lnTo>
                    <a:pt x="650" y="90"/>
                  </a:lnTo>
                  <a:lnTo>
                    <a:pt x="655" y="90"/>
                  </a:lnTo>
                  <a:lnTo>
                    <a:pt x="661" y="90"/>
                  </a:lnTo>
                  <a:lnTo>
                    <a:pt x="666" y="89"/>
                  </a:lnTo>
                  <a:lnTo>
                    <a:pt x="671" y="87"/>
                  </a:lnTo>
                  <a:lnTo>
                    <a:pt x="675" y="85"/>
                  </a:lnTo>
                  <a:lnTo>
                    <a:pt x="679" y="82"/>
                  </a:lnTo>
                  <a:lnTo>
                    <a:pt x="680" y="80"/>
                  </a:lnTo>
                  <a:lnTo>
                    <a:pt x="682" y="78"/>
                  </a:lnTo>
                  <a:lnTo>
                    <a:pt x="684" y="74"/>
                  </a:lnTo>
                  <a:lnTo>
                    <a:pt x="686" y="70"/>
                  </a:lnTo>
                  <a:lnTo>
                    <a:pt x="667" y="70"/>
                  </a:lnTo>
                  <a:lnTo>
                    <a:pt x="665" y="73"/>
                  </a:lnTo>
                  <a:lnTo>
                    <a:pt x="662" y="74"/>
                  </a:lnTo>
                  <a:lnTo>
                    <a:pt x="659" y="75"/>
                  </a:lnTo>
                  <a:lnTo>
                    <a:pt x="656" y="76"/>
                  </a:lnTo>
                  <a:lnTo>
                    <a:pt x="653" y="76"/>
                  </a:lnTo>
                  <a:lnTo>
                    <a:pt x="649" y="75"/>
                  </a:lnTo>
                  <a:lnTo>
                    <a:pt x="647" y="74"/>
                  </a:lnTo>
                  <a:lnTo>
                    <a:pt x="645" y="72"/>
                  </a:lnTo>
                  <a:lnTo>
                    <a:pt x="643" y="70"/>
                  </a:lnTo>
                  <a:lnTo>
                    <a:pt x="642" y="68"/>
                  </a:lnTo>
                  <a:lnTo>
                    <a:pt x="641" y="65"/>
                  </a:lnTo>
                  <a:lnTo>
                    <a:pt x="640" y="62"/>
                  </a:lnTo>
                  <a:lnTo>
                    <a:pt x="687" y="62"/>
                  </a:lnTo>
                  <a:close/>
                  <a:moveTo>
                    <a:pt x="593" y="89"/>
                  </a:moveTo>
                  <a:lnTo>
                    <a:pt x="614" y="25"/>
                  </a:lnTo>
                  <a:lnTo>
                    <a:pt x="594" y="25"/>
                  </a:lnTo>
                  <a:lnTo>
                    <a:pt x="588" y="49"/>
                  </a:lnTo>
                  <a:lnTo>
                    <a:pt x="584" y="68"/>
                  </a:lnTo>
                  <a:lnTo>
                    <a:pt x="579" y="49"/>
                  </a:lnTo>
                  <a:lnTo>
                    <a:pt x="571" y="25"/>
                  </a:lnTo>
                  <a:lnTo>
                    <a:pt x="552" y="25"/>
                  </a:lnTo>
                  <a:lnTo>
                    <a:pt x="575" y="89"/>
                  </a:lnTo>
                  <a:lnTo>
                    <a:pt x="593" y="89"/>
                  </a:lnTo>
                  <a:close/>
                  <a:moveTo>
                    <a:pt x="540" y="0"/>
                  </a:moveTo>
                  <a:lnTo>
                    <a:pt x="521" y="0"/>
                  </a:lnTo>
                  <a:lnTo>
                    <a:pt x="521" y="16"/>
                  </a:lnTo>
                  <a:lnTo>
                    <a:pt x="540" y="16"/>
                  </a:lnTo>
                  <a:lnTo>
                    <a:pt x="540" y="0"/>
                  </a:lnTo>
                  <a:close/>
                  <a:moveTo>
                    <a:pt x="540" y="25"/>
                  </a:moveTo>
                  <a:lnTo>
                    <a:pt x="521" y="25"/>
                  </a:lnTo>
                  <a:lnTo>
                    <a:pt x="521" y="89"/>
                  </a:lnTo>
                  <a:lnTo>
                    <a:pt x="540" y="89"/>
                  </a:lnTo>
                  <a:lnTo>
                    <a:pt x="540" y="25"/>
                  </a:lnTo>
                  <a:close/>
                  <a:moveTo>
                    <a:pt x="445" y="25"/>
                  </a:moveTo>
                  <a:lnTo>
                    <a:pt x="445" y="89"/>
                  </a:lnTo>
                  <a:lnTo>
                    <a:pt x="464" y="89"/>
                  </a:lnTo>
                  <a:lnTo>
                    <a:pt x="464" y="53"/>
                  </a:lnTo>
                  <a:lnTo>
                    <a:pt x="465" y="46"/>
                  </a:lnTo>
                  <a:lnTo>
                    <a:pt x="465" y="44"/>
                  </a:lnTo>
                  <a:lnTo>
                    <a:pt x="467" y="42"/>
                  </a:lnTo>
                  <a:lnTo>
                    <a:pt x="468" y="41"/>
                  </a:lnTo>
                  <a:lnTo>
                    <a:pt x="470" y="40"/>
                  </a:lnTo>
                  <a:lnTo>
                    <a:pt x="472" y="39"/>
                  </a:lnTo>
                  <a:lnTo>
                    <a:pt x="475" y="39"/>
                  </a:lnTo>
                  <a:lnTo>
                    <a:pt x="477" y="39"/>
                  </a:lnTo>
                  <a:lnTo>
                    <a:pt x="479" y="40"/>
                  </a:lnTo>
                  <a:lnTo>
                    <a:pt x="481" y="41"/>
                  </a:lnTo>
                  <a:lnTo>
                    <a:pt x="482" y="43"/>
                  </a:lnTo>
                  <a:lnTo>
                    <a:pt x="483" y="44"/>
                  </a:lnTo>
                  <a:lnTo>
                    <a:pt x="484" y="47"/>
                  </a:lnTo>
                  <a:lnTo>
                    <a:pt x="484" y="54"/>
                  </a:lnTo>
                  <a:lnTo>
                    <a:pt x="484" y="89"/>
                  </a:lnTo>
                  <a:lnTo>
                    <a:pt x="503" y="89"/>
                  </a:lnTo>
                  <a:lnTo>
                    <a:pt x="503" y="47"/>
                  </a:lnTo>
                  <a:lnTo>
                    <a:pt x="503" y="42"/>
                  </a:lnTo>
                  <a:lnTo>
                    <a:pt x="502" y="37"/>
                  </a:lnTo>
                  <a:lnTo>
                    <a:pt x="500" y="33"/>
                  </a:lnTo>
                  <a:lnTo>
                    <a:pt x="497" y="29"/>
                  </a:lnTo>
                  <a:lnTo>
                    <a:pt x="494" y="27"/>
                  </a:lnTo>
                  <a:lnTo>
                    <a:pt x="490" y="25"/>
                  </a:lnTo>
                  <a:lnTo>
                    <a:pt x="486" y="23"/>
                  </a:lnTo>
                  <a:lnTo>
                    <a:pt x="481" y="23"/>
                  </a:lnTo>
                  <a:lnTo>
                    <a:pt x="476" y="23"/>
                  </a:lnTo>
                  <a:lnTo>
                    <a:pt x="472" y="25"/>
                  </a:lnTo>
                  <a:lnTo>
                    <a:pt x="468" y="27"/>
                  </a:lnTo>
                  <a:lnTo>
                    <a:pt x="463" y="31"/>
                  </a:lnTo>
                  <a:lnTo>
                    <a:pt x="463" y="25"/>
                  </a:lnTo>
                  <a:lnTo>
                    <a:pt x="445" y="25"/>
                  </a:lnTo>
                  <a:close/>
                  <a:moveTo>
                    <a:pt x="407" y="0"/>
                  </a:moveTo>
                  <a:lnTo>
                    <a:pt x="407" y="59"/>
                  </a:lnTo>
                  <a:lnTo>
                    <a:pt x="407" y="63"/>
                  </a:lnTo>
                  <a:lnTo>
                    <a:pt x="406" y="66"/>
                  </a:lnTo>
                  <a:lnTo>
                    <a:pt x="405" y="68"/>
                  </a:lnTo>
                  <a:lnTo>
                    <a:pt x="404" y="70"/>
                  </a:lnTo>
                  <a:lnTo>
                    <a:pt x="401" y="72"/>
                  </a:lnTo>
                  <a:lnTo>
                    <a:pt x="398" y="73"/>
                  </a:lnTo>
                  <a:lnTo>
                    <a:pt x="395" y="74"/>
                  </a:lnTo>
                  <a:lnTo>
                    <a:pt x="392" y="74"/>
                  </a:lnTo>
                  <a:lnTo>
                    <a:pt x="388" y="74"/>
                  </a:lnTo>
                  <a:lnTo>
                    <a:pt x="385" y="73"/>
                  </a:lnTo>
                  <a:lnTo>
                    <a:pt x="382" y="72"/>
                  </a:lnTo>
                  <a:lnTo>
                    <a:pt x="380" y="70"/>
                  </a:lnTo>
                  <a:lnTo>
                    <a:pt x="378" y="68"/>
                  </a:lnTo>
                  <a:lnTo>
                    <a:pt x="377" y="66"/>
                  </a:lnTo>
                  <a:lnTo>
                    <a:pt x="376" y="63"/>
                  </a:lnTo>
                  <a:lnTo>
                    <a:pt x="376" y="59"/>
                  </a:lnTo>
                  <a:lnTo>
                    <a:pt x="376" y="0"/>
                  </a:lnTo>
                  <a:lnTo>
                    <a:pt x="356" y="0"/>
                  </a:lnTo>
                  <a:lnTo>
                    <a:pt x="356" y="60"/>
                  </a:lnTo>
                  <a:lnTo>
                    <a:pt x="357" y="68"/>
                  </a:lnTo>
                  <a:lnTo>
                    <a:pt x="359" y="74"/>
                  </a:lnTo>
                  <a:lnTo>
                    <a:pt x="360" y="77"/>
                  </a:lnTo>
                  <a:lnTo>
                    <a:pt x="362" y="79"/>
                  </a:lnTo>
                  <a:lnTo>
                    <a:pt x="364" y="81"/>
                  </a:lnTo>
                  <a:lnTo>
                    <a:pt x="366" y="83"/>
                  </a:lnTo>
                  <a:lnTo>
                    <a:pt x="371" y="86"/>
                  </a:lnTo>
                  <a:lnTo>
                    <a:pt x="374" y="88"/>
                  </a:lnTo>
                  <a:lnTo>
                    <a:pt x="378" y="89"/>
                  </a:lnTo>
                  <a:lnTo>
                    <a:pt x="384" y="90"/>
                  </a:lnTo>
                  <a:lnTo>
                    <a:pt x="392" y="91"/>
                  </a:lnTo>
                  <a:lnTo>
                    <a:pt x="399" y="90"/>
                  </a:lnTo>
                  <a:lnTo>
                    <a:pt x="403" y="90"/>
                  </a:lnTo>
                  <a:lnTo>
                    <a:pt x="406" y="89"/>
                  </a:lnTo>
                  <a:lnTo>
                    <a:pt x="412" y="86"/>
                  </a:lnTo>
                  <a:lnTo>
                    <a:pt x="418" y="83"/>
                  </a:lnTo>
                  <a:lnTo>
                    <a:pt x="420" y="81"/>
                  </a:lnTo>
                  <a:lnTo>
                    <a:pt x="422" y="79"/>
                  </a:lnTo>
                  <a:lnTo>
                    <a:pt x="424" y="77"/>
                  </a:lnTo>
                  <a:lnTo>
                    <a:pt x="425" y="74"/>
                  </a:lnTo>
                  <a:lnTo>
                    <a:pt x="427" y="68"/>
                  </a:lnTo>
                  <a:lnTo>
                    <a:pt x="427" y="64"/>
                  </a:lnTo>
                  <a:lnTo>
                    <a:pt x="427" y="60"/>
                  </a:lnTo>
                  <a:lnTo>
                    <a:pt x="427" y="0"/>
                  </a:lnTo>
                  <a:lnTo>
                    <a:pt x="407" y="0"/>
                  </a:lnTo>
                  <a:close/>
                  <a:moveTo>
                    <a:pt x="277" y="38"/>
                  </a:moveTo>
                  <a:lnTo>
                    <a:pt x="281" y="38"/>
                  </a:lnTo>
                  <a:lnTo>
                    <a:pt x="284" y="39"/>
                  </a:lnTo>
                  <a:lnTo>
                    <a:pt x="286" y="41"/>
                  </a:lnTo>
                  <a:lnTo>
                    <a:pt x="289" y="43"/>
                  </a:lnTo>
                  <a:lnTo>
                    <a:pt x="290" y="46"/>
                  </a:lnTo>
                  <a:lnTo>
                    <a:pt x="292" y="49"/>
                  </a:lnTo>
                  <a:lnTo>
                    <a:pt x="292" y="53"/>
                  </a:lnTo>
                  <a:lnTo>
                    <a:pt x="293" y="57"/>
                  </a:lnTo>
                  <a:lnTo>
                    <a:pt x="292" y="61"/>
                  </a:lnTo>
                  <a:lnTo>
                    <a:pt x="292" y="65"/>
                  </a:lnTo>
                  <a:lnTo>
                    <a:pt x="290" y="68"/>
                  </a:lnTo>
                  <a:lnTo>
                    <a:pt x="289" y="71"/>
                  </a:lnTo>
                  <a:lnTo>
                    <a:pt x="288" y="72"/>
                  </a:lnTo>
                  <a:lnTo>
                    <a:pt x="286" y="73"/>
                  </a:lnTo>
                  <a:lnTo>
                    <a:pt x="284" y="74"/>
                  </a:lnTo>
                  <a:lnTo>
                    <a:pt x="281" y="75"/>
                  </a:lnTo>
                  <a:lnTo>
                    <a:pt x="277" y="75"/>
                  </a:lnTo>
                  <a:lnTo>
                    <a:pt x="274" y="75"/>
                  </a:lnTo>
                  <a:lnTo>
                    <a:pt x="271" y="74"/>
                  </a:lnTo>
                  <a:lnTo>
                    <a:pt x="269" y="73"/>
                  </a:lnTo>
                  <a:lnTo>
                    <a:pt x="266" y="71"/>
                  </a:lnTo>
                  <a:lnTo>
                    <a:pt x="265" y="68"/>
                  </a:lnTo>
                  <a:lnTo>
                    <a:pt x="264" y="65"/>
                  </a:lnTo>
                  <a:lnTo>
                    <a:pt x="263" y="61"/>
                  </a:lnTo>
                  <a:lnTo>
                    <a:pt x="263" y="57"/>
                  </a:lnTo>
                  <a:lnTo>
                    <a:pt x="263" y="52"/>
                  </a:lnTo>
                  <a:lnTo>
                    <a:pt x="264" y="49"/>
                  </a:lnTo>
                  <a:lnTo>
                    <a:pt x="265" y="46"/>
                  </a:lnTo>
                  <a:lnTo>
                    <a:pt x="266" y="43"/>
                  </a:lnTo>
                  <a:lnTo>
                    <a:pt x="267" y="42"/>
                  </a:lnTo>
                  <a:lnTo>
                    <a:pt x="269" y="41"/>
                  </a:lnTo>
                  <a:lnTo>
                    <a:pt x="271" y="39"/>
                  </a:lnTo>
                  <a:lnTo>
                    <a:pt x="274" y="38"/>
                  </a:lnTo>
                  <a:lnTo>
                    <a:pt x="277" y="38"/>
                  </a:lnTo>
                  <a:close/>
                  <a:moveTo>
                    <a:pt x="277" y="23"/>
                  </a:moveTo>
                  <a:lnTo>
                    <a:pt x="270" y="24"/>
                  </a:lnTo>
                  <a:lnTo>
                    <a:pt x="264" y="26"/>
                  </a:lnTo>
                  <a:lnTo>
                    <a:pt x="261" y="27"/>
                  </a:lnTo>
                  <a:lnTo>
                    <a:pt x="258" y="29"/>
                  </a:lnTo>
                  <a:lnTo>
                    <a:pt x="253" y="33"/>
                  </a:lnTo>
                  <a:lnTo>
                    <a:pt x="249" y="37"/>
                  </a:lnTo>
                  <a:lnTo>
                    <a:pt x="247" y="40"/>
                  </a:lnTo>
                  <a:lnTo>
                    <a:pt x="246" y="43"/>
                  </a:lnTo>
                  <a:lnTo>
                    <a:pt x="245" y="46"/>
                  </a:lnTo>
                  <a:lnTo>
                    <a:pt x="244" y="50"/>
                  </a:lnTo>
                  <a:lnTo>
                    <a:pt x="244" y="53"/>
                  </a:lnTo>
                  <a:lnTo>
                    <a:pt x="244" y="57"/>
                  </a:lnTo>
                  <a:lnTo>
                    <a:pt x="244" y="64"/>
                  </a:lnTo>
                  <a:lnTo>
                    <a:pt x="246" y="70"/>
                  </a:lnTo>
                  <a:lnTo>
                    <a:pt x="247" y="73"/>
                  </a:lnTo>
                  <a:lnTo>
                    <a:pt x="249" y="76"/>
                  </a:lnTo>
                  <a:lnTo>
                    <a:pt x="253" y="81"/>
                  </a:lnTo>
                  <a:lnTo>
                    <a:pt x="258" y="85"/>
                  </a:lnTo>
                  <a:lnTo>
                    <a:pt x="261" y="87"/>
                  </a:lnTo>
                  <a:lnTo>
                    <a:pt x="264" y="88"/>
                  </a:lnTo>
                  <a:lnTo>
                    <a:pt x="267" y="89"/>
                  </a:lnTo>
                  <a:lnTo>
                    <a:pt x="270" y="90"/>
                  </a:lnTo>
                  <a:lnTo>
                    <a:pt x="277" y="90"/>
                  </a:lnTo>
                  <a:lnTo>
                    <a:pt x="285" y="90"/>
                  </a:lnTo>
                  <a:lnTo>
                    <a:pt x="291" y="88"/>
                  </a:lnTo>
                  <a:lnTo>
                    <a:pt x="294" y="87"/>
                  </a:lnTo>
                  <a:lnTo>
                    <a:pt x="297" y="85"/>
                  </a:lnTo>
                  <a:lnTo>
                    <a:pt x="302" y="81"/>
                  </a:lnTo>
                  <a:lnTo>
                    <a:pt x="306" y="76"/>
                  </a:lnTo>
                  <a:lnTo>
                    <a:pt x="308" y="73"/>
                  </a:lnTo>
                  <a:lnTo>
                    <a:pt x="309" y="71"/>
                  </a:lnTo>
                  <a:lnTo>
                    <a:pt x="311" y="64"/>
                  </a:lnTo>
                  <a:lnTo>
                    <a:pt x="311" y="61"/>
                  </a:lnTo>
                  <a:lnTo>
                    <a:pt x="311" y="57"/>
                  </a:lnTo>
                  <a:lnTo>
                    <a:pt x="311" y="53"/>
                  </a:lnTo>
                  <a:lnTo>
                    <a:pt x="311" y="50"/>
                  </a:lnTo>
                  <a:lnTo>
                    <a:pt x="309" y="43"/>
                  </a:lnTo>
                  <a:lnTo>
                    <a:pt x="308" y="40"/>
                  </a:lnTo>
                  <a:lnTo>
                    <a:pt x="306" y="37"/>
                  </a:lnTo>
                  <a:lnTo>
                    <a:pt x="302" y="33"/>
                  </a:lnTo>
                  <a:lnTo>
                    <a:pt x="297" y="29"/>
                  </a:lnTo>
                  <a:lnTo>
                    <a:pt x="294" y="27"/>
                  </a:lnTo>
                  <a:lnTo>
                    <a:pt x="291" y="26"/>
                  </a:lnTo>
                  <a:lnTo>
                    <a:pt x="288" y="24"/>
                  </a:lnTo>
                  <a:lnTo>
                    <a:pt x="285" y="24"/>
                  </a:lnTo>
                  <a:lnTo>
                    <a:pt x="277" y="23"/>
                  </a:lnTo>
                  <a:close/>
                  <a:moveTo>
                    <a:pt x="235" y="26"/>
                  </a:moveTo>
                  <a:lnTo>
                    <a:pt x="224" y="26"/>
                  </a:lnTo>
                  <a:lnTo>
                    <a:pt x="224" y="5"/>
                  </a:lnTo>
                  <a:lnTo>
                    <a:pt x="205" y="5"/>
                  </a:lnTo>
                  <a:lnTo>
                    <a:pt x="205" y="26"/>
                  </a:lnTo>
                  <a:lnTo>
                    <a:pt x="196" y="26"/>
                  </a:lnTo>
                  <a:lnTo>
                    <a:pt x="196" y="39"/>
                  </a:lnTo>
                  <a:lnTo>
                    <a:pt x="205" y="39"/>
                  </a:lnTo>
                  <a:lnTo>
                    <a:pt x="205" y="68"/>
                  </a:lnTo>
                  <a:lnTo>
                    <a:pt x="205" y="74"/>
                  </a:lnTo>
                  <a:lnTo>
                    <a:pt x="206" y="79"/>
                  </a:lnTo>
                  <a:lnTo>
                    <a:pt x="207" y="82"/>
                  </a:lnTo>
                  <a:lnTo>
                    <a:pt x="209" y="84"/>
                  </a:lnTo>
                  <a:lnTo>
                    <a:pt x="211" y="86"/>
                  </a:lnTo>
                  <a:lnTo>
                    <a:pt x="214" y="88"/>
                  </a:lnTo>
                  <a:lnTo>
                    <a:pt x="218" y="88"/>
                  </a:lnTo>
                  <a:lnTo>
                    <a:pt x="224" y="89"/>
                  </a:lnTo>
                  <a:lnTo>
                    <a:pt x="235" y="89"/>
                  </a:lnTo>
                  <a:lnTo>
                    <a:pt x="235" y="75"/>
                  </a:lnTo>
                  <a:lnTo>
                    <a:pt x="228" y="75"/>
                  </a:lnTo>
                  <a:lnTo>
                    <a:pt x="226" y="74"/>
                  </a:lnTo>
                  <a:lnTo>
                    <a:pt x="225" y="74"/>
                  </a:lnTo>
                  <a:lnTo>
                    <a:pt x="224" y="73"/>
                  </a:lnTo>
                  <a:lnTo>
                    <a:pt x="224" y="70"/>
                  </a:lnTo>
                  <a:lnTo>
                    <a:pt x="224" y="64"/>
                  </a:lnTo>
                  <a:lnTo>
                    <a:pt x="224" y="39"/>
                  </a:lnTo>
                  <a:lnTo>
                    <a:pt x="235" y="39"/>
                  </a:lnTo>
                  <a:lnTo>
                    <a:pt x="235" y="26"/>
                  </a:lnTo>
                  <a:close/>
                  <a:moveTo>
                    <a:pt x="184" y="0"/>
                  </a:moveTo>
                  <a:lnTo>
                    <a:pt x="166" y="0"/>
                  </a:lnTo>
                  <a:lnTo>
                    <a:pt x="166" y="89"/>
                  </a:lnTo>
                  <a:lnTo>
                    <a:pt x="184" y="89"/>
                  </a:lnTo>
                  <a:lnTo>
                    <a:pt x="184" y="0"/>
                  </a:lnTo>
                  <a:close/>
                  <a:moveTo>
                    <a:pt x="131" y="68"/>
                  </a:moveTo>
                  <a:lnTo>
                    <a:pt x="129" y="72"/>
                  </a:lnTo>
                  <a:lnTo>
                    <a:pt x="126" y="74"/>
                  </a:lnTo>
                  <a:lnTo>
                    <a:pt x="122" y="76"/>
                  </a:lnTo>
                  <a:lnTo>
                    <a:pt x="117" y="76"/>
                  </a:lnTo>
                  <a:lnTo>
                    <a:pt x="114" y="76"/>
                  </a:lnTo>
                  <a:lnTo>
                    <a:pt x="111" y="74"/>
                  </a:lnTo>
                  <a:lnTo>
                    <a:pt x="109" y="72"/>
                  </a:lnTo>
                  <a:lnTo>
                    <a:pt x="108" y="71"/>
                  </a:lnTo>
                  <a:lnTo>
                    <a:pt x="108" y="69"/>
                  </a:lnTo>
                  <a:lnTo>
                    <a:pt x="109" y="67"/>
                  </a:lnTo>
                  <a:lnTo>
                    <a:pt x="110" y="65"/>
                  </a:lnTo>
                  <a:lnTo>
                    <a:pt x="113" y="63"/>
                  </a:lnTo>
                  <a:lnTo>
                    <a:pt x="118" y="62"/>
                  </a:lnTo>
                  <a:lnTo>
                    <a:pt x="124" y="60"/>
                  </a:lnTo>
                  <a:lnTo>
                    <a:pt x="131" y="58"/>
                  </a:lnTo>
                  <a:lnTo>
                    <a:pt x="131" y="68"/>
                  </a:lnTo>
                  <a:close/>
                  <a:moveTo>
                    <a:pt x="110" y="45"/>
                  </a:moveTo>
                  <a:lnTo>
                    <a:pt x="110" y="43"/>
                  </a:lnTo>
                  <a:lnTo>
                    <a:pt x="111" y="42"/>
                  </a:lnTo>
                  <a:lnTo>
                    <a:pt x="112" y="40"/>
                  </a:lnTo>
                  <a:lnTo>
                    <a:pt x="113" y="39"/>
                  </a:lnTo>
                  <a:lnTo>
                    <a:pt x="116" y="38"/>
                  </a:lnTo>
                  <a:lnTo>
                    <a:pt x="121" y="37"/>
                  </a:lnTo>
                  <a:lnTo>
                    <a:pt x="125" y="38"/>
                  </a:lnTo>
                  <a:lnTo>
                    <a:pt x="128" y="39"/>
                  </a:lnTo>
                  <a:lnTo>
                    <a:pt x="130" y="41"/>
                  </a:lnTo>
                  <a:lnTo>
                    <a:pt x="131" y="42"/>
                  </a:lnTo>
                  <a:lnTo>
                    <a:pt x="131" y="43"/>
                  </a:lnTo>
                  <a:lnTo>
                    <a:pt x="130" y="45"/>
                  </a:lnTo>
                  <a:lnTo>
                    <a:pt x="129" y="46"/>
                  </a:lnTo>
                  <a:lnTo>
                    <a:pt x="128" y="47"/>
                  </a:lnTo>
                  <a:lnTo>
                    <a:pt x="125" y="48"/>
                  </a:lnTo>
                  <a:lnTo>
                    <a:pt x="115" y="49"/>
                  </a:lnTo>
                  <a:lnTo>
                    <a:pt x="109" y="51"/>
                  </a:lnTo>
                  <a:lnTo>
                    <a:pt x="103" y="52"/>
                  </a:lnTo>
                  <a:lnTo>
                    <a:pt x="99" y="54"/>
                  </a:lnTo>
                  <a:lnTo>
                    <a:pt x="95" y="56"/>
                  </a:lnTo>
                  <a:lnTo>
                    <a:pt x="93" y="59"/>
                  </a:lnTo>
                  <a:lnTo>
                    <a:pt x="92" y="61"/>
                  </a:lnTo>
                  <a:lnTo>
                    <a:pt x="91" y="62"/>
                  </a:lnTo>
                  <a:lnTo>
                    <a:pt x="90" y="66"/>
                  </a:lnTo>
                  <a:lnTo>
                    <a:pt x="89" y="70"/>
                  </a:lnTo>
                  <a:lnTo>
                    <a:pt x="90" y="75"/>
                  </a:lnTo>
                  <a:lnTo>
                    <a:pt x="91" y="79"/>
                  </a:lnTo>
                  <a:lnTo>
                    <a:pt x="93" y="82"/>
                  </a:lnTo>
                  <a:lnTo>
                    <a:pt x="96" y="85"/>
                  </a:lnTo>
                  <a:lnTo>
                    <a:pt x="97" y="86"/>
                  </a:lnTo>
                  <a:lnTo>
                    <a:pt x="99" y="87"/>
                  </a:lnTo>
                  <a:lnTo>
                    <a:pt x="103" y="89"/>
                  </a:lnTo>
                  <a:lnTo>
                    <a:pt x="108" y="90"/>
                  </a:lnTo>
                  <a:lnTo>
                    <a:pt x="113" y="90"/>
                  </a:lnTo>
                  <a:lnTo>
                    <a:pt x="118" y="90"/>
                  </a:lnTo>
                  <a:lnTo>
                    <a:pt x="123" y="89"/>
                  </a:lnTo>
                  <a:lnTo>
                    <a:pt x="127" y="87"/>
                  </a:lnTo>
                  <a:lnTo>
                    <a:pt x="131" y="84"/>
                  </a:lnTo>
                  <a:lnTo>
                    <a:pt x="133" y="89"/>
                  </a:lnTo>
                  <a:lnTo>
                    <a:pt x="152" y="89"/>
                  </a:lnTo>
                  <a:lnTo>
                    <a:pt x="151" y="87"/>
                  </a:lnTo>
                  <a:lnTo>
                    <a:pt x="150" y="85"/>
                  </a:lnTo>
                  <a:lnTo>
                    <a:pt x="149" y="78"/>
                  </a:lnTo>
                  <a:lnTo>
                    <a:pt x="149" y="48"/>
                  </a:lnTo>
                  <a:lnTo>
                    <a:pt x="149" y="42"/>
                  </a:lnTo>
                  <a:lnTo>
                    <a:pt x="148" y="37"/>
                  </a:lnTo>
                  <a:lnTo>
                    <a:pt x="146" y="33"/>
                  </a:lnTo>
                  <a:lnTo>
                    <a:pt x="145" y="31"/>
                  </a:lnTo>
                  <a:lnTo>
                    <a:pt x="143" y="30"/>
                  </a:lnTo>
                  <a:lnTo>
                    <a:pt x="139" y="27"/>
                  </a:lnTo>
                  <a:lnTo>
                    <a:pt x="134" y="25"/>
                  </a:lnTo>
                  <a:lnTo>
                    <a:pt x="128" y="23"/>
                  </a:lnTo>
                  <a:lnTo>
                    <a:pt x="121" y="23"/>
                  </a:lnTo>
                  <a:lnTo>
                    <a:pt x="115" y="23"/>
                  </a:lnTo>
                  <a:lnTo>
                    <a:pt x="109" y="24"/>
                  </a:lnTo>
                  <a:lnTo>
                    <a:pt x="104" y="26"/>
                  </a:lnTo>
                  <a:lnTo>
                    <a:pt x="101" y="28"/>
                  </a:lnTo>
                  <a:lnTo>
                    <a:pt x="97" y="31"/>
                  </a:lnTo>
                  <a:lnTo>
                    <a:pt x="95" y="35"/>
                  </a:lnTo>
                  <a:lnTo>
                    <a:pt x="94" y="37"/>
                  </a:lnTo>
                  <a:lnTo>
                    <a:pt x="94" y="40"/>
                  </a:lnTo>
                  <a:lnTo>
                    <a:pt x="93" y="42"/>
                  </a:lnTo>
                  <a:lnTo>
                    <a:pt x="93" y="45"/>
                  </a:lnTo>
                  <a:lnTo>
                    <a:pt x="110" y="45"/>
                  </a:lnTo>
                  <a:close/>
                  <a:moveTo>
                    <a:pt x="52" y="55"/>
                  </a:moveTo>
                  <a:lnTo>
                    <a:pt x="32" y="55"/>
                  </a:lnTo>
                  <a:lnTo>
                    <a:pt x="43" y="20"/>
                  </a:lnTo>
                  <a:lnTo>
                    <a:pt x="52" y="55"/>
                  </a:lnTo>
                  <a:close/>
                  <a:moveTo>
                    <a:pt x="57" y="71"/>
                  </a:moveTo>
                  <a:lnTo>
                    <a:pt x="61" y="89"/>
                  </a:lnTo>
                  <a:lnTo>
                    <a:pt x="84" y="89"/>
                  </a:lnTo>
                  <a:lnTo>
                    <a:pt x="56" y="0"/>
                  </a:lnTo>
                  <a:lnTo>
                    <a:pt x="31" y="0"/>
                  </a:lnTo>
                  <a:lnTo>
                    <a:pt x="0" y="89"/>
                  </a:lnTo>
                  <a:lnTo>
                    <a:pt x="22" y="89"/>
                  </a:lnTo>
                  <a:lnTo>
                    <a:pt x="27" y="71"/>
                  </a:lnTo>
                  <a:lnTo>
                    <a:pt x="57"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19" name="Freeform 7"/>
            <p:cNvSpPr>
              <a:spLocks noEditPoints="1"/>
            </p:cNvSpPr>
            <p:nvPr userDrawn="1"/>
          </p:nvSpPr>
          <p:spPr bwMode="auto">
            <a:xfrm>
              <a:off x="5756275" y="325438"/>
              <a:ext cx="1941513" cy="142875"/>
            </a:xfrm>
            <a:custGeom>
              <a:avLst/>
              <a:gdLst>
                <a:gd name="T0" fmla="*/ 1197 w 1223"/>
                <a:gd name="T1" fmla="*/ 38 h 90"/>
                <a:gd name="T2" fmla="*/ 1220 w 1223"/>
                <a:gd name="T3" fmla="*/ 32 h 90"/>
                <a:gd name="T4" fmla="*/ 1120 w 1223"/>
                <a:gd name="T5" fmla="*/ 37 h 90"/>
                <a:gd name="T6" fmla="*/ 1131 w 1223"/>
                <a:gd name="T7" fmla="*/ 70 h 90"/>
                <a:gd name="T8" fmla="*/ 1105 w 1223"/>
                <a:gd name="T9" fmla="*/ 60 h 90"/>
                <a:gd name="T10" fmla="*/ 1112 w 1223"/>
                <a:gd name="T11" fmla="*/ 23 h 90"/>
                <a:gd name="T12" fmla="*/ 1088 w 1223"/>
                <a:gd name="T13" fmla="*/ 70 h 90"/>
                <a:gd name="T14" fmla="*/ 1136 w 1223"/>
                <a:gd name="T15" fmla="*/ 86 h 90"/>
                <a:gd name="T16" fmla="*/ 1150 w 1223"/>
                <a:gd name="T17" fmla="*/ 40 h 90"/>
                <a:gd name="T18" fmla="*/ 1074 w 1223"/>
                <a:gd name="T19" fmla="*/ 15 h 90"/>
                <a:gd name="T20" fmla="*/ 1002 w 1223"/>
                <a:gd name="T21" fmla="*/ 25 h 90"/>
                <a:gd name="T22" fmla="*/ 1041 w 1223"/>
                <a:gd name="T23" fmla="*/ 88 h 90"/>
                <a:gd name="T24" fmla="*/ 967 w 1223"/>
                <a:gd name="T25" fmla="*/ 74 h 90"/>
                <a:gd name="T26" fmla="*/ 966 w 1223"/>
                <a:gd name="T27" fmla="*/ 60 h 90"/>
                <a:gd name="T28" fmla="*/ 971 w 1223"/>
                <a:gd name="T29" fmla="*/ 40 h 90"/>
                <a:gd name="T30" fmla="*/ 934 w 1223"/>
                <a:gd name="T31" fmla="*/ 59 h 90"/>
                <a:gd name="T32" fmla="*/ 954 w 1223"/>
                <a:gd name="T33" fmla="*/ 90 h 90"/>
                <a:gd name="T34" fmla="*/ 990 w 1223"/>
                <a:gd name="T35" fmla="*/ 36 h 90"/>
                <a:gd name="T36" fmla="*/ 939 w 1223"/>
                <a:gd name="T37" fmla="*/ 31 h 90"/>
                <a:gd name="T38" fmla="*/ 907 w 1223"/>
                <a:gd name="T39" fmla="*/ 26 h 90"/>
                <a:gd name="T40" fmla="*/ 859 w 1223"/>
                <a:gd name="T41" fmla="*/ 49 h 90"/>
                <a:gd name="T42" fmla="*/ 891 w 1223"/>
                <a:gd name="T43" fmla="*/ 90 h 90"/>
                <a:gd name="T44" fmla="*/ 899 w 1223"/>
                <a:gd name="T45" fmla="*/ 72 h 90"/>
                <a:gd name="T46" fmla="*/ 878 w 1223"/>
                <a:gd name="T47" fmla="*/ 56 h 90"/>
                <a:gd name="T48" fmla="*/ 900 w 1223"/>
                <a:gd name="T49" fmla="*/ 42 h 90"/>
                <a:gd name="T50" fmla="*/ 823 w 1223"/>
                <a:gd name="T51" fmla="*/ 73 h 90"/>
                <a:gd name="T52" fmla="*/ 790 w 1223"/>
                <a:gd name="T53" fmla="*/ 71 h 90"/>
                <a:gd name="T54" fmla="*/ 828 w 1223"/>
                <a:gd name="T55" fmla="*/ 83 h 90"/>
                <a:gd name="T56" fmla="*/ 756 w 1223"/>
                <a:gd name="T57" fmla="*/ 52 h 90"/>
                <a:gd name="T58" fmla="*/ 735 w 1223"/>
                <a:gd name="T59" fmla="*/ 72 h 90"/>
                <a:gd name="T60" fmla="*/ 740 w 1223"/>
                <a:gd name="T61" fmla="*/ 38 h 90"/>
                <a:gd name="T62" fmla="*/ 719 w 1223"/>
                <a:gd name="T63" fmla="*/ 32 h 90"/>
                <a:gd name="T64" fmla="*/ 723 w 1223"/>
                <a:gd name="T65" fmla="*/ 85 h 90"/>
                <a:gd name="T66" fmla="*/ 757 w 1223"/>
                <a:gd name="T67" fmla="*/ 88 h 90"/>
                <a:gd name="T68" fmla="*/ 655 w 1223"/>
                <a:gd name="T69" fmla="*/ 34 h 90"/>
                <a:gd name="T70" fmla="*/ 556 w 1223"/>
                <a:gd name="T71" fmla="*/ 38 h 90"/>
                <a:gd name="T72" fmla="*/ 580 w 1223"/>
                <a:gd name="T73" fmla="*/ 41 h 90"/>
                <a:gd name="T74" fmla="*/ 533 w 1223"/>
                <a:gd name="T75" fmla="*/ 28 h 90"/>
                <a:gd name="T76" fmla="*/ 528 w 1223"/>
                <a:gd name="T77" fmla="*/ 81 h 90"/>
                <a:gd name="T78" fmla="*/ 577 w 1223"/>
                <a:gd name="T79" fmla="*/ 80 h 90"/>
                <a:gd name="T80" fmla="*/ 543 w 1223"/>
                <a:gd name="T81" fmla="*/ 72 h 90"/>
                <a:gd name="T82" fmla="*/ 471 w 1223"/>
                <a:gd name="T83" fmla="*/ 24 h 90"/>
                <a:gd name="T84" fmla="*/ 440 w 1223"/>
                <a:gd name="T85" fmla="*/ 88 h 90"/>
                <a:gd name="T86" fmla="*/ 376 w 1223"/>
                <a:gd name="T87" fmla="*/ 78 h 90"/>
                <a:gd name="T88" fmla="*/ 394 w 1223"/>
                <a:gd name="T89" fmla="*/ 69 h 90"/>
                <a:gd name="T90" fmla="*/ 329 w 1223"/>
                <a:gd name="T91" fmla="*/ 73 h 90"/>
                <a:gd name="T92" fmla="*/ 295 w 1223"/>
                <a:gd name="T93" fmla="*/ 71 h 90"/>
                <a:gd name="T94" fmla="*/ 333 w 1223"/>
                <a:gd name="T95" fmla="*/ 83 h 90"/>
                <a:gd name="T96" fmla="*/ 259 w 1223"/>
                <a:gd name="T97" fmla="*/ 23 h 90"/>
                <a:gd name="T98" fmla="*/ 221 w 1223"/>
                <a:gd name="T99" fmla="*/ 64 h 90"/>
                <a:gd name="T100" fmla="*/ 264 w 1223"/>
                <a:gd name="T101" fmla="*/ 88 h 90"/>
                <a:gd name="T102" fmla="*/ 257 w 1223"/>
                <a:gd name="T103" fmla="*/ 74 h 90"/>
                <a:gd name="T104" fmla="*/ 240 w 1223"/>
                <a:gd name="T105" fmla="*/ 50 h 90"/>
                <a:gd name="T106" fmla="*/ 264 w 1223"/>
                <a:gd name="T107" fmla="*/ 47 h 90"/>
                <a:gd name="T108" fmla="*/ 186 w 1223"/>
                <a:gd name="T109" fmla="*/ 40 h 90"/>
                <a:gd name="T110" fmla="*/ 202 w 1223"/>
                <a:gd name="T111" fmla="*/ 33 h 90"/>
                <a:gd name="T112" fmla="*/ 152 w 1223"/>
                <a:gd name="T113" fmla="*/ 34 h 90"/>
                <a:gd name="T114" fmla="*/ 165 w 1223"/>
                <a:gd name="T115" fmla="*/ 87 h 90"/>
                <a:gd name="T116" fmla="*/ 207 w 1223"/>
                <a:gd name="T117" fmla="*/ 74 h 90"/>
                <a:gd name="T118" fmla="*/ 166 w 1223"/>
                <a:gd name="T119" fmla="*/ 67 h 90"/>
                <a:gd name="T120" fmla="*/ 96 w 1223"/>
                <a:gd name="T121" fmla="*/ 88 h 90"/>
                <a:gd name="T122" fmla="*/ 60 w 1223"/>
                <a:gd name="T123" fmla="*/ 5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3" h="90">
                  <a:moveTo>
                    <a:pt x="1165" y="24"/>
                  </a:moveTo>
                  <a:lnTo>
                    <a:pt x="1165" y="88"/>
                  </a:lnTo>
                  <a:lnTo>
                    <a:pt x="1184" y="88"/>
                  </a:lnTo>
                  <a:lnTo>
                    <a:pt x="1184" y="52"/>
                  </a:lnTo>
                  <a:lnTo>
                    <a:pt x="1184" y="46"/>
                  </a:lnTo>
                  <a:lnTo>
                    <a:pt x="1185" y="44"/>
                  </a:lnTo>
                  <a:lnTo>
                    <a:pt x="1187" y="42"/>
                  </a:lnTo>
                  <a:lnTo>
                    <a:pt x="1188" y="40"/>
                  </a:lnTo>
                  <a:lnTo>
                    <a:pt x="1190" y="39"/>
                  </a:lnTo>
                  <a:lnTo>
                    <a:pt x="1192" y="38"/>
                  </a:lnTo>
                  <a:lnTo>
                    <a:pt x="1195" y="38"/>
                  </a:lnTo>
                  <a:lnTo>
                    <a:pt x="1197" y="38"/>
                  </a:lnTo>
                  <a:lnTo>
                    <a:pt x="1199" y="39"/>
                  </a:lnTo>
                  <a:lnTo>
                    <a:pt x="1201" y="40"/>
                  </a:lnTo>
                  <a:lnTo>
                    <a:pt x="1202" y="42"/>
                  </a:lnTo>
                  <a:lnTo>
                    <a:pt x="1203" y="44"/>
                  </a:lnTo>
                  <a:lnTo>
                    <a:pt x="1204" y="46"/>
                  </a:lnTo>
                  <a:lnTo>
                    <a:pt x="1204" y="53"/>
                  </a:lnTo>
                  <a:lnTo>
                    <a:pt x="1204" y="88"/>
                  </a:lnTo>
                  <a:lnTo>
                    <a:pt x="1223" y="88"/>
                  </a:lnTo>
                  <a:lnTo>
                    <a:pt x="1223" y="47"/>
                  </a:lnTo>
                  <a:lnTo>
                    <a:pt x="1223" y="41"/>
                  </a:lnTo>
                  <a:lnTo>
                    <a:pt x="1222" y="37"/>
                  </a:lnTo>
                  <a:lnTo>
                    <a:pt x="1220" y="32"/>
                  </a:lnTo>
                  <a:lnTo>
                    <a:pt x="1217" y="29"/>
                  </a:lnTo>
                  <a:lnTo>
                    <a:pt x="1214" y="26"/>
                  </a:lnTo>
                  <a:lnTo>
                    <a:pt x="1210" y="24"/>
                  </a:lnTo>
                  <a:lnTo>
                    <a:pt x="1206" y="23"/>
                  </a:lnTo>
                  <a:lnTo>
                    <a:pt x="1201" y="22"/>
                  </a:lnTo>
                  <a:lnTo>
                    <a:pt x="1196" y="23"/>
                  </a:lnTo>
                  <a:lnTo>
                    <a:pt x="1192" y="24"/>
                  </a:lnTo>
                  <a:lnTo>
                    <a:pt x="1188" y="27"/>
                  </a:lnTo>
                  <a:lnTo>
                    <a:pt x="1183" y="30"/>
                  </a:lnTo>
                  <a:lnTo>
                    <a:pt x="1183" y="24"/>
                  </a:lnTo>
                  <a:lnTo>
                    <a:pt x="1165" y="24"/>
                  </a:lnTo>
                  <a:close/>
                  <a:moveTo>
                    <a:pt x="1120" y="37"/>
                  </a:moveTo>
                  <a:lnTo>
                    <a:pt x="1123" y="38"/>
                  </a:lnTo>
                  <a:lnTo>
                    <a:pt x="1126" y="39"/>
                  </a:lnTo>
                  <a:lnTo>
                    <a:pt x="1129" y="40"/>
                  </a:lnTo>
                  <a:lnTo>
                    <a:pt x="1131" y="42"/>
                  </a:lnTo>
                  <a:lnTo>
                    <a:pt x="1132" y="45"/>
                  </a:lnTo>
                  <a:lnTo>
                    <a:pt x="1134" y="48"/>
                  </a:lnTo>
                  <a:lnTo>
                    <a:pt x="1134" y="52"/>
                  </a:lnTo>
                  <a:lnTo>
                    <a:pt x="1135" y="57"/>
                  </a:lnTo>
                  <a:lnTo>
                    <a:pt x="1134" y="61"/>
                  </a:lnTo>
                  <a:lnTo>
                    <a:pt x="1134" y="64"/>
                  </a:lnTo>
                  <a:lnTo>
                    <a:pt x="1132" y="67"/>
                  </a:lnTo>
                  <a:lnTo>
                    <a:pt x="1131" y="70"/>
                  </a:lnTo>
                  <a:lnTo>
                    <a:pt x="1130" y="71"/>
                  </a:lnTo>
                  <a:lnTo>
                    <a:pt x="1129" y="72"/>
                  </a:lnTo>
                  <a:lnTo>
                    <a:pt x="1126" y="74"/>
                  </a:lnTo>
                  <a:lnTo>
                    <a:pt x="1123" y="75"/>
                  </a:lnTo>
                  <a:lnTo>
                    <a:pt x="1120" y="75"/>
                  </a:lnTo>
                  <a:lnTo>
                    <a:pt x="1116" y="75"/>
                  </a:lnTo>
                  <a:lnTo>
                    <a:pt x="1113" y="74"/>
                  </a:lnTo>
                  <a:lnTo>
                    <a:pt x="1111" y="72"/>
                  </a:lnTo>
                  <a:lnTo>
                    <a:pt x="1109" y="70"/>
                  </a:lnTo>
                  <a:lnTo>
                    <a:pt x="1107" y="67"/>
                  </a:lnTo>
                  <a:lnTo>
                    <a:pt x="1106" y="64"/>
                  </a:lnTo>
                  <a:lnTo>
                    <a:pt x="1105" y="60"/>
                  </a:lnTo>
                  <a:lnTo>
                    <a:pt x="1105" y="56"/>
                  </a:lnTo>
                  <a:lnTo>
                    <a:pt x="1105" y="52"/>
                  </a:lnTo>
                  <a:lnTo>
                    <a:pt x="1106" y="48"/>
                  </a:lnTo>
                  <a:lnTo>
                    <a:pt x="1107" y="45"/>
                  </a:lnTo>
                  <a:lnTo>
                    <a:pt x="1109" y="42"/>
                  </a:lnTo>
                  <a:lnTo>
                    <a:pt x="1110" y="41"/>
                  </a:lnTo>
                  <a:lnTo>
                    <a:pt x="1111" y="40"/>
                  </a:lnTo>
                  <a:lnTo>
                    <a:pt x="1113" y="39"/>
                  </a:lnTo>
                  <a:lnTo>
                    <a:pt x="1116" y="38"/>
                  </a:lnTo>
                  <a:lnTo>
                    <a:pt x="1120" y="37"/>
                  </a:lnTo>
                  <a:close/>
                  <a:moveTo>
                    <a:pt x="1120" y="23"/>
                  </a:moveTo>
                  <a:lnTo>
                    <a:pt x="1112" y="23"/>
                  </a:lnTo>
                  <a:lnTo>
                    <a:pt x="1106" y="25"/>
                  </a:lnTo>
                  <a:lnTo>
                    <a:pt x="1103" y="26"/>
                  </a:lnTo>
                  <a:lnTo>
                    <a:pt x="1100" y="28"/>
                  </a:lnTo>
                  <a:lnTo>
                    <a:pt x="1095" y="32"/>
                  </a:lnTo>
                  <a:lnTo>
                    <a:pt x="1091" y="37"/>
                  </a:lnTo>
                  <a:lnTo>
                    <a:pt x="1090" y="40"/>
                  </a:lnTo>
                  <a:lnTo>
                    <a:pt x="1088" y="43"/>
                  </a:lnTo>
                  <a:lnTo>
                    <a:pt x="1087" y="46"/>
                  </a:lnTo>
                  <a:lnTo>
                    <a:pt x="1086" y="49"/>
                  </a:lnTo>
                  <a:lnTo>
                    <a:pt x="1086" y="56"/>
                  </a:lnTo>
                  <a:lnTo>
                    <a:pt x="1086" y="63"/>
                  </a:lnTo>
                  <a:lnTo>
                    <a:pt x="1088" y="70"/>
                  </a:lnTo>
                  <a:lnTo>
                    <a:pt x="1090" y="73"/>
                  </a:lnTo>
                  <a:lnTo>
                    <a:pt x="1091" y="76"/>
                  </a:lnTo>
                  <a:lnTo>
                    <a:pt x="1095" y="80"/>
                  </a:lnTo>
                  <a:lnTo>
                    <a:pt x="1100" y="84"/>
                  </a:lnTo>
                  <a:lnTo>
                    <a:pt x="1103" y="86"/>
                  </a:lnTo>
                  <a:lnTo>
                    <a:pt x="1106" y="87"/>
                  </a:lnTo>
                  <a:lnTo>
                    <a:pt x="1109" y="88"/>
                  </a:lnTo>
                  <a:lnTo>
                    <a:pt x="1112" y="89"/>
                  </a:lnTo>
                  <a:lnTo>
                    <a:pt x="1120" y="90"/>
                  </a:lnTo>
                  <a:lnTo>
                    <a:pt x="1127" y="89"/>
                  </a:lnTo>
                  <a:lnTo>
                    <a:pt x="1133" y="87"/>
                  </a:lnTo>
                  <a:lnTo>
                    <a:pt x="1136" y="86"/>
                  </a:lnTo>
                  <a:lnTo>
                    <a:pt x="1139" y="84"/>
                  </a:lnTo>
                  <a:lnTo>
                    <a:pt x="1144" y="80"/>
                  </a:lnTo>
                  <a:lnTo>
                    <a:pt x="1148" y="76"/>
                  </a:lnTo>
                  <a:lnTo>
                    <a:pt x="1150" y="73"/>
                  </a:lnTo>
                  <a:lnTo>
                    <a:pt x="1151" y="70"/>
                  </a:lnTo>
                  <a:lnTo>
                    <a:pt x="1153" y="64"/>
                  </a:lnTo>
                  <a:lnTo>
                    <a:pt x="1153" y="60"/>
                  </a:lnTo>
                  <a:lnTo>
                    <a:pt x="1154" y="57"/>
                  </a:lnTo>
                  <a:lnTo>
                    <a:pt x="1153" y="53"/>
                  </a:lnTo>
                  <a:lnTo>
                    <a:pt x="1153" y="49"/>
                  </a:lnTo>
                  <a:lnTo>
                    <a:pt x="1151" y="43"/>
                  </a:lnTo>
                  <a:lnTo>
                    <a:pt x="1150" y="40"/>
                  </a:lnTo>
                  <a:lnTo>
                    <a:pt x="1148" y="37"/>
                  </a:lnTo>
                  <a:lnTo>
                    <a:pt x="1144" y="32"/>
                  </a:lnTo>
                  <a:lnTo>
                    <a:pt x="1139" y="28"/>
                  </a:lnTo>
                  <a:lnTo>
                    <a:pt x="1136" y="26"/>
                  </a:lnTo>
                  <a:lnTo>
                    <a:pt x="1133" y="25"/>
                  </a:lnTo>
                  <a:lnTo>
                    <a:pt x="1130" y="24"/>
                  </a:lnTo>
                  <a:lnTo>
                    <a:pt x="1127" y="23"/>
                  </a:lnTo>
                  <a:lnTo>
                    <a:pt x="1120" y="23"/>
                  </a:lnTo>
                  <a:close/>
                  <a:moveTo>
                    <a:pt x="1074" y="0"/>
                  </a:moveTo>
                  <a:lnTo>
                    <a:pt x="1056" y="0"/>
                  </a:lnTo>
                  <a:lnTo>
                    <a:pt x="1056" y="15"/>
                  </a:lnTo>
                  <a:lnTo>
                    <a:pt x="1074" y="15"/>
                  </a:lnTo>
                  <a:lnTo>
                    <a:pt x="1074" y="0"/>
                  </a:lnTo>
                  <a:close/>
                  <a:moveTo>
                    <a:pt x="1074" y="24"/>
                  </a:moveTo>
                  <a:lnTo>
                    <a:pt x="1056" y="24"/>
                  </a:lnTo>
                  <a:lnTo>
                    <a:pt x="1056" y="88"/>
                  </a:lnTo>
                  <a:lnTo>
                    <a:pt x="1074" y="88"/>
                  </a:lnTo>
                  <a:lnTo>
                    <a:pt x="1074" y="24"/>
                  </a:lnTo>
                  <a:close/>
                  <a:moveTo>
                    <a:pt x="1041" y="25"/>
                  </a:moveTo>
                  <a:lnTo>
                    <a:pt x="1029" y="25"/>
                  </a:lnTo>
                  <a:lnTo>
                    <a:pt x="1029" y="5"/>
                  </a:lnTo>
                  <a:lnTo>
                    <a:pt x="1011" y="5"/>
                  </a:lnTo>
                  <a:lnTo>
                    <a:pt x="1011" y="25"/>
                  </a:lnTo>
                  <a:lnTo>
                    <a:pt x="1002" y="25"/>
                  </a:lnTo>
                  <a:lnTo>
                    <a:pt x="1002" y="38"/>
                  </a:lnTo>
                  <a:lnTo>
                    <a:pt x="1011" y="38"/>
                  </a:lnTo>
                  <a:lnTo>
                    <a:pt x="1011" y="67"/>
                  </a:lnTo>
                  <a:lnTo>
                    <a:pt x="1011" y="74"/>
                  </a:lnTo>
                  <a:lnTo>
                    <a:pt x="1011" y="78"/>
                  </a:lnTo>
                  <a:lnTo>
                    <a:pt x="1012" y="81"/>
                  </a:lnTo>
                  <a:lnTo>
                    <a:pt x="1014" y="84"/>
                  </a:lnTo>
                  <a:lnTo>
                    <a:pt x="1017" y="86"/>
                  </a:lnTo>
                  <a:lnTo>
                    <a:pt x="1020" y="87"/>
                  </a:lnTo>
                  <a:lnTo>
                    <a:pt x="1024" y="88"/>
                  </a:lnTo>
                  <a:lnTo>
                    <a:pt x="1029" y="88"/>
                  </a:lnTo>
                  <a:lnTo>
                    <a:pt x="1041" y="88"/>
                  </a:lnTo>
                  <a:lnTo>
                    <a:pt x="1041" y="74"/>
                  </a:lnTo>
                  <a:lnTo>
                    <a:pt x="1034" y="74"/>
                  </a:lnTo>
                  <a:lnTo>
                    <a:pt x="1032" y="74"/>
                  </a:lnTo>
                  <a:lnTo>
                    <a:pt x="1030" y="72"/>
                  </a:lnTo>
                  <a:lnTo>
                    <a:pt x="1029" y="69"/>
                  </a:lnTo>
                  <a:lnTo>
                    <a:pt x="1029" y="63"/>
                  </a:lnTo>
                  <a:lnTo>
                    <a:pt x="1029" y="38"/>
                  </a:lnTo>
                  <a:lnTo>
                    <a:pt x="1041" y="38"/>
                  </a:lnTo>
                  <a:lnTo>
                    <a:pt x="1041" y="25"/>
                  </a:lnTo>
                  <a:close/>
                  <a:moveTo>
                    <a:pt x="973" y="68"/>
                  </a:moveTo>
                  <a:lnTo>
                    <a:pt x="970" y="71"/>
                  </a:lnTo>
                  <a:lnTo>
                    <a:pt x="967" y="74"/>
                  </a:lnTo>
                  <a:lnTo>
                    <a:pt x="963" y="75"/>
                  </a:lnTo>
                  <a:lnTo>
                    <a:pt x="959" y="76"/>
                  </a:lnTo>
                  <a:lnTo>
                    <a:pt x="955" y="75"/>
                  </a:lnTo>
                  <a:lnTo>
                    <a:pt x="952" y="74"/>
                  </a:lnTo>
                  <a:lnTo>
                    <a:pt x="950" y="72"/>
                  </a:lnTo>
                  <a:lnTo>
                    <a:pt x="950" y="70"/>
                  </a:lnTo>
                  <a:lnTo>
                    <a:pt x="949" y="69"/>
                  </a:lnTo>
                  <a:lnTo>
                    <a:pt x="950" y="66"/>
                  </a:lnTo>
                  <a:lnTo>
                    <a:pt x="952" y="64"/>
                  </a:lnTo>
                  <a:lnTo>
                    <a:pt x="955" y="62"/>
                  </a:lnTo>
                  <a:lnTo>
                    <a:pt x="959" y="61"/>
                  </a:lnTo>
                  <a:lnTo>
                    <a:pt x="966" y="60"/>
                  </a:lnTo>
                  <a:lnTo>
                    <a:pt x="973" y="58"/>
                  </a:lnTo>
                  <a:lnTo>
                    <a:pt x="973" y="68"/>
                  </a:lnTo>
                  <a:close/>
                  <a:moveTo>
                    <a:pt x="951" y="44"/>
                  </a:moveTo>
                  <a:lnTo>
                    <a:pt x="951" y="43"/>
                  </a:lnTo>
                  <a:lnTo>
                    <a:pt x="952" y="41"/>
                  </a:lnTo>
                  <a:lnTo>
                    <a:pt x="953" y="40"/>
                  </a:lnTo>
                  <a:lnTo>
                    <a:pt x="954" y="39"/>
                  </a:lnTo>
                  <a:lnTo>
                    <a:pt x="958" y="37"/>
                  </a:lnTo>
                  <a:lnTo>
                    <a:pt x="962" y="37"/>
                  </a:lnTo>
                  <a:lnTo>
                    <a:pt x="966" y="37"/>
                  </a:lnTo>
                  <a:lnTo>
                    <a:pt x="970" y="38"/>
                  </a:lnTo>
                  <a:lnTo>
                    <a:pt x="971" y="40"/>
                  </a:lnTo>
                  <a:lnTo>
                    <a:pt x="972" y="41"/>
                  </a:lnTo>
                  <a:lnTo>
                    <a:pt x="972" y="43"/>
                  </a:lnTo>
                  <a:lnTo>
                    <a:pt x="972" y="44"/>
                  </a:lnTo>
                  <a:lnTo>
                    <a:pt x="971" y="46"/>
                  </a:lnTo>
                  <a:lnTo>
                    <a:pt x="969" y="46"/>
                  </a:lnTo>
                  <a:lnTo>
                    <a:pt x="966" y="47"/>
                  </a:lnTo>
                  <a:lnTo>
                    <a:pt x="956" y="49"/>
                  </a:lnTo>
                  <a:lnTo>
                    <a:pt x="950" y="50"/>
                  </a:lnTo>
                  <a:lnTo>
                    <a:pt x="945" y="52"/>
                  </a:lnTo>
                  <a:lnTo>
                    <a:pt x="940" y="54"/>
                  </a:lnTo>
                  <a:lnTo>
                    <a:pt x="937" y="56"/>
                  </a:lnTo>
                  <a:lnTo>
                    <a:pt x="934" y="59"/>
                  </a:lnTo>
                  <a:lnTo>
                    <a:pt x="933" y="60"/>
                  </a:lnTo>
                  <a:lnTo>
                    <a:pt x="932" y="62"/>
                  </a:lnTo>
                  <a:lnTo>
                    <a:pt x="931" y="66"/>
                  </a:lnTo>
                  <a:lnTo>
                    <a:pt x="931" y="70"/>
                  </a:lnTo>
                  <a:lnTo>
                    <a:pt x="931" y="74"/>
                  </a:lnTo>
                  <a:lnTo>
                    <a:pt x="933" y="78"/>
                  </a:lnTo>
                  <a:lnTo>
                    <a:pt x="935" y="81"/>
                  </a:lnTo>
                  <a:lnTo>
                    <a:pt x="937" y="84"/>
                  </a:lnTo>
                  <a:lnTo>
                    <a:pt x="941" y="87"/>
                  </a:lnTo>
                  <a:lnTo>
                    <a:pt x="945" y="88"/>
                  </a:lnTo>
                  <a:lnTo>
                    <a:pt x="949" y="89"/>
                  </a:lnTo>
                  <a:lnTo>
                    <a:pt x="954" y="90"/>
                  </a:lnTo>
                  <a:lnTo>
                    <a:pt x="960" y="90"/>
                  </a:lnTo>
                  <a:lnTo>
                    <a:pt x="964" y="88"/>
                  </a:lnTo>
                  <a:lnTo>
                    <a:pt x="968" y="86"/>
                  </a:lnTo>
                  <a:lnTo>
                    <a:pt x="973" y="83"/>
                  </a:lnTo>
                  <a:lnTo>
                    <a:pt x="974" y="88"/>
                  </a:lnTo>
                  <a:lnTo>
                    <a:pt x="993" y="88"/>
                  </a:lnTo>
                  <a:lnTo>
                    <a:pt x="992" y="86"/>
                  </a:lnTo>
                  <a:lnTo>
                    <a:pt x="991" y="84"/>
                  </a:lnTo>
                  <a:lnTo>
                    <a:pt x="991" y="77"/>
                  </a:lnTo>
                  <a:lnTo>
                    <a:pt x="991" y="48"/>
                  </a:lnTo>
                  <a:lnTo>
                    <a:pt x="991" y="41"/>
                  </a:lnTo>
                  <a:lnTo>
                    <a:pt x="990" y="36"/>
                  </a:lnTo>
                  <a:lnTo>
                    <a:pt x="988" y="32"/>
                  </a:lnTo>
                  <a:lnTo>
                    <a:pt x="986" y="31"/>
                  </a:lnTo>
                  <a:lnTo>
                    <a:pt x="985" y="29"/>
                  </a:lnTo>
                  <a:lnTo>
                    <a:pt x="980" y="26"/>
                  </a:lnTo>
                  <a:lnTo>
                    <a:pt x="975" y="24"/>
                  </a:lnTo>
                  <a:lnTo>
                    <a:pt x="969" y="23"/>
                  </a:lnTo>
                  <a:lnTo>
                    <a:pt x="962" y="23"/>
                  </a:lnTo>
                  <a:lnTo>
                    <a:pt x="956" y="23"/>
                  </a:lnTo>
                  <a:lnTo>
                    <a:pt x="951" y="24"/>
                  </a:lnTo>
                  <a:lnTo>
                    <a:pt x="946" y="26"/>
                  </a:lnTo>
                  <a:lnTo>
                    <a:pt x="942" y="28"/>
                  </a:lnTo>
                  <a:lnTo>
                    <a:pt x="939" y="31"/>
                  </a:lnTo>
                  <a:lnTo>
                    <a:pt x="937" y="35"/>
                  </a:lnTo>
                  <a:lnTo>
                    <a:pt x="936" y="37"/>
                  </a:lnTo>
                  <a:lnTo>
                    <a:pt x="935" y="39"/>
                  </a:lnTo>
                  <a:lnTo>
                    <a:pt x="934" y="42"/>
                  </a:lnTo>
                  <a:lnTo>
                    <a:pt x="934" y="44"/>
                  </a:lnTo>
                  <a:lnTo>
                    <a:pt x="951" y="44"/>
                  </a:lnTo>
                  <a:close/>
                  <a:moveTo>
                    <a:pt x="920" y="47"/>
                  </a:moveTo>
                  <a:lnTo>
                    <a:pt x="920" y="42"/>
                  </a:lnTo>
                  <a:lnTo>
                    <a:pt x="918" y="37"/>
                  </a:lnTo>
                  <a:lnTo>
                    <a:pt x="915" y="33"/>
                  </a:lnTo>
                  <a:lnTo>
                    <a:pt x="912" y="29"/>
                  </a:lnTo>
                  <a:lnTo>
                    <a:pt x="907" y="26"/>
                  </a:lnTo>
                  <a:lnTo>
                    <a:pt x="903" y="24"/>
                  </a:lnTo>
                  <a:lnTo>
                    <a:pt x="897" y="23"/>
                  </a:lnTo>
                  <a:lnTo>
                    <a:pt x="891" y="23"/>
                  </a:lnTo>
                  <a:lnTo>
                    <a:pt x="884" y="23"/>
                  </a:lnTo>
                  <a:lnTo>
                    <a:pt x="878" y="25"/>
                  </a:lnTo>
                  <a:lnTo>
                    <a:pt x="872" y="28"/>
                  </a:lnTo>
                  <a:lnTo>
                    <a:pt x="870" y="29"/>
                  </a:lnTo>
                  <a:lnTo>
                    <a:pt x="867" y="32"/>
                  </a:lnTo>
                  <a:lnTo>
                    <a:pt x="865" y="34"/>
                  </a:lnTo>
                  <a:lnTo>
                    <a:pt x="864" y="36"/>
                  </a:lnTo>
                  <a:lnTo>
                    <a:pt x="861" y="42"/>
                  </a:lnTo>
                  <a:lnTo>
                    <a:pt x="859" y="49"/>
                  </a:lnTo>
                  <a:lnTo>
                    <a:pt x="859" y="56"/>
                  </a:lnTo>
                  <a:lnTo>
                    <a:pt x="859" y="64"/>
                  </a:lnTo>
                  <a:lnTo>
                    <a:pt x="860" y="67"/>
                  </a:lnTo>
                  <a:lnTo>
                    <a:pt x="861" y="70"/>
                  </a:lnTo>
                  <a:lnTo>
                    <a:pt x="864" y="76"/>
                  </a:lnTo>
                  <a:lnTo>
                    <a:pt x="865" y="79"/>
                  </a:lnTo>
                  <a:lnTo>
                    <a:pt x="867" y="81"/>
                  </a:lnTo>
                  <a:lnTo>
                    <a:pt x="872" y="85"/>
                  </a:lnTo>
                  <a:lnTo>
                    <a:pt x="877" y="88"/>
                  </a:lnTo>
                  <a:lnTo>
                    <a:pt x="884" y="89"/>
                  </a:lnTo>
                  <a:lnTo>
                    <a:pt x="887" y="90"/>
                  </a:lnTo>
                  <a:lnTo>
                    <a:pt x="891" y="90"/>
                  </a:lnTo>
                  <a:lnTo>
                    <a:pt x="897" y="89"/>
                  </a:lnTo>
                  <a:lnTo>
                    <a:pt x="902" y="88"/>
                  </a:lnTo>
                  <a:lnTo>
                    <a:pt x="907" y="86"/>
                  </a:lnTo>
                  <a:lnTo>
                    <a:pt x="911" y="83"/>
                  </a:lnTo>
                  <a:lnTo>
                    <a:pt x="915" y="80"/>
                  </a:lnTo>
                  <a:lnTo>
                    <a:pt x="918" y="75"/>
                  </a:lnTo>
                  <a:lnTo>
                    <a:pt x="920" y="70"/>
                  </a:lnTo>
                  <a:lnTo>
                    <a:pt x="921" y="65"/>
                  </a:lnTo>
                  <a:lnTo>
                    <a:pt x="903" y="64"/>
                  </a:lnTo>
                  <a:lnTo>
                    <a:pt x="902" y="66"/>
                  </a:lnTo>
                  <a:lnTo>
                    <a:pt x="901" y="69"/>
                  </a:lnTo>
                  <a:lnTo>
                    <a:pt x="899" y="72"/>
                  </a:lnTo>
                  <a:lnTo>
                    <a:pt x="897" y="73"/>
                  </a:lnTo>
                  <a:lnTo>
                    <a:pt x="896" y="74"/>
                  </a:lnTo>
                  <a:lnTo>
                    <a:pt x="893" y="74"/>
                  </a:lnTo>
                  <a:lnTo>
                    <a:pt x="891" y="75"/>
                  </a:lnTo>
                  <a:lnTo>
                    <a:pt x="888" y="74"/>
                  </a:lnTo>
                  <a:lnTo>
                    <a:pt x="885" y="73"/>
                  </a:lnTo>
                  <a:lnTo>
                    <a:pt x="883" y="72"/>
                  </a:lnTo>
                  <a:lnTo>
                    <a:pt x="881" y="70"/>
                  </a:lnTo>
                  <a:lnTo>
                    <a:pt x="880" y="67"/>
                  </a:lnTo>
                  <a:lnTo>
                    <a:pt x="879" y="64"/>
                  </a:lnTo>
                  <a:lnTo>
                    <a:pt x="878" y="60"/>
                  </a:lnTo>
                  <a:lnTo>
                    <a:pt x="878" y="56"/>
                  </a:lnTo>
                  <a:lnTo>
                    <a:pt x="878" y="52"/>
                  </a:lnTo>
                  <a:lnTo>
                    <a:pt x="878" y="50"/>
                  </a:lnTo>
                  <a:lnTo>
                    <a:pt x="879" y="48"/>
                  </a:lnTo>
                  <a:lnTo>
                    <a:pt x="880" y="45"/>
                  </a:lnTo>
                  <a:lnTo>
                    <a:pt x="881" y="42"/>
                  </a:lnTo>
                  <a:lnTo>
                    <a:pt x="883" y="40"/>
                  </a:lnTo>
                  <a:lnTo>
                    <a:pt x="885" y="39"/>
                  </a:lnTo>
                  <a:lnTo>
                    <a:pt x="888" y="38"/>
                  </a:lnTo>
                  <a:lnTo>
                    <a:pt x="891" y="38"/>
                  </a:lnTo>
                  <a:lnTo>
                    <a:pt x="895" y="38"/>
                  </a:lnTo>
                  <a:lnTo>
                    <a:pt x="899" y="40"/>
                  </a:lnTo>
                  <a:lnTo>
                    <a:pt x="900" y="42"/>
                  </a:lnTo>
                  <a:lnTo>
                    <a:pt x="901" y="43"/>
                  </a:lnTo>
                  <a:lnTo>
                    <a:pt x="902" y="45"/>
                  </a:lnTo>
                  <a:lnTo>
                    <a:pt x="903" y="47"/>
                  </a:lnTo>
                  <a:lnTo>
                    <a:pt x="920" y="47"/>
                  </a:lnTo>
                  <a:close/>
                  <a:moveTo>
                    <a:pt x="847" y="24"/>
                  </a:moveTo>
                  <a:lnTo>
                    <a:pt x="828" y="24"/>
                  </a:lnTo>
                  <a:lnTo>
                    <a:pt x="828" y="60"/>
                  </a:lnTo>
                  <a:lnTo>
                    <a:pt x="828" y="67"/>
                  </a:lnTo>
                  <a:lnTo>
                    <a:pt x="827" y="69"/>
                  </a:lnTo>
                  <a:lnTo>
                    <a:pt x="826" y="70"/>
                  </a:lnTo>
                  <a:lnTo>
                    <a:pt x="825" y="72"/>
                  </a:lnTo>
                  <a:lnTo>
                    <a:pt x="823" y="73"/>
                  </a:lnTo>
                  <a:lnTo>
                    <a:pt x="821" y="74"/>
                  </a:lnTo>
                  <a:lnTo>
                    <a:pt x="818" y="74"/>
                  </a:lnTo>
                  <a:lnTo>
                    <a:pt x="816" y="74"/>
                  </a:lnTo>
                  <a:lnTo>
                    <a:pt x="814" y="73"/>
                  </a:lnTo>
                  <a:lnTo>
                    <a:pt x="812" y="72"/>
                  </a:lnTo>
                  <a:lnTo>
                    <a:pt x="810" y="70"/>
                  </a:lnTo>
                  <a:lnTo>
                    <a:pt x="809" y="67"/>
                  </a:lnTo>
                  <a:lnTo>
                    <a:pt x="808" y="60"/>
                  </a:lnTo>
                  <a:lnTo>
                    <a:pt x="808" y="24"/>
                  </a:lnTo>
                  <a:lnTo>
                    <a:pt x="789" y="24"/>
                  </a:lnTo>
                  <a:lnTo>
                    <a:pt x="789" y="64"/>
                  </a:lnTo>
                  <a:lnTo>
                    <a:pt x="790" y="71"/>
                  </a:lnTo>
                  <a:lnTo>
                    <a:pt x="791" y="76"/>
                  </a:lnTo>
                  <a:lnTo>
                    <a:pt x="792" y="78"/>
                  </a:lnTo>
                  <a:lnTo>
                    <a:pt x="793" y="80"/>
                  </a:lnTo>
                  <a:lnTo>
                    <a:pt x="795" y="83"/>
                  </a:lnTo>
                  <a:lnTo>
                    <a:pt x="799" y="86"/>
                  </a:lnTo>
                  <a:lnTo>
                    <a:pt x="803" y="88"/>
                  </a:lnTo>
                  <a:lnTo>
                    <a:pt x="808" y="89"/>
                  </a:lnTo>
                  <a:lnTo>
                    <a:pt x="812" y="90"/>
                  </a:lnTo>
                  <a:lnTo>
                    <a:pt x="818" y="89"/>
                  </a:lnTo>
                  <a:lnTo>
                    <a:pt x="822" y="88"/>
                  </a:lnTo>
                  <a:lnTo>
                    <a:pt x="826" y="85"/>
                  </a:lnTo>
                  <a:lnTo>
                    <a:pt x="828" y="83"/>
                  </a:lnTo>
                  <a:lnTo>
                    <a:pt x="829" y="81"/>
                  </a:lnTo>
                  <a:lnTo>
                    <a:pt x="829" y="88"/>
                  </a:lnTo>
                  <a:lnTo>
                    <a:pt x="847" y="88"/>
                  </a:lnTo>
                  <a:lnTo>
                    <a:pt x="847" y="24"/>
                  </a:lnTo>
                  <a:close/>
                  <a:moveTo>
                    <a:pt x="743" y="38"/>
                  </a:moveTo>
                  <a:lnTo>
                    <a:pt x="746" y="38"/>
                  </a:lnTo>
                  <a:lnTo>
                    <a:pt x="749" y="39"/>
                  </a:lnTo>
                  <a:lnTo>
                    <a:pt x="751" y="41"/>
                  </a:lnTo>
                  <a:lnTo>
                    <a:pt x="753" y="43"/>
                  </a:lnTo>
                  <a:lnTo>
                    <a:pt x="755" y="45"/>
                  </a:lnTo>
                  <a:lnTo>
                    <a:pt x="756" y="49"/>
                  </a:lnTo>
                  <a:lnTo>
                    <a:pt x="756" y="52"/>
                  </a:lnTo>
                  <a:lnTo>
                    <a:pt x="757" y="56"/>
                  </a:lnTo>
                  <a:lnTo>
                    <a:pt x="756" y="60"/>
                  </a:lnTo>
                  <a:lnTo>
                    <a:pt x="756" y="64"/>
                  </a:lnTo>
                  <a:lnTo>
                    <a:pt x="755" y="67"/>
                  </a:lnTo>
                  <a:lnTo>
                    <a:pt x="753" y="70"/>
                  </a:lnTo>
                  <a:lnTo>
                    <a:pt x="751" y="72"/>
                  </a:lnTo>
                  <a:lnTo>
                    <a:pt x="749" y="73"/>
                  </a:lnTo>
                  <a:lnTo>
                    <a:pt x="746" y="74"/>
                  </a:lnTo>
                  <a:lnTo>
                    <a:pt x="743" y="75"/>
                  </a:lnTo>
                  <a:lnTo>
                    <a:pt x="740" y="74"/>
                  </a:lnTo>
                  <a:lnTo>
                    <a:pt x="738" y="73"/>
                  </a:lnTo>
                  <a:lnTo>
                    <a:pt x="735" y="72"/>
                  </a:lnTo>
                  <a:lnTo>
                    <a:pt x="733" y="70"/>
                  </a:lnTo>
                  <a:lnTo>
                    <a:pt x="732" y="67"/>
                  </a:lnTo>
                  <a:lnTo>
                    <a:pt x="731" y="64"/>
                  </a:lnTo>
                  <a:lnTo>
                    <a:pt x="730" y="60"/>
                  </a:lnTo>
                  <a:lnTo>
                    <a:pt x="730" y="56"/>
                  </a:lnTo>
                  <a:lnTo>
                    <a:pt x="730" y="52"/>
                  </a:lnTo>
                  <a:lnTo>
                    <a:pt x="731" y="48"/>
                  </a:lnTo>
                  <a:lnTo>
                    <a:pt x="732" y="45"/>
                  </a:lnTo>
                  <a:lnTo>
                    <a:pt x="733" y="43"/>
                  </a:lnTo>
                  <a:lnTo>
                    <a:pt x="735" y="40"/>
                  </a:lnTo>
                  <a:lnTo>
                    <a:pt x="738" y="39"/>
                  </a:lnTo>
                  <a:lnTo>
                    <a:pt x="740" y="38"/>
                  </a:lnTo>
                  <a:lnTo>
                    <a:pt x="743" y="38"/>
                  </a:lnTo>
                  <a:close/>
                  <a:moveTo>
                    <a:pt x="775" y="0"/>
                  </a:moveTo>
                  <a:lnTo>
                    <a:pt x="756" y="0"/>
                  </a:lnTo>
                  <a:lnTo>
                    <a:pt x="756" y="29"/>
                  </a:lnTo>
                  <a:lnTo>
                    <a:pt x="753" y="26"/>
                  </a:lnTo>
                  <a:lnTo>
                    <a:pt x="749" y="24"/>
                  </a:lnTo>
                  <a:lnTo>
                    <a:pt x="745" y="23"/>
                  </a:lnTo>
                  <a:lnTo>
                    <a:pt x="740" y="22"/>
                  </a:lnTo>
                  <a:lnTo>
                    <a:pt x="734" y="23"/>
                  </a:lnTo>
                  <a:lnTo>
                    <a:pt x="728" y="25"/>
                  </a:lnTo>
                  <a:lnTo>
                    <a:pt x="723" y="28"/>
                  </a:lnTo>
                  <a:lnTo>
                    <a:pt x="719" y="32"/>
                  </a:lnTo>
                  <a:lnTo>
                    <a:pt x="716" y="37"/>
                  </a:lnTo>
                  <a:lnTo>
                    <a:pt x="713" y="42"/>
                  </a:lnTo>
                  <a:lnTo>
                    <a:pt x="712" y="46"/>
                  </a:lnTo>
                  <a:lnTo>
                    <a:pt x="712" y="49"/>
                  </a:lnTo>
                  <a:lnTo>
                    <a:pt x="711" y="56"/>
                  </a:lnTo>
                  <a:lnTo>
                    <a:pt x="712" y="64"/>
                  </a:lnTo>
                  <a:lnTo>
                    <a:pt x="712" y="67"/>
                  </a:lnTo>
                  <a:lnTo>
                    <a:pt x="713" y="70"/>
                  </a:lnTo>
                  <a:lnTo>
                    <a:pt x="716" y="76"/>
                  </a:lnTo>
                  <a:lnTo>
                    <a:pt x="717" y="78"/>
                  </a:lnTo>
                  <a:lnTo>
                    <a:pt x="719" y="81"/>
                  </a:lnTo>
                  <a:lnTo>
                    <a:pt x="723" y="85"/>
                  </a:lnTo>
                  <a:lnTo>
                    <a:pt x="728" y="87"/>
                  </a:lnTo>
                  <a:lnTo>
                    <a:pt x="730" y="88"/>
                  </a:lnTo>
                  <a:lnTo>
                    <a:pt x="733" y="89"/>
                  </a:lnTo>
                  <a:lnTo>
                    <a:pt x="736" y="90"/>
                  </a:lnTo>
                  <a:lnTo>
                    <a:pt x="739" y="90"/>
                  </a:lnTo>
                  <a:lnTo>
                    <a:pt x="745" y="89"/>
                  </a:lnTo>
                  <a:lnTo>
                    <a:pt x="747" y="89"/>
                  </a:lnTo>
                  <a:lnTo>
                    <a:pt x="749" y="88"/>
                  </a:lnTo>
                  <a:lnTo>
                    <a:pt x="751" y="87"/>
                  </a:lnTo>
                  <a:lnTo>
                    <a:pt x="753" y="85"/>
                  </a:lnTo>
                  <a:lnTo>
                    <a:pt x="757" y="81"/>
                  </a:lnTo>
                  <a:lnTo>
                    <a:pt x="757" y="88"/>
                  </a:lnTo>
                  <a:lnTo>
                    <a:pt x="775" y="88"/>
                  </a:lnTo>
                  <a:lnTo>
                    <a:pt x="775" y="0"/>
                  </a:lnTo>
                  <a:close/>
                  <a:moveTo>
                    <a:pt x="701" y="0"/>
                  </a:moveTo>
                  <a:lnTo>
                    <a:pt x="634" y="0"/>
                  </a:lnTo>
                  <a:lnTo>
                    <a:pt x="634" y="88"/>
                  </a:lnTo>
                  <a:lnTo>
                    <a:pt x="702" y="88"/>
                  </a:lnTo>
                  <a:lnTo>
                    <a:pt x="702" y="71"/>
                  </a:lnTo>
                  <a:lnTo>
                    <a:pt x="655" y="71"/>
                  </a:lnTo>
                  <a:lnTo>
                    <a:pt x="655" y="50"/>
                  </a:lnTo>
                  <a:lnTo>
                    <a:pt x="695" y="50"/>
                  </a:lnTo>
                  <a:lnTo>
                    <a:pt x="695" y="34"/>
                  </a:lnTo>
                  <a:lnTo>
                    <a:pt x="655" y="34"/>
                  </a:lnTo>
                  <a:lnTo>
                    <a:pt x="655" y="17"/>
                  </a:lnTo>
                  <a:lnTo>
                    <a:pt x="701" y="17"/>
                  </a:lnTo>
                  <a:lnTo>
                    <a:pt x="701" y="0"/>
                  </a:lnTo>
                  <a:close/>
                  <a:moveTo>
                    <a:pt x="538" y="48"/>
                  </a:moveTo>
                  <a:lnTo>
                    <a:pt x="539" y="46"/>
                  </a:lnTo>
                  <a:lnTo>
                    <a:pt x="540" y="43"/>
                  </a:lnTo>
                  <a:lnTo>
                    <a:pt x="541" y="41"/>
                  </a:lnTo>
                  <a:lnTo>
                    <a:pt x="543" y="40"/>
                  </a:lnTo>
                  <a:lnTo>
                    <a:pt x="544" y="38"/>
                  </a:lnTo>
                  <a:lnTo>
                    <a:pt x="547" y="38"/>
                  </a:lnTo>
                  <a:lnTo>
                    <a:pt x="552" y="37"/>
                  </a:lnTo>
                  <a:lnTo>
                    <a:pt x="556" y="38"/>
                  </a:lnTo>
                  <a:lnTo>
                    <a:pt x="558" y="38"/>
                  </a:lnTo>
                  <a:lnTo>
                    <a:pt x="560" y="40"/>
                  </a:lnTo>
                  <a:lnTo>
                    <a:pt x="562" y="41"/>
                  </a:lnTo>
                  <a:lnTo>
                    <a:pt x="563" y="43"/>
                  </a:lnTo>
                  <a:lnTo>
                    <a:pt x="564" y="46"/>
                  </a:lnTo>
                  <a:lnTo>
                    <a:pt x="564" y="48"/>
                  </a:lnTo>
                  <a:lnTo>
                    <a:pt x="538" y="48"/>
                  </a:lnTo>
                  <a:close/>
                  <a:moveTo>
                    <a:pt x="583" y="62"/>
                  </a:moveTo>
                  <a:lnTo>
                    <a:pt x="583" y="56"/>
                  </a:lnTo>
                  <a:lnTo>
                    <a:pt x="583" y="50"/>
                  </a:lnTo>
                  <a:lnTo>
                    <a:pt x="582" y="46"/>
                  </a:lnTo>
                  <a:lnTo>
                    <a:pt x="580" y="41"/>
                  </a:lnTo>
                  <a:lnTo>
                    <a:pt x="578" y="37"/>
                  </a:lnTo>
                  <a:lnTo>
                    <a:pt x="576" y="33"/>
                  </a:lnTo>
                  <a:lnTo>
                    <a:pt x="573" y="30"/>
                  </a:lnTo>
                  <a:lnTo>
                    <a:pt x="569" y="27"/>
                  </a:lnTo>
                  <a:lnTo>
                    <a:pt x="565" y="25"/>
                  </a:lnTo>
                  <a:lnTo>
                    <a:pt x="561" y="24"/>
                  </a:lnTo>
                  <a:lnTo>
                    <a:pt x="557" y="23"/>
                  </a:lnTo>
                  <a:lnTo>
                    <a:pt x="552" y="23"/>
                  </a:lnTo>
                  <a:lnTo>
                    <a:pt x="545" y="23"/>
                  </a:lnTo>
                  <a:lnTo>
                    <a:pt x="538" y="25"/>
                  </a:lnTo>
                  <a:lnTo>
                    <a:pt x="536" y="26"/>
                  </a:lnTo>
                  <a:lnTo>
                    <a:pt x="533" y="28"/>
                  </a:lnTo>
                  <a:lnTo>
                    <a:pt x="528" y="32"/>
                  </a:lnTo>
                  <a:lnTo>
                    <a:pt x="526" y="34"/>
                  </a:lnTo>
                  <a:lnTo>
                    <a:pt x="524" y="37"/>
                  </a:lnTo>
                  <a:lnTo>
                    <a:pt x="521" y="43"/>
                  </a:lnTo>
                  <a:lnTo>
                    <a:pt x="520" y="49"/>
                  </a:lnTo>
                  <a:lnTo>
                    <a:pt x="519" y="53"/>
                  </a:lnTo>
                  <a:lnTo>
                    <a:pt x="519" y="56"/>
                  </a:lnTo>
                  <a:lnTo>
                    <a:pt x="520" y="63"/>
                  </a:lnTo>
                  <a:lnTo>
                    <a:pt x="521" y="70"/>
                  </a:lnTo>
                  <a:lnTo>
                    <a:pt x="524" y="76"/>
                  </a:lnTo>
                  <a:lnTo>
                    <a:pt x="526" y="78"/>
                  </a:lnTo>
                  <a:lnTo>
                    <a:pt x="528" y="81"/>
                  </a:lnTo>
                  <a:lnTo>
                    <a:pt x="533" y="85"/>
                  </a:lnTo>
                  <a:lnTo>
                    <a:pt x="538" y="87"/>
                  </a:lnTo>
                  <a:lnTo>
                    <a:pt x="541" y="88"/>
                  </a:lnTo>
                  <a:lnTo>
                    <a:pt x="545" y="89"/>
                  </a:lnTo>
                  <a:lnTo>
                    <a:pt x="548" y="90"/>
                  </a:lnTo>
                  <a:lnTo>
                    <a:pt x="552" y="90"/>
                  </a:lnTo>
                  <a:lnTo>
                    <a:pt x="557" y="89"/>
                  </a:lnTo>
                  <a:lnTo>
                    <a:pt x="563" y="88"/>
                  </a:lnTo>
                  <a:lnTo>
                    <a:pt x="567" y="87"/>
                  </a:lnTo>
                  <a:lnTo>
                    <a:pt x="572" y="84"/>
                  </a:lnTo>
                  <a:lnTo>
                    <a:pt x="575" y="81"/>
                  </a:lnTo>
                  <a:lnTo>
                    <a:pt x="577" y="80"/>
                  </a:lnTo>
                  <a:lnTo>
                    <a:pt x="578" y="78"/>
                  </a:lnTo>
                  <a:lnTo>
                    <a:pt x="581" y="74"/>
                  </a:lnTo>
                  <a:lnTo>
                    <a:pt x="583" y="69"/>
                  </a:lnTo>
                  <a:lnTo>
                    <a:pt x="563" y="69"/>
                  </a:lnTo>
                  <a:lnTo>
                    <a:pt x="561" y="72"/>
                  </a:lnTo>
                  <a:lnTo>
                    <a:pt x="559" y="74"/>
                  </a:lnTo>
                  <a:lnTo>
                    <a:pt x="556" y="75"/>
                  </a:lnTo>
                  <a:lnTo>
                    <a:pt x="552" y="75"/>
                  </a:lnTo>
                  <a:lnTo>
                    <a:pt x="549" y="75"/>
                  </a:lnTo>
                  <a:lnTo>
                    <a:pt x="547" y="74"/>
                  </a:lnTo>
                  <a:lnTo>
                    <a:pt x="545" y="73"/>
                  </a:lnTo>
                  <a:lnTo>
                    <a:pt x="543" y="72"/>
                  </a:lnTo>
                  <a:lnTo>
                    <a:pt x="541" y="70"/>
                  </a:lnTo>
                  <a:lnTo>
                    <a:pt x="540" y="67"/>
                  </a:lnTo>
                  <a:lnTo>
                    <a:pt x="539" y="65"/>
                  </a:lnTo>
                  <a:lnTo>
                    <a:pt x="538" y="62"/>
                  </a:lnTo>
                  <a:lnTo>
                    <a:pt x="583" y="62"/>
                  </a:lnTo>
                  <a:close/>
                  <a:moveTo>
                    <a:pt x="493" y="88"/>
                  </a:moveTo>
                  <a:lnTo>
                    <a:pt x="514" y="24"/>
                  </a:lnTo>
                  <a:lnTo>
                    <a:pt x="494" y="24"/>
                  </a:lnTo>
                  <a:lnTo>
                    <a:pt x="488" y="49"/>
                  </a:lnTo>
                  <a:lnTo>
                    <a:pt x="484" y="67"/>
                  </a:lnTo>
                  <a:lnTo>
                    <a:pt x="479" y="49"/>
                  </a:lnTo>
                  <a:lnTo>
                    <a:pt x="471" y="24"/>
                  </a:lnTo>
                  <a:lnTo>
                    <a:pt x="452" y="24"/>
                  </a:lnTo>
                  <a:lnTo>
                    <a:pt x="475" y="88"/>
                  </a:lnTo>
                  <a:lnTo>
                    <a:pt x="493" y="88"/>
                  </a:lnTo>
                  <a:close/>
                  <a:moveTo>
                    <a:pt x="440" y="0"/>
                  </a:moveTo>
                  <a:lnTo>
                    <a:pt x="421" y="0"/>
                  </a:lnTo>
                  <a:lnTo>
                    <a:pt x="421" y="15"/>
                  </a:lnTo>
                  <a:lnTo>
                    <a:pt x="440" y="15"/>
                  </a:lnTo>
                  <a:lnTo>
                    <a:pt x="440" y="0"/>
                  </a:lnTo>
                  <a:close/>
                  <a:moveTo>
                    <a:pt x="440" y="24"/>
                  </a:moveTo>
                  <a:lnTo>
                    <a:pt x="421" y="24"/>
                  </a:lnTo>
                  <a:lnTo>
                    <a:pt x="421" y="88"/>
                  </a:lnTo>
                  <a:lnTo>
                    <a:pt x="440" y="88"/>
                  </a:lnTo>
                  <a:lnTo>
                    <a:pt x="440" y="24"/>
                  </a:lnTo>
                  <a:close/>
                  <a:moveTo>
                    <a:pt x="405" y="25"/>
                  </a:moveTo>
                  <a:lnTo>
                    <a:pt x="394" y="25"/>
                  </a:lnTo>
                  <a:lnTo>
                    <a:pt x="394" y="5"/>
                  </a:lnTo>
                  <a:lnTo>
                    <a:pt x="375" y="5"/>
                  </a:lnTo>
                  <a:lnTo>
                    <a:pt x="375" y="25"/>
                  </a:lnTo>
                  <a:lnTo>
                    <a:pt x="366" y="25"/>
                  </a:lnTo>
                  <a:lnTo>
                    <a:pt x="366" y="38"/>
                  </a:lnTo>
                  <a:lnTo>
                    <a:pt x="375" y="38"/>
                  </a:lnTo>
                  <a:lnTo>
                    <a:pt x="375" y="67"/>
                  </a:lnTo>
                  <a:lnTo>
                    <a:pt x="375" y="74"/>
                  </a:lnTo>
                  <a:lnTo>
                    <a:pt x="376" y="78"/>
                  </a:lnTo>
                  <a:lnTo>
                    <a:pt x="377" y="81"/>
                  </a:lnTo>
                  <a:lnTo>
                    <a:pt x="378" y="84"/>
                  </a:lnTo>
                  <a:lnTo>
                    <a:pt x="381" y="86"/>
                  </a:lnTo>
                  <a:lnTo>
                    <a:pt x="384" y="87"/>
                  </a:lnTo>
                  <a:lnTo>
                    <a:pt x="388" y="88"/>
                  </a:lnTo>
                  <a:lnTo>
                    <a:pt x="394" y="88"/>
                  </a:lnTo>
                  <a:lnTo>
                    <a:pt x="405" y="88"/>
                  </a:lnTo>
                  <a:lnTo>
                    <a:pt x="405" y="74"/>
                  </a:lnTo>
                  <a:lnTo>
                    <a:pt x="398" y="74"/>
                  </a:lnTo>
                  <a:lnTo>
                    <a:pt x="396" y="74"/>
                  </a:lnTo>
                  <a:lnTo>
                    <a:pt x="394" y="72"/>
                  </a:lnTo>
                  <a:lnTo>
                    <a:pt x="394" y="69"/>
                  </a:lnTo>
                  <a:lnTo>
                    <a:pt x="394" y="63"/>
                  </a:lnTo>
                  <a:lnTo>
                    <a:pt x="394" y="38"/>
                  </a:lnTo>
                  <a:lnTo>
                    <a:pt x="405" y="38"/>
                  </a:lnTo>
                  <a:lnTo>
                    <a:pt x="405" y="25"/>
                  </a:lnTo>
                  <a:close/>
                  <a:moveTo>
                    <a:pt x="353" y="24"/>
                  </a:moveTo>
                  <a:lnTo>
                    <a:pt x="334" y="24"/>
                  </a:lnTo>
                  <a:lnTo>
                    <a:pt x="334" y="60"/>
                  </a:lnTo>
                  <a:lnTo>
                    <a:pt x="334" y="67"/>
                  </a:lnTo>
                  <a:lnTo>
                    <a:pt x="333" y="69"/>
                  </a:lnTo>
                  <a:lnTo>
                    <a:pt x="332" y="70"/>
                  </a:lnTo>
                  <a:lnTo>
                    <a:pt x="331" y="72"/>
                  </a:lnTo>
                  <a:lnTo>
                    <a:pt x="329" y="73"/>
                  </a:lnTo>
                  <a:lnTo>
                    <a:pt x="327" y="74"/>
                  </a:lnTo>
                  <a:lnTo>
                    <a:pt x="324" y="74"/>
                  </a:lnTo>
                  <a:lnTo>
                    <a:pt x="322" y="74"/>
                  </a:lnTo>
                  <a:lnTo>
                    <a:pt x="319" y="73"/>
                  </a:lnTo>
                  <a:lnTo>
                    <a:pt x="317" y="72"/>
                  </a:lnTo>
                  <a:lnTo>
                    <a:pt x="316" y="70"/>
                  </a:lnTo>
                  <a:lnTo>
                    <a:pt x="314" y="67"/>
                  </a:lnTo>
                  <a:lnTo>
                    <a:pt x="314" y="60"/>
                  </a:lnTo>
                  <a:lnTo>
                    <a:pt x="314" y="24"/>
                  </a:lnTo>
                  <a:lnTo>
                    <a:pt x="295" y="24"/>
                  </a:lnTo>
                  <a:lnTo>
                    <a:pt x="295" y="64"/>
                  </a:lnTo>
                  <a:lnTo>
                    <a:pt x="295" y="71"/>
                  </a:lnTo>
                  <a:lnTo>
                    <a:pt x="296" y="76"/>
                  </a:lnTo>
                  <a:lnTo>
                    <a:pt x="297" y="78"/>
                  </a:lnTo>
                  <a:lnTo>
                    <a:pt x="298" y="80"/>
                  </a:lnTo>
                  <a:lnTo>
                    <a:pt x="301" y="83"/>
                  </a:lnTo>
                  <a:lnTo>
                    <a:pt x="305" y="86"/>
                  </a:lnTo>
                  <a:lnTo>
                    <a:pt x="309" y="88"/>
                  </a:lnTo>
                  <a:lnTo>
                    <a:pt x="313" y="89"/>
                  </a:lnTo>
                  <a:lnTo>
                    <a:pt x="318" y="90"/>
                  </a:lnTo>
                  <a:lnTo>
                    <a:pt x="323" y="89"/>
                  </a:lnTo>
                  <a:lnTo>
                    <a:pt x="328" y="88"/>
                  </a:lnTo>
                  <a:lnTo>
                    <a:pt x="332" y="85"/>
                  </a:lnTo>
                  <a:lnTo>
                    <a:pt x="333" y="83"/>
                  </a:lnTo>
                  <a:lnTo>
                    <a:pt x="335" y="81"/>
                  </a:lnTo>
                  <a:lnTo>
                    <a:pt x="335" y="88"/>
                  </a:lnTo>
                  <a:lnTo>
                    <a:pt x="353" y="88"/>
                  </a:lnTo>
                  <a:lnTo>
                    <a:pt x="353" y="24"/>
                  </a:lnTo>
                  <a:close/>
                  <a:moveTo>
                    <a:pt x="282" y="47"/>
                  </a:moveTo>
                  <a:lnTo>
                    <a:pt x="281" y="42"/>
                  </a:lnTo>
                  <a:lnTo>
                    <a:pt x="279" y="37"/>
                  </a:lnTo>
                  <a:lnTo>
                    <a:pt x="276" y="33"/>
                  </a:lnTo>
                  <a:lnTo>
                    <a:pt x="273" y="29"/>
                  </a:lnTo>
                  <a:lnTo>
                    <a:pt x="269" y="26"/>
                  </a:lnTo>
                  <a:lnTo>
                    <a:pt x="264" y="24"/>
                  </a:lnTo>
                  <a:lnTo>
                    <a:pt x="259" y="23"/>
                  </a:lnTo>
                  <a:lnTo>
                    <a:pt x="253" y="23"/>
                  </a:lnTo>
                  <a:lnTo>
                    <a:pt x="245" y="23"/>
                  </a:lnTo>
                  <a:lnTo>
                    <a:pt x="239" y="25"/>
                  </a:lnTo>
                  <a:lnTo>
                    <a:pt x="233" y="28"/>
                  </a:lnTo>
                  <a:lnTo>
                    <a:pt x="231" y="29"/>
                  </a:lnTo>
                  <a:lnTo>
                    <a:pt x="229" y="32"/>
                  </a:lnTo>
                  <a:lnTo>
                    <a:pt x="227" y="34"/>
                  </a:lnTo>
                  <a:lnTo>
                    <a:pt x="225" y="36"/>
                  </a:lnTo>
                  <a:lnTo>
                    <a:pt x="222" y="42"/>
                  </a:lnTo>
                  <a:lnTo>
                    <a:pt x="221" y="49"/>
                  </a:lnTo>
                  <a:lnTo>
                    <a:pt x="220" y="56"/>
                  </a:lnTo>
                  <a:lnTo>
                    <a:pt x="221" y="64"/>
                  </a:lnTo>
                  <a:lnTo>
                    <a:pt x="221" y="67"/>
                  </a:lnTo>
                  <a:lnTo>
                    <a:pt x="222" y="70"/>
                  </a:lnTo>
                  <a:lnTo>
                    <a:pt x="225" y="76"/>
                  </a:lnTo>
                  <a:lnTo>
                    <a:pt x="227" y="79"/>
                  </a:lnTo>
                  <a:lnTo>
                    <a:pt x="229" y="81"/>
                  </a:lnTo>
                  <a:lnTo>
                    <a:pt x="233" y="85"/>
                  </a:lnTo>
                  <a:lnTo>
                    <a:pt x="239" y="88"/>
                  </a:lnTo>
                  <a:lnTo>
                    <a:pt x="245" y="89"/>
                  </a:lnTo>
                  <a:lnTo>
                    <a:pt x="248" y="90"/>
                  </a:lnTo>
                  <a:lnTo>
                    <a:pt x="252" y="90"/>
                  </a:lnTo>
                  <a:lnTo>
                    <a:pt x="258" y="89"/>
                  </a:lnTo>
                  <a:lnTo>
                    <a:pt x="264" y="88"/>
                  </a:lnTo>
                  <a:lnTo>
                    <a:pt x="268" y="86"/>
                  </a:lnTo>
                  <a:lnTo>
                    <a:pt x="273" y="83"/>
                  </a:lnTo>
                  <a:lnTo>
                    <a:pt x="276" y="80"/>
                  </a:lnTo>
                  <a:lnTo>
                    <a:pt x="279" y="75"/>
                  </a:lnTo>
                  <a:lnTo>
                    <a:pt x="281" y="70"/>
                  </a:lnTo>
                  <a:lnTo>
                    <a:pt x="283" y="65"/>
                  </a:lnTo>
                  <a:lnTo>
                    <a:pt x="264" y="64"/>
                  </a:lnTo>
                  <a:lnTo>
                    <a:pt x="264" y="66"/>
                  </a:lnTo>
                  <a:lnTo>
                    <a:pt x="263" y="69"/>
                  </a:lnTo>
                  <a:lnTo>
                    <a:pt x="260" y="72"/>
                  </a:lnTo>
                  <a:lnTo>
                    <a:pt x="259" y="73"/>
                  </a:lnTo>
                  <a:lnTo>
                    <a:pt x="257" y="74"/>
                  </a:lnTo>
                  <a:lnTo>
                    <a:pt x="255" y="74"/>
                  </a:lnTo>
                  <a:lnTo>
                    <a:pt x="252" y="75"/>
                  </a:lnTo>
                  <a:lnTo>
                    <a:pt x="249" y="74"/>
                  </a:lnTo>
                  <a:lnTo>
                    <a:pt x="247" y="73"/>
                  </a:lnTo>
                  <a:lnTo>
                    <a:pt x="244" y="72"/>
                  </a:lnTo>
                  <a:lnTo>
                    <a:pt x="243" y="70"/>
                  </a:lnTo>
                  <a:lnTo>
                    <a:pt x="241" y="67"/>
                  </a:lnTo>
                  <a:lnTo>
                    <a:pt x="240" y="64"/>
                  </a:lnTo>
                  <a:lnTo>
                    <a:pt x="239" y="60"/>
                  </a:lnTo>
                  <a:lnTo>
                    <a:pt x="239" y="56"/>
                  </a:lnTo>
                  <a:lnTo>
                    <a:pt x="239" y="52"/>
                  </a:lnTo>
                  <a:lnTo>
                    <a:pt x="240" y="50"/>
                  </a:lnTo>
                  <a:lnTo>
                    <a:pt x="240" y="48"/>
                  </a:lnTo>
                  <a:lnTo>
                    <a:pt x="241" y="45"/>
                  </a:lnTo>
                  <a:lnTo>
                    <a:pt x="242" y="42"/>
                  </a:lnTo>
                  <a:lnTo>
                    <a:pt x="244" y="40"/>
                  </a:lnTo>
                  <a:lnTo>
                    <a:pt x="247" y="39"/>
                  </a:lnTo>
                  <a:lnTo>
                    <a:pt x="249" y="38"/>
                  </a:lnTo>
                  <a:lnTo>
                    <a:pt x="252" y="38"/>
                  </a:lnTo>
                  <a:lnTo>
                    <a:pt x="257" y="38"/>
                  </a:lnTo>
                  <a:lnTo>
                    <a:pt x="260" y="40"/>
                  </a:lnTo>
                  <a:lnTo>
                    <a:pt x="262" y="42"/>
                  </a:lnTo>
                  <a:lnTo>
                    <a:pt x="263" y="43"/>
                  </a:lnTo>
                  <a:lnTo>
                    <a:pt x="264" y="47"/>
                  </a:lnTo>
                  <a:lnTo>
                    <a:pt x="282" y="47"/>
                  </a:lnTo>
                  <a:close/>
                  <a:moveTo>
                    <a:pt x="164" y="48"/>
                  </a:moveTo>
                  <a:lnTo>
                    <a:pt x="165" y="46"/>
                  </a:lnTo>
                  <a:lnTo>
                    <a:pt x="166" y="43"/>
                  </a:lnTo>
                  <a:lnTo>
                    <a:pt x="167" y="41"/>
                  </a:lnTo>
                  <a:lnTo>
                    <a:pt x="169" y="40"/>
                  </a:lnTo>
                  <a:lnTo>
                    <a:pt x="171" y="38"/>
                  </a:lnTo>
                  <a:lnTo>
                    <a:pt x="173" y="38"/>
                  </a:lnTo>
                  <a:lnTo>
                    <a:pt x="178" y="37"/>
                  </a:lnTo>
                  <a:lnTo>
                    <a:pt x="183" y="38"/>
                  </a:lnTo>
                  <a:lnTo>
                    <a:pt x="185" y="38"/>
                  </a:lnTo>
                  <a:lnTo>
                    <a:pt x="186" y="40"/>
                  </a:lnTo>
                  <a:lnTo>
                    <a:pt x="188" y="41"/>
                  </a:lnTo>
                  <a:lnTo>
                    <a:pt x="189" y="43"/>
                  </a:lnTo>
                  <a:lnTo>
                    <a:pt x="190" y="46"/>
                  </a:lnTo>
                  <a:lnTo>
                    <a:pt x="190" y="48"/>
                  </a:lnTo>
                  <a:lnTo>
                    <a:pt x="164" y="48"/>
                  </a:lnTo>
                  <a:close/>
                  <a:moveTo>
                    <a:pt x="209" y="62"/>
                  </a:moveTo>
                  <a:lnTo>
                    <a:pt x="209" y="56"/>
                  </a:lnTo>
                  <a:lnTo>
                    <a:pt x="209" y="50"/>
                  </a:lnTo>
                  <a:lnTo>
                    <a:pt x="208" y="46"/>
                  </a:lnTo>
                  <a:lnTo>
                    <a:pt x="206" y="41"/>
                  </a:lnTo>
                  <a:lnTo>
                    <a:pt x="204" y="37"/>
                  </a:lnTo>
                  <a:lnTo>
                    <a:pt x="202" y="33"/>
                  </a:lnTo>
                  <a:lnTo>
                    <a:pt x="199" y="30"/>
                  </a:lnTo>
                  <a:lnTo>
                    <a:pt x="195" y="27"/>
                  </a:lnTo>
                  <a:lnTo>
                    <a:pt x="192" y="25"/>
                  </a:lnTo>
                  <a:lnTo>
                    <a:pt x="187" y="24"/>
                  </a:lnTo>
                  <a:lnTo>
                    <a:pt x="183" y="23"/>
                  </a:lnTo>
                  <a:lnTo>
                    <a:pt x="178" y="23"/>
                  </a:lnTo>
                  <a:lnTo>
                    <a:pt x="171" y="23"/>
                  </a:lnTo>
                  <a:lnTo>
                    <a:pt x="165" y="25"/>
                  </a:lnTo>
                  <a:lnTo>
                    <a:pt x="162" y="26"/>
                  </a:lnTo>
                  <a:lnTo>
                    <a:pt x="159" y="28"/>
                  </a:lnTo>
                  <a:lnTo>
                    <a:pt x="154" y="32"/>
                  </a:lnTo>
                  <a:lnTo>
                    <a:pt x="152" y="34"/>
                  </a:lnTo>
                  <a:lnTo>
                    <a:pt x="150" y="37"/>
                  </a:lnTo>
                  <a:lnTo>
                    <a:pt x="148" y="43"/>
                  </a:lnTo>
                  <a:lnTo>
                    <a:pt x="146" y="49"/>
                  </a:lnTo>
                  <a:lnTo>
                    <a:pt x="145" y="53"/>
                  </a:lnTo>
                  <a:lnTo>
                    <a:pt x="145" y="56"/>
                  </a:lnTo>
                  <a:lnTo>
                    <a:pt x="146" y="63"/>
                  </a:lnTo>
                  <a:lnTo>
                    <a:pt x="148" y="70"/>
                  </a:lnTo>
                  <a:lnTo>
                    <a:pt x="150" y="76"/>
                  </a:lnTo>
                  <a:lnTo>
                    <a:pt x="152" y="78"/>
                  </a:lnTo>
                  <a:lnTo>
                    <a:pt x="154" y="81"/>
                  </a:lnTo>
                  <a:lnTo>
                    <a:pt x="159" y="85"/>
                  </a:lnTo>
                  <a:lnTo>
                    <a:pt x="165" y="87"/>
                  </a:lnTo>
                  <a:lnTo>
                    <a:pt x="168" y="88"/>
                  </a:lnTo>
                  <a:lnTo>
                    <a:pt x="171" y="89"/>
                  </a:lnTo>
                  <a:lnTo>
                    <a:pt x="174" y="90"/>
                  </a:lnTo>
                  <a:lnTo>
                    <a:pt x="178" y="90"/>
                  </a:lnTo>
                  <a:lnTo>
                    <a:pt x="184" y="89"/>
                  </a:lnTo>
                  <a:lnTo>
                    <a:pt x="189" y="88"/>
                  </a:lnTo>
                  <a:lnTo>
                    <a:pt x="193" y="87"/>
                  </a:lnTo>
                  <a:lnTo>
                    <a:pt x="198" y="84"/>
                  </a:lnTo>
                  <a:lnTo>
                    <a:pt x="201" y="81"/>
                  </a:lnTo>
                  <a:lnTo>
                    <a:pt x="203" y="80"/>
                  </a:lnTo>
                  <a:lnTo>
                    <a:pt x="205" y="78"/>
                  </a:lnTo>
                  <a:lnTo>
                    <a:pt x="207" y="74"/>
                  </a:lnTo>
                  <a:lnTo>
                    <a:pt x="209" y="69"/>
                  </a:lnTo>
                  <a:lnTo>
                    <a:pt x="190" y="69"/>
                  </a:lnTo>
                  <a:lnTo>
                    <a:pt x="188" y="72"/>
                  </a:lnTo>
                  <a:lnTo>
                    <a:pt x="185" y="74"/>
                  </a:lnTo>
                  <a:lnTo>
                    <a:pt x="182" y="75"/>
                  </a:lnTo>
                  <a:lnTo>
                    <a:pt x="178" y="75"/>
                  </a:lnTo>
                  <a:lnTo>
                    <a:pt x="176" y="75"/>
                  </a:lnTo>
                  <a:lnTo>
                    <a:pt x="173" y="74"/>
                  </a:lnTo>
                  <a:lnTo>
                    <a:pt x="171" y="73"/>
                  </a:lnTo>
                  <a:lnTo>
                    <a:pt x="169" y="72"/>
                  </a:lnTo>
                  <a:lnTo>
                    <a:pt x="167" y="70"/>
                  </a:lnTo>
                  <a:lnTo>
                    <a:pt x="166" y="67"/>
                  </a:lnTo>
                  <a:lnTo>
                    <a:pt x="165" y="65"/>
                  </a:lnTo>
                  <a:lnTo>
                    <a:pt x="164" y="62"/>
                  </a:lnTo>
                  <a:lnTo>
                    <a:pt x="209" y="62"/>
                  </a:lnTo>
                  <a:close/>
                  <a:moveTo>
                    <a:pt x="118" y="55"/>
                  </a:moveTo>
                  <a:lnTo>
                    <a:pt x="139" y="24"/>
                  </a:lnTo>
                  <a:lnTo>
                    <a:pt x="118" y="24"/>
                  </a:lnTo>
                  <a:lnTo>
                    <a:pt x="108" y="40"/>
                  </a:lnTo>
                  <a:lnTo>
                    <a:pt x="98" y="24"/>
                  </a:lnTo>
                  <a:lnTo>
                    <a:pt x="77" y="24"/>
                  </a:lnTo>
                  <a:lnTo>
                    <a:pt x="98" y="55"/>
                  </a:lnTo>
                  <a:lnTo>
                    <a:pt x="75" y="88"/>
                  </a:lnTo>
                  <a:lnTo>
                    <a:pt x="96" y="88"/>
                  </a:lnTo>
                  <a:lnTo>
                    <a:pt x="108" y="70"/>
                  </a:lnTo>
                  <a:lnTo>
                    <a:pt x="120" y="88"/>
                  </a:lnTo>
                  <a:lnTo>
                    <a:pt x="142" y="88"/>
                  </a:lnTo>
                  <a:lnTo>
                    <a:pt x="118" y="55"/>
                  </a:lnTo>
                  <a:close/>
                  <a:moveTo>
                    <a:pt x="66" y="0"/>
                  </a:moveTo>
                  <a:lnTo>
                    <a:pt x="0" y="0"/>
                  </a:lnTo>
                  <a:lnTo>
                    <a:pt x="0" y="88"/>
                  </a:lnTo>
                  <a:lnTo>
                    <a:pt x="67" y="88"/>
                  </a:lnTo>
                  <a:lnTo>
                    <a:pt x="67" y="71"/>
                  </a:lnTo>
                  <a:lnTo>
                    <a:pt x="20" y="71"/>
                  </a:lnTo>
                  <a:lnTo>
                    <a:pt x="20" y="50"/>
                  </a:lnTo>
                  <a:lnTo>
                    <a:pt x="60" y="50"/>
                  </a:lnTo>
                  <a:lnTo>
                    <a:pt x="60" y="34"/>
                  </a:lnTo>
                  <a:lnTo>
                    <a:pt x="20" y="34"/>
                  </a:lnTo>
                  <a:lnTo>
                    <a:pt x="20" y="17"/>
                  </a:lnTo>
                  <a:lnTo>
                    <a:pt x="66" y="17"/>
                  </a:lnTo>
                  <a:lnTo>
                    <a:pt x="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20" name="Freeform 8"/>
            <p:cNvSpPr>
              <a:spLocks noEditPoints="1"/>
            </p:cNvSpPr>
            <p:nvPr userDrawn="1"/>
          </p:nvSpPr>
          <p:spPr bwMode="auto">
            <a:xfrm>
              <a:off x="4067175" y="114301"/>
              <a:ext cx="566738" cy="560388"/>
            </a:xfrm>
            <a:custGeom>
              <a:avLst/>
              <a:gdLst>
                <a:gd name="T0" fmla="*/ 223 w 357"/>
                <a:gd name="T1" fmla="*/ 220 h 353"/>
                <a:gd name="T2" fmla="*/ 134 w 357"/>
                <a:gd name="T3" fmla="*/ 220 h 353"/>
                <a:gd name="T4" fmla="*/ 179 w 357"/>
                <a:gd name="T5" fmla="*/ 100 h 353"/>
                <a:gd name="T6" fmla="*/ 223 w 357"/>
                <a:gd name="T7" fmla="*/ 220 h 353"/>
                <a:gd name="T8" fmla="*/ 357 w 357"/>
                <a:gd name="T9" fmla="*/ 353 h 353"/>
                <a:gd name="T10" fmla="*/ 230 w 357"/>
                <a:gd name="T11" fmla="*/ 0 h 353"/>
                <a:gd name="T12" fmla="*/ 127 w 357"/>
                <a:gd name="T13" fmla="*/ 0 h 353"/>
                <a:gd name="T14" fmla="*/ 0 w 357"/>
                <a:gd name="T15" fmla="*/ 353 h 353"/>
                <a:gd name="T16" fmla="*/ 91 w 357"/>
                <a:gd name="T17" fmla="*/ 353 h 353"/>
                <a:gd name="T18" fmla="*/ 113 w 357"/>
                <a:gd name="T19" fmla="*/ 291 h 353"/>
                <a:gd name="T20" fmla="*/ 245 w 357"/>
                <a:gd name="T21" fmla="*/ 291 h 353"/>
                <a:gd name="T22" fmla="*/ 267 w 357"/>
                <a:gd name="T23" fmla="*/ 353 h 353"/>
                <a:gd name="T24" fmla="*/ 357 w 357"/>
                <a:gd name="T25"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7" h="353">
                  <a:moveTo>
                    <a:pt x="223" y="220"/>
                  </a:moveTo>
                  <a:lnTo>
                    <a:pt x="134" y="220"/>
                  </a:lnTo>
                  <a:lnTo>
                    <a:pt x="179" y="100"/>
                  </a:lnTo>
                  <a:lnTo>
                    <a:pt x="223" y="220"/>
                  </a:lnTo>
                  <a:close/>
                  <a:moveTo>
                    <a:pt x="357" y="353"/>
                  </a:moveTo>
                  <a:lnTo>
                    <a:pt x="230" y="0"/>
                  </a:lnTo>
                  <a:lnTo>
                    <a:pt x="127" y="0"/>
                  </a:lnTo>
                  <a:lnTo>
                    <a:pt x="0" y="353"/>
                  </a:lnTo>
                  <a:lnTo>
                    <a:pt x="91" y="353"/>
                  </a:lnTo>
                  <a:lnTo>
                    <a:pt x="113" y="291"/>
                  </a:lnTo>
                  <a:lnTo>
                    <a:pt x="245" y="291"/>
                  </a:lnTo>
                  <a:lnTo>
                    <a:pt x="267" y="353"/>
                  </a:lnTo>
                  <a:lnTo>
                    <a:pt x="357" y="3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21" name="Freeform 9"/>
            <p:cNvSpPr>
              <a:spLocks noEditPoints="1"/>
            </p:cNvSpPr>
            <p:nvPr userDrawn="1"/>
          </p:nvSpPr>
          <p:spPr bwMode="auto">
            <a:xfrm>
              <a:off x="4686300" y="114301"/>
              <a:ext cx="858838" cy="560388"/>
            </a:xfrm>
            <a:custGeom>
              <a:avLst/>
              <a:gdLst>
                <a:gd name="T0" fmla="*/ 541 w 541"/>
                <a:gd name="T1" fmla="*/ 75 h 353"/>
                <a:gd name="T2" fmla="*/ 541 w 541"/>
                <a:gd name="T3" fmla="*/ 0 h 353"/>
                <a:gd name="T4" fmla="*/ 303 w 541"/>
                <a:gd name="T5" fmla="*/ 0 h 353"/>
                <a:gd name="T6" fmla="*/ 303 w 541"/>
                <a:gd name="T7" fmla="*/ 353 h 353"/>
                <a:gd name="T8" fmla="*/ 541 w 541"/>
                <a:gd name="T9" fmla="*/ 353 h 353"/>
                <a:gd name="T10" fmla="*/ 541 w 541"/>
                <a:gd name="T11" fmla="*/ 278 h 353"/>
                <a:gd name="T12" fmla="*/ 388 w 541"/>
                <a:gd name="T13" fmla="*/ 278 h 353"/>
                <a:gd name="T14" fmla="*/ 388 w 541"/>
                <a:gd name="T15" fmla="*/ 210 h 353"/>
                <a:gd name="T16" fmla="*/ 536 w 541"/>
                <a:gd name="T17" fmla="*/ 210 h 353"/>
                <a:gd name="T18" fmla="*/ 536 w 541"/>
                <a:gd name="T19" fmla="*/ 139 h 353"/>
                <a:gd name="T20" fmla="*/ 388 w 541"/>
                <a:gd name="T21" fmla="*/ 139 h 353"/>
                <a:gd name="T22" fmla="*/ 388 w 541"/>
                <a:gd name="T23" fmla="*/ 75 h 353"/>
                <a:gd name="T24" fmla="*/ 541 w 541"/>
                <a:gd name="T25" fmla="*/ 75 h 353"/>
                <a:gd name="T26" fmla="*/ 239 w 541"/>
                <a:gd name="T27" fmla="*/ 75 h 353"/>
                <a:gd name="T28" fmla="*/ 239 w 541"/>
                <a:gd name="T29" fmla="*/ 0 h 353"/>
                <a:gd name="T30" fmla="*/ 0 w 541"/>
                <a:gd name="T31" fmla="*/ 0 h 353"/>
                <a:gd name="T32" fmla="*/ 0 w 541"/>
                <a:gd name="T33" fmla="*/ 353 h 353"/>
                <a:gd name="T34" fmla="*/ 239 w 541"/>
                <a:gd name="T35" fmla="*/ 353 h 353"/>
                <a:gd name="T36" fmla="*/ 239 w 541"/>
                <a:gd name="T37" fmla="*/ 278 h 353"/>
                <a:gd name="T38" fmla="*/ 85 w 541"/>
                <a:gd name="T39" fmla="*/ 278 h 353"/>
                <a:gd name="T40" fmla="*/ 85 w 541"/>
                <a:gd name="T41" fmla="*/ 210 h 353"/>
                <a:gd name="T42" fmla="*/ 235 w 541"/>
                <a:gd name="T43" fmla="*/ 210 h 353"/>
                <a:gd name="T44" fmla="*/ 235 w 541"/>
                <a:gd name="T45" fmla="*/ 139 h 353"/>
                <a:gd name="T46" fmla="*/ 85 w 541"/>
                <a:gd name="T47" fmla="*/ 139 h 353"/>
                <a:gd name="T48" fmla="*/ 85 w 541"/>
                <a:gd name="T49" fmla="*/ 75 h 353"/>
                <a:gd name="T50" fmla="*/ 239 w 541"/>
                <a:gd name="T51" fmla="*/ 75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1" h="353">
                  <a:moveTo>
                    <a:pt x="541" y="75"/>
                  </a:moveTo>
                  <a:lnTo>
                    <a:pt x="541" y="0"/>
                  </a:lnTo>
                  <a:lnTo>
                    <a:pt x="303" y="0"/>
                  </a:lnTo>
                  <a:lnTo>
                    <a:pt x="303" y="353"/>
                  </a:lnTo>
                  <a:lnTo>
                    <a:pt x="541" y="353"/>
                  </a:lnTo>
                  <a:lnTo>
                    <a:pt x="541" y="278"/>
                  </a:lnTo>
                  <a:lnTo>
                    <a:pt x="388" y="278"/>
                  </a:lnTo>
                  <a:lnTo>
                    <a:pt x="388" y="210"/>
                  </a:lnTo>
                  <a:lnTo>
                    <a:pt x="536" y="210"/>
                  </a:lnTo>
                  <a:lnTo>
                    <a:pt x="536" y="139"/>
                  </a:lnTo>
                  <a:lnTo>
                    <a:pt x="388" y="139"/>
                  </a:lnTo>
                  <a:lnTo>
                    <a:pt x="388" y="75"/>
                  </a:lnTo>
                  <a:lnTo>
                    <a:pt x="541" y="75"/>
                  </a:lnTo>
                  <a:close/>
                  <a:moveTo>
                    <a:pt x="239" y="75"/>
                  </a:moveTo>
                  <a:lnTo>
                    <a:pt x="239" y="0"/>
                  </a:lnTo>
                  <a:lnTo>
                    <a:pt x="0" y="0"/>
                  </a:lnTo>
                  <a:lnTo>
                    <a:pt x="0" y="353"/>
                  </a:lnTo>
                  <a:lnTo>
                    <a:pt x="239" y="353"/>
                  </a:lnTo>
                  <a:lnTo>
                    <a:pt x="239" y="278"/>
                  </a:lnTo>
                  <a:lnTo>
                    <a:pt x="85" y="278"/>
                  </a:lnTo>
                  <a:lnTo>
                    <a:pt x="85" y="210"/>
                  </a:lnTo>
                  <a:lnTo>
                    <a:pt x="235" y="210"/>
                  </a:lnTo>
                  <a:lnTo>
                    <a:pt x="235" y="139"/>
                  </a:lnTo>
                  <a:lnTo>
                    <a:pt x="85" y="139"/>
                  </a:lnTo>
                  <a:lnTo>
                    <a:pt x="85" y="75"/>
                  </a:lnTo>
                  <a:lnTo>
                    <a:pt x="23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grpSp>
    </p:spTree>
    <p:extLst>
      <p:ext uri="{BB962C8B-B14F-4D97-AF65-F5344CB8AC3E}">
        <p14:creationId xmlns:p14="http://schemas.microsoft.com/office/powerpoint/2010/main" val="1385859073"/>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type="obj" preserve="1">
  <p:cSld name="Introduction CYA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573882"/>
            <a:ext cx="7487081" cy="602326"/>
          </a:xfrm>
          <a:solidFill>
            <a:srgbClr val="00B0CA"/>
          </a:solidFill>
        </p:spPr>
        <p:txBody>
          <a:bodyPr/>
          <a:lstStyle>
            <a:lvl1pPr>
              <a:defRPr/>
            </a:lvl1pPr>
          </a:lstStyle>
          <a:p>
            <a:r>
              <a:rPr lang="en-US" dirty="0"/>
              <a:t>Click to add title</a:t>
            </a:r>
          </a:p>
        </p:txBody>
      </p:sp>
      <p:sp>
        <p:nvSpPr>
          <p:cNvPr id="3" name="Content Placeholder 2"/>
          <p:cNvSpPr>
            <a:spLocks noGrp="1"/>
          </p:cNvSpPr>
          <p:nvPr>
            <p:ph idx="1" hasCustomPrompt="1"/>
          </p:nvPr>
        </p:nvSpPr>
        <p:spPr>
          <a:xfrm>
            <a:off x="1" y="1869674"/>
            <a:ext cx="7487081" cy="2538022"/>
          </a:xfrm>
          <a:solidFill>
            <a:srgbClr val="00B0CA"/>
          </a:solidFill>
        </p:spPr>
        <p:txBody>
          <a:bodyPr lIns="540000" tIns="324000" rIns="540000" bIns="324000"/>
          <a:lstStyle>
            <a:lvl1pPr marL="0" indent="0">
              <a:buFontTx/>
              <a:buNone/>
              <a:defRPr b="1">
                <a:solidFill>
                  <a:schemeClr val="bg1"/>
                </a:solidFill>
              </a:defRPr>
            </a:lvl1pPr>
            <a:lvl2pPr marL="199965" indent="-199965">
              <a:buFont typeface="Arial" pitchFamily="34" charset="0"/>
              <a:buChar char="•"/>
              <a:defRPr>
                <a:solidFill>
                  <a:schemeClr val="bg1"/>
                </a:solidFill>
              </a:defRPr>
            </a:lvl2pPr>
          </a:lstStyle>
          <a:p>
            <a:pPr lvl="0"/>
            <a:r>
              <a:rPr lang="en-US" dirty="0"/>
              <a:t>Click to add text</a:t>
            </a:r>
          </a:p>
          <a:p>
            <a:pPr lvl="1"/>
            <a:r>
              <a:rPr lang="en-US" dirty="0"/>
              <a:t>Second level</a:t>
            </a:r>
          </a:p>
        </p:txBody>
      </p:sp>
      <p:grpSp>
        <p:nvGrpSpPr>
          <p:cNvPr id="12" name="Group 11"/>
          <p:cNvGrpSpPr>
            <a:grpSpLocks noChangeAspect="1"/>
          </p:cNvGrpSpPr>
          <p:nvPr userDrawn="1"/>
        </p:nvGrpSpPr>
        <p:grpSpPr>
          <a:xfrm>
            <a:off x="7595548" y="249492"/>
            <a:ext cx="1294117" cy="199800"/>
            <a:chOff x="4067175" y="114301"/>
            <a:chExt cx="3630613" cy="560388"/>
          </a:xfrm>
          <a:solidFill>
            <a:schemeClr val="bg1"/>
          </a:solidFill>
        </p:grpSpPr>
        <p:sp>
          <p:nvSpPr>
            <p:cNvPr id="13" name="Freeform 6"/>
            <p:cNvSpPr>
              <a:spLocks noEditPoints="1"/>
            </p:cNvSpPr>
            <p:nvPr userDrawn="1"/>
          </p:nvSpPr>
          <p:spPr bwMode="auto">
            <a:xfrm>
              <a:off x="5749925" y="114301"/>
              <a:ext cx="1530350" cy="173038"/>
            </a:xfrm>
            <a:custGeom>
              <a:avLst/>
              <a:gdLst>
                <a:gd name="T0" fmla="*/ 922 w 964"/>
                <a:gd name="T1" fmla="*/ 84 h 109"/>
                <a:gd name="T2" fmla="*/ 918 w 964"/>
                <a:gd name="T3" fmla="*/ 109 h 109"/>
                <a:gd name="T4" fmla="*/ 944 w 964"/>
                <a:gd name="T5" fmla="*/ 25 h 109"/>
                <a:gd name="T6" fmla="*/ 860 w 964"/>
                <a:gd name="T7" fmla="*/ 68 h 109"/>
                <a:gd name="T8" fmla="*/ 890 w 964"/>
                <a:gd name="T9" fmla="*/ 89 h 109"/>
                <a:gd name="T10" fmla="*/ 890 w 964"/>
                <a:gd name="T11" fmla="*/ 39 h 109"/>
                <a:gd name="T12" fmla="*/ 819 w 964"/>
                <a:gd name="T13" fmla="*/ 89 h 109"/>
                <a:gd name="T14" fmla="*/ 793 w 964"/>
                <a:gd name="T15" fmla="*/ 26 h 109"/>
                <a:gd name="T16" fmla="*/ 753 w 964"/>
                <a:gd name="T17" fmla="*/ 33 h 109"/>
                <a:gd name="T18" fmla="*/ 757 w 964"/>
                <a:gd name="T19" fmla="*/ 58 h 109"/>
                <a:gd name="T20" fmla="*/ 788 w 964"/>
                <a:gd name="T21" fmla="*/ 72 h 109"/>
                <a:gd name="T22" fmla="*/ 767 w 964"/>
                <a:gd name="T23" fmla="*/ 70 h 109"/>
                <a:gd name="T24" fmla="*/ 772 w 964"/>
                <a:gd name="T25" fmla="*/ 90 h 109"/>
                <a:gd name="T26" fmla="*/ 806 w 964"/>
                <a:gd name="T27" fmla="*/ 73 h 109"/>
                <a:gd name="T28" fmla="*/ 788 w 964"/>
                <a:gd name="T29" fmla="*/ 49 h 109"/>
                <a:gd name="T30" fmla="*/ 777 w 964"/>
                <a:gd name="T31" fmla="*/ 37 h 109"/>
                <a:gd name="T32" fmla="*/ 700 w 964"/>
                <a:gd name="T33" fmla="*/ 89 h 109"/>
                <a:gd name="T34" fmla="*/ 729 w 964"/>
                <a:gd name="T35" fmla="*/ 42 h 109"/>
                <a:gd name="T36" fmla="*/ 723 w 964"/>
                <a:gd name="T37" fmla="*/ 27 h 109"/>
                <a:gd name="T38" fmla="*/ 643 w 964"/>
                <a:gd name="T39" fmla="*/ 42 h 109"/>
                <a:gd name="T40" fmla="*/ 666 w 964"/>
                <a:gd name="T41" fmla="*/ 44 h 109"/>
                <a:gd name="T42" fmla="*/ 682 w 964"/>
                <a:gd name="T43" fmla="*/ 38 h 109"/>
                <a:gd name="T44" fmla="*/ 647 w 964"/>
                <a:gd name="T45" fmla="*/ 24 h 109"/>
                <a:gd name="T46" fmla="*/ 623 w 964"/>
                <a:gd name="T47" fmla="*/ 46 h 109"/>
                <a:gd name="T48" fmla="*/ 641 w 964"/>
                <a:gd name="T49" fmla="*/ 88 h 109"/>
                <a:gd name="T50" fmla="*/ 679 w 964"/>
                <a:gd name="T51" fmla="*/ 82 h 109"/>
                <a:gd name="T52" fmla="*/ 656 w 964"/>
                <a:gd name="T53" fmla="*/ 76 h 109"/>
                <a:gd name="T54" fmla="*/ 687 w 964"/>
                <a:gd name="T55" fmla="*/ 62 h 109"/>
                <a:gd name="T56" fmla="*/ 575 w 964"/>
                <a:gd name="T57" fmla="*/ 89 h 109"/>
                <a:gd name="T58" fmla="*/ 521 w 964"/>
                <a:gd name="T59" fmla="*/ 89 h 109"/>
                <a:gd name="T60" fmla="*/ 467 w 964"/>
                <a:gd name="T61" fmla="*/ 42 h 109"/>
                <a:gd name="T62" fmla="*/ 483 w 964"/>
                <a:gd name="T63" fmla="*/ 44 h 109"/>
                <a:gd name="T64" fmla="*/ 497 w 964"/>
                <a:gd name="T65" fmla="*/ 29 h 109"/>
                <a:gd name="T66" fmla="*/ 463 w 964"/>
                <a:gd name="T67" fmla="*/ 25 h 109"/>
                <a:gd name="T68" fmla="*/ 398 w 964"/>
                <a:gd name="T69" fmla="*/ 73 h 109"/>
                <a:gd name="T70" fmla="*/ 376 w 964"/>
                <a:gd name="T71" fmla="*/ 63 h 109"/>
                <a:gd name="T72" fmla="*/ 364 w 964"/>
                <a:gd name="T73" fmla="*/ 81 h 109"/>
                <a:gd name="T74" fmla="*/ 406 w 964"/>
                <a:gd name="T75" fmla="*/ 89 h 109"/>
                <a:gd name="T76" fmla="*/ 427 w 964"/>
                <a:gd name="T77" fmla="*/ 60 h 109"/>
                <a:gd name="T78" fmla="*/ 292 w 964"/>
                <a:gd name="T79" fmla="*/ 49 h 109"/>
                <a:gd name="T80" fmla="*/ 284 w 964"/>
                <a:gd name="T81" fmla="*/ 74 h 109"/>
                <a:gd name="T82" fmla="*/ 263 w 964"/>
                <a:gd name="T83" fmla="*/ 61 h 109"/>
                <a:gd name="T84" fmla="*/ 274 w 964"/>
                <a:gd name="T85" fmla="*/ 38 h 109"/>
                <a:gd name="T86" fmla="*/ 247 w 964"/>
                <a:gd name="T87" fmla="*/ 40 h 109"/>
                <a:gd name="T88" fmla="*/ 249 w 964"/>
                <a:gd name="T89" fmla="*/ 76 h 109"/>
                <a:gd name="T90" fmla="*/ 291 w 964"/>
                <a:gd name="T91" fmla="*/ 88 h 109"/>
                <a:gd name="T92" fmla="*/ 311 w 964"/>
                <a:gd name="T93" fmla="*/ 57 h 109"/>
                <a:gd name="T94" fmla="*/ 291 w 964"/>
                <a:gd name="T95" fmla="*/ 26 h 109"/>
                <a:gd name="T96" fmla="*/ 196 w 964"/>
                <a:gd name="T97" fmla="*/ 26 h 109"/>
                <a:gd name="T98" fmla="*/ 214 w 964"/>
                <a:gd name="T99" fmla="*/ 88 h 109"/>
                <a:gd name="T100" fmla="*/ 224 w 964"/>
                <a:gd name="T101" fmla="*/ 70 h 109"/>
                <a:gd name="T102" fmla="*/ 184 w 964"/>
                <a:gd name="T103" fmla="*/ 0 h 109"/>
                <a:gd name="T104" fmla="*/ 108 w 964"/>
                <a:gd name="T105" fmla="*/ 71 h 109"/>
                <a:gd name="T106" fmla="*/ 110 w 964"/>
                <a:gd name="T107" fmla="*/ 45 h 109"/>
                <a:gd name="T108" fmla="*/ 130 w 964"/>
                <a:gd name="T109" fmla="*/ 41 h 109"/>
                <a:gd name="T110" fmla="*/ 103 w 964"/>
                <a:gd name="T111" fmla="*/ 52 h 109"/>
                <a:gd name="T112" fmla="*/ 91 w 964"/>
                <a:gd name="T113" fmla="*/ 79 h 109"/>
                <a:gd name="T114" fmla="*/ 123 w 964"/>
                <a:gd name="T115" fmla="*/ 89 h 109"/>
                <a:gd name="T116" fmla="*/ 149 w 964"/>
                <a:gd name="T117" fmla="*/ 42 h 109"/>
                <a:gd name="T118" fmla="*/ 115 w 964"/>
                <a:gd name="T119" fmla="*/ 23 h 109"/>
                <a:gd name="T120" fmla="*/ 93 w 964"/>
                <a:gd name="T121" fmla="*/ 45 h 109"/>
                <a:gd name="T122" fmla="*/ 56 w 964"/>
                <a:gd name="T1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4" h="109">
                  <a:moveTo>
                    <a:pt x="944" y="25"/>
                  </a:moveTo>
                  <a:lnTo>
                    <a:pt x="936" y="54"/>
                  </a:lnTo>
                  <a:lnTo>
                    <a:pt x="933" y="68"/>
                  </a:lnTo>
                  <a:lnTo>
                    <a:pt x="932" y="65"/>
                  </a:lnTo>
                  <a:lnTo>
                    <a:pt x="928" y="54"/>
                  </a:lnTo>
                  <a:lnTo>
                    <a:pt x="919" y="25"/>
                  </a:lnTo>
                  <a:lnTo>
                    <a:pt x="899" y="25"/>
                  </a:lnTo>
                  <a:lnTo>
                    <a:pt x="920" y="79"/>
                  </a:lnTo>
                  <a:lnTo>
                    <a:pt x="922" y="84"/>
                  </a:lnTo>
                  <a:lnTo>
                    <a:pt x="922" y="87"/>
                  </a:lnTo>
                  <a:lnTo>
                    <a:pt x="922" y="90"/>
                  </a:lnTo>
                  <a:lnTo>
                    <a:pt x="920" y="93"/>
                  </a:lnTo>
                  <a:lnTo>
                    <a:pt x="919" y="94"/>
                  </a:lnTo>
                  <a:lnTo>
                    <a:pt x="917" y="94"/>
                  </a:lnTo>
                  <a:lnTo>
                    <a:pt x="913" y="95"/>
                  </a:lnTo>
                  <a:lnTo>
                    <a:pt x="907" y="95"/>
                  </a:lnTo>
                  <a:lnTo>
                    <a:pt x="907" y="109"/>
                  </a:lnTo>
                  <a:lnTo>
                    <a:pt x="918" y="109"/>
                  </a:lnTo>
                  <a:lnTo>
                    <a:pt x="923" y="109"/>
                  </a:lnTo>
                  <a:lnTo>
                    <a:pt x="927" y="108"/>
                  </a:lnTo>
                  <a:lnTo>
                    <a:pt x="930" y="107"/>
                  </a:lnTo>
                  <a:lnTo>
                    <a:pt x="933" y="105"/>
                  </a:lnTo>
                  <a:lnTo>
                    <a:pt x="935" y="103"/>
                  </a:lnTo>
                  <a:lnTo>
                    <a:pt x="937" y="100"/>
                  </a:lnTo>
                  <a:lnTo>
                    <a:pt x="941" y="89"/>
                  </a:lnTo>
                  <a:lnTo>
                    <a:pt x="964" y="25"/>
                  </a:lnTo>
                  <a:lnTo>
                    <a:pt x="944" y="25"/>
                  </a:lnTo>
                  <a:close/>
                  <a:moveTo>
                    <a:pt x="890" y="26"/>
                  </a:moveTo>
                  <a:lnTo>
                    <a:pt x="879" y="26"/>
                  </a:lnTo>
                  <a:lnTo>
                    <a:pt x="879" y="5"/>
                  </a:lnTo>
                  <a:lnTo>
                    <a:pt x="860" y="5"/>
                  </a:lnTo>
                  <a:lnTo>
                    <a:pt x="860" y="26"/>
                  </a:lnTo>
                  <a:lnTo>
                    <a:pt x="851" y="26"/>
                  </a:lnTo>
                  <a:lnTo>
                    <a:pt x="851" y="39"/>
                  </a:lnTo>
                  <a:lnTo>
                    <a:pt x="860" y="39"/>
                  </a:lnTo>
                  <a:lnTo>
                    <a:pt x="860" y="68"/>
                  </a:lnTo>
                  <a:lnTo>
                    <a:pt x="860" y="74"/>
                  </a:lnTo>
                  <a:lnTo>
                    <a:pt x="861" y="79"/>
                  </a:lnTo>
                  <a:lnTo>
                    <a:pt x="862" y="82"/>
                  </a:lnTo>
                  <a:lnTo>
                    <a:pt x="863" y="84"/>
                  </a:lnTo>
                  <a:lnTo>
                    <a:pt x="866" y="86"/>
                  </a:lnTo>
                  <a:lnTo>
                    <a:pt x="869" y="88"/>
                  </a:lnTo>
                  <a:lnTo>
                    <a:pt x="873" y="88"/>
                  </a:lnTo>
                  <a:lnTo>
                    <a:pt x="879" y="89"/>
                  </a:lnTo>
                  <a:lnTo>
                    <a:pt x="890" y="89"/>
                  </a:lnTo>
                  <a:lnTo>
                    <a:pt x="890" y="75"/>
                  </a:lnTo>
                  <a:lnTo>
                    <a:pt x="883" y="75"/>
                  </a:lnTo>
                  <a:lnTo>
                    <a:pt x="881" y="74"/>
                  </a:lnTo>
                  <a:lnTo>
                    <a:pt x="880" y="74"/>
                  </a:lnTo>
                  <a:lnTo>
                    <a:pt x="879" y="73"/>
                  </a:lnTo>
                  <a:lnTo>
                    <a:pt x="879" y="70"/>
                  </a:lnTo>
                  <a:lnTo>
                    <a:pt x="879" y="64"/>
                  </a:lnTo>
                  <a:lnTo>
                    <a:pt x="879" y="39"/>
                  </a:lnTo>
                  <a:lnTo>
                    <a:pt x="890" y="39"/>
                  </a:lnTo>
                  <a:lnTo>
                    <a:pt x="890" y="26"/>
                  </a:lnTo>
                  <a:close/>
                  <a:moveTo>
                    <a:pt x="838" y="0"/>
                  </a:moveTo>
                  <a:lnTo>
                    <a:pt x="819" y="0"/>
                  </a:lnTo>
                  <a:lnTo>
                    <a:pt x="819" y="16"/>
                  </a:lnTo>
                  <a:lnTo>
                    <a:pt x="838" y="16"/>
                  </a:lnTo>
                  <a:lnTo>
                    <a:pt x="838" y="0"/>
                  </a:lnTo>
                  <a:close/>
                  <a:moveTo>
                    <a:pt x="838" y="25"/>
                  </a:moveTo>
                  <a:lnTo>
                    <a:pt x="819" y="25"/>
                  </a:lnTo>
                  <a:lnTo>
                    <a:pt x="819" y="89"/>
                  </a:lnTo>
                  <a:lnTo>
                    <a:pt x="838" y="89"/>
                  </a:lnTo>
                  <a:lnTo>
                    <a:pt x="838" y="25"/>
                  </a:lnTo>
                  <a:close/>
                  <a:moveTo>
                    <a:pt x="806" y="44"/>
                  </a:moveTo>
                  <a:lnTo>
                    <a:pt x="805" y="39"/>
                  </a:lnTo>
                  <a:lnTo>
                    <a:pt x="803" y="35"/>
                  </a:lnTo>
                  <a:lnTo>
                    <a:pt x="800" y="31"/>
                  </a:lnTo>
                  <a:lnTo>
                    <a:pt x="797" y="28"/>
                  </a:lnTo>
                  <a:lnTo>
                    <a:pt x="795" y="27"/>
                  </a:lnTo>
                  <a:lnTo>
                    <a:pt x="793" y="26"/>
                  </a:lnTo>
                  <a:lnTo>
                    <a:pt x="789" y="24"/>
                  </a:lnTo>
                  <a:lnTo>
                    <a:pt x="783" y="23"/>
                  </a:lnTo>
                  <a:lnTo>
                    <a:pt x="777" y="23"/>
                  </a:lnTo>
                  <a:lnTo>
                    <a:pt x="771" y="23"/>
                  </a:lnTo>
                  <a:lnTo>
                    <a:pt x="766" y="24"/>
                  </a:lnTo>
                  <a:lnTo>
                    <a:pt x="761" y="26"/>
                  </a:lnTo>
                  <a:lnTo>
                    <a:pt x="757" y="29"/>
                  </a:lnTo>
                  <a:lnTo>
                    <a:pt x="754" y="32"/>
                  </a:lnTo>
                  <a:lnTo>
                    <a:pt x="753" y="33"/>
                  </a:lnTo>
                  <a:lnTo>
                    <a:pt x="752" y="35"/>
                  </a:lnTo>
                  <a:lnTo>
                    <a:pt x="751" y="39"/>
                  </a:lnTo>
                  <a:lnTo>
                    <a:pt x="750" y="44"/>
                  </a:lnTo>
                  <a:lnTo>
                    <a:pt x="750" y="47"/>
                  </a:lnTo>
                  <a:lnTo>
                    <a:pt x="751" y="50"/>
                  </a:lnTo>
                  <a:lnTo>
                    <a:pt x="752" y="52"/>
                  </a:lnTo>
                  <a:lnTo>
                    <a:pt x="753" y="53"/>
                  </a:lnTo>
                  <a:lnTo>
                    <a:pt x="755" y="56"/>
                  </a:lnTo>
                  <a:lnTo>
                    <a:pt x="757" y="58"/>
                  </a:lnTo>
                  <a:lnTo>
                    <a:pt x="761" y="59"/>
                  </a:lnTo>
                  <a:lnTo>
                    <a:pt x="765" y="61"/>
                  </a:lnTo>
                  <a:lnTo>
                    <a:pt x="770" y="62"/>
                  </a:lnTo>
                  <a:lnTo>
                    <a:pt x="781" y="65"/>
                  </a:lnTo>
                  <a:lnTo>
                    <a:pt x="785" y="66"/>
                  </a:lnTo>
                  <a:lnTo>
                    <a:pt x="787" y="67"/>
                  </a:lnTo>
                  <a:lnTo>
                    <a:pt x="788" y="69"/>
                  </a:lnTo>
                  <a:lnTo>
                    <a:pt x="788" y="71"/>
                  </a:lnTo>
                  <a:lnTo>
                    <a:pt x="788" y="72"/>
                  </a:lnTo>
                  <a:lnTo>
                    <a:pt x="788" y="73"/>
                  </a:lnTo>
                  <a:lnTo>
                    <a:pt x="786" y="75"/>
                  </a:lnTo>
                  <a:lnTo>
                    <a:pt x="783" y="76"/>
                  </a:lnTo>
                  <a:lnTo>
                    <a:pt x="779" y="77"/>
                  </a:lnTo>
                  <a:lnTo>
                    <a:pt x="774" y="76"/>
                  </a:lnTo>
                  <a:lnTo>
                    <a:pt x="772" y="76"/>
                  </a:lnTo>
                  <a:lnTo>
                    <a:pt x="770" y="75"/>
                  </a:lnTo>
                  <a:lnTo>
                    <a:pt x="767" y="72"/>
                  </a:lnTo>
                  <a:lnTo>
                    <a:pt x="767" y="70"/>
                  </a:lnTo>
                  <a:lnTo>
                    <a:pt x="766" y="68"/>
                  </a:lnTo>
                  <a:lnTo>
                    <a:pt x="748" y="68"/>
                  </a:lnTo>
                  <a:lnTo>
                    <a:pt x="749" y="73"/>
                  </a:lnTo>
                  <a:lnTo>
                    <a:pt x="751" y="77"/>
                  </a:lnTo>
                  <a:lnTo>
                    <a:pt x="754" y="81"/>
                  </a:lnTo>
                  <a:lnTo>
                    <a:pt x="757" y="84"/>
                  </a:lnTo>
                  <a:lnTo>
                    <a:pt x="761" y="87"/>
                  </a:lnTo>
                  <a:lnTo>
                    <a:pt x="766" y="89"/>
                  </a:lnTo>
                  <a:lnTo>
                    <a:pt x="772" y="90"/>
                  </a:lnTo>
                  <a:lnTo>
                    <a:pt x="778" y="90"/>
                  </a:lnTo>
                  <a:lnTo>
                    <a:pt x="785" y="90"/>
                  </a:lnTo>
                  <a:lnTo>
                    <a:pt x="790" y="89"/>
                  </a:lnTo>
                  <a:lnTo>
                    <a:pt x="795" y="87"/>
                  </a:lnTo>
                  <a:lnTo>
                    <a:pt x="799" y="84"/>
                  </a:lnTo>
                  <a:lnTo>
                    <a:pt x="803" y="81"/>
                  </a:lnTo>
                  <a:lnTo>
                    <a:pt x="805" y="78"/>
                  </a:lnTo>
                  <a:lnTo>
                    <a:pt x="806" y="75"/>
                  </a:lnTo>
                  <a:lnTo>
                    <a:pt x="806" y="73"/>
                  </a:lnTo>
                  <a:lnTo>
                    <a:pt x="807" y="68"/>
                  </a:lnTo>
                  <a:lnTo>
                    <a:pt x="807" y="65"/>
                  </a:lnTo>
                  <a:lnTo>
                    <a:pt x="806" y="61"/>
                  </a:lnTo>
                  <a:lnTo>
                    <a:pt x="804" y="58"/>
                  </a:lnTo>
                  <a:lnTo>
                    <a:pt x="802" y="56"/>
                  </a:lnTo>
                  <a:lnTo>
                    <a:pt x="800" y="54"/>
                  </a:lnTo>
                  <a:lnTo>
                    <a:pt x="797" y="52"/>
                  </a:lnTo>
                  <a:lnTo>
                    <a:pt x="793" y="51"/>
                  </a:lnTo>
                  <a:lnTo>
                    <a:pt x="788" y="49"/>
                  </a:lnTo>
                  <a:lnTo>
                    <a:pt x="776" y="47"/>
                  </a:lnTo>
                  <a:lnTo>
                    <a:pt x="772" y="46"/>
                  </a:lnTo>
                  <a:lnTo>
                    <a:pt x="770" y="45"/>
                  </a:lnTo>
                  <a:lnTo>
                    <a:pt x="768" y="44"/>
                  </a:lnTo>
                  <a:lnTo>
                    <a:pt x="768" y="42"/>
                  </a:lnTo>
                  <a:lnTo>
                    <a:pt x="769" y="40"/>
                  </a:lnTo>
                  <a:lnTo>
                    <a:pt x="771" y="38"/>
                  </a:lnTo>
                  <a:lnTo>
                    <a:pt x="773" y="37"/>
                  </a:lnTo>
                  <a:lnTo>
                    <a:pt x="777" y="37"/>
                  </a:lnTo>
                  <a:lnTo>
                    <a:pt x="781" y="37"/>
                  </a:lnTo>
                  <a:lnTo>
                    <a:pt x="783" y="38"/>
                  </a:lnTo>
                  <a:lnTo>
                    <a:pt x="785" y="39"/>
                  </a:lnTo>
                  <a:lnTo>
                    <a:pt x="786" y="40"/>
                  </a:lnTo>
                  <a:lnTo>
                    <a:pt x="787" y="41"/>
                  </a:lnTo>
                  <a:lnTo>
                    <a:pt x="788" y="44"/>
                  </a:lnTo>
                  <a:lnTo>
                    <a:pt x="806" y="44"/>
                  </a:lnTo>
                  <a:close/>
                  <a:moveTo>
                    <a:pt x="700" y="25"/>
                  </a:moveTo>
                  <a:lnTo>
                    <a:pt x="700" y="89"/>
                  </a:lnTo>
                  <a:lnTo>
                    <a:pt x="719" y="89"/>
                  </a:lnTo>
                  <a:lnTo>
                    <a:pt x="719" y="71"/>
                  </a:lnTo>
                  <a:lnTo>
                    <a:pt x="719" y="56"/>
                  </a:lnTo>
                  <a:lnTo>
                    <a:pt x="720" y="52"/>
                  </a:lnTo>
                  <a:lnTo>
                    <a:pt x="721" y="48"/>
                  </a:lnTo>
                  <a:lnTo>
                    <a:pt x="722" y="46"/>
                  </a:lnTo>
                  <a:lnTo>
                    <a:pt x="724" y="45"/>
                  </a:lnTo>
                  <a:lnTo>
                    <a:pt x="727" y="42"/>
                  </a:lnTo>
                  <a:lnTo>
                    <a:pt x="729" y="42"/>
                  </a:lnTo>
                  <a:lnTo>
                    <a:pt x="731" y="41"/>
                  </a:lnTo>
                  <a:lnTo>
                    <a:pt x="735" y="40"/>
                  </a:lnTo>
                  <a:lnTo>
                    <a:pt x="740" y="41"/>
                  </a:lnTo>
                  <a:lnTo>
                    <a:pt x="740" y="23"/>
                  </a:lnTo>
                  <a:lnTo>
                    <a:pt x="735" y="23"/>
                  </a:lnTo>
                  <a:lnTo>
                    <a:pt x="731" y="24"/>
                  </a:lnTo>
                  <a:lnTo>
                    <a:pt x="728" y="24"/>
                  </a:lnTo>
                  <a:lnTo>
                    <a:pt x="725" y="26"/>
                  </a:lnTo>
                  <a:lnTo>
                    <a:pt x="723" y="27"/>
                  </a:lnTo>
                  <a:lnTo>
                    <a:pt x="721" y="30"/>
                  </a:lnTo>
                  <a:lnTo>
                    <a:pt x="719" y="33"/>
                  </a:lnTo>
                  <a:lnTo>
                    <a:pt x="718" y="36"/>
                  </a:lnTo>
                  <a:lnTo>
                    <a:pt x="718" y="25"/>
                  </a:lnTo>
                  <a:lnTo>
                    <a:pt x="700" y="25"/>
                  </a:lnTo>
                  <a:close/>
                  <a:moveTo>
                    <a:pt x="640" y="49"/>
                  </a:moveTo>
                  <a:lnTo>
                    <a:pt x="641" y="46"/>
                  </a:lnTo>
                  <a:lnTo>
                    <a:pt x="642" y="44"/>
                  </a:lnTo>
                  <a:lnTo>
                    <a:pt x="643" y="42"/>
                  </a:lnTo>
                  <a:lnTo>
                    <a:pt x="645" y="40"/>
                  </a:lnTo>
                  <a:lnTo>
                    <a:pt x="647" y="39"/>
                  </a:lnTo>
                  <a:lnTo>
                    <a:pt x="649" y="38"/>
                  </a:lnTo>
                  <a:lnTo>
                    <a:pt x="655" y="37"/>
                  </a:lnTo>
                  <a:lnTo>
                    <a:pt x="660" y="38"/>
                  </a:lnTo>
                  <a:lnTo>
                    <a:pt x="662" y="39"/>
                  </a:lnTo>
                  <a:lnTo>
                    <a:pt x="663" y="40"/>
                  </a:lnTo>
                  <a:lnTo>
                    <a:pt x="665" y="42"/>
                  </a:lnTo>
                  <a:lnTo>
                    <a:pt x="666" y="44"/>
                  </a:lnTo>
                  <a:lnTo>
                    <a:pt x="667" y="46"/>
                  </a:lnTo>
                  <a:lnTo>
                    <a:pt x="667" y="49"/>
                  </a:lnTo>
                  <a:lnTo>
                    <a:pt x="640" y="49"/>
                  </a:lnTo>
                  <a:close/>
                  <a:moveTo>
                    <a:pt x="687" y="62"/>
                  </a:moveTo>
                  <a:lnTo>
                    <a:pt x="686" y="56"/>
                  </a:lnTo>
                  <a:lnTo>
                    <a:pt x="686" y="51"/>
                  </a:lnTo>
                  <a:lnTo>
                    <a:pt x="685" y="47"/>
                  </a:lnTo>
                  <a:lnTo>
                    <a:pt x="684" y="43"/>
                  </a:lnTo>
                  <a:lnTo>
                    <a:pt x="682" y="38"/>
                  </a:lnTo>
                  <a:lnTo>
                    <a:pt x="679" y="34"/>
                  </a:lnTo>
                  <a:lnTo>
                    <a:pt x="676" y="31"/>
                  </a:lnTo>
                  <a:lnTo>
                    <a:pt x="673" y="28"/>
                  </a:lnTo>
                  <a:lnTo>
                    <a:pt x="669" y="26"/>
                  </a:lnTo>
                  <a:lnTo>
                    <a:pt x="667" y="25"/>
                  </a:lnTo>
                  <a:lnTo>
                    <a:pt x="665" y="24"/>
                  </a:lnTo>
                  <a:lnTo>
                    <a:pt x="660" y="23"/>
                  </a:lnTo>
                  <a:lnTo>
                    <a:pt x="655" y="23"/>
                  </a:lnTo>
                  <a:lnTo>
                    <a:pt x="647" y="24"/>
                  </a:lnTo>
                  <a:lnTo>
                    <a:pt x="641" y="26"/>
                  </a:lnTo>
                  <a:lnTo>
                    <a:pt x="638" y="27"/>
                  </a:lnTo>
                  <a:lnTo>
                    <a:pt x="635" y="29"/>
                  </a:lnTo>
                  <a:lnTo>
                    <a:pt x="630" y="32"/>
                  </a:lnTo>
                  <a:lnTo>
                    <a:pt x="628" y="35"/>
                  </a:lnTo>
                  <a:lnTo>
                    <a:pt x="627" y="37"/>
                  </a:lnTo>
                  <a:lnTo>
                    <a:pt x="625" y="40"/>
                  </a:lnTo>
                  <a:lnTo>
                    <a:pt x="624" y="43"/>
                  </a:lnTo>
                  <a:lnTo>
                    <a:pt x="623" y="46"/>
                  </a:lnTo>
                  <a:lnTo>
                    <a:pt x="622" y="50"/>
                  </a:lnTo>
                  <a:lnTo>
                    <a:pt x="621" y="53"/>
                  </a:lnTo>
                  <a:lnTo>
                    <a:pt x="621" y="57"/>
                  </a:lnTo>
                  <a:lnTo>
                    <a:pt x="622" y="64"/>
                  </a:lnTo>
                  <a:lnTo>
                    <a:pt x="624" y="71"/>
                  </a:lnTo>
                  <a:lnTo>
                    <a:pt x="626" y="76"/>
                  </a:lnTo>
                  <a:lnTo>
                    <a:pt x="630" y="81"/>
                  </a:lnTo>
                  <a:lnTo>
                    <a:pt x="635" y="85"/>
                  </a:lnTo>
                  <a:lnTo>
                    <a:pt x="641" y="88"/>
                  </a:lnTo>
                  <a:lnTo>
                    <a:pt x="644" y="89"/>
                  </a:lnTo>
                  <a:lnTo>
                    <a:pt x="647" y="90"/>
                  </a:lnTo>
                  <a:lnTo>
                    <a:pt x="650" y="90"/>
                  </a:lnTo>
                  <a:lnTo>
                    <a:pt x="655" y="90"/>
                  </a:lnTo>
                  <a:lnTo>
                    <a:pt x="661" y="90"/>
                  </a:lnTo>
                  <a:lnTo>
                    <a:pt x="666" y="89"/>
                  </a:lnTo>
                  <a:lnTo>
                    <a:pt x="671" y="87"/>
                  </a:lnTo>
                  <a:lnTo>
                    <a:pt x="675" y="85"/>
                  </a:lnTo>
                  <a:lnTo>
                    <a:pt x="679" y="82"/>
                  </a:lnTo>
                  <a:lnTo>
                    <a:pt x="680" y="80"/>
                  </a:lnTo>
                  <a:lnTo>
                    <a:pt x="682" y="78"/>
                  </a:lnTo>
                  <a:lnTo>
                    <a:pt x="684" y="74"/>
                  </a:lnTo>
                  <a:lnTo>
                    <a:pt x="686" y="70"/>
                  </a:lnTo>
                  <a:lnTo>
                    <a:pt x="667" y="70"/>
                  </a:lnTo>
                  <a:lnTo>
                    <a:pt x="665" y="73"/>
                  </a:lnTo>
                  <a:lnTo>
                    <a:pt x="662" y="74"/>
                  </a:lnTo>
                  <a:lnTo>
                    <a:pt x="659" y="75"/>
                  </a:lnTo>
                  <a:lnTo>
                    <a:pt x="656" y="76"/>
                  </a:lnTo>
                  <a:lnTo>
                    <a:pt x="653" y="76"/>
                  </a:lnTo>
                  <a:lnTo>
                    <a:pt x="649" y="75"/>
                  </a:lnTo>
                  <a:lnTo>
                    <a:pt x="647" y="74"/>
                  </a:lnTo>
                  <a:lnTo>
                    <a:pt x="645" y="72"/>
                  </a:lnTo>
                  <a:lnTo>
                    <a:pt x="643" y="70"/>
                  </a:lnTo>
                  <a:lnTo>
                    <a:pt x="642" y="68"/>
                  </a:lnTo>
                  <a:lnTo>
                    <a:pt x="641" y="65"/>
                  </a:lnTo>
                  <a:lnTo>
                    <a:pt x="640" y="62"/>
                  </a:lnTo>
                  <a:lnTo>
                    <a:pt x="687" y="62"/>
                  </a:lnTo>
                  <a:close/>
                  <a:moveTo>
                    <a:pt x="593" y="89"/>
                  </a:moveTo>
                  <a:lnTo>
                    <a:pt x="614" y="25"/>
                  </a:lnTo>
                  <a:lnTo>
                    <a:pt x="594" y="25"/>
                  </a:lnTo>
                  <a:lnTo>
                    <a:pt x="588" y="49"/>
                  </a:lnTo>
                  <a:lnTo>
                    <a:pt x="584" y="68"/>
                  </a:lnTo>
                  <a:lnTo>
                    <a:pt x="579" y="49"/>
                  </a:lnTo>
                  <a:lnTo>
                    <a:pt x="571" y="25"/>
                  </a:lnTo>
                  <a:lnTo>
                    <a:pt x="552" y="25"/>
                  </a:lnTo>
                  <a:lnTo>
                    <a:pt x="575" y="89"/>
                  </a:lnTo>
                  <a:lnTo>
                    <a:pt x="593" y="89"/>
                  </a:lnTo>
                  <a:close/>
                  <a:moveTo>
                    <a:pt x="540" y="0"/>
                  </a:moveTo>
                  <a:lnTo>
                    <a:pt x="521" y="0"/>
                  </a:lnTo>
                  <a:lnTo>
                    <a:pt x="521" y="16"/>
                  </a:lnTo>
                  <a:lnTo>
                    <a:pt x="540" y="16"/>
                  </a:lnTo>
                  <a:lnTo>
                    <a:pt x="540" y="0"/>
                  </a:lnTo>
                  <a:close/>
                  <a:moveTo>
                    <a:pt x="540" y="25"/>
                  </a:moveTo>
                  <a:lnTo>
                    <a:pt x="521" y="25"/>
                  </a:lnTo>
                  <a:lnTo>
                    <a:pt x="521" y="89"/>
                  </a:lnTo>
                  <a:lnTo>
                    <a:pt x="540" y="89"/>
                  </a:lnTo>
                  <a:lnTo>
                    <a:pt x="540" y="25"/>
                  </a:lnTo>
                  <a:close/>
                  <a:moveTo>
                    <a:pt x="445" y="25"/>
                  </a:moveTo>
                  <a:lnTo>
                    <a:pt x="445" y="89"/>
                  </a:lnTo>
                  <a:lnTo>
                    <a:pt x="464" y="89"/>
                  </a:lnTo>
                  <a:lnTo>
                    <a:pt x="464" y="53"/>
                  </a:lnTo>
                  <a:lnTo>
                    <a:pt x="465" y="46"/>
                  </a:lnTo>
                  <a:lnTo>
                    <a:pt x="465" y="44"/>
                  </a:lnTo>
                  <a:lnTo>
                    <a:pt x="467" y="42"/>
                  </a:lnTo>
                  <a:lnTo>
                    <a:pt x="468" y="41"/>
                  </a:lnTo>
                  <a:lnTo>
                    <a:pt x="470" y="40"/>
                  </a:lnTo>
                  <a:lnTo>
                    <a:pt x="472" y="39"/>
                  </a:lnTo>
                  <a:lnTo>
                    <a:pt x="475" y="39"/>
                  </a:lnTo>
                  <a:lnTo>
                    <a:pt x="477" y="39"/>
                  </a:lnTo>
                  <a:lnTo>
                    <a:pt x="479" y="40"/>
                  </a:lnTo>
                  <a:lnTo>
                    <a:pt x="481" y="41"/>
                  </a:lnTo>
                  <a:lnTo>
                    <a:pt x="482" y="43"/>
                  </a:lnTo>
                  <a:lnTo>
                    <a:pt x="483" y="44"/>
                  </a:lnTo>
                  <a:lnTo>
                    <a:pt x="484" y="47"/>
                  </a:lnTo>
                  <a:lnTo>
                    <a:pt x="484" y="54"/>
                  </a:lnTo>
                  <a:lnTo>
                    <a:pt x="484" y="89"/>
                  </a:lnTo>
                  <a:lnTo>
                    <a:pt x="503" y="89"/>
                  </a:lnTo>
                  <a:lnTo>
                    <a:pt x="503" y="47"/>
                  </a:lnTo>
                  <a:lnTo>
                    <a:pt x="503" y="42"/>
                  </a:lnTo>
                  <a:lnTo>
                    <a:pt x="502" y="37"/>
                  </a:lnTo>
                  <a:lnTo>
                    <a:pt x="500" y="33"/>
                  </a:lnTo>
                  <a:lnTo>
                    <a:pt x="497" y="29"/>
                  </a:lnTo>
                  <a:lnTo>
                    <a:pt x="494" y="27"/>
                  </a:lnTo>
                  <a:lnTo>
                    <a:pt x="490" y="25"/>
                  </a:lnTo>
                  <a:lnTo>
                    <a:pt x="486" y="23"/>
                  </a:lnTo>
                  <a:lnTo>
                    <a:pt x="481" y="23"/>
                  </a:lnTo>
                  <a:lnTo>
                    <a:pt x="476" y="23"/>
                  </a:lnTo>
                  <a:lnTo>
                    <a:pt x="472" y="25"/>
                  </a:lnTo>
                  <a:lnTo>
                    <a:pt x="468" y="27"/>
                  </a:lnTo>
                  <a:lnTo>
                    <a:pt x="463" y="31"/>
                  </a:lnTo>
                  <a:lnTo>
                    <a:pt x="463" y="25"/>
                  </a:lnTo>
                  <a:lnTo>
                    <a:pt x="445" y="25"/>
                  </a:lnTo>
                  <a:close/>
                  <a:moveTo>
                    <a:pt x="407" y="0"/>
                  </a:moveTo>
                  <a:lnTo>
                    <a:pt x="407" y="59"/>
                  </a:lnTo>
                  <a:lnTo>
                    <a:pt x="407" y="63"/>
                  </a:lnTo>
                  <a:lnTo>
                    <a:pt x="406" y="66"/>
                  </a:lnTo>
                  <a:lnTo>
                    <a:pt x="405" y="68"/>
                  </a:lnTo>
                  <a:lnTo>
                    <a:pt x="404" y="70"/>
                  </a:lnTo>
                  <a:lnTo>
                    <a:pt x="401" y="72"/>
                  </a:lnTo>
                  <a:lnTo>
                    <a:pt x="398" y="73"/>
                  </a:lnTo>
                  <a:lnTo>
                    <a:pt x="395" y="74"/>
                  </a:lnTo>
                  <a:lnTo>
                    <a:pt x="392" y="74"/>
                  </a:lnTo>
                  <a:lnTo>
                    <a:pt x="388" y="74"/>
                  </a:lnTo>
                  <a:lnTo>
                    <a:pt x="385" y="73"/>
                  </a:lnTo>
                  <a:lnTo>
                    <a:pt x="382" y="72"/>
                  </a:lnTo>
                  <a:lnTo>
                    <a:pt x="380" y="70"/>
                  </a:lnTo>
                  <a:lnTo>
                    <a:pt x="378" y="68"/>
                  </a:lnTo>
                  <a:lnTo>
                    <a:pt x="377" y="66"/>
                  </a:lnTo>
                  <a:lnTo>
                    <a:pt x="376" y="63"/>
                  </a:lnTo>
                  <a:lnTo>
                    <a:pt x="376" y="59"/>
                  </a:lnTo>
                  <a:lnTo>
                    <a:pt x="376" y="0"/>
                  </a:lnTo>
                  <a:lnTo>
                    <a:pt x="356" y="0"/>
                  </a:lnTo>
                  <a:lnTo>
                    <a:pt x="356" y="60"/>
                  </a:lnTo>
                  <a:lnTo>
                    <a:pt x="357" y="68"/>
                  </a:lnTo>
                  <a:lnTo>
                    <a:pt x="359" y="74"/>
                  </a:lnTo>
                  <a:lnTo>
                    <a:pt x="360" y="77"/>
                  </a:lnTo>
                  <a:lnTo>
                    <a:pt x="362" y="79"/>
                  </a:lnTo>
                  <a:lnTo>
                    <a:pt x="364" y="81"/>
                  </a:lnTo>
                  <a:lnTo>
                    <a:pt x="366" y="83"/>
                  </a:lnTo>
                  <a:lnTo>
                    <a:pt x="371" y="86"/>
                  </a:lnTo>
                  <a:lnTo>
                    <a:pt x="374" y="88"/>
                  </a:lnTo>
                  <a:lnTo>
                    <a:pt x="378" y="89"/>
                  </a:lnTo>
                  <a:lnTo>
                    <a:pt x="384" y="90"/>
                  </a:lnTo>
                  <a:lnTo>
                    <a:pt x="392" y="91"/>
                  </a:lnTo>
                  <a:lnTo>
                    <a:pt x="399" y="90"/>
                  </a:lnTo>
                  <a:lnTo>
                    <a:pt x="403" y="90"/>
                  </a:lnTo>
                  <a:lnTo>
                    <a:pt x="406" y="89"/>
                  </a:lnTo>
                  <a:lnTo>
                    <a:pt x="412" y="86"/>
                  </a:lnTo>
                  <a:lnTo>
                    <a:pt x="418" y="83"/>
                  </a:lnTo>
                  <a:lnTo>
                    <a:pt x="420" y="81"/>
                  </a:lnTo>
                  <a:lnTo>
                    <a:pt x="422" y="79"/>
                  </a:lnTo>
                  <a:lnTo>
                    <a:pt x="424" y="77"/>
                  </a:lnTo>
                  <a:lnTo>
                    <a:pt x="425" y="74"/>
                  </a:lnTo>
                  <a:lnTo>
                    <a:pt x="427" y="68"/>
                  </a:lnTo>
                  <a:lnTo>
                    <a:pt x="427" y="64"/>
                  </a:lnTo>
                  <a:lnTo>
                    <a:pt x="427" y="60"/>
                  </a:lnTo>
                  <a:lnTo>
                    <a:pt x="427" y="0"/>
                  </a:lnTo>
                  <a:lnTo>
                    <a:pt x="407" y="0"/>
                  </a:lnTo>
                  <a:close/>
                  <a:moveTo>
                    <a:pt x="277" y="38"/>
                  </a:moveTo>
                  <a:lnTo>
                    <a:pt x="281" y="38"/>
                  </a:lnTo>
                  <a:lnTo>
                    <a:pt x="284" y="39"/>
                  </a:lnTo>
                  <a:lnTo>
                    <a:pt x="286" y="41"/>
                  </a:lnTo>
                  <a:lnTo>
                    <a:pt x="289" y="43"/>
                  </a:lnTo>
                  <a:lnTo>
                    <a:pt x="290" y="46"/>
                  </a:lnTo>
                  <a:lnTo>
                    <a:pt x="292" y="49"/>
                  </a:lnTo>
                  <a:lnTo>
                    <a:pt x="292" y="53"/>
                  </a:lnTo>
                  <a:lnTo>
                    <a:pt x="293" y="57"/>
                  </a:lnTo>
                  <a:lnTo>
                    <a:pt x="292" y="61"/>
                  </a:lnTo>
                  <a:lnTo>
                    <a:pt x="292" y="65"/>
                  </a:lnTo>
                  <a:lnTo>
                    <a:pt x="290" y="68"/>
                  </a:lnTo>
                  <a:lnTo>
                    <a:pt x="289" y="71"/>
                  </a:lnTo>
                  <a:lnTo>
                    <a:pt x="288" y="72"/>
                  </a:lnTo>
                  <a:lnTo>
                    <a:pt x="286" y="73"/>
                  </a:lnTo>
                  <a:lnTo>
                    <a:pt x="284" y="74"/>
                  </a:lnTo>
                  <a:lnTo>
                    <a:pt x="281" y="75"/>
                  </a:lnTo>
                  <a:lnTo>
                    <a:pt x="277" y="75"/>
                  </a:lnTo>
                  <a:lnTo>
                    <a:pt x="274" y="75"/>
                  </a:lnTo>
                  <a:lnTo>
                    <a:pt x="271" y="74"/>
                  </a:lnTo>
                  <a:lnTo>
                    <a:pt x="269" y="73"/>
                  </a:lnTo>
                  <a:lnTo>
                    <a:pt x="266" y="71"/>
                  </a:lnTo>
                  <a:lnTo>
                    <a:pt x="265" y="68"/>
                  </a:lnTo>
                  <a:lnTo>
                    <a:pt x="264" y="65"/>
                  </a:lnTo>
                  <a:lnTo>
                    <a:pt x="263" y="61"/>
                  </a:lnTo>
                  <a:lnTo>
                    <a:pt x="263" y="57"/>
                  </a:lnTo>
                  <a:lnTo>
                    <a:pt x="263" y="52"/>
                  </a:lnTo>
                  <a:lnTo>
                    <a:pt x="264" y="49"/>
                  </a:lnTo>
                  <a:lnTo>
                    <a:pt x="265" y="46"/>
                  </a:lnTo>
                  <a:lnTo>
                    <a:pt x="266" y="43"/>
                  </a:lnTo>
                  <a:lnTo>
                    <a:pt x="267" y="42"/>
                  </a:lnTo>
                  <a:lnTo>
                    <a:pt x="269" y="41"/>
                  </a:lnTo>
                  <a:lnTo>
                    <a:pt x="271" y="39"/>
                  </a:lnTo>
                  <a:lnTo>
                    <a:pt x="274" y="38"/>
                  </a:lnTo>
                  <a:lnTo>
                    <a:pt x="277" y="38"/>
                  </a:lnTo>
                  <a:close/>
                  <a:moveTo>
                    <a:pt x="277" y="23"/>
                  </a:moveTo>
                  <a:lnTo>
                    <a:pt x="270" y="24"/>
                  </a:lnTo>
                  <a:lnTo>
                    <a:pt x="264" y="26"/>
                  </a:lnTo>
                  <a:lnTo>
                    <a:pt x="261" y="27"/>
                  </a:lnTo>
                  <a:lnTo>
                    <a:pt x="258" y="29"/>
                  </a:lnTo>
                  <a:lnTo>
                    <a:pt x="253" y="33"/>
                  </a:lnTo>
                  <a:lnTo>
                    <a:pt x="249" y="37"/>
                  </a:lnTo>
                  <a:lnTo>
                    <a:pt x="247" y="40"/>
                  </a:lnTo>
                  <a:lnTo>
                    <a:pt x="246" y="43"/>
                  </a:lnTo>
                  <a:lnTo>
                    <a:pt x="245" y="46"/>
                  </a:lnTo>
                  <a:lnTo>
                    <a:pt x="244" y="50"/>
                  </a:lnTo>
                  <a:lnTo>
                    <a:pt x="244" y="53"/>
                  </a:lnTo>
                  <a:lnTo>
                    <a:pt x="244" y="57"/>
                  </a:lnTo>
                  <a:lnTo>
                    <a:pt x="244" y="64"/>
                  </a:lnTo>
                  <a:lnTo>
                    <a:pt x="246" y="70"/>
                  </a:lnTo>
                  <a:lnTo>
                    <a:pt x="247" y="73"/>
                  </a:lnTo>
                  <a:lnTo>
                    <a:pt x="249" y="76"/>
                  </a:lnTo>
                  <a:lnTo>
                    <a:pt x="253" y="81"/>
                  </a:lnTo>
                  <a:lnTo>
                    <a:pt x="258" y="85"/>
                  </a:lnTo>
                  <a:lnTo>
                    <a:pt x="261" y="87"/>
                  </a:lnTo>
                  <a:lnTo>
                    <a:pt x="264" y="88"/>
                  </a:lnTo>
                  <a:lnTo>
                    <a:pt x="267" y="89"/>
                  </a:lnTo>
                  <a:lnTo>
                    <a:pt x="270" y="90"/>
                  </a:lnTo>
                  <a:lnTo>
                    <a:pt x="277" y="90"/>
                  </a:lnTo>
                  <a:lnTo>
                    <a:pt x="285" y="90"/>
                  </a:lnTo>
                  <a:lnTo>
                    <a:pt x="291" y="88"/>
                  </a:lnTo>
                  <a:lnTo>
                    <a:pt x="294" y="87"/>
                  </a:lnTo>
                  <a:lnTo>
                    <a:pt x="297" y="85"/>
                  </a:lnTo>
                  <a:lnTo>
                    <a:pt x="302" y="81"/>
                  </a:lnTo>
                  <a:lnTo>
                    <a:pt x="306" y="76"/>
                  </a:lnTo>
                  <a:lnTo>
                    <a:pt x="308" y="73"/>
                  </a:lnTo>
                  <a:lnTo>
                    <a:pt x="309" y="71"/>
                  </a:lnTo>
                  <a:lnTo>
                    <a:pt x="311" y="64"/>
                  </a:lnTo>
                  <a:lnTo>
                    <a:pt x="311" y="61"/>
                  </a:lnTo>
                  <a:lnTo>
                    <a:pt x="311" y="57"/>
                  </a:lnTo>
                  <a:lnTo>
                    <a:pt x="311" y="53"/>
                  </a:lnTo>
                  <a:lnTo>
                    <a:pt x="311" y="50"/>
                  </a:lnTo>
                  <a:lnTo>
                    <a:pt x="309" y="43"/>
                  </a:lnTo>
                  <a:lnTo>
                    <a:pt x="308" y="40"/>
                  </a:lnTo>
                  <a:lnTo>
                    <a:pt x="306" y="37"/>
                  </a:lnTo>
                  <a:lnTo>
                    <a:pt x="302" y="33"/>
                  </a:lnTo>
                  <a:lnTo>
                    <a:pt x="297" y="29"/>
                  </a:lnTo>
                  <a:lnTo>
                    <a:pt x="294" y="27"/>
                  </a:lnTo>
                  <a:lnTo>
                    <a:pt x="291" y="26"/>
                  </a:lnTo>
                  <a:lnTo>
                    <a:pt x="288" y="24"/>
                  </a:lnTo>
                  <a:lnTo>
                    <a:pt x="285" y="24"/>
                  </a:lnTo>
                  <a:lnTo>
                    <a:pt x="277" y="23"/>
                  </a:lnTo>
                  <a:close/>
                  <a:moveTo>
                    <a:pt x="235" y="26"/>
                  </a:moveTo>
                  <a:lnTo>
                    <a:pt x="224" y="26"/>
                  </a:lnTo>
                  <a:lnTo>
                    <a:pt x="224" y="5"/>
                  </a:lnTo>
                  <a:lnTo>
                    <a:pt x="205" y="5"/>
                  </a:lnTo>
                  <a:lnTo>
                    <a:pt x="205" y="26"/>
                  </a:lnTo>
                  <a:lnTo>
                    <a:pt x="196" y="26"/>
                  </a:lnTo>
                  <a:lnTo>
                    <a:pt x="196" y="39"/>
                  </a:lnTo>
                  <a:lnTo>
                    <a:pt x="205" y="39"/>
                  </a:lnTo>
                  <a:lnTo>
                    <a:pt x="205" y="68"/>
                  </a:lnTo>
                  <a:lnTo>
                    <a:pt x="205" y="74"/>
                  </a:lnTo>
                  <a:lnTo>
                    <a:pt x="206" y="79"/>
                  </a:lnTo>
                  <a:lnTo>
                    <a:pt x="207" y="82"/>
                  </a:lnTo>
                  <a:lnTo>
                    <a:pt x="209" y="84"/>
                  </a:lnTo>
                  <a:lnTo>
                    <a:pt x="211" y="86"/>
                  </a:lnTo>
                  <a:lnTo>
                    <a:pt x="214" y="88"/>
                  </a:lnTo>
                  <a:lnTo>
                    <a:pt x="218" y="88"/>
                  </a:lnTo>
                  <a:lnTo>
                    <a:pt x="224" y="89"/>
                  </a:lnTo>
                  <a:lnTo>
                    <a:pt x="235" y="89"/>
                  </a:lnTo>
                  <a:lnTo>
                    <a:pt x="235" y="75"/>
                  </a:lnTo>
                  <a:lnTo>
                    <a:pt x="228" y="75"/>
                  </a:lnTo>
                  <a:lnTo>
                    <a:pt x="226" y="74"/>
                  </a:lnTo>
                  <a:lnTo>
                    <a:pt x="225" y="74"/>
                  </a:lnTo>
                  <a:lnTo>
                    <a:pt x="224" y="73"/>
                  </a:lnTo>
                  <a:lnTo>
                    <a:pt x="224" y="70"/>
                  </a:lnTo>
                  <a:lnTo>
                    <a:pt x="224" y="64"/>
                  </a:lnTo>
                  <a:lnTo>
                    <a:pt x="224" y="39"/>
                  </a:lnTo>
                  <a:lnTo>
                    <a:pt x="235" y="39"/>
                  </a:lnTo>
                  <a:lnTo>
                    <a:pt x="235" y="26"/>
                  </a:lnTo>
                  <a:close/>
                  <a:moveTo>
                    <a:pt x="184" y="0"/>
                  </a:moveTo>
                  <a:lnTo>
                    <a:pt x="166" y="0"/>
                  </a:lnTo>
                  <a:lnTo>
                    <a:pt x="166" y="89"/>
                  </a:lnTo>
                  <a:lnTo>
                    <a:pt x="184" y="89"/>
                  </a:lnTo>
                  <a:lnTo>
                    <a:pt x="184" y="0"/>
                  </a:lnTo>
                  <a:close/>
                  <a:moveTo>
                    <a:pt x="131" y="68"/>
                  </a:moveTo>
                  <a:lnTo>
                    <a:pt x="129" y="72"/>
                  </a:lnTo>
                  <a:lnTo>
                    <a:pt x="126" y="74"/>
                  </a:lnTo>
                  <a:lnTo>
                    <a:pt x="122" y="76"/>
                  </a:lnTo>
                  <a:lnTo>
                    <a:pt x="117" y="76"/>
                  </a:lnTo>
                  <a:lnTo>
                    <a:pt x="114" y="76"/>
                  </a:lnTo>
                  <a:lnTo>
                    <a:pt x="111" y="74"/>
                  </a:lnTo>
                  <a:lnTo>
                    <a:pt x="109" y="72"/>
                  </a:lnTo>
                  <a:lnTo>
                    <a:pt x="108" y="71"/>
                  </a:lnTo>
                  <a:lnTo>
                    <a:pt x="108" y="69"/>
                  </a:lnTo>
                  <a:lnTo>
                    <a:pt x="109" y="67"/>
                  </a:lnTo>
                  <a:lnTo>
                    <a:pt x="110" y="65"/>
                  </a:lnTo>
                  <a:lnTo>
                    <a:pt x="113" y="63"/>
                  </a:lnTo>
                  <a:lnTo>
                    <a:pt x="118" y="62"/>
                  </a:lnTo>
                  <a:lnTo>
                    <a:pt x="124" y="60"/>
                  </a:lnTo>
                  <a:lnTo>
                    <a:pt x="131" y="58"/>
                  </a:lnTo>
                  <a:lnTo>
                    <a:pt x="131" y="68"/>
                  </a:lnTo>
                  <a:close/>
                  <a:moveTo>
                    <a:pt x="110" y="45"/>
                  </a:moveTo>
                  <a:lnTo>
                    <a:pt x="110" y="43"/>
                  </a:lnTo>
                  <a:lnTo>
                    <a:pt x="111" y="42"/>
                  </a:lnTo>
                  <a:lnTo>
                    <a:pt x="112" y="40"/>
                  </a:lnTo>
                  <a:lnTo>
                    <a:pt x="113" y="39"/>
                  </a:lnTo>
                  <a:lnTo>
                    <a:pt x="116" y="38"/>
                  </a:lnTo>
                  <a:lnTo>
                    <a:pt x="121" y="37"/>
                  </a:lnTo>
                  <a:lnTo>
                    <a:pt x="125" y="38"/>
                  </a:lnTo>
                  <a:lnTo>
                    <a:pt x="128" y="39"/>
                  </a:lnTo>
                  <a:lnTo>
                    <a:pt x="130" y="41"/>
                  </a:lnTo>
                  <a:lnTo>
                    <a:pt x="131" y="42"/>
                  </a:lnTo>
                  <a:lnTo>
                    <a:pt x="131" y="43"/>
                  </a:lnTo>
                  <a:lnTo>
                    <a:pt x="130" y="45"/>
                  </a:lnTo>
                  <a:lnTo>
                    <a:pt x="129" y="46"/>
                  </a:lnTo>
                  <a:lnTo>
                    <a:pt x="128" y="47"/>
                  </a:lnTo>
                  <a:lnTo>
                    <a:pt x="125" y="48"/>
                  </a:lnTo>
                  <a:lnTo>
                    <a:pt x="115" y="49"/>
                  </a:lnTo>
                  <a:lnTo>
                    <a:pt x="109" y="51"/>
                  </a:lnTo>
                  <a:lnTo>
                    <a:pt x="103" y="52"/>
                  </a:lnTo>
                  <a:lnTo>
                    <a:pt x="99" y="54"/>
                  </a:lnTo>
                  <a:lnTo>
                    <a:pt x="95" y="56"/>
                  </a:lnTo>
                  <a:lnTo>
                    <a:pt x="93" y="59"/>
                  </a:lnTo>
                  <a:lnTo>
                    <a:pt x="92" y="61"/>
                  </a:lnTo>
                  <a:lnTo>
                    <a:pt x="91" y="62"/>
                  </a:lnTo>
                  <a:lnTo>
                    <a:pt x="90" y="66"/>
                  </a:lnTo>
                  <a:lnTo>
                    <a:pt x="89" y="70"/>
                  </a:lnTo>
                  <a:lnTo>
                    <a:pt x="90" y="75"/>
                  </a:lnTo>
                  <a:lnTo>
                    <a:pt x="91" y="79"/>
                  </a:lnTo>
                  <a:lnTo>
                    <a:pt x="93" y="82"/>
                  </a:lnTo>
                  <a:lnTo>
                    <a:pt x="96" y="85"/>
                  </a:lnTo>
                  <a:lnTo>
                    <a:pt x="97" y="86"/>
                  </a:lnTo>
                  <a:lnTo>
                    <a:pt x="99" y="87"/>
                  </a:lnTo>
                  <a:lnTo>
                    <a:pt x="103" y="89"/>
                  </a:lnTo>
                  <a:lnTo>
                    <a:pt x="108" y="90"/>
                  </a:lnTo>
                  <a:lnTo>
                    <a:pt x="113" y="90"/>
                  </a:lnTo>
                  <a:lnTo>
                    <a:pt x="118" y="90"/>
                  </a:lnTo>
                  <a:lnTo>
                    <a:pt x="123" y="89"/>
                  </a:lnTo>
                  <a:lnTo>
                    <a:pt x="127" y="87"/>
                  </a:lnTo>
                  <a:lnTo>
                    <a:pt x="131" y="84"/>
                  </a:lnTo>
                  <a:lnTo>
                    <a:pt x="133" y="89"/>
                  </a:lnTo>
                  <a:lnTo>
                    <a:pt x="152" y="89"/>
                  </a:lnTo>
                  <a:lnTo>
                    <a:pt x="151" y="87"/>
                  </a:lnTo>
                  <a:lnTo>
                    <a:pt x="150" y="85"/>
                  </a:lnTo>
                  <a:lnTo>
                    <a:pt x="149" y="78"/>
                  </a:lnTo>
                  <a:lnTo>
                    <a:pt x="149" y="48"/>
                  </a:lnTo>
                  <a:lnTo>
                    <a:pt x="149" y="42"/>
                  </a:lnTo>
                  <a:lnTo>
                    <a:pt x="148" y="37"/>
                  </a:lnTo>
                  <a:lnTo>
                    <a:pt x="146" y="33"/>
                  </a:lnTo>
                  <a:lnTo>
                    <a:pt x="145" y="31"/>
                  </a:lnTo>
                  <a:lnTo>
                    <a:pt x="143" y="30"/>
                  </a:lnTo>
                  <a:lnTo>
                    <a:pt x="139" y="27"/>
                  </a:lnTo>
                  <a:lnTo>
                    <a:pt x="134" y="25"/>
                  </a:lnTo>
                  <a:lnTo>
                    <a:pt x="128" y="23"/>
                  </a:lnTo>
                  <a:lnTo>
                    <a:pt x="121" y="23"/>
                  </a:lnTo>
                  <a:lnTo>
                    <a:pt x="115" y="23"/>
                  </a:lnTo>
                  <a:lnTo>
                    <a:pt x="109" y="24"/>
                  </a:lnTo>
                  <a:lnTo>
                    <a:pt x="104" y="26"/>
                  </a:lnTo>
                  <a:lnTo>
                    <a:pt x="101" y="28"/>
                  </a:lnTo>
                  <a:lnTo>
                    <a:pt x="97" y="31"/>
                  </a:lnTo>
                  <a:lnTo>
                    <a:pt x="95" y="35"/>
                  </a:lnTo>
                  <a:lnTo>
                    <a:pt x="94" y="37"/>
                  </a:lnTo>
                  <a:lnTo>
                    <a:pt x="94" y="40"/>
                  </a:lnTo>
                  <a:lnTo>
                    <a:pt x="93" y="42"/>
                  </a:lnTo>
                  <a:lnTo>
                    <a:pt x="93" y="45"/>
                  </a:lnTo>
                  <a:lnTo>
                    <a:pt x="110" y="45"/>
                  </a:lnTo>
                  <a:close/>
                  <a:moveTo>
                    <a:pt x="52" y="55"/>
                  </a:moveTo>
                  <a:lnTo>
                    <a:pt x="32" y="55"/>
                  </a:lnTo>
                  <a:lnTo>
                    <a:pt x="43" y="20"/>
                  </a:lnTo>
                  <a:lnTo>
                    <a:pt x="52" y="55"/>
                  </a:lnTo>
                  <a:close/>
                  <a:moveTo>
                    <a:pt x="57" y="71"/>
                  </a:moveTo>
                  <a:lnTo>
                    <a:pt x="61" y="89"/>
                  </a:lnTo>
                  <a:lnTo>
                    <a:pt x="84" y="89"/>
                  </a:lnTo>
                  <a:lnTo>
                    <a:pt x="56" y="0"/>
                  </a:lnTo>
                  <a:lnTo>
                    <a:pt x="31" y="0"/>
                  </a:lnTo>
                  <a:lnTo>
                    <a:pt x="0" y="89"/>
                  </a:lnTo>
                  <a:lnTo>
                    <a:pt x="22" y="89"/>
                  </a:lnTo>
                  <a:lnTo>
                    <a:pt x="27" y="71"/>
                  </a:lnTo>
                  <a:lnTo>
                    <a:pt x="57"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14" name="Freeform 7"/>
            <p:cNvSpPr>
              <a:spLocks noEditPoints="1"/>
            </p:cNvSpPr>
            <p:nvPr userDrawn="1"/>
          </p:nvSpPr>
          <p:spPr bwMode="auto">
            <a:xfrm>
              <a:off x="5756275" y="325438"/>
              <a:ext cx="1941513" cy="142875"/>
            </a:xfrm>
            <a:custGeom>
              <a:avLst/>
              <a:gdLst>
                <a:gd name="T0" fmla="*/ 1197 w 1223"/>
                <a:gd name="T1" fmla="*/ 38 h 90"/>
                <a:gd name="T2" fmla="*/ 1220 w 1223"/>
                <a:gd name="T3" fmla="*/ 32 h 90"/>
                <a:gd name="T4" fmla="*/ 1120 w 1223"/>
                <a:gd name="T5" fmla="*/ 37 h 90"/>
                <a:gd name="T6" fmla="*/ 1131 w 1223"/>
                <a:gd name="T7" fmla="*/ 70 h 90"/>
                <a:gd name="T8" fmla="*/ 1105 w 1223"/>
                <a:gd name="T9" fmla="*/ 60 h 90"/>
                <a:gd name="T10" fmla="*/ 1112 w 1223"/>
                <a:gd name="T11" fmla="*/ 23 h 90"/>
                <a:gd name="T12" fmla="*/ 1088 w 1223"/>
                <a:gd name="T13" fmla="*/ 70 h 90"/>
                <a:gd name="T14" fmla="*/ 1136 w 1223"/>
                <a:gd name="T15" fmla="*/ 86 h 90"/>
                <a:gd name="T16" fmla="*/ 1150 w 1223"/>
                <a:gd name="T17" fmla="*/ 40 h 90"/>
                <a:gd name="T18" fmla="*/ 1074 w 1223"/>
                <a:gd name="T19" fmla="*/ 15 h 90"/>
                <a:gd name="T20" fmla="*/ 1002 w 1223"/>
                <a:gd name="T21" fmla="*/ 25 h 90"/>
                <a:gd name="T22" fmla="*/ 1041 w 1223"/>
                <a:gd name="T23" fmla="*/ 88 h 90"/>
                <a:gd name="T24" fmla="*/ 967 w 1223"/>
                <a:gd name="T25" fmla="*/ 74 h 90"/>
                <a:gd name="T26" fmla="*/ 966 w 1223"/>
                <a:gd name="T27" fmla="*/ 60 h 90"/>
                <a:gd name="T28" fmla="*/ 971 w 1223"/>
                <a:gd name="T29" fmla="*/ 40 h 90"/>
                <a:gd name="T30" fmla="*/ 934 w 1223"/>
                <a:gd name="T31" fmla="*/ 59 h 90"/>
                <a:gd name="T32" fmla="*/ 954 w 1223"/>
                <a:gd name="T33" fmla="*/ 90 h 90"/>
                <a:gd name="T34" fmla="*/ 990 w 1223"/>
                <a:gd name="T35" fmla="*/ 36 h 90"/>
                <a:gd name="T36" fmla="*/ 939 w 1223"/>
                <a:gd name="T37" fmla="*/ 31 h 90"/>
                <a:gd name="T38" fmla="*/ 907 w 1223"/>
                <a:gd name="T39" fmla="*/ 26 h 90"/>
                <a:gd name="T40" fmla="*/ 859 w 1223"/>
                <a:gd name="T41" fmla="*/ 49 h 90"/>
                <a:gd name="T42" fmla="*/ 891 w 1223"/>
                <a:gd name="T43" fmla="*/ 90 h 90"/>
                <a:gd name="T44" fmla="*/ 899 w 1223"/>
                <a:gd name="T45" fmla="*/ 72 h 90"/>
                <a:gd name="T46" fmla="*/ 878 w 1223"/>
                <a:gd name="T47" fmla="*/ 56 h 90"/>
                <a:gd name="T48" fmla="*/ 900 w 1223"/>
                <a:gd name="T49" fmla="*/ 42 h 90"/>
                <a:gd name="T50" fmla="*/ 823 w 1223"/>
                <a:gd name="T51" fmla="*/ 73 h 90"/>
                <a:gd name="T52" fmla="*/ 790 w 1223"/>
                <a:gd name="T53" fmla="*/ 71 h 90"/>
                <a:gd name="T54" fmla="*/ 828 w 1223"/>
                <a:gd name="T55" fmla="*/ 83 h 90"/>
                <a:gd name="T56" fmla="*/ 756 w 1223"/>
                <a:gd name="T57" fmla="*/ 52 h 90"/>
                <a:gd name="T58" fmla="*/ 735 w 1223"/>
                <a:gd name="T59" fmla="*/ 72 h 90"/>
                <a:gd name="T60" fmla="*/ 740 w 1223"/>
                <a:gd name="T61" fmla="*/ 38 h 90"/>
                <a:gd name="T62" fmla="*/ 719 w 1223"/>
                <a:gd name="T63" fmla="*/ 32 h 90"/>
                <a:gd name="T64" fmla="*/ 723 w 1223"/>
                <a:gd name="T65" fmla="*/ 85 h 90"/>
                <a:gd name="T66" fmla="*/ 757 w 1223"/>
                <a:gd name="T67" fmla="*/ 88 h 90"/>
                <a:gd name="T68" fmla="*/ 655 w 1223"/>
                <a:gd name="T69" fmla="*/ 34 h 90"/>
                <a:gd name="T70" fmla="*/ 556 w 1223"/>
                <a:gd name="T71" fmla="*/ 38 h 90"/>
                <a:gd name="T72" fmla="*/ 580 w 1223"/>
                <a:gd name="T73" fmla="*/ 41 h 90"/>
                <a:gd name="T74" fmla="*/ 533 w 1223"/>
                <a:gd name="T75" fmla="*/ 28 h 90"/>
                <a:gd name="T76" fmla="*/ 528 w 1223"/>
                <a:gd name="T77" fmla="*/ 81 h 90"/>
                <a:gd name="T78" fmla="*/ 577 w 1223"/>
                <a:gd name="T79" fmla="*/ 80 h 90"/>
                <a:gd name="T80" fmla="*/ 543 w 1223"/>
                <a:gd name="T81" fmla="*/ 72 h 90"/>
                <a:gd name="T82" fmla="*/ 471 w 1223"/>
                <a:gd name="T83" fmla="*/ 24 h 90"/>
                <a:gd name="T84" fmla="*/ 440 w 1223"/>
                <a:gd name="T85" fmla="*/ 88 h 90"/>
                <a:gd name="T86" fmla="*/ 376 w 1223"/>
                <a:gd name="T87" fmla="*/ 78 h 90"/>
                <a:gd name="T88" fmla="*/ 394 w 1223"/>
                <a:gd name="T89" fmla="*/ 69 h 90"/>
                <a:gd name="T90" fmla="*/ 329 w 1223"/>
                <a:gd name="T91" fmla="*/ 73 h 90"/>
                <a:gd name="T92" fmla="*/ 295 w 1223"/>
                <a:gd name="T93" fmla="*/ 71 h 90"/>
                <a:gd name="T94" fmla="*/ 333 w 1223"/>
                <a:gd name="T95" fmla="*/ 83 h 90"/>
                <a:gd name="T96" fmla="*/ 259 w 1223"/>
                <a:gd name="T97" fmla="*/ 23 h 90"/>
                <a:gd name="T98" fmla="*/ 221 w 1223"/>
                <a:gd name="T99" fmla="*/ 64 h 90"/>
                <a:gd name="T100" fmla="*/ 264 w 1223"/>
                <a:gd name="T101" fmla="*/ 88 h 90"/>
                <a:gd name="T102" fmla="*/ 257 w 1223"/>
                <a:gd name="T103" fmla="*/ 74 h 90"/>
                <a:gd name="T104" fmla="*/ 240 w 1223"/>
                <a:gd name="T105" fmla="*/ 50 h 90"/>
                <a:gd name="T106" fmla="*/ 264 w 1223"/>
                <a:gd name="T107" fmla="*/ 47 h 90"/>
                <a:gd name="T108" fmla="*/ 186 w 1223"/>
                <a:gd name="T109" fmla="*/ 40 h 90"/>
                <a:gd name="T110" fmla="*/ 202 w 1223"/>
                <a:gd name="T111" fmla="*/ 33 h 90"/>
                <a:gd name="T112" fmla="*/ 152 w 1223"/>
                <a:gd name="T113" fmla="*/ 34 h 90"/>
                <a:gd name="T114" fmla="*/ 165 w 1223"/>
                <a:gd name="T115" fmla="*/ 87 h 90"/>
                <a:gd name="T116" fmla="*/ 207 w 1223"/>
                <a:gd name="T117" fmla="*/ 74 h 90"/>
                <a:gd name="T118" fmla="*/ 166 w 1223"/>
                <a:gd name="T119" fmla="*/ 67 h 90"/>
                <a:gd name="T120" fmla="*/ 96 w 1223"/>
                <a:gd name="T121" fmla="*/ 88 h 90"/>
                <a:gd name="T122" fmla="*/ 60 w 1223"/>
                <a:gd name="T123" fmla="*/ 5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3" h="90">
                  <a:moveTo>
                    <a:pt x="1165" y="24"/>
                  </a:moveTo>
                  <a:lnTo>
                    <a:pt x="1165" y="88"/>
                  </a:lnTo>
                  <a:lnTo>
                    <a:pt x="1184" y="88"/>
                  </a:lnTo>
                  <a:lnTo>
                    <a:pt x="1184" y="52"/>
                  </a:lnTo>
                  <a:lnTo>
                    <a:pt x="1184" y="46"/>
                  </a:lnTo>
                  <a:lnTo>
                    <a:pt x="1185" y="44"/>
                  </a:lnTo>
                  <a:lnTo>
                    <a:pt x="1187" y="42"/>
                  </a:lnTo>
                  <a:lnTo>
                    <a:pt x="1188" y="40"/>
                  </a:lnTo>
                  <a:lnTo>
                    <a:pt x="1190" y="39"/>
                  </a:lnTo>
                  <a:lnTo>
                    <a:pt x="1192" y="38"/>
                  </a:lnTo>
                  <a:lnTo>
                    <a:pt x="1195" y="38"/>
                  </a:lnTo>
                  <a:lnTo>
                    <a:pt x="1197" y="38"/>
                  </a:lnTo>
                  <a:lnTo>
                    <a:pt x="1199" y="39"/>
                  </a:lnTo>
                  <a:lnTo>
                    <a:pt x="1201" y="40"/>
                  </a:lnTo>
                  <a:lnTo>
                    <a:pt x="1202" y="42"/>
                  </a:lnTo>
                  <a:lnTo>
                    <a:pt x="1203" y="44"/>
                  </a:lnTo>
                  <a:lnTo>
                    <a:pt x="1204" y="46"/>
                  </a:lnTo>
                  <a:lnTo>
                    <a:pt x="1204" y="53"/>
                  </a:lnTo>
                  <a:lnTo>
                    <a:pt x="1204" y="88"/>
                  </a:lnTo>
                  <a:lnTo>
                    <a:pt x="1223" y="88"/>
                  </a:lnTo>
                  <a:lnTo>
                    <a:pt x="1223" y="47"/>
                  </a:lnTo>
                  <a:lnTo>
                    <a:pt x="1223" y="41"/>
                  </a:lnTo>
                  <a:lnTo>
                    <a:pt x="1222" y="37"/>
                  </a:lnTo>
                  <a:lnTo>
                    <a:pt x="1220" y="32"/>
                  </a:lnTo>
                  <a:lnTo>
                    <a:pt x="1217" y="29"/>
                  </a:lnTo>
                  <a:lnTo>
                    <a:pt x="1214" y="26"/>
                  </a:lnTo>
                  <a:lnTo>
                    <a:pt x="1210" y="24"/>
                  </a:lnTo>
                  <a:lnTo>
                    <a:pt x="1206" y="23"/>
                  </a:lnTo>
                  <a:lnTo>
                    <a:pt x="1201" y="22"/>
                  </a:lnTo>
                  <a:lnTo>
                    <a:pt x="1196" y="23"/>
                  </a:lnTo>
                  <a:lnTo>
                    <a:pt x="1192" y="24"/>
                  </a:lnTo>
                  <a:lnTo>
                    <a:pt x="1188" y="27"/>
                  </a:lnTo>
                  <a:lnTo>
                    <a:pt x="1183" y="30"/>
                  </a:lnTo>
                  <a:lnTo>
                    <a:pt x="1183" y="24"/>
                  </a:lnTo>
                  <a:lnTo>
                    <a:pt x="1165" y="24"/>
                  </a:lnTo>
                  <a:close/>
                  <a:moveTo>
                    <a:pt x="1120" y="37"/>
                  </a:moveTo>
                  <a:lnTo>
                    <a:pt x="1123" y="38"/>
                  </a:lnTo>
                  <a:lnTo>
                    <a:pt x="1126" y="39"/>
                  </a:lnTo>
                  <a:lnTo>
                    <a:pt x="1129" y="40"/>
                  </a:lnTo>
                  <a:lnTo>
                    <a:pt x="1131" y="42"/>
                  </a:lnTo>
                  <a:lnTo>
                    <a:pt x="1132" y="45"/>
                  </a:lnTo>
                  <a:lnTo>
                    <a:pt x="1134" y="48"/>
                  </a:lnTo>
                  <a:lnTo>
                    <a:pt x="1134" y="52"/>
                  </a:lnTo>
                  <a:lnTo>
                    <a:pt x="1135" y="57"/>
                  </a:lnTo>
                  <a:lnTo>
                    <a:pt x="1134" y="61"/>
                  </a:lnTo>
                  <a:lnTo>
                    <a:pt x="1134" y="64"/>
                  </a:lnTo>
                  <a:lnTo>
                    <a:pt x="1132" y="67"/>
                  </a:lnTo>
                  <a:lnTo>
                    <a:pt x="1131" y="70"/>
                  </a:lnTo>
                  <a:lnTo>
                    <a:pt x="1130" y="71"/>
                  </a:lnTo>
                  <a:lnTo>
                    <a:pt x="1129" y="72"/>
                  </a:lnTo>
                  <a:lnTo>
                    <a:pt x="1126" y="74"/>
                  </a:lnTo>
                  <a:lnTo>
                    <a:pt x="1123" y="75"/>
                  </a:lnTo>
                  <a:lnTo>
                    <a:pt x="1120" y="75"/>
                  </a:lnTo>
                  <a:lnTo>
                    <a:pt x="1116" y="75"/>
                  </a:lnTo>
                  <a:lnTo>
                    <a:pt x="1113" y="74"/>
                  </a:lnTo>
                  <a:lnTo>
                    <a:pt x="1111" y="72"/>
                  </a:lnTo>
                  <a:lnTo>
                    <a:pt x="1109" y="70"/>
                  </a:lnTo>
                  <a:lnTo>
                    <a:pt x="1107" y="67"/>
                  </a:lnTo>
                  <a:lnTo>
                    <a:pt x="1106" y="64"/>
                  </a:lnTo>
                  <a:lnTo>
                    <a:pt x="1105" y="60"/>
                  </a:lnTo>
                  <a:lnTo>
                    <a:pt x="1105" y="56"/>
                  </a:lnTo>
                  <a:lnTo>
                    <a:pt x="1105" y="52"/>
                  </a:lnTo>
                  <a:lnTo>
                    <a:pt x="1106" y="48"/>
                  </a:lnTo>
                  <a:lnTo>
                    <a:pt x="1107" y="45"/>
                  </a:lnTo>
                  <a:lnTo>
                    <a:pt x="1109" y="42"/>
                  </a:lnTo>
                  <a:lnTo>
                    <a:pt x="1110" y="41"/>
                  </a:lnTo>
                  <a:lnTo>
                    <a:pt x="1111" y="40"/>
                  </a:lnTo>
                  <a:lnTo>
                    <a:pt x="1113" y="39"/>
                  </a:lnTo>
                  <a:lnTo>
                    <a:pt x="1116" y="38"/>
                  </a:lnTo>
                  <a:lnTo>
                    <a:pt x="1120" y="37"/>
                  </a:lnTo>
                  <a:close/>
                  <a:moveTo>
                    <a:pt x="1120" y="23"/>
                  </a:moveTo>
                  <a:lnTo>
                    <a:pt x="1112" y="23"/>
                  </a:lnTo>
                  <a:lnTo>
                    <a:pt x="1106" y="25"/>
                  </a:lnTo>
                  <a:lnTo>
                    <a:pt x="1103" y="26"/>
                  </a:lnTo>
                  <a:lnTo>
                    <a:pt x="1100" y="28"/>
                  </a:lnTo>
                  <a:lnTo>
                    <a:pt x="1095" y="32"/>
                  </a:lnTo>
                  <a:lnTo>
                    <a:pt x="1091" y="37"/>
                  </a:lnTo>
                  <a:lnTo>
                    <a:pt x="1090" y="40"/>
                  </a:lnTo>
                  <a:lnTo>
                    <a:pt x="1088" y="43"/>
                  </a:lnTo>
                  <a:lnTo>
                    <a:pt x="1087" y="46"/>
                  </a:lnTo>
                  <a:lnTo>
                    <a:pt x="1086" y="49"/>
                  </a:lnTo>
                  <a:lnTo>
                    <a:pt x="1086" y="56"/>
                  </a:lnTo>
                  <a:lnTo>
                    <a:pt x="1086" y="63"/>
                  </a:lnTo>
                  <a:lnTo>
                    <a:pt x="1088" y="70"/>
                  </a:lnTo>
                  <a:lnTo>
                    <a:pt x="1090" y="73"/>
                  </a:lnTo>
                  <a:lnTo>
                    <a:pt x="1091" y="76"/>
                  </a:lnTo>
                  <a:lnTo>
                    <a:pt x="1095" y="80"/>
                  </a:lnTo>
                  <a:lnTo>
                    <a:pt x="1100" y="84"/>
                  </a:lnTo>
                  <a:lnTo>
                    <a:pt x="1103" y="86"/>
                  </a:lnTo>
                  <a:lnTo>
                    <a:pt x="1106" y="87"/>
                  </a:lnTo>
                  <a:lnTo>
                    <a:pt x="1109" y="88"/>
                  </a:lnTo>
                  <a:lnTo>
                    <a:pt x="1112" y="89"/>
                  </a:lnTo>
                  <a:lnTo>
                    <a:pt x="1120" y="90"/>
                  </a:lnTo>
                  <a:lnTo>
                    <a:pt x="1127" y="89"/>
                  </a:lnTo>
                  <a:lnTo>
                    <a:pt x="1133" y="87"/>
                  </a:lnTo>
                  <a:lnTo>
                    <a:pt x="1136" y="86"/>
                  </a:lnTo>
                  <a:lnTo>
                    <a:pt x="1139" y="84"/>
                  </a:lnTo>
                  <a:lnTo>
                    <a:pt x="1144" y="80"/>
                  </a:lnTo>
                  <a:lnTo>
                    <a:pt x="1148" y="76"/>
                  </a:lnTo>
                  <a:lnTo>
                    <a:pt x="1150" y="73"/>
                  </a:lnTo>
                  <a:lnTo>
                    <a:pt x="1151" y="70"/>
                  </a:lnTo>
                  <a:lnTo>
                    <a:pt x="1153" y="64"/>
                  </a:lnTo>
                  <a:lnTo>
                    <a:pt x="1153" y="60"/>
                  </a:lnTo>
                  <a:lnTo>
                    <a:pt x="1154" y="57"/>
                  </a:lnTo>
                  <a:lnTo>
                    <a:pt x="1153" y="53"/>
                  </a:lnTo>
                  <a:lnTo>
                    <a:pt x="1153" y="49"/>
                  </a:lnTo>
                  <a:lnTo>
                    <a:pt x="1151" y="43"/>
                  </a:lnTo>
                  <a:lnTo>
                    <a:pt x="1150" y="40"/>
                  </a:lnTo>
                  <a:lnTo>
                    <a:pt x="1148" y="37"/>
                  </a:lnTo>
                  <a:lnTo>
                    <a:pt x="1144" y="32"/>
                  </a:lnTo>
                  <a:lnTo>
                    <a:pt x="1139" y="28"/>
                  </a:lnTo>
                  <a:lnTo>
                    <a:pt x="1136" y="26"/>
                  </a:lnTo>
                  <a:lnTo>
                    <a:pt x="1133" y="25"/>
                  </a:lnTo>
                  <a:lnTo>
                    <a:pt x="1130" y="24"/>
                  </a:lnTo>
                  <a:lnTo>
                    <a:pt x="1127" y="23"/>
                  </a:lnTo>
                  <a:lnTo>
                    <a:pt x="1120" y="23"/>
                  </a:lnTo>
                  <a:close/>
                  <a:moveTo>
                    <a:pt x="1074" y="0"/>
                  </a:moveTo>
                  <a:lnTo>
                    <a:pt x="1056" y="0"/>
                  </a:lnTo>
                  <a:lnTo>
                    <a:pt x="1056" y="15"/>
                  </a:lnTo>
                  <a:lnTo>
                    <a:pt x="1074" y="15"/>
                  </a:lnTo>
                  <a:lnTo>
                    <a:pt x="1074" y="0"/>
                  </a:lnTo>
                  <a:close/>
                  <a:moveTo>
                    <a:pt x="1074" y="24"/>
                  </a:moveTo>
                  <a:lnTo>
                    <a:pt x="1056" y="24"/>
                  </a:lnTo>
                  <a:lnTo>
                    <a:pt x="1056" y="88"/>
                  </a:lnTo>
                  <a:lnTo>
                    <a:pt x="1074" y="88"/>
                  </a:lnTo>
                  <a:lnTo>
                    <a:pt x="1074" y="24"/>
                  </a:lnTo>
                  <a:close/>
                  <a:moveTo>
                    <a:pt x="1041" y="25"/>
                  </a:moveTo>
                  <a:lnTo>
                    <a:pt x="1029" y="25"/>
                  </a:lnTo>
                  <a:lnTo>
                    <a:pt x="1029" y="5"/>
                  </a:lnTo>
                  <a:lnTo>
                    <a:pt x="1011" y="5"/>
                  </a:lnTo>
                  <a:lnTo>
                    <a:pt x="1011" y="25"/>
                  </a:lnTo>
                  <a:lnTo>
                    <a:pt x="1002" y="25"/>
                  </a:lnTo>
                  <a:lnTo>
                    <a:pt x="1002" y="38"/>
                  </a:lnTo>
                  <a:lnTo>
                    <a:pt x="1011" y="38"/>
                  </a:lnTo>
                  <a:lnTo>
                    <a:pt x="1011" y="67"/>
                  </a:lnTo>
                  <a:lnTo>
                    <a:pt x="1011" y="74"/>
                  </a:lnTo>
                  <a:lnTo>
                    <a:pt x="1011" y="78"/>
                  </a:lnTo>
                  <a:lnTo>
                    <a:pt x="1012" y="81"/>
                  </a:lnTo>
                  <a:lnTo>
                    <a:pt x="1014" y="84"/>
                  </a:lnTo>
                  <a:lnTo>
                    <a:pt x="1017" y="86"/>
                  </a:lnTo>
                  <a:lnTo>
                    <a:pt x="1020" y="87"/>
                  </a:lnTo>
                  <a:lnTo>
                    <a:pt x="1024" y="88"/>
                  </a:lnTo>
                  <a:lnTo>
                    <a:pt x="1029" y="88"/>
                  </a:lnTo>
                  <a:lnTo>
                    <a:pt x="1041" y="88"/>
                  </a:lnTo>
                  <a:lnTo>
                    <a:pt x="1041" y="74"/>
                  </a:lnTo>
                  <a:lnTo>
                    <a:pt x="1034" y="74"/>
                  </a:lnTo>
                  <a:lnTo>
                    <a:pt x="1032" y="74"/>
                  </a:lnTo>
                  <a:lnTo>
                    <a:pt x="1030" y="72"/>
                  </a:lnTo>
                  <a:lnTo>
                    <a:pt x="1029" y="69"/>
                  </a:lnTo>
                  <a:lnTo>
                    <a:pt x="1029" y="63"/>
                  </a:lnTo>
                  <a:lnTo>
                    <a:pt x="1029" y="38"/>
                  </a:lnTo>
                  <a:lnTo>
                    <a:pt x="1041" y="38"/>
                  </a:lnTo>
                  <a:lnTo>
                    <a:pt x="1041" y="25"/>
                  </a:lnTo>
                  <a:close/>
                  <a:moveTo>
                    <a:pt x="973" y="68"/>
                  </a:moveTo>
                  <a:lnTo>
                    <a:pt x="970" y="71"/>
                  </a:lnTo>
                  <a:lnTo>
                    <a:pt x="967" y="74"/>
                  </a:lnTo>
                  <a:lnTo>
                    <a:pt x="963" y="75"/>
                  </a:lnTo>
                  <a:lnTo>
                    <a:pt x="959" y="76"/>
                  </a:lnTo>
                  <a:lnTo>
                    <a:pt x="955" y="75"/>
                  </a:lnTo>
                  <a:lnTo>
                    <a:pt x="952" y="74"/>
                  </a:lnTo>
                  <a:lnTo>
                    <a:pt x="950" y="72"/>
                  </a:lnTo>
                  <a:lnTo>
                    <a:pt x="950" y="70"/>
                  </a:lnTo>
                  <a:lnTo>
                    <a:pt x="949" y="69"/>
                  </a:lnTo>
                  <a:lnTo>
                    <a:pt x="950" y="66"/>
                  </a:lnTo>
                  <a:lnTo>
                    <a:pt x="952" y="64"/>
                  </a:lnTo>
                  <a:lnTo>
                    <a:pt x="955" y="62"/>
                  </a:lnTo>
                  <a:lnTo>
                    <a:pt x="959" y="61"/>
                  </a:lnTo>
                  <a:lnTo>
                    <a:pt x="966" y="60"/>
                  </a:lnTo>
                  <a:lnTo>
                    <a:pt x="973" y="58"/>
                  </a:lnTo>
                  <a:lnTo>
                    <a:pt x="973" y="68"/>
                  </a:lnTo>
                  <a:close/>
                  <a:moveTo>
                    <a:pt x="951" y="44"/>
                  </a:moveTo>
                  <a:lnTo>
                    <a:pt x="951" y="43"/>
                  </a:lnTo>
                  <a:lnTo>
                    <a:pt x="952" y="41"/>
                  </a:lnTo>
                  <a:lnTo>
                    <a:pt x="953" y="40"/>
                  </a:lnTo>
                  <a:lnTo>
                    <a:pt x="954" y="39"/>
                  </a:lnTo>
                  <a:lnTo>
                    <a:pt x="958" y="37"/>
                  </a:lnTo>
                  <a:lnTo>
                    <a:pt x="962" y="37"/>
                  </a:lnTo>
                  <a:lnTo>
                    <a:pt x="966" y="37"/>
                  </a:lnTo>
                  <a:lnTo>
                    <a:pt x="970" y="38"/>
                  </a:lnTo>
                  <a:lnTo>
                    <a:pt x="971" y="40"/>
                  </a:lnTo>
                  <a:lnTo>
                    <a:pt x="972" y="41"/>
                  </a:lnTo>
                  <a:lnTo>
                    <a:pt x="972" y="43"/>
                  </a:lnTo>
                  <a:lnTo>
                    <a:pt x="972" y="44"/>
                  </a:lnTo>
                  <a:lnTo>
                    <a:pt x="971" y="46"/>
                  </a:lnTo>
                  <a:lnTo>
                    <a:pt x="969" y="46"/>
                  </a:lnTo>
                  <a:lnTo>
                    <a:pt x="966" y="47"/>
                  </a:lnTo>
                  <a:lnTo>
                    <a:pt x="956" y="49"/>
                  </a:lnTo>
                  <a:lnTo>
                    <a:pt x="950" y="50"/>
                  </a:lnTo>
                  <a:lnTo>
                    <a:pt x="945" y="52"/>
                  </a:lnTo>
                  <a:lnTo>
                    <a:pt x="940" y="54"/>
                  </a:lnTo>
                  <a:lnTo>
                    <a:pt x="937" y="56"/>
                  </a:lnTo>
                  <a:lnTo>
                    <a:pt x="934" y="59"/>
                  </a:lnTo>
                  <a:lnTo>
                    <a:pt x="933" y="60"/>
                  </a:lnTo>
                  <a:lnTo>
                    <a:pt x="932" y="62"/>
                  </a:lnTo>
                  <a:lnTo>
                    <a:pt x="931" y="66"/>
                  </a:lnTo>
                  <a:lnTo>
                    <a:pt x="931" y="70"/>
                  </a:lnTo>
                  <a:lnTo>
                    <a:pt x="931" y="74"/>
                  </a:lnTo>
                  <a:lnTo>
                    <a:pt x="933" y="78"/>
                  </a:lnTo>
                  <a:lnTo>
                    <a:pt x="935" y="81"/>
                  </a:lnTo>
                  <a:lnTo>
                    <a:pt x="937" y="84"/>
                  </a:lnTo>
                  <a:lnTo>
                    <a:pt x="941" y="87"/>
                  </a:lnTo>
                  <a:lnTo>
                    <a:pt x="945" y="88"/>
                  </a:lnTo>
                  <a:lnTo>
                    <a:pt x="949" y="89"/>
                  </a:lnTo>
                  <a:lnTo>
                    <a:pt x="954" y="90"/>
                  </a:lnTo>
                  <a:lnTo>
                    <a:pt x="960" y="90"/>
                  </a:lnTo>
                  <a:lnTo>
                    <a:pt x="964" y="88"/>
                  </a:lnTo>
                  <a:lnTo>
                    <a:pt x="968" y="86"/>
                  </a:lnTo>
                  <a:lnTo>
                    <a:pt x="973" y="83"/>
                  </a:lnTo>
                  <a:lnTo>
                    <a:pt x="974" y="88"/>
                  </a:lnTo>
                  <a:lnTo>
                    <a:pt x="993" y="88"/>
                  </a:lnTo>
                  <a:lnTo>
                    <a:pt x="992" y="86"/>
                  </a:lnTo>
                  <a:lnTo>
                    <a:pt x="991" y="84"/>
                  </a:lnTo>
                  <a:lnTo>
                    <a:pt x="991" y="77"/>
                  </a:lnTo>
                  <a:lnTo>
                    <a:pt x="991" y="48"/>
                  </a:lnTo>
                  <a:lnTo>
                    <a:pt x="991" y="41"/>
                  </a:lnTo>
                  <a:lnTo>
                    <a:pt x="990" y="36"/>
                  </a:lnTo>
                  <a:lnTo>
                    <a:pt x="988" y="32"/>
                  </a:lnTo>
                  <a:lnTo>
                    <a:pt x="986" y="31"/>
                  </a:lnTo>
                  <a:lnTo>
                    <a:pt x="985" y="29"/>
                  </a:lnTo>
                  <a:lnTo>
                    <a:pt x="980" y="26"/>
                  </a:lnTo>
                  <a:lnTo>
                    <a:pt x="975" y="24"/>
                  </a:lnTo>
                  <a:lnTo>
                    <a:pt x="969" y="23"/>
                  </a:lnTo>
                  <a:lnTo>
                    <a:pt x="962" y="23"/>
                  </a:lnTo>
                  <a:lnTo>
                    <a:pt x="956" y="23"/>
                  </a:lnTo>
                  <a:lnTo>
                    <a:pt x="951" y="24"/>
                  </a:lnTo>
                  <a:lnTo>
                    <a:pt x="946" y="26"/>
                  </a:lnTo>
                  <a:lnTo>
                    <a:pt x="942" y="28"/>
                  </a:lnTo>
                  <a:lnTo>
                    <a:pt x="939" y="31"/>
                  </a:lnTo>
                  <a:lnTo>
                    <a:pt x="937" y="35"/>
                  </a:lnTo>
                  <a:lnTo>
                    <a:pt x="936" y="37"/>
                  </a:lnTo>
                  <a:lnTo>
                    <a:pt x="935" y="39"/>
                  </a:lnTo>
                  <a:lnTo>
                    <a:pt x="934" y="42"/>
                  </a:lnTo>
                  <a:lnTo>
                    <a:pt x="934" y="44"/>
                  </a:lnTo>
                  <a:lnTo>
                    <a:pt x="951" y="44"/>
                  </a:lnTo>
                  <a:close/>
                  <a:moveTo>
                    <a:pt x="920" y="47"/>
                  </a:moveTo>
                  <a:lnTo>
                    <a:pt x="920" y="42"/>
                  </a:lnTo>
                  <a:lnTo>
                    <a:pt x="918" y="37"/>
                  </a:lnTo>
                  <a:lnTo>
                    <a:pt x="915" y="33"/>
                  </a:lnTo>
                  <a:lnTo>
                    <a:pt x="912" y="29"/>
                  </a:lnTo>
                  <a:lnTo>
                    <a:pt x="907" y="26"/>
                  </a:lnTo>
                  <a:lnTo>
                    <a:pt x="903" y="24"/>
                  </a:lnTo>
                  <a:lnTo>
                    <a:pt x="897" y="23"/>
                  </a:lnTo>
                  <a:lnTo>
                    <a:pt x="891" y="23"/>
                  </a:lnTo>
                  <a:lnTo>
                    <a:pt x="884" y="23"/>
                  </a:lnTo>
                  <a:lnTo>
                    <a:pt x="878" y="25"/>
                  </a:lnTo>
                  <a:lnTo>
                    <a:pt x="872" y="28"/>
                  </a:lnTo>
                  <a:lnTo>
                    <a:pt x="870" y="29"/>
                  </a:lnTo>
                  <a:lnTo>
                    <a:pt x="867" y="32"/>
                  </a:lnTo>
                  <a:lnTo>
                    <a:pt x="865" y="34"/>
                  </a:lnTo>
                  <a:lnTo>
                    <a:pt x="864" y="36"/>
                  </a:lnTo>
                  <a:lnTo>
                    <a:pt x="861" y="42"/>
                  </a:lnTo>
                  <a:lnTo>
                    <a:pt x="859" y="49"/>
                  </a:lnTo>
                  <a:lnTo>
                    <a:pt x="859" y="56"/>
                  </a:lnTo>
                  <a:lnTo>
                    <a:pt x="859" y="64"/>
                  </a:lnTo>
                  <a:lnTo>
                    <a:pt x="860" y="67"/>
                  </a:lnTo>
                  <a:lnTo>
                    <a:pt x="861" y="70"/>
                  </a:lnTo>
                  <a:lnTo>
                    <a:pt x="864" y="76"/>
                  </a:lnTo>
                  <a:lnTo>
                    <a:pt x="865" y="79"/>
                  </a:lnTo>
                  <a:lnTo>
                    <a:pt x="867" y="81"/>
                  </a:lnTo>
                  <a:lnTo>
                    <a:pt x="872" y="85"/>
                  </a:lnTo>
                  <a:lnTo>
                    <a:pt x="877" y="88"/>
                  </a:lnTo>
                  <a:lnTo>
                    <a:pt x="884" y="89"/>
                  </a:lnTo>
                  <a:lnTo>
                    <a:pt x="887" y="90"/>
                  </a:lnTo>
                  <a:lnTo>
                    <a:pt x="891" y="90"/>
                  </a:lnTo>
                  <a:lnTo>
                    <a:pt x="897" y="89"/>
                  </a:lnTo>
                  <a:lnTo>
                    <a:pt x="902" y="88"/>
                  </a:lnTo>
                  <a:lnTo>
                    <a:pt x="907" y="86"/>
                  </a:lnTo>
                  <a:lnTo>
                    <a:pt x="911" y="83"/>
                  </a:lnTo>
                  <a:lnTo>
                    <a:pt x="915" y="80"/>
                  </a:lnTo>
                  <a:lnTo>
                    <a:pt x="918" y="75"/>
                  </a:lnTo>
                  <a:lnTo>
                    <a:pt x="920" y="70"/>
                  </a:lnTo>
                  <a:lnTo>
                    <a:pt x="921" y="65"/>
                  </a:lnTo>
                  <a:lnTo>
                    <a:pt x="903" y="64"/>
                  </a:lnTo>
                  <a:lnTo>
                    <a:pt x="902" y="66"/>
                  </a:lnTo>
                  <a:lnTo>
                    <a:pt x="901" y="69"/>
                  </a:lnTo>
                  <a:lnTo>
                    <a:pt x="899" y="72"/>
                  </a:lnTo>
                  <a:lnTo>
                    <a:pt x="897" y="73"/>
                  </a:lnTo>
                  <a:lnTo>
                    <a:pt x="896" y="74"/>
                  </a:lnTo>
                  <a:lnTo>
                    <a:pt x="893" y="74"/>
                  </a:lnTo>
                  <a:lnTo>
                    <a:pt x="891" y="75"/>
                  </a:lnTo>
                  <a:lnTo>
                    <a:pt x="888" y="74"/>
                  </a:lnTo>
                  <a:lnTo>
                    <a:pt x="885" y="73"/>
                  </a:lnTo>
                  <a:lnTo>
                    <a:pt x="883" y="72"/>
                  </a:lnTo>
                  <a:lnTo>
                    <a:pt x="881" y="70"/>
                  </a:lnTo>
                  <a:lnTo>
                    <a:pt x="880" y="67"/>
                  </a:lnTo>
                  <a:lnTo>
                    <a:pt x="879" y="64"/>
                  </a:lnTo>
                  <a:lnTo>
                    <a:pt x="878" y="60"/>
                  </a:lnTo>
                  <a:lnTo>
                    <a:pt x="878" y="56"/>
                  </a:lnTo>
                  <a:lnTo>
                    <a:pt x="878" y="52"/>
                  </a:lnTo>
                  <a:lnTo>
                    <a:pt x="878" y="50"/>
                  </a:lnTo>
                  <a:lnTo>
                    <a:pt x="879" y="48"/>
                  </a:lnTo>
                  <a:lnTo>
                    <a:pt x="880" y="45"/>
                  </a:lnTo>
                  <a:lnTo>
                    <a:pt x="881" y="42"/>
                  </a:lnTo>
                  <a:lnTo>
                    <a:pt x="883" y="40"/>
                  </a:lnTo>
                  <a:lnTo>
                    <a:pt x="885" y="39"/>
                  </a:lnTo>
                  <a:lnTo>
                    <a:pt x="888" y="38"/>
                  </a:lnTo>
                  <a:lnTo>
                    <a:pt x="891" y="38"/>
                  </a:lnTo>
                  <a:lnTo>
                    <a:pt x="895" y="38"/>
                  </a:lnTo>
                  <a:lnTo>
                    <a:pt x="899" y="40"/>
                  </a:lnTo>
                  <a:lnTo>
                    <a:pt x="900" y="42"/>
                  </a:lnTo>
                  <a:lnTo>
                    <a:pt x="901" y="43"/>
                  </a:lnTo>
                  <a:lnTo>
                    <a:pt x="902" y="45"/>
                  </a:lnTo>
                  <a:lnTo>
                    <a:pt x="903" y="47"/>
                  </a:lnTo>
                  <a:lnTo>
                    <a:pt x="920" y="47"/>
                  </a:lnTo>
                  <a:close/>
                  <a:moveTo>
                    <a:pt x="847" y="24"/>
                  </a:moveTo>
                  <a:lnTo>
                    <a:pt x="828" y="24"/>
                  </a:lnTo>
                  <a:lnTo>
                    <a:pt x="828" y="60"/>
                  </a:lnTo>
                  <a:lnTo>
                    <a:pt x="828" y="67"/>
                  </a:lnTo>
                  <a:lnTo>
                    <a:pt x="827" y="69"/>
                  </a:lnTo>
                  <a:lnTo>
                    <a:pt x="826" y="70"/>
                  </a:lnTo>
                  <a:lnTo>
                    <a:pt x="825" y="72"/>
                  </a:lnTo>
                  <a:lnTo>
                    <a:pt x="823" y="73"/>
                  </a:lnTo>
                  <a:lnTo>
                    <a:pt x="821" y="74"/>
                  </a:lnTo>
                  <a:lnTo>
                    <a:pt x="818" y="74"/>
                  </a:lnTo>
                  <a:lnTo>
                    <a:pt x="816" y="74"/>
                  </a:lnTo>
                  <a:lnTo>
                    <a:pt x="814" y="73"/>
                  </a:lnTo>
                  <a:lnTo>
                    <a:pt x="812" y="72"/>
                  </a:lnTo>
                  <a:lnTo>
                    <a:pt x="810" y="70"/>
                  </a:lnTo>
                  <a:lnTo>
                    <a:pt x="809" y="67"/>
                  </a:lnTo>
                  <a:lnTo>
                    <a:pt x="808" y="60"/>
                  </a:lnTo>
                  <a:lnTo>
                    <a:pt x="808" y="24"/>
                  </a:lnTo>
                  <a:lnTo>
                    <a:pt x="789" y="24"/>
                  </a:lnTo>
                  <a:lnTo>
                    <a:pt x="789" y="64"/>
                  </a:lnTo>
                  <a:lnTo>
                    <a:pt x="790" y="71"/>
                  </a:lnTo>
                  <a:lnTo>
                    <a:pt x="791" y="76"/>
                  </a:lnTo>
                  <a:lnTo>
                    <a:pt x="792" y="78"/>
                  </a:lnTo>
                  <a:lnTo>
                    <a:pt x="793" y="80"/>
                  </a:lnTo>
                  <a:lnTo>
                    <a:pt x="795" y="83"/>
                  </a:lnTo>
                  <a:lnTo>
                    <a:pt x="799" y="86"/>
                  </a:lnTo>
                  <a:lnTo>
                    <a:pt x="803" y="88"/>
                  </a:lnTo>
                  <a:lnTo>
                    <a:pt x="808" y="89"/>
                  </a:lnTo>
                  <a:lnTo>
                    <a:pt x="812" y="90"/>
                  </a:lnTo>
                  <a:lnTo>
                    <a:pt x="818" y="89"/>
                  </a:lnTo>
                  <a:lnTo>
                    <a:pt x="822" y="88"/>
                  </a:lnTo>
                  <a:lnTo>
                    <a:pt x="826" y="85"/>
                  </a:lnTo>
                  <a:lnTo>
                    <a:pt x="828" y="83"/>
                  </a:lnTo>
                  <a:lnTo>
                    <a:pt x="829" y="81"/>
                  </a:lnTo>
                  <a:lnTo>
                    <a:pt x="829" y="88"/>
                  </a:lnTo>
                  <a:lnTo>
                    <a:pt x="847" y="88"/>
                  </a:lnTo>
                  <a:lnTo>
                    <a:pt x="847" y="24"/>
                  </a:lnTo>
                  <a:close/>
                  <a:moveTo>
                    <a:pt x="743" y="38"/>
                  </a:moveTo>
                  <a:lnTo>
                    <a:pt x="746" y="38"/>
                  </a:lnTo>
                  <a:lnTo>
                    <a:pt x="749" y="39"/>
                  </a:lnTo>
                  <a:lnTo>
                    <a:pt x="751" y="41"/>
                  </a:lnTo>
                  <a:lnTo>
                    <a:pt x="753" y="43"/>
                  </a:lnTo>
                  <a:lnTo>
                    <a:pt x="755" y="45"/>
                  </a:lnTo>
                  <a:lnTo>
                    <a:pt x="756" y="49"/>
                  </a:lnTo>
                  <a:lnTo>
                    <a:pt x="756" y="52"/>
                  </a:lnTo>
                  <a:lnTo>
                    <a:pt x="757" y="56"/>
                  </a:lnTo>
                  <a:lnTo>
                    <a:pt x="756" y="60"/>
                  </a:lnTo>
                  <a:lnTo>
                    <a:pt x="756" y="64"/>
                  </a:lnTo>
                  <a:lnTo>
                    <a:pt x="755" y="67"/>
                  </a:lnTo>
                  <a:lnTo>
                    <a:pt x="753" y="70"/>
                  </a:lnTo>
                  <a:lnTo>
                    <a:pt x="751" y="72"/>
                  </a:lnTo>
                  <a:lnTo>
                    <a:pt x="749" y="73"/>
                  </a:lnTo>
                  <a:lnTo>
                    <a:pt x="746" y="74"/>
                  </a:lnTo>
                  <a:lnTo>
                    <a:pt x="743" y="75"/>
                  </a:lnTo>
                  <a:lnTo>
                    <a:pt x="740" y="74"/>
                  </a:lnTo>
                  <a:lnTo>
                    <a:pt x="738" y="73"/>
                  </a:lnTo>
                  <a:lnTo>
                    <a:pt x="735" y="72"/>
                  </a:lnTo>
                  <a:lnTo>
                    <a:pt x="733" y="70"/>
                  </a:lnTo>
                  <a:lnTo>
                    <a:pt x="732" y="67"/>
                  </a:lnTo>
                  <a:lnTo>
                    <a:pt x="731" y="64"/>
                  </a:lnTo>
                  <a:lnTo>
                    <a:pt x="730" y="60"/>
                  </a:lnTo>
                  <a:lnTo>
                    <a:pt x="730" y="56"/>
                  </a:lnTo>
                  <a:lnTo>
                    <a:pt x="730" y="52"/>
                  </a:lnTo>
                  <a:lnTo>
                    <a:pt x="731" y="48"/>
                  </a:lnTo>
                  <a:lnTo>
                    <a:pt x="732" y="45"/>
                  </a:lnTo>
                  <a:lnTo>
                    <a:pt x="733" y="43"/>
                  </a:lnTo>
                  <a:lnTo>
                    <a:pt x="735" y="40"/>
                  </a:lnTo>
                  <a:lnTo>
                    <a:pt x="738" y="39"/>
                  </a:lnTo>
                  <a:lnTo>
                    <a:pt x="740" y="38"/>
                  </a:lnTo>
                  <a:lnTo>
                    <a:pt x="743" y="38"/>
                  </a:lnTo>
                  <a:close/>
                  <a:moveTo>
                    <a:pt x="775" y="0"/>
                  </a:moveTo>
                  <a:lnTo>
                    <a:pt x="756" y="0"/>
                  </a:lnTo>
                  <a:lnTo>
                    <a:pt x="756" y="29"/>
                  </a:lnTo>
                  <a:lnTo>
                    <a:pt x="753" y="26"/>
                  </a:lnTo>
                  <a:lnTo>
                    <a:pt x="749" y="24"/>
                  </a:lnTo>
                  <a:lnTo>
                    <a:pt x="745" y="23"/>
                  </a:lnTo>
                  <a:lnTo>
                    <a:pt x="740" y="22"/>
                  </a:lnTo>
                  <a:lnTo>
                    <a:pt x="734" y="23"/>
                  </a:lnTo>
                  <a:lnTo>
                    <a:pt x="728" y="25"/>
                  </a:lnTo>
                  <a:lnTo>
                    <a:pt x="723" y="28"/>
                  </a:lnTo>
                  <a:lnTo>
                    <a:pt x="719" y="32"/>
                  </a:lnTo>
                  <a:lnTo>
                    <a:pt x="716" y="37"/>
                  </a:lnTo>
                  <a:lnTo>
                    <a:pt x="713" y="42"/>
                  </a:lnTo>
                  <a:lnTo>
                    <a:pt x="712" y="46"/>
                  </a:lnTo>
                  <a:lnTo>
                    <a:pt x="712" y="49"/>
                  </a:lnTo>
                  <a:lnTo>
                    <a:pt x="711" y="56"/>
                  </a:lnTo>
                  <a:lnTo>
                    <a:pt x="712" y="64"/>
                  </a:lnTo>
                  <a:lnTo>
                    <a:pt x="712" y="67"/>
                  </a:lnTo>
                  <a:lnTo>
                    <a:pt x="713" y="70"/>
                  </a:lnTo>
                  <a:lnTo>
                    <a:pt x="716" y="76"/>
                  </a:lnTo>
                  <a:lnTo>
                    <a:pt x="717" y="78"/>
                  </a:lnTo>
                  <a:lnTo>
                    <a:pt x="719" y="81"/>
                  </a:lnTo>
                  <a:lnTo>
                    <a:pt x="723" y="85"/>
                  </a:lnTo>
                  <a:lnTo>
                    <a:pt x="728" y="87"/>
                  </a:lnTo>
                  <a:lnTo>
                    <a:pt x="730" y="88"/>
                  </a:lnTo>
                  <a:lnTo>
                    <a:pt x="733" y="89"/>
                  </a:lnTo>
                  <a:lnTo>
                    <a:pt x="736" y="90"/>
                  </a:lnTo>
                  <a:lnTo>
                    <a:pt x="739" y="90"/>
                  </a:lnTo>
                  <a:lnTo>
                    <a:pt x="745" y="89"/>
                  </a:lnTo>
                  <a:lnTo>
                    <a:pt x="747" y="89"/>
                  </a:lnTo>
                  <a:lnTo>
                    <a:pt x="749" y="88"/>
                  </a:lnTo>
                  <a:lnTo>
                    <a:pt x="751" y="87"/>
                  </a:lnTo>
                  <a:lnTo>
                    <a:pt x="753" y="85"/>
                  </a:lnTo>
                  <a:lnTo>
                    <a:pt x="757" y="81"/>
                  </a:lnTo>
                  <a:lnTo>
                    <a:pt x="757" y="88"/>
                  </a:lnTo>
                  <a:lnTo>
                    <a:pt x="775" y="88"/>
                  </a:lnTo>
                  <a:lnTo>
                    <a:pt x="775" y="0"/>
                  </a:lnTo>
                  <a:close/>
                  <a:moveTo>
                    <a:pt x="701" y="0"/>
                  </a:moveTo>
                  <a:lnTo>
                    <a:pt x="634" y="0"/>
                  </a:lnTo>
                  <a:lnTo>
                    <a:pt x="634" y="88"/>
                  </a:lnTo>
                  <a:lnTo>
                    <a:pt x="702" y="88"/>
                  </a:lnTo>
                  <a:lnTo>
                    <a:pt x="702" y="71"/>
                  </a:lnTo>
                  <a:lnTo>
                    <a:pt x="655" y="71"/>
                  </a:lnTo>
                  <a:lnTo>
                    <a:pt x="655" y="50"/>
                  </a:lnTo>
                  <a:lnTo>
                    <a:pt x="695" y="50"/>
                  </a:lnTo>
                  <a:lnTo>
                    <a:pt x="695" y="34"/>
                  </a:lnTo>
                  <a:lnTo>
                    <a:pt x="655" y="34"/>
                  </a:lnTo>
                  <a:lnTo>
                    <a:pt x="655" y="17"/>
                  </a:lnTo>
                  <a:lnTo>
                    <a:pt x="701" y="17"/>
                  </a:lnTo>
                  <a:lnTo>
                    <a:pt x="701" y="0"/>
                  </a:lnTo>
                  <a:close/>
                  <a:moveTo>
                    <a:pt x="538" y="48"/>
                  </a:moveTo>
                  <a:lnTo>
                    <a:pt x="539" y="46"/>
                  </a:lnTo>
                  <a:lnTo>
                    <a:pt x="540" y="43"/>
                  </a:lnTo>
                  <a:lnTo>
                    <a:pt x="541" y="41"/>
                  </a:lnTo>
                  <a:lnTo>
                    <a:pt x="543" y="40"/>
                  </a:lnTo>
                  <a:lnTo>
                    <a:pt x="544" y="38"/>
                  </a:lnTo>
                  <a:lnTo>
                    <a:pt x="547" y="38"/>
                  </a:lnTo>
                  <a:lnTo>
                    <a:pt x="552" y="37"/>
                  </a:lnTo>
                  <a:lnTo>
                    <a:pt x="556" y="38"/>
                  </a:lnTo>
                  <a:lnTo>
                    <a:pt x="558" y="38"/>
                  </a:lnTo>
                  <a:lnTo>
                    <a:pt x="560" y="40"/>
                  </a:lnTo>
                  <a:lnTo>
                    <a:pt x="562" y="41"/>
                  </a:lnTo>
                  <a:lnTo>
                    <a:pt x="563" y="43"/>
                  </a:lnTo>
                  <a:lnTo>
                    <a:pt x="564" y="46"/>
                  </a:lnTo>
                  <a:lnTo>
                    <a:pt x="564" y="48"/>
                  </a:lnTo>
                  <a:lnTo>
                    <a:pt x="538" y="48"/>
                  </a:lnTo>
                  <a:close/>
                  <a:moveTo>
                    <a:pt x="583" y="62"/>
                  </a:moveTo>
                  <a:lnTo>
                    <a:pt x="583" y="56"/>
                  </a:lnTo>
                  <a:lnTo>
                    <a:pt x="583" y="50"/>
                  </a:lnTo>
                  <a:lnTo>
                    <a:pt x="582" y="46"/>
                  </a:lnTo>
                  <a:lnTo>
                    <a:pt x="580" y="41"/>
                  </a:lnTo>
                  <a:lnTo>
                    <a:pt x="578" y="37"/>
                  </a:lnTo>
                  <a:lnTo>
                    <a:pt x="576" y="33"/>
                  </a:lnTo>
                  <a:lnTo>
                    <a:pt x="573" y="30"/>
                  </a:lnTo>
                  <a:lnTo>
                    <a:pt x="569" y="27"/>
                  </a:lnTo>
                  <a:lnTo>
                    <a:pt x="565" y="25"/>
                  </a:lnTo>
                  <a:lnTo>
                    <a:pt x="561" y="24"/>
                  </a:lnTo>
                  <a:lnTo>
                    <a:pt x="557" y="23"/>
                  </a:lnTo>
                  <a:lnTo>
                    <a:pt x="552" y="23"/>
                  </a:lnTo>
                  <a:lnTo>
                    <a:pt x="545" y="23"/>
                  </a:lnTo>
                  <a:lnTo>
                    <a:pt x="538" y="25"/>
                  </a:lnTo>
                  <a:lnTo>
                    <a:pt x="536" y="26"/>
                  </a:lnTo>
                  <a:lnTo>
                    <a:pt x="533" y="28"/>
                  </a:lnTo>
                  <a:lnTo>
                    <a:pt x="528" y="32"/>
                  </a:lnTo>
                  <a:lnTo>
                    <a:pt x="526" y="34"/>
                  </a:lnTo>
                  <a:lnTo>
                    <a:pt x="524" y="37"/>
                  </a:lnTo>
                  <a:lnTo>
                    <a:pt x="521" y="43"/>
                  </a:lnTo>
                  <a:lnTo>
                    <a:pt x="520" y="49"/>
                  </a:lnTo>
                  <a:lnTo>
                    <a:pt x="519" y="53"/>
                  </a:lnTo>
                  <a:lnTo>
                    <a:pt x="519" y="56"/>
                  </a:lnTo>
                  <a:lnTo>
                    <a:pt x="520" y="63"/>
                  </a:lnTo>
                  <a:lnTo>
                    <a:pt x="521" y="70"/>
                  </a:lnTo>
                  <a:lnTo>
                    <a:pt x="524" y="76"/>
                  </a:lnTo>
                  <a:lnTo>
                    <a:pt x="526" y="78"/>
                  </a:lnTo>
                  <a:lnTo>
                    <a:pt x="528" y="81"/>
                  </a:lnTo>
                  <a:lnTo>
                    <a:pt x="533" y="85"/>
                  </a:lnTo>
                  <a:lnTo>
                    <a:pt x="538" y="87"/>
                  </a:lnTo>
                  <a:lnTo>
                    <a:pt x="541" y="88"/>
                  </a:lnTo>
                  <a:lnTo>
                    <a:pt x="545" y="89"/>
                  </a:lnTo>
                  <a:lnTo>
                    <a:pt x="548" y="90"/>
                  </a:lnTo>
                  <a:lnTo>
                    <a:pt x="552" y="90"/>
                  </a:lnTo>
                  <a:lnTo>
                    <a:pt x="557" y="89"/>
                  </a:lnTo>
                  <a:lnTo>
                    <a:pt x="563" y="88"/>
                  </a:lnTo>
                  <a:lnTo>
                    <a:pt x="567" y="87"/>
                  </a:lnTo>
                  <a:lnTo>
                    <a:pt x="572" y="84"/>
                  </a:lnTo>
                  <a:lnTo>
                    <a:pt x="575" y="81"/>
                  </a:lnTo>
                  <a:lnTo>
                    <a:pt x="577" y="80"/>
                  </a:lnTo>
                  <a:lnTo>
                    <a:pt x="578" y="78"/>
                  </a:lnTo>
                  <a:lnTo>
                    <a:pt x="581" y="74"/>
                  </a:lnTo>
                  <a:lnTo>
                    <a:pt x="583" y="69"/>
                  </a:lnTo>
                  <a:lnTo>
                    <a:pt x="563" y="69"/>
                  </a:lnTo>
                  <a:lnTo>
                    <a:pt x="561" y="72"/>
                  </a:lnTo>
                  <a:lnTo>
                    <a:pt x="559" y="74"/>
                  </a:lnTo>
                  <a:lnTo>
                    <a:pt x="556" y="75"/>
                  </a:lnTo>
                  <a:lnTo>
                    <a:pt x="552" y="75"/>
                  </a:lnTo>
                  <a:lnTo>
                    <a:pt x="549" y="75"/>
                  </a:lnTo>
                  <a:lnTo>
                    <a:pt x="547" y="74"/>
                  </a:lnTo>
                  <a:lnTo>
                    <a:pt x="545" y="73"/>
                  </a:lnTo>
                  <a:lnTo>
                    <a:pt x="543" y="72"/>
                  </a:lnTo>
                  <a:lnTo>
                    <a:pt x="541" y="70"/>
                  </a:lnTo>
                  <a:lnTo>
                    <a:pt x="540" y="67"/>
                  </a:lnTo>
                  <a:lnTo>
                    <a:pt x="539" y="65"/>
                  </a:lnTo>
                  <a:lnTo>
                    <a:pt x="538" y="62"/>
                  </a:lnTo>
                  <a:lnTo>
                    <a:pt x="583" y="62"/>
                  </a:lnTo>
                  <a:close/>
                  <a:moveTo>
                    <a:pt x="493" y="88"/>
                  </a:moveTo>
                  <a:lnTo>
                    <a:pt x="514" y="24"/>
                  </a:lnTo>
                  <a:lnTo>
                    <a:pt x="494" y="24"/>
                  </a:lnTo>
                  <a:lnTo>
                    <a:pt x="488" y="49"/>
                  </a:lnTo>
                  <a:lnTo>
                    <a:pt x="484" y="67"/>
                  </a:lnTo>
                  <a:lnTo>
                    <a:pt x="479" y="49"/>
                  </a:lnTo>
                  <a:lnTo>
                    <a:pt x="471" y="24"/>
                  </a:lnTo>
                  <a:lnTo>
                    <a:pt x="452" y="24"/>
                  </a:lnTo>
                  <a:lnTo>
                    <a:pt x="475" y="88"/>
                  </a:lnTo>
                  <a:lnTo>
                    <a:pt x="493" y="88"/>
                  </a:lnTo>
                  <a:close/>
                  <a:moveTo>
                    <a:pt x="440" y="0"/>
                  </a:moveTo>
                  <a:lnTo>
                    <a:pt x="421" y="0"/>
                  </a:lnTo>
                  <a:lnTo>
                    <a:pt x="421" y="15"/>
                  </a:lnTo>
                  <a:lnTo>
                    <a:pt x="440" y="15"/>
                  </a:lnTo>
                  <a:lnTo>
                    <a:pt x="440" y="0"/>
                  </a:lnTo>
                  <a:close/>
                  <a:moveTo>
                    <a:pt x="440" y="24"/>
                  </a:moveTo>
                  <a:lnTo>
                    <a:pt x="421" y="24"/>
                  </a:lnTo>
                  <a:lnTo>
                    <a:pt x="421" y="88"/>
                  </a:lnTo>
                  <a:lnTo>
                    <a:pt x="440" y="88"/>
                  </a:lnTo>
                  <a:lnTo>
                    <a:pt x="440" y="24"/>
                  </a:lnTo>
                  <a:close/>
                  <a:moveTo>
                    <a:pt x="405" y="25"/>
                  </a:moveTo>
                  <a:lnTo>
                    <a:pt x="394" y="25"/>
                  </a:lnTo>
                  <a:lnTo>
                    <a:pt x="394" y="5"/>
                  </a:lnTo>
                  <a:lnTo>
                    <a:pt x="375" y="5"/>
                  </a:lnTo>
                  <a:lnTo>
                    <a:pt x="375" y="25"/>
                  </a:lnTo>
                  <a:lnTo>
                    <a:pt x="366" y="25"/>
                  </a:lnTo>
                  <a:lnTo>
                    <a:pt x="366" y="38"/>
                  </a:lnTo>
                  <a:lnTo>
                    <a:pt x="375" y="38"/>
                  </a:lnTo>
                  <a:lnTo>
                    <a:pt x="375" y="67"/>
                  </a:lnTo>
                  <a:lnTo>
                    <a:pt x="375" y="74"/>
                  </a:lnTo>
                  <a:lnTo>
                    <a:pt x="376" y="78"/>
                  </a:lnTo>
                  <a:lnTo>
                    <a:pt x="377" y="81"/>
                  </a:lnTo>
                  <a:lnTo>
                    <a:pt x="378" y="84"/>
                  </a:lnTo>
                  <a:lnTo>
                    <a:pt x="381" y="86"/>
                  </a:lnTo>
                  <a:lnTo>
                    <a:pt x="384" y="87"/>
                  </a:lnTo>
                  <a:lnTo>
                    <a:pt x="388" y="88"/>
                  </a:lnTo>
                  <a:lnTo>
                    <a:pt x="394" y="88"/>
                  </a:lnTo>
                  <a:lnTo>
                    <a:pt x="405" y="88"/>
                  </a:lnTo>
                  <a:lnTo>
                    <a:pt x="405" y="74"/>
                  </a:lnTo>
                  <a:lnTo>
                    <a:pt x="398" y="74"/>
                  </a:lnTo>
                  <a:lnTo>
                    <a:pt x="396" y="74"/>
                  </a:lnTo>
                  <a:lnTo>
                    <a:pt x="394" y="72"/>
                  </a:lnTo>
                  <a:lnTo>
                    <a:pt x="394" y="69"/>
                  </a:lnTo>
                  <a:lnTo>
                    <a:pt x="394" y="63"/>
                  </a:lnTo>
                  <a:lnTo>
                    <a:pt x="394" y="38"/>
                  </a:lnTo>
                  <a:lnTo>
                    <a:pt x="405" y="38"/>
                  </a:lnTo>
                  <a:lnTo>
                    <a:pt x="405" y="25"/>
                  </a:lnTo>
                  <a:close/>
                  <a:moveTo>
                    <a:pt x="353" y="24"/>
                  </a:moveTo>
                  <a:lnTo>
                    <a:pt x="334" y="24"/>
                  </a:lnTo>
                  <a:lnTo>
                    <a:pt x="334" y="60"/>
                  </a:lnTo>
                  <a:lnTo>
                    <a:pt x="334" y="67"/>
                  </a:lnTo>
                  <a:lnTo>
                    <a:pt x="333" y="69"/>
                  </a:lnTo>
                  <a:lnTo>
                    <a:pt x="332" y="70"/>
                  </a:lnTo>
                  <a:lnTo>
                    <a:pt x="331" y="72"/>
                  </a:lnTo>
                  <a:lnTo>
                    <a:pt x="329" y="73"/>
                  </a:lnTo>
                  <a:lnTo>
                    <a:pt x="327" y="74"/>
                  </a:lnTo>
                  <a:lnTo>
                    <a:pt x="324" y="74"/>
                  </a:lnTo>
                  <a:lnTo>
                    <a:pt x="322" y="74"/>
                  </a:lnTo>
                  <a:lnTo>
                    <a:pt x="319" y="73"/>
                  </a:lnTo>
                  <a:lnTo>
                    <a:pt x="317" y="72"/>
                  </a:lnTo>
                  <a:lnTo>
                    <a:pt x="316" y="70"/>
                  </a:lnTo>
                  <a:lnTo>
                    <a:pt x="314" y="67"/>
                  </a:lnTo>
                  <a:lnTo>
                    <a:pt x="314" y="60"/>
                  </a:lnTo>
                  <a:lnTo>
                    <a:pt x="314" y="24"/>
                  </a:lnTo>
                  <a:lnTo>
                    <a:pt x="295" y="24"/>
                  </a:lnTo>
                  <a:lnTo>
                    <a:pt x="295" y="64"/>
                  </a:lnTo>
                  <a:lnTo>
                    <a:pt x="295" y="71"/>
                  </a:lnTo>
                  <a:lnTo>
                    <a:pt x="296" y="76"/>
                  </a:lnTo>
                  <a:lnTo>
                    <a:pt x="297" y="78"/>
                  </a:lnTo>
                  <a:lnTo>
                    <a:pt x="298" y="80"/>
                  </a:lnTo>
                  <a:lnTo>
                    <a:pt x="301" y="83"/>
                  </a:lnTo>
                  <a:lnTo>
                    <a:pt x="305" y="86"/>
                  </a:lnTo>
                  <a:lnTo>
                    <a:pt x="309" y="88"/>
                  </a:lnTo>
                  <a:lnTo>
                    <a:pt x="313" y="89"/>
                  </a:lnTo>
                  <a:lnTo>
                    <a:pt x="318" y="90"/>
                  </a:lnTo>
                  <a:lnTo>
                    <a:pt x="323" y="89"/>
                  </a:lnTo>
                  <a:lnTo>
                    <a:pt x="328" y="88"/>
                  </a:lnTo>
                  <a:lnTo>
                    <a:pt x="332" y="85"/>
                  </a:lnTo>
                  <a:lnTo>
                    <a:pt x="333" y="83"/>
                  </a:lnTo>
                  <a:lnTo>
                    <a:pt x="335" y="81"/>
                  </a:lnTo>
                  <a:lnTo>
                    <a:pt x="335" y="88"/>
                  </a:lnTo>
                  <a:lnTo>
                    <a:pt x="353" y="88"/>
                  </a:lnTo>
                  <a:lnTo>
                    <a:pt x="353" y="24"/>
                  </a:lnTo>
                  <a:close/>
                  <a:moveTo>
                    <a:pt x="282" y="47"/>
                  </a:moveTo>
                  <a:lnTo>
                    <a:pt x="281" y="42"/>
                  </a:lnTo>
                  <a:lnTo>
                    <a:pt x="279" y="37"/>
                  </a:lnTo>
                  <a:lnTo>
                    <a:pt x="276" y="33"/>
                  </a:lnTo>
                  <a:lnTo>
                    <a:pt x="273" y="29"/>
                  </a:lnTo>
                  <a:lnTo>
                    <a:pt x="269" y="26"/>
                  </a:lnTo>
                  <a:lnTo>
                    <a:pt x="264" y="24"/>
                  </a:lnTo>
                  <a:lnTo>
                    <a:pt x="259" y="23"/>
                  </a:lnTo>
                  <a:lnTo>
                    <a:pt x="253" y="23"/>
                  </a:lnTo>
                  <a:lnTo>
                    <a:pt x="245" y="23"/>
                  </a:lnTo>
                  <a:lnTo>
                    <a:pt x="239" y="25"/>
                  </a:lnTo>
                  <a:lnTo>
                    <a:pt x="233" y="28"/>
                  </a:lnTo>
                  <a:lnTo>
                    <a:pt x="231" y="29"/>
                  </a:lnTo>
                  <a:lnTo>
                    <a:pt x="229" y="32"/>
                  </a:lnTo>
                  <a:lnTo>
                    <a:pt x="227" y="34"/>
                  </a:lnTo>
                  <a:lnTo>
                    <a:pt x="225" y="36"/>
                  </a:lnTo>
                  <a:lnTo>
                    <a:pt x="222" y="42"/>
                  </a:lnTo>
                  <a:lnTo>
                    <a:pt x="221" y="49"/>
                  </a:lnTo>
                  <a:lnTo>
                    <a:pt x="220" y="56"/>
                  </a:lnTo>
                  <a:lnTo>
                    <a:pt x="221" y="64"/>
                  </a:lnTo>
                  <a:lnTo>
                    <a:pt x="221" y="67"/>
                  </a:lnTo>
                  <a:lnTo>
                    <a:pt x="222" y="70"/>
                  </a:lnTo>
                  <a:lnTo>
                    <a:pt x="225" y="76"/>
                  </a:lnTo>
                  <a:lnTo>
                    <a:pt x="227" y="79"/>
                  </a:lnTo>
                  <a:lnTo>
                    <a:pt x="229" y="81"/>
                  </a:lnTo>
                  <a:lnTo>
                    <a:pt x="233" y="85"/>
                  </a:lnTo>
                  <a:lnTo>
                    <a:pt x="239" y="88"/>
                  </a:lnTo>
                  <a:lnTo>
                    <a:pt x="245" y="89"/>
                  </a:lnTo>
                  <a:lnTo>
                    <a:pt x="248" y="90"/>
                  </a:lnTo>
                  <a:lnTo>
                    <a:pt x="252" y="90"/>
                  </a:lnTo>
                  <a:lnTo>
                    <a:pt x="258" y="89"/>
                  </a:lnTo>
                  <a:lnTo>
                    <a:pt x="264" y="88"/>
                  </a:lnTo>
                  <a:lnTo>
                    <a:pt x="268" y="86"/>
                  </a:lnTo>
                  <a:lnTo>
                    <a:pt x="273" y="83"/>
                  </a:lnTo>
                  <a:lnTo>
                    <a:pt x="276" y="80"/>
                  </a:lnTo>
                  <a:lnTo>
                    <a:pt x="279" y="75"/>
                  </a:lnTo>
                  <a:lnTo>
                    <a:pt x="281" y="70"/>
                  </a:lnTo>
                  <a:lnTo>
                    <a:pt x="283" y="65"/>
                  </a:lnTo>
                  <a:lnTo>
                    <a:pt x="264" y="64"/>
                  </a:lnTo>
                  <a:lnTo>
                    <a:pt x="264" y="66"/>
                  </a:lnTo>
                  <a:lnTo>
                    <a:pt x="263" y="69"/>
                  </a:lnTo>
                  <a:lnTo>
                    <a:pt x="260" y="72"/>
                  </a:lnTo>
                  <a:lnTo>
                    <a:pt x="259" y="73"/>
                  </a:lnTo>
                  <a:lnTo>
                    <a:pt x="257" y="74"/>
                  </a:lnTo>
                  <a:lnTo>
                    <a:pt x="255" y="74"/>
                  </a:lnTo>
                  <a:lnTo>
                    <a:pt x="252" y="75"/>
                  </a:lnTo>
                  <a:lnTo>
                    <a:pt x="249" y="74"/>
                  </a:lnTo>
                  <a:lnTo>
                    <a:pt x="247" y="73"/>
                  </a:lnTo>
                  <a:lnTo>
                    <a:pt x="244" y="72"/>
                  </a:lnTo>
                  <a:lnTo>
                    <a:pt x="243" y="70"/>
                  </a:lnTo>
                  <a:lnTo>
                    <a:pt x="241" y="67"/>
                  </a:lnTo>
                  <a:lnTo>
                    <a:pt x="240" y="64"/>
                  </a:lnTo>
                  <a:lnTo>
                    <a:pt x="239" y="60"/>
                  </a:lnTo>
                  <a:lnTo>
                    <a:pt x="239" y="56"/>
                  </a:lnTo>
                  <a:lnTo>
                    <a:pt x="239" y="52"/>
                  </a:lnTo>
                  <a:lnTo>
                    <a:pt x="240" y="50"/>
                  </a:lnTo>
                  <a:lnTo>
                    <a:pt x="240" y="48"/>
                  </a:lnTo>
                  <a:lnTo>
                    <a:pt x="241" y="45"/>
                  </a:lnTo>
                  <a:lnTo>
                    <a:pt x="242" y="42"/>
                  </a:lnTo>
                  <a:lnTo>
                    <a:pt x="244" y="40"/>
                  </a:lnTo>
                  <a:lnTo>
                    <a:pt x="247" y="39"/>
                  </a:lnTo>
                  <a:lnTo>
                    <a:pt x="249" y="38"/>
                  </a:lnTo>
                  <a:lnTo>
                    <a:pt x="252" y="38"/>
                  </a:lnTo>
                  <a:lnTo>
                    <a:pt x="257" y="38"/>
                  </a:lnTo>
                  <a:lnTo>
                    <a:pt x="260" y="40"/>
                  </a:lnTo>
                  <a:lnTo>
                    <a:pt x="262" y="42"/>
                  </a:lnTo>
                  <a:lnTo>
                    <a:pt x="263" y="43"/>
                  </a:lnTo>
                  <a:lnTo>
                    <a:pt x="264" y="47"/>
                  </a:lnTo>
                  <a:lnTo>
                    <a:pt x="282" y="47"/>
                  </a:lnTo>
                  <a:close/>
                  <a:moveTo>
                    <a:pt x="164" y="48"/>
                  </a:moveTo>
                  <a:lnTo>
                    <a:pt x="165" y="46"/>
                  </a:lnTo>
                  <a:lnTo>
                    <a:pt x="166" y="43"/>
                  </a:lnTo>
                  <a:lnTo>
                    <a:pt x="167" y="41"/>
                  </a:lnTo>
                  <a:lnTo>
                    <a:pt x="169" y="40"/>
                  </a:lnTo>
                  <a:lnTo>
                    <a:pt x="171" y="38"/>
                  </a:lnTo>
                  <a:lnTo>
                    <a:pt x="173" y="38"/>
                  </a:lnTo>
                  <a:lnTo>
                    <a:pt x="178" y="37"/>
                  </a:lnTo>
                  <a:lnTo>
                    <a:pt x="183" y="38"/>
                  </a:lnTo>
                  <a:lnTo>
                    <a:pt x="185" y="38"/>
                  </a:lnTo>
                  <a:lnTo>
                    <a:pt x="186" y="40"/>
                  </a:lnTo>
                  <a:lnTo>
                    <a:pt x="188" y="41"/>
                  </a:lnTo>
                  <a:lnTo>
                    <a:pt x="189" y="43"/>
                  </a:lnTo>
                  <a:lnTo>
                    <a:pt x="190" y="46"/>
                  </a:lnTo>
                  <a:lnTo>
                    <a:pt x="190" y="48"/>
                  </a:lnTo>
                  <a:lnTo>
                    <a:pt x="164" y="48"/>
                  </a:lnTo>
                  <a:close/>
                  <a:moveTo>
                    <a:pt x="209" y="62"/>
                  </a:moveTo>
                  <a:lnTo>
                    <a:pt x="209" y="56"/>
                  </a:lnTo>
                  <a:lnTo>
                    <a:pt x="209" y="50"/>
                  </a:lnTo>
                  <a:lnTo>
                    <a:pt x="208" y="46"/>
                  </a:lnTo>
                  <a:lnTo>
                    <a:pt x="206" y="41"/>
                  </a:lnTo>
                  <a:lnTo>
                    <a:pt x="204" y="37"/>
                  </a:lnTo>
                  <a:lnTo>
                    <a:pt x="202" y="33"/>
                  </a:lnTo>
                  <a:lnTo>
                    <a:pt x="199" y="30"/>
                  </a:lnTo>
                  <a:lnTo>
                    <a:pt x="195" y="27"/>
                  </a:lnTo>
                  <a:lnTo>
                    <a:pt x="192" y="25"/>
                  </a:lnTo>
                  <a:lnTo>
                    <a:pt x="187" y="24"/>
                  </a:lnTo>
                  <a:lnTo>
                    <a:pt x="183" y="23"/>
                  </a:lnTo>
                  <a:lnTo>
                    <a:pt x="178" y="23"/>
                  </a:lnTo>
                  <a:lnTo>
                    <a:pt x="171" y="23"/>
                  </a:lnTo>
                  <a:lnTo>
                    <a:pt x="165" y="25"/>
                  </a:lnTo>
                  <a:lnTo>
                    <a:pt x="162" y="26"/>
                  </a:lnTo>
                  <a:lnTo>
                    <a:pt x="159" y="28"/>
                  </a:lnTo>
                  <a:lnTo>
                    <a:pt x="154" y="32"/>
                  </a:lnTo>
                  <a:lnTo>
                    <a:pt x="152" y="34"/>
                  </a:lnTo>
                  <a:lnTo>
                    <a:pt x="150" y="37"/>
                  </a:lnTo>
                  <a:lnTo>
                    <a:pt x="148" y="43"/>
                  </a:lnTo>
                  <a:lnTo>
                    <a:pt x="146" y="49"/>
                  </a:lnTo>
                  <a:lnTo>
                    <a:pt x="145" y="53"/>
                  </a:lnTo>
                  <a:lnTo>
                    <a:pt x="145" y="56"/>
                  </a:lnTo>
                  <a:lnTo>
                    <a:pt x="146" y="63"/>
                  </a:lnTo>
                  <a:lnTo>
                    <a:pt x="148" y="70"/>
                  </a:lnTo>
                  <a:lnTo>
                    <a:pt x="150" y="76"/>
                  </a:lnTo>
                  <a:lnTo>
                    <a:pt x="152" y="78"/>
                  </a:lnTo>
                  <a:lnTo>
                    <a:pt x="154" y="81"/>
                  </a:lnTo>
                  <a:lnTo>
                    <a:pt x="159" y="85"/>
                  </a:lnTo>
                  <a:lnTo>
                    <a:pt x="165" y="87"/>
                  </a:lnTo>
                  <a:lnTo>
                    <a:pt x="168" y="88"/>
                  </a:lnTo>
                  <a:lnTo>
                    <a:pt x="171" y="89"/>
                  </a:lnTo>
                  <a:lnTo>
                    <a:pt x="174" y="90"/>
                  </a:lnTo>
                  <a:lnTo>
                    <a:pt x="178" y="90"/>
                  </a:lnTo>
                  <a:lnTo>
                    <a:pt x="184" y="89"/>
                  </a:lnTo>
                  <a:lnTo>
                    <a:pt x="189" y="88"/>
                  </a:lnTo>
                  <a:lnTo>
                    <a:pt x="193" y="87"/>
                  </a:lnTo>
                  <a:lnTo>
                    <a:pt x="198" y="84"/>
                  </a:lnTo>
                  <a:lnTo>
                    <a:pt x="201" y="81"/>
                  </a:lnTo>
                  <a:lnTo>
                    <a:pt x="203" y="80"/>
                  </a:lnTo>
                  <a:lnTo>
                    <a:pt x="205" y="78"/>
                  </a:lnTo>
                  <a:lnTo>
                    <a:pt x="207" y="74"/>
                  </a:lnTo>
                  <a:lnTo>
                    <a:pt x="209" y="69"/>
                  </a:lnTo>
                  <a:lnTo>
                    <a:pt x="190" y="69"/>
                  </a:lnTo>
                  <a:lnTo>
                    <a:pt x="188" y="72"/>
                  </a:lnTo>
                  <a:lnTo>
                    <a:pt x="185" y="74"/>
                  </a:lnTo>
                  <a:lnTo>
                    <a:pt x="182" y="75"/>
                  </a:lnTo>
                  <a:lnTo>
                    <a:pt x="178" y="75"/>
                  </a:lnTo>
                  <a:lnTo>
                    <a:pt x="176" y="75"/>
                  </a:lnTo>
                  <a:lnTo>
                    <a:pt x="173" y="74"/>
                  </a:lnTo>
                  <a:lnTo>
                    <a:pt x="171" y="73"/>
                  </a:lnTo>
                  <a:lnTo>
                    <a:pt x="169" y="72"/>
                  </a:lnTo>
                  <a:lnTo>
                    <a:pt x="167" y="70"/>
                  </a:lnTo>
                  <a:lnTo>
                    <a:pt x="166" y="67"/>
                  </a:lnTo>
                  <a:lnTo>
                    <a:pt x="165" y="65"/>
                  </a:lnTo>
                  <a:lnTo>
                    <a:pt x="164" y="62"/>
                  </a:lnTo>
                  <a:lnTo>
                    <a:pt x="209" y="62"/>
                  </a:lnTo>
                  <a:close/>
                  <a:moveTo>
                    <a:pt x="118" y="55"/>
                  </a:moveTo>
                  <a:lnTo>
                    <a:pt x="139" y="24"/>
                  </a:lnTo>
                  <a:lnTo>
                    <a:pt x="118" y="24"/>
                  </a:lnTo>
                  <a:lnTo>
                    <a:pt x="108" y="40"/>
                  </a:lnTo>
                  <a:lnTo>
                    <a:pt x="98" y="24"/>
                  </a:lnTo>
                  <a:lnTo>
                    <a:pt x="77" y="24"/>
                  </a:lnTo>
                  <a:lnTo>
                    <a:pt x="98" y="55"/>
                  </a:lnTo>
                  <a:lnTo>
                    <a:pt x="75" y="88"/>
                  </a:lnTo>
                  <a:lnTo>
                    <a:pt x="96" y="88"/>
                  </a:lnTo>
                  <a:lnTo>
                    <a:pt x="108" y="70"/>
                  </a:lnTo>
                  <a:lnTo>
                    <a:pt x="120" y="88"/>
                  </a:lnTo>
                  <a:lnTo>
                    <a:pt x="142" y="88"/>
                  </a:lnTo>
                  <a:lnTo>
                    <a:pt x="118" y="55"/>
                  </a:lnTo>
                  <a:close/>
                  <a:moveTo>
                    <a:pt x="66" y="0"/>
                  </a:moveTo>
                  <a:lnTo>
                    <a:pt x="0" y="0"/>
                  </a:lnTo>
                  <a:lnTo>
                    <a:pt x="0" y="88"/>
                  </a:lnTo>
                  <a:lnTo>
                    <a:pt x="67" y="88"/>
                  </a:lnTo>
                  <a:lnTo>
                    <a:pt x="67" y="71"/>
                  </a:lnTo>
                  <a:lnTo>
                    <a:pt x="20" y="71"/>
                  </a:lnTo>
                  <a:lnTo>
                    <a:pt x="20" y="50"/>
                  </a:lnTo>
                  <a:lnTo>
                    <a:pt x="60" y="50"/>
                  </a:lnTo>
                  <a:lnTo>
                    <a:pt x="60" y="34"/>
                  </a:lnTo>
                  <a:lnTo>
                    <a:pt x="20" y="34"/>
                  </a:lnTo>
                  <a:lnTo>
                    <a:pt x="20" y="17"/>
                  </a:lnTo>
                  <a:lnTo>
                    <a:pt x="66" y="17"/>
                  </a:lnTo>
                  <a:lnTo>
                    <a:pt x="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15" name="Freeform 8"/>
            <p:cNvSpPr>
              <a:spLocks noEditPoints="1"/>
            </p:cNvSpPr>
            <p:nvPr userDrawn="1"/>
          </p:nvSpPr>
          <p:spPr bwMode="auto">
            <a:xfrm>
              <a:off x="4067175" y="114301"/>
              <a:ext cx="566738" cy="560388"/>
            </a:xfrm>
            <a:custGeom>
              <a:avLst/>
              <a:gdLst>
                <a:gd name="T0" fmla="*/ 223 w 357"/>
                <a:gd name="T1" fmla="*/ 220 h 353"/>
                <a:gd name="T2" fmla="*/ 134 w 357"/>
                <a:gd name="T3" fmla="*/ 220 h 353"/>
                <a:gd name="T4" fmla="*/ 179 w 357"/>
                <a:gd name="T5" fmla="*/ 100 h 353"/>
                <a:gd name="T6" fmla="*/ 223 w 357"/>
                <a:gd name="T7" fmla="*/ 220 h 353"/>
                <a:gd name="T8" fmla="*/ 357 w 357"/>
                <a:gd name="T9" fmla="*/ 353 h 353"/>
                <a:gd name="T10" fmla="*/ 230 w 357"/>
                <a:gd name="T11" fmla="*/ 0 h 353"/>
                <a:gd name="T12" fmla="*/ 127 w 357"/>
                <a:gd name="T13" fmla="*/ 0 h 353"/>
                <a:gd name="T14" fmla="*/ 0 w 357"/>
                <a:gd name="T15" fmla="*/ 353 h 353"/>
                <a:gd name="T16" fmla="*/ 91 w 357"/>
                <a:gd name="T17" fmla="*/ 353 h 353"/>
                <a:gd name="T18" fmla="*/ 113 w 357"/>
                <a:gd name="T19" fmla="*/ 291 h 353"/>
                <a:gd name="T20" fmla="*/ 245 w 357"/>
                <a:gd name="T21" fmla="*/ 291 h 353"/>
                <a:gd name="T22" fmla="*/ 267 w 357"/>
                <a:gd name="T23" fmla="*/ 353 h 353"/>
                <a:gd name="T24" fmla="*/ 357 w 357"/>
                <a:gd name="T25"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7" h="353">
                  <a:moveTo>
                    <a:pt x="223" y="220"/>
                  </a:moveTo>
                  <a:lnTo>
                    <a:pt x="134" y="220"/>
                  </a:lnTo>
                  <a:lnTo>
                    <a:pt x="179" y="100"/>
                  </a:lnTo>
                  <a:lnTo>
                    <a:pt x="223" y="220"/>
                  </a:lnTo>
                  <a:close/>
                  <a:moveTo>
                    <a:pt x="357" y="353"/>
                  </a:moveTo>
                  <a:lnTo>
                    <a:pt x="230" y="0"/>
                  </a:lnTo>
                  <a:lnTo>
                    <a:pt x="127" y="0"/>
                  </a:lnTo>
                  <a:lnTo>
                    <a:pt x="0" y="353"/>
                  </a:lnTo>
                  <a:lnTo>
                    <a:pt x="91" y="353"/>
                  </a:lnTo>
                  <a:lnTo>
                    <a:pt x="113" y="291"/>
                  </a:lnTo>
                  <a:lnTo>
                    <a:pt x="245" y="291"/>
                  </a:lnTo>
                  <a:lnTo>
                    <a:pt x="267" y="353"/>
                  </a:lnTo>
                  <a:lnTo>
                    <a:pt x="357" y="3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16" name="Freeform 9"/>
            <p:cNvSpPr>
              <a:spLocks noEditPoints="1"/>
            </p:cNvSpPr>
            <p:nvPr userDrawn="1"/>
          </p:nvSpPr>
          <p:spPr bwMode="auto">
            <a:xfrm>
              <a:off x="4686300" y="114301"/>
              <a:ext cx="858838" cy="560388"/>
            </a:xfrm>
            <a:custGeom>
              <a:avLst/>
              <a:gdLst>
                <a:gd name="T0" fmla="*/ 541 w 541"/>
                <a:gd name="T1" fmla="*/ 75 h 353"/>
                <a:gd name="T2" fmla="*/ 541 w 541"/>
                <a:gd name="T3" fmla="*/ 0 h 353"/>
                <a:gd name="T4" fmla="*/ 303 w 541"/>
                <a:gd name="T5" fmla="*/ 0 h 353"/>
                <a:gd name="T6" fmla="*/ 303 w 541"/>
                <a:gd name="T7" fmla="*/ 353 h 353"/>
                <a:gd name="T8" fmla="*/ 541 w 541"/>
                <a:gd name="T9" fmla="*/ 353 h 353"/>
                <a:gd name="T10" fmla="*/ 541 w 541"/>
                <a:gd name="T11" fmla="*/ 278 h 353"/>
                <a:gd name="T12" fmla="*/ 388 w 541"/>
                <a:gd name="T13" fmla="*/ 278 h 353"/>
                <a:gd name="T14" fmla="*/ 388 w 541"/>
                <a:gd name="T15" fmla="*/ 210 h 353"/>
                <a:gd name="T16" fmla="*/ 536 w 541"/>
                <a:gd name="T17" fmla="*/ 210 h 353"/>
                <a:gd name="T18" fmla="*/ 536 w 541"/>
                <a:gd name="T19" fmla="*/ 139 h 353"/>
                <a:gd name="T20" fmla="*/ 388 w 541"/>
                <a:gd name="T21" fmla="*/ 139 h 353"/>
                <a:gd name="T22" fmla="*/ 388 w 541"/>
                <a:gd name="T23" fmla="*/ 75 h 353"/>
                <a:gd name="T24" fmla="*/ 541 w 541"/>
                <a:gd name="T25" fmla="*/ 75 h 353"/>
                <a:gd name="T26" fmla="*/ 239 w 541"/>
                <a:gd name="T27" fmla="*/ 75 h 353"/>
                <a:gd name="T28" fmla="*/ 239 w 541"/>
                <a:gd name="T29" fmla="*/ 0 h 353"/>
                <a:gd name="T30" fmla="*/ 0 w 541"/>
                <a:gd name="T31" fmla="*/ 0 h 353"/>
                <a:gd name="T32" fmla="*/ 0 w 541"/>
                <a:gd name="T33" fmla="*/ 353 h 353"/>
                <a:gd name="T34" fmla="*/ 239 w 541"/>
                <a:gd name="T35" fmla="*/ 353 h 353"/>
                <a:gd name="T36" fmla="*/ 239 w 541"/>
                <a:gd name="T37" fmla="*/ 278 h 353"/>
                <a:gd name="T38" fmla="*/ 85 w 541"/>
                <a:gd name="T39" fmla="*/ 278 h 353"/>
                <a:gd name="T40" fmla="*/ 85 w 541"/>
                <a:gd name="T41" fmla="*/ 210 h 353"/>
                <a:gd name="T42" fmla="*/ 235 w 541"/>
                <a:gd name="T43" fmla="*/ 210 h 353"/>
                <a:gd name="T44" fmla="*/ 235 w 541"/>
                <a:gd name="T45" fmla="*/ 139 h 353"/>
                <a:gd name="T46" fmla="*/ 85 w 541"/>
                <a:gd name="T47" fmla="*/ 139 h 353"/>
                <a:gd name="T48" fmla="*/ 85 w 541"/>
                <a:gd name="T49" fmla="*/ 75 h 353"/>
                <a:gd name="T50" fmla="*/ 239 w 541"/>
                <a:gd name="T51" fmla="*/ 75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1" h="353">
                  <a:moveTo>
                    <a:pt x="541" y="75"/>
                  </a:moveTo>
                  <a:lnTo>
                    <a:pt x="541" y="0"/>
                  </a:lnTo>
                  <a:lnTo>
                    <a:pt x="303" y="0"/>
                  </a:lnTo>
                  <a:lnTo>
                    <a:pt x="303" y="353"/>
                  </a:lnTo>
                  <a:lnTo>
                    <a:pt x="541" y="353"/>
                  </a:lnTo>
                  <a:lnTo>
                    <a:pt x="541" y="278"/>
                  </a:lnTo>
                  <a:lnTo>
                    <a:pt x="388" y="278"/>
                  </a:lnTo>
                  <a:lnTo>
                    <a:pt x="388" y="210"/>
                  </a:lnTo>
                  <a:lnTo>
                    <a:pt x="536" y="210"/>
                  </a:lnTo>
                  <a:lnTo>
                    <a:pt x="536" y="139"/>
                  </a:lnTo>
                  <a:lnTo>
                    <a:pt x="388" y="139"/>
                  </a:lnTo>
                  <a:lnTo>
                    <a:pt x="388" y="75"/>
                  </a:lnTo>
                  <a:lnTo>
                    <a:pt x="541" y="75"/>
                  </a:lnTo>
                  <a:close/>
                  <a:moveTo>
                    <a:pt x="239" y="75"/>
                  </a:moveTo>
                  <a:lnTo>
                    <a:pt x="239" y="0"/>
                  </a:lnTo>
                  <a:lnTo>
                    <a:pt x="0" y="0"/>
                  </a:lnTo>
                  <a:lnTo>
                    <a:pt x="0" y="353"/>
                  </a:lnTo>
                  <a:lnTo>
                    <a:pt x="239" y="353"/>
                  </a:lnTo>
                  <a:lnTo>
                    <a:pt x="239" y="278"/>
                  </a:lnTo>
                  <a:lnTo>
                    <a:pt x="85" y="278"/>
                  </a:lnTo>
                  <a:lnTo>
                    <a:pt x="85" y="210"/>
                  </a:lnTo>
                  <a:lnTo>
                    <a:pt x="235" y="210"/>
                  </a:lnTo>
                  <a:lnTo>
                    <a:pt x="235" y="139"/>
                  </a:lnTo>
                  <a:lnTo>
                    <a:pt x="85" y="139"/>
                  </a:lnTo>
                  <a:lnTo>
                    <a:pt x="85" y="75"/>
                  </a:lnTo>
                  <a:lnTo>
                    <a:pt x="23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grpSp>
      <p:sp>
        <p:nvSpPr>
          <p:cNvPr id="7" name="Date Placeholder 6"/>
          <p:cNvSpPr>
            <a:spLocks noGrp="1"/>
          </p:cNvSpPr>
          <p:nvPr>
            <p:ph type="dt" sz="half" idx="10"/>
          </p:nvPr>
        </p:nvSpPr>
        <p:spPr/>
        <p:txBody>
          <a:bodyPr/>
          <a:lstStyle>
            <a:lvl1pPr>
              <a:defRPr>
                <a:solidFill>
                  <a:schemeClr val="bg1"/>
                </a:solidFill>
              </a:defRPr>
            </a:lvl1pPr>
          </a:lstStyle>
          <a:p>
            <a:fld id="{3CD59280-13FD-49DF-885F-8A3B48E3246F}" type="datetime1">
              <a:rPr lang="fi-FI" smtClean="0"/>
              <a:t>5.11.2023</a:t>
            </a:fld>
            <a:endParaRPr lang="en-US" dirty="0"/>
          </a:p>
        </p:txBody>
      </p:sp>
      <p:sp>
        <p:nvSpPr>
          <p:cNvPr id="8" name="Footer Placeholder 7"/>
          <p:cNvSpPr>
            <a:spLocks noGrp="1"/>
          </p:cNvSpPr>
          <p:nvPr>
            <p:ph type="ftr" sz="quarter" idx="11"/>
          </p:nvPr>
        </p:nvSpPr>
        <p:spPr/>
        <p:txBody>
          <a:bodyPr/>
          <a:lstStyle>
            <a:lvl1pPr>
              <a:defRPr>
                <a:solidFill>
                  <a:schemeClr val="bg1"/>
                </a:solidFill>
              </a:defRPr>
            </a:lvl1pPr>
          </a:lstStyle>
          <a:p>
            <a:r>
              <a:rPr lang="en-US"/>
              <a:t>© Aalto University Executive Education</a:t>
            </a:r>
            <a:endParaRPr lang="en-US" dirty="0"/>
          </a:p>
        </p:txBody>
      </p:sp>
      <p:sp>
        <p:nvSpPr>
          <p:cNvPr id="9" name="Slide Number Placeholder 8"/>
          <p:cNvSpPr>
            <a:spLocks noGrp="1"/>
          </p:cNvSpPr>
          <p:nvPr>
            <p:ph type="sldNum" sz="quarter" idx="12"/>
          </p:nvPr>
        </p:nvSpPr>
        <p:spPr/>
        <p:txBody>
          <a:bodyPr/>
          <a:lstStyle>
            <a:lvl1pPr>
              <a:defRPr>
                <a:solidFill>
                  <a:schemeClr val="bg1"/>
                </a:solidFill>
              </a:defRPr>
            </a:lvl1pPr>
          </a:lstStyle>
          <a:p>
            <a:fld id="{FCCA222D-FCF7-48C1-A274-EBDDEF75DC66}" type="slidenum">
              <a:rPr lang="en-US" smtClean="0"/>
              <a:pPr/>
              <a:t>‹#›</a:t>
            </a:fld>
            <a:endParaRPr lang="en-US" dirty="0"/>
          </a:p>
        </p:txBody>
      </p:sp>
    </p:spTree>
    <p:extLst>
      <p:ext uri="{BB962C8B-B14F-4D97-AF65-F5344CB8AC3E}">
        <p14:creationId xmlns:p14="http://schemas.microsoft.com/office/powerpoint/2010/main" val="2194093232"/>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type="obj" preserve="1">
  <p:cSld name="Introduction ORAN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573882"/>
            <a:ext cx="7487081" cy="602326"/>
          </a:xfrm>
          <a:solidFill>
            <a:srgbClr val="FF7900"/>
          </a:solidFill>
        </p:spPr>
        <p:txBody>
          <a:bodyPr/>
          <a:lstStyle>
            <a:lvl1pPr>
              <a:defRPr/>
            </a:lvl1pPr>
          </a:lstStyle>
          <a:p>
            <a:r>
              <a:rPr lang="en-US" dirty="0"/>
              <a:t>Click to add title</a:t>
            </a:r>
          </a:p>
        </p:txBody>
      </p:sp>
      <p:sp>
        <p:nvSpPr>
          <p:cNvPr id="3" name="Content Placeholder 2"/>
          <p:cNvSpPr>
            <a:spLocks noGrp="1"/>
          </p:cNvSpPr>
          <p:nvPr>
            <p:ph idx="1" hasCustomPrompt="1"/>
          </p:nvPr>
        </p:nvSpPr>
        <p:spPr>
          <a:xfrm>
            <a:off x="1" y="1869674"/>
            <a:ext cx="7487081" cy="2538022"/>
          </a:xfrm>
          <a:solidFill>
            <a:srgbClr val="FF7900"/>
          </a:solidFill>
        </p:spPr>
        <p:txBody>
          <a:bodyPr lIns="540000" tIns="324000" rIns="540000" bIns="324000"/>
          <a:lstStyle>
            <a:lvl1pPr marL="0" indent="0">
              <a:buFontTx/>
              <a:buNone/>
              <a:defRPr b="1">
                <a:solidFill>
                  <a:schemeClr val="bg1"/>
                </a:solidFill>
              </a:defRPr>
            </a:lvl1pPr>
            <a:lvl2pPr marL="199965" indent="-199965">
              <a:buFont typeface="Arial" pitchFamily="34" charset="0"/>
              <a:buChar char="•"/>
              <a:defRPr>
                <a:solidFill>
                  <a:schemeClr val="bg1"/>
                </a:solidFill>
              </a:defRPr>
            </a:lvl2pPr>
          </a:lstStyle>
          <a:p>
            <a:pPr lvl="0"/>
            <a:r>
              <a:rPr lang="en-US" dirty="0"/>
              <a:t>Click to add text</a:t>
            </a:r>
          </a:p>
          <a:p>
            <a:pPr lvl="1"/>
            <a:r>
              <a:rPr lang="en-US" dirty="0"/>
              <a:t>Second level</a:t>
            </a:r>
          </a:p>
        </p:txBody>
      </p:sp>
      <p:grpSp>
        <p:nvGrpSpPr>
          <p:cNvPr id="12" name="Group 11"/>
          <p:cNvGrpSpPr>
            <a:grpSpLocks noChangeAspect="1"/>
          </p:cNvGrpSpPr>
          <p:nvPr userDrawn="1"/>
        </p:nvGrpSpPr>
        <p:grpSpPr>
          <a:xfrm>
            <a:off x="7595548" y="249492"/>
            <a:ext cx="1294117" cy="199800"/>
            <a:chOff x="4067175" y="114301"/>
            <a:chExt cx="3630613" cy="560388"/>
          </a:xfrm>
          <a:solidFill>
            <a:schemeClr val="bg1"/>
          </a:solidFill>
        </p:grpSpPr>
        <p:sp>
          <p:nvSpPr>
            <p:cNvPr id="13" name="Freeform 6"/>
            <p:cNvSpPr>
              <a:spLocks noEditPoints="1"/>
            </p:cNvSpPr>
            <p:nvPr userDrawn="1"/>
          </p:nvSpPr>
          <p:spPr bwMode="auto">
            <a:xfrm>
              <a:off x="5749925" y="114301"/>
              <a:ext cx="1530350" cy="173038"/>
            </a:xfrm>
            <a:custGeom>
              <a:avLst/>
              <a:gdLst>
                <a:gd name="T0" fmla="*/ 922 w 964"/>
                <a:gd name="T1" fmla="*/ 84 h 109"/>
                <a:gd name="T2" fmla="*/ 918 w 964"/>
                <a:gd name="T3" fmla="*/ 109 h 109"/>
                <a:gd name="T4" fmla="*/ 944 w 964"/>
                <a:gd name="T5" fmla="*/ 25 h 109"/>
                <a:gd name="T6" fmla="*/ 860 w 964"/>
                <a:gd name="T7" fmla="*/ 68 h 109"/>
                <a:gd name="T8" fmla="*/ 890 w 964"/>
                <a:gd name="T9" fmla="*/ 89 h 109"/>
                <a:gd name="T10" fmla="*/ 890 w 964"/>
                <a:gd name="T11" fmla="*/ 39 h 109"/>
                <a:gd name="T12" fmla="*/ 819 w 964"/>
                <a:gd name="T13" fmla="*/ 89 h 109"/>
                <a:gd name="T14" fmla="*/ 793 w 964"/>
                <a:gd name="T15" fmla="*/ 26 h 109"/>
                <a:gd name="T16" fmla="*/ 753 w 964"/>
                <a:gd name="T17" fmla="*/ 33 h 109"/>
                <a:gd name="T18" fmla="*/ 757 w 964"/>
                <a:gd name="T19" fmla="*/ 58 h 109"/>
                <a:gd name="T20" fmla="*/ 788 w 964"/>
                <a:gd name="T21" fmla="*/ 72 h 109"/>
                <a:gd name="T22" fmla="*/ 767 w 964"/>
                <a:gd name="T23" fmla="*/ 70 h 109"/>
                <a:gd name="T24" fmla="*/ 772 w 964"/>
                <a:gd name="T25" fmla="*/ 90 h 109"/>
                <a:gd name="T26" fmla="*/ 806 w 964"/>
                <a:gd name="T27" fmla="*/ 73 h 109"/>
                <a:gd name="T28" fmla="*/ 788 w 964"/>
                <a:gd name="T29" fmla="*/ 49 h 109"/>
                <a:gd name="T30" fmla="*/ 777 w 964"/>
                <a:gd name="T31" fmla="*/ 37 h 109"/>
                <a:gd name="T32" fmla="*/ 700 w 964"/>
                <a:gd name="T33" fmla="*/ 89 h 109"/>
                <a:gd name="T34" fmla="*/ 729 w 964"/>
                <a:gd name="T35" fmla="*/ 42 h 109"/>
                <a:gd name="T36" fmla="*/ 723 w 964"/>
                <a:gd name="T37" fmla="*/ 27 h 109"/>
                <a:gd name="T38" fmla="*/ 643 w 964"/>
                <a:gd name="T39" fmla="*/ 42 h 109"/>
                <a:gd name="T40" fmla="*/ 666 w 964"/>
                <a:gd name="T41" fmla="*/ 44 h 109"/>
                <a:gd name="T42" fmla="*/ 682 w 964"/>
                <a:gd name="T43" fmla="*/ 38 h 109"/>
                <a:gd name="T44" fmla="*/ 647 w 964"/>
                <a:gd name="T45" fmla="*/ 24 h 109"/>
                <a:gd name="T46" fmla="*/ 623 w 964"/>
                <a:gd name="T47" fmla="*/ 46 h 109"/>
                <a:gd name="T48" fmla="*/ 641 w 964"/>
                <a:gd name="T49" fmla="*/ 88 h 109"/>
                <a:gd name="T50" fmla="*/ 679 w 964"/>
                <a:gd name="T51" fmla="*/ 82 h 109"/>
                <a:gd name="T52" fmla="*/ 656 w 964"/>
                <a:gd name="T53" fmla="*/ 76 h 109"/>
                <a:gd name="T54" fmla="*/ 687 w 964"/>
                <a:gd name="T55" fmla="*/ 62 h 109"/>
                <a:gd name="T56" fmla="*/ 575 w 964"/>
                <a:gd name="T57" fmla="*/ 89 h 109"/>
                <a:gd name="T58" fmla="*/ 521 w 964"/>
                <a:gd name="T59" fmla="*/ 89 h 109"/>
                <a:gd name="T60" fmla="*/ 467 w 964"/>
                <a:gd name="T61" fmla="*/ 42 h 109"/>
                <a:gd name="T62" fmla="*/ 483 w 964"/>
                <a:gd name="T63" fmla="*/ 44 h 109"/>
                <a:gd name="T64" fmla="*/ 497 w 964"/>
                <a:gd name="T65" fmla="*/ 29 h 109"/>
                <a:gd name="T66" fmla="*/ 463 w 964"/>
                <a:gd name="T67" fmla="*/ 25 h 109"/>
                <a:gd name="T68" fmla="*/ 398 w 964"/>
                <a:gd name="T69" fmla="*/ 73 h 109"/>
                <a:gd name="T70" fmla="*/ 376 w 964"/>
                <a:gd name="T71" fmla="*/ 63 h 109"/>
                <a:gd name="T72" fmla="*/ 364 w 964"/>
                <a:gd name="T73" fmla="*/ 81 h 109"/>
                <a:gd name="T74" fmla="*/ 406 w 964"/>
                <a:gd name="T75" fmla="*/ 89 h 109"/>
                <a:gd name="T76" fmla="*/ 427 w 964"/>
                <a:gd name="T77" fmla="*/ 60 h 109"/>
                <a:gd name="T78" fmla="*/ 292 w 964"/>
                <a:gd name="T79" fmla="*/ 49 h 109"/>
                <a:gd name="T80" fmla="*/ 284 w 964"/>
                <a:gd name="T81" fmla="*/ 74 h 109"/>
                <a:gd name="T82" fmla="*/ 263 w 964"/>
                <a:gd name="T83" fmla="*/ 61 h 109"/>
                <a:gd name="T84" fmla="*/ 274 w 964"/>
                <a:gd name="T85" fmla="*/ 38 h 109"/>
                <a:gd name="T86" fmla="*/ 247 w 964"/>
                <a:gd name="T87" fmla="*/ 40 h 109"/>
                <a:gd name="T88" fmla="*/ 249 w 964"/>
                <a:gd name="T89" fmla="*/ 76 h 109"/>
                <a:gd name="T90" fmla="*/ 291 w 964"/>
                <a:gd name="T91" fmla="*/ 88 h 109"/>
                <a:gd name="T92" fmla="*/ 311 w 964"/>
                <a:gd name="T93" fmla="*/ 57 h 109"/>
                <a:gd name="T94" fmla="*/ 291 w 964"/>
                <a:gd name="T95" fmla="*/ 26 h 109"/>
                <a:gd name="T96" fmla="*/ 196 w 964"/>
                <a:gd name="T97" fmla="*/ 26 h 109"/>
                <a:gd name="T98" fmla="*/ 214 w 964"/>
                <a:gd name="T99" fmla="*/ 88 h 109"/>
                <a:gd name="T100" fmla="*/ 224 w 964"/>
                <a:gd name="T101" fmla="*/ 70 h 109"/>
                <a:gd name="T102" fmla="*/ 184 w 964"/>
                <a:gd name="T103" fmla="*/ 0 h 109"/>
                <a:gd name="T104" fmla="*/ 108 w 964"/>
                <a:gd name="T105" fmla="*/ 71 h 109"/>
                <a:gd name="T106" fmla="*/ 110 w 964"/>
                <a:gd name="T107" fmla="*/ 45 h 109"/>
                <a:gd name="T108" fmla="*/ 130 w 964"/>
                <a:gd name="T109" fmla="*/ 41 h 109"/>
                <a:gd name="T110" fmla="*/ 103 w 964"/>
                <a:gd name="T111" fmla="*/ 52 h 109"/>
                <a:gd name="T112" fmla="*/ 91 w 964"/>
                <a:gd name="T113" fmla="*/ 79 h 109"/>
                <a:gd name="T114" fmla="*/ 123 w 964"/>
                <a:gd name="T115" fmla="*/ 89 h 109"/>
                <a:gd name="T116" fmla="*/ 149 w 964"/>
                <a:gd name="T117" fmla="*/ 42 h 109"/>
                <a:gd name="T118" fmla="*/ 115 w 964"/>
                <a:gd name="T119" fmla="*/ 23 h 109"/>
                <a:gd name="T120" fmla="*/ 93 w 964"/>
                <a:gd name="T121" fmla="*/ 45 h 109"/>
                <a:gd name="T122" fmla="*/ 56 w 964"/>
                <a:gd name="T1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4" h="109">
                  <a:moveTo>
                    <a:pt x="944" y="25"/>
                  </a:moveTo>
                  <a:lnTo>
                    <a:pt x="936" y="54"/>
                  </a:lnTo>
                  <a:lnTo>
                    <a:pt x="933" y="68"/>
                  </a:lnTo>
                  <a:lnTo>
                    <a:pt x="932" y="65"/>
                  </a:lnTo>
                  <a:lnTo>
                    <a:pt x="928" y="54"/>
                  </a:lnTo>
                  <a:lnTo>
                    <a:pt x="919" y="25"/>
                  </a:lnTo>
                  <a:lnTo>
                    <a:pt x="899" y="25"/>
                  </a:lnTo>
                  <a:lnTo>
                    <a:pt x="920" y="79"/>
                  </a:lnTo>
                  <a:lnTo>
                    <a:pt x="922" y="84"/>
                  </a:lnTo>
                  <a:lnTo>
                    <a:pt x="922" y="87"/>
                  </a:lnTo>
                  <a:lnTo>
                    <a:pt x="922" y="90"/>
                  </a:lnTo>
                  <a:lnTo>
                    <a:pt x="920" y="93"/>
                  </a:lnTo>
                  <a:lnTo>
                    <a:pt x="919" y="94"/>
                  </a:lnTo>
                  <a:lnTo>
                    <a:pt x="917" y="94"/>
                  </a:lnTo>
                  <a:lnTo>
                    <a:pt x="913" y="95"/>
                  </a:lnTo>
                  <a:lnTo>
                    <a:pt x="907" y="95"/>
                  </a:lnTo>
                  <a:lnTo>
                    <a:pt x="907" y="109"/>
                  </a:lnTo>
                  <a:lnTo>
                    <a:pt x="918" y="109"/>
                  </a:lnTo>
                  <a:lnTo>
                    <a:pt x="923" y="109"/>
                  </a:lnTo>
                  <a:lnTo>
                    <a:pt x="927" y="108"/>
                  </a:lnTo>
                  <a:lnTo>
                    <a:pt x="930" y="107"/>
                  </a:lnTo>
                  <a:lnTo>
                    <a:pt x="933" y="105"/>
                  </a:lnTo>
                  <a:lnTo>
                    <a:pt x="935" y="103"/>
                  </a:lnTo>
                  <a:lnTo>
                    <a:pt x="937" y="100"/>
                  </a:lnTo>
                  <a:lnTo>
                    <a:pt x="941" y="89"/>
                  </a:lnTo>
                  <a:lnTo>
                    <a:pt x="964" y="25"/>
                  </a:lnTo>
                  <a:lnTo>
                    <a:pt x="944" y="25"/>
                  </a:lnTo>
                  <a:close/>
                  <a:moveTo>
                    <a:pt x="890" y="26"/>
                  </a:moveTo>
                  <a:lnTo>
                    <a:pt x="879" y="26"/>
                  </a:lnTo>
                  <a:lnTo>
                    <a:pt x="879" y="5"/>
                  </a:lnTo>
                  <a:lnTo>
                    <a:pt x="860" y="5"/>
                  </a:lnTo>
                  <a:lnTo>
                    <a:pt x="860" y="26"/>
                  </a:lnTo>
                  <a:lnTo>
                    <a:pt x="851" y="26"/>
                  </a:lnTo>
                  <a:lnTo>
                    <a:pt x="851" y="39"/>
                  </a:lnTo>
                  <a:lnTo>
                    <a:pt x="860" y="39"/>
                  </a:lnTo>
                  <a:lnTo>
                    <a:pt x="860" y="68"/>
                  </a:lnTo>
                  <a:lnTo>
                    <a:pt x="860" y="74"/>
                  </a:lnTo>
                  <a:lnTo>
                    <a:pt x="861" y="79"/>
                  </a:lnTo>
                  <a:lnTo>
                    <a:pt x="862" y="82"/>
                  </a:lnTo>
                  <a:lnTo>
                    <a:pt x="863" y="84"/>
                  </a:lnTo>
                  <a:lnTo>
                    <a:pt x="866" y="86"/>
                  </a:lnTo>
                  <a:lnTo>
                    <a:pt x="869" y="88"/>
                  </a:lnTo>
                  <a:lnTo>
                    <a:pt x="873" y="88"/>
                  </a:lnTo>
                  <a:lnTo>
                    <a:pt x="879" y="89"/>
                  </a:lnTo>
                  <a:lnTo>
                    <a:pt x="890" y="89"/>
                  </a:lnTo>
                  <a:lnTo>
                    <a:pt x="890" y="75"/>
                  </a:lnTo>
                  <a:lnTo>
                    <a:pt x="883" y="75"/>
                  </a:lnTo>
                  <a:lnTo>
                    <a:pt x="881" y="74"/>
                  </a:lnTo>
                  <a:lnTo>
                    <a:pt x="880" y="74"/>
                  </a:lnTo>
                  <a:lnTo>
                    <a:pt x="879" y="73"/>
                  </a:lnTo>
                  <a:lnTo>
                    <a:pt x="879" y="70"/>
                  </a:lnTo>
                  <a:lnTo>
                    <a:pt x="879" y="64"/>
                  </a:lnTo>
                  <a:lnTo>
                    <a:pt x="879" y="39"/>
                  </a:lnTo>
                  <a:lnTo>
                    <a:pt x="890" y="39"/>
                  </a:lnTo>
                  <a:lnTo>
                    <a:pt x="890" y="26"/>
                  </a:lnTo>
                  <a:close/>
                  <a:moveTo>
                    <a:pt x="838" y="0"/>
                  </a:moveTo>
                  <a:lnTo>
                    <a:pt x="819" y="0"/>
                  </a:lnTo>
                  <a:lnTo>
                    <a:pt x="819" y="16"/>
                  </a:lnTo>
                  <a:lnTo>
                    <a:pt x="838" y="16"/>
                  </a:lnTo>
                  <a:lnTo>
                    <a:pt x="838" y="0"/>
                  </a:lnTo>
                  <a:close/>
                  <a:moveTo>
                    <a:pt x="838" y="25"/>
                  </a:moveTo>
                  <a:lnTo>
                    <a:pt x="819" y="25"/>
                  </a:lnTo>
                  <a:lnTo>
                    <a:pt x="819" y="89"/>
                  </a:lnTo>
                  <a:lnTo>
                    <a:pt x="838" y="89"/>
                  </a:lnTo>
                  <a:lnTo>
                    <a:pt x="838" y="25"/>
                  </a:lnTo>
                  <a:close/>
                  <a:moveTo>
                    <a:pt x="806" y="44"/>
                  </a:moveTo>
                  <a:lnTo>
                    <a:pt x="805" y="39"/>
                  </a:lnTo>
                  <a:lnTo>
                    <a:pt x="803" y="35"/>
                  </a:lnTo>
                  <a:lnTo>
                    <a:pt x="800" y="31"/>
                  </a:lnTo>
                  <a:lnTo>
                    <a:pt x="797" y="28"/>
                  </a:lnTo>
                  <a:lnTo>
                    <a:pt x="795" y="27"/>
                  </a:lnTo>
                  <a:lnTo>
                    <a:pt x="793" y="26"/>
                  </a:lnTo>
                  <a:lnTo>
                    <a:pt x="789" y="24"/>
                  </a:lnTo>
                  <a:lnTo>
                    <a:pt x="783" y="23"/>
                  </a:lnTo>
                  <a:lnTo>
                    <a:pt x="777" y="23"/>
                  </a:lnTo>
                  <a:lnTo>
                    <a:pt x="771" y="23"/>
                  </a:lnTo>
                  <a:lnTo>
                    <a:pt x="766" y="24"/>
                  </a:lnTo>
                  <a:lnTo>
                    <a:pt x="761" y="26"/>
                  </a:lnTo>
                  <a:lnTo>
                    <a:pt x="757" y="29"/>
                  </a:lnTo>
                  <a:lnTo>
                    <a:pt x="754" y="32"/>
                  </a:lnTo>
                  <a:lnTo>
                    <a:pt x="753" y="33"/>
                  </a:lnTo>
                  <a:lnTo>
                    <a:pt x="752" y="35"/>
                  </a:lnTo>
                  <a:lnTo>
                    <a:pt x="751" y="39"/>
                  </a:lnTo>
                  <a:lnTo>
                    <a:pt x="750" y="44"/>
                  </a:lnTo>
                  <a:lnTo>
                    <a:pt x="750" y="47"/>
                  </a:lnTo>
                  <a:lnTo>
                    <a:pt x="751" y="50"/>
                  </a:lnTo>
                  <a:lnTo>
                    <a:pt x="752" y="52"/>
                  </a:lnTo>
                  <a:lnTo>
                    <a:pt x="753" y="53"/>
                  </a:lnTo>
                  <a:lnTo>
                    <a:pt x="755" y="56"/>
                  </a:lnTo>
                  <a:lnTo>
                    <a:pt x="757" y="58"/>
                  </a:lnTo>
                  <a:lnTo>
                    <a:pt x="761" y="59"/>
                  </a:lnTo>
                  <a:lnTo>
                    <a:pt x="765" y="61"/>
                  </a:lnTo>
                  <a:lnTo>
                    <a:pt x="770" y="62"/>
                  </a:lnTo>
                  <a:lnTo>
                    <a:pt x="781" y="65"/>
                  </a:lnTo>
                  <a:lnTo>
                    <a:pt x="785" y="66"/>
                  </a:lnTo>
                  <a:lnTo>
                    <a:pt x="787" y="67"/>
                  </a:lnTo>
                  <a:lnTo>
                    <a:pt x="788" y="69"/>
                  </a:lnTo>
                  <a:lnTo>
                    <a:pt x="788" y="71"/>
                  </a:lnTo>
                  <a:lnTo>
                    <a:pt x="788" y="72"/>
                  </a:lnTo>
                  <a:lnTo>
                    <a:pt x="788" y="73"/>
                  </a:lnTo>
                  <a:lnTo>
                    <a:pt x="786" y="75"/>
                  </a:lnTo>
                  <a:lnTo>
                    <a:pt x="783" y="76"/>
                  </a:lnTo>
                  <a:lnTo>
                    <a:pt x="779" y="77"/>
                  </a:lnTo>
                  <a:lnTo>
                    <a:pt x="774" y="76"/>
                  </a:lnTo>
                  <a:lnTo>
                    <a:pt x="772" y="76"/>
                  </a:lnTo>
                  <a:lnTo>
                    <a:pt x="770" y="75"/>
                  </a:lnTo>
                  <a:lnTo>
                    <a:pt x="767" y="72"/>
                  </a:lnTo>
                  <a:lnTo>
                    <a:pt x="767" y="70"/>
                  </a:lnTo>
                  <a:lnTo>
                    <a:pt x="766" y="68"/>
                  </a:lnTo>
                  <a:lnTo>
                    <a:pt x="748" y="68"/>
                  </a:lnTo>
                  <a:lnTo>
                    <a:pt x="749" y="73"/>
                  </a:lnTo>
                  <a:lnTo>
                    <a:pt x="751" y="77"/>
                  </a:lnTo>
                  <a:lnTo>
                    <a:pt x="754" y="81"/>
                  </a:lnTo>
                  <a:lnTo>
                    <a:pt x="757" y="84"/>
                  </a:lnTo>
                  <a:lnTo>
                    <a:pt x="761" y="87"/>
                  </a:lnTo>
                  <a:lnTo>
                    <a:pt x="766" y="89"/>
                  </a:lnTo>
                  <a:lnTo>
                    <a:pt x="772" y="90"/>
                  </a:lnTo>
                  <a:lnTo>
                    <a:pt x="778" y="90"/>
                  </a:lnTo>
                  <a:lnTo>
                    <a:pt x="785" y="90"/>
                  </a:lnTo>
                  <a:lnTo>
                    <a:pt x="790" y="89"/>
                  </a:lnTo>
                  <a:lnTo>
                    <a:pt x="795" y="87"/>
                  </a:lnTo>
                  <a:lnTo>
                    <a:pt x="799" y="84"/>
                  </a:lnTo>
                  <a:lnTo>
                    <a:pt x="803" y="81"/>
                  </a:lnTo>
                  <a:lnTo>
                    <a:pt x="805" y="78"/>
                  </a:lnTo>
                  <a:lnTo>
                    <a:pt x="806" y="75"/>
                  </a:lnTo>
                  <a:lnTo>
                    <a:pt x="806" y="73"/>
                  </a:lnTo>
                  <a:lnTo>
                    <a:pt x="807" y="68"/>
                  </a:lnTo>
                  <a:lnTo>
                    <a:pt x="807" y="65"/>
                  </a:lnTo>
                  <a:lnTo>
                    <a:pt x="806" y="61"/>
                  </a:lnTo>
                  <a:lnTo>
                    <a:pt x="804" y="58"/>
                  </a:lnTo>
                  <a:lnTo>
                    <a:pt x="802" y="56"/>
                  </a:lnTo>
                  <a:lnTo>
                    <a:pt x="800" y="54"/>
                  </a:lnTo>
                  <a:lnTo>
                    <a:pt x="797" y="52"/>
                  </a:lnTo>
                  <a:lnTo>
                    <a:pt x="793" y="51"/>
                  </a:lnTo>
                  <a:lnTo>
                    <a:pt x="788" y="49"/>
                  </a:lnTo>
                  <a:lnTo>
                    <a:pt x="776" y="47"/>
                  </a:lnTo>
                  <a:lnTo>
                    <a:pt x="772" y="46"/>
                  </a:lnTo>
                  <a:lnTo>
                    <a:pt x="770" y="45"/>
                  </a:lnTo>
                  <a:lnTo>
                    <a:pt x="768" y="44"/>
                  </a:lnTo>
                  <a:lnTo>
                    <a:pt x="768" y="42"/>
                  </a:lnTo>
                  <a:lnTo>
                    <a:pt x="769" y="40"/>
                  </a:lnTo>
                  <a:lnTo>
                    <a:pt x="771" y="38"/>
                  </a:lnTo>
                  <a:lnTo>
                    <a:pt x="773" y="37"/>
                  </a:lnTo>
                  <a:lnTo>
                    <a:pt x="777" y="37"/>
                  </a:lnTo>
                  <a:lnTo>
                    <a:pt x="781" y="37"/>
                  </a:lnTo>
                  <a:lnTo>
                    <a:pt x="783" y="38"/>
                  </a:lnTo>
                  <a:lnTo>
                    <a:pt x="785" y="39"/>
                  </a:lnTo>
                  <a:lnTo>
                    <a:pt x="786" y="40"/>
                  </a:lnTo>
                  <a:lnTo>
                    <a:pt x="787" y="41"/>
                  </a:lnTo>
                  <a:lnTo>
                    <a:pt x="788" y="44"/>
                  </a:lnTo>
                  <a:lnTo>
                    <a:pt x="806" y="44"/>
                  </a:lnTo>
                  <a:close/>
                  <a:moveTo>
                    <a:pt x="700" y="25"/>
                  </a:moveTo>
                  <a:lnTo>
                    <a:pt x="700" y="89"/>
                  </a:lnTo>
                  <a:lnTo>
                    <a:pt x="719" y="89"/>
                  </a:lnTo>
                  <a:lnTo>
                    <a:pt x="719" y="71"/>
                  </a:lnTo>
                  <a:lnTo>
                    <a:pt x="719" y="56"/>
                  </a:lnTo>
                  <a:lnTo>
                    <a:pt x="720" y="52"/>
                  </a:lnTo>
                  <a:lnTo>
                    <a:pt x="721" y="48"/>
                  </a:lnTo>
                  <a:lnTo>
                    <a:pt x="722" y="46"/>
                  </a:lnTo>
                  <a:lnTo>
                    <a:pt x="724" y="45"/>
                  </a:lnTo>
                  <a:lnTo>
                    <a:pt x="727" y="42"/>
                  </a:lnTo>
                  <a:lnTo>
                    <a:pt x="729" y="42"/>
                  </a:lnTo>
                  <a:lnTo>
                    <a:pt x="731" y="41"/>
                  </a:lnTo>
                  <a:lnTo>
                    <a:pt x="735" y="40"/>
                  </a:lnTo>
                  <a:lnTo>
                    <a:pt x="740" y="41"/>
                  </a:lnTo>
                  <a:lnTo>
                    <a:pt x="740" y="23"/>
                  </a:lnTo>
                  <a:lnTo>
                    <a:pt x="735" y="23"/>
                  </a:lnTo>
                  <a:lnTo>
                    <a:pt x="731" y="24"/>
                  </a:lnTo>
                  <a:lnTo>
                    <a:pt x="728" y="24"/>
                  </a:lnTo>
                  <a:lnTo>
                    <a:pt x="725" y="26"/>
                  </a:lnTo>
                  <a:lnTo>
                    <a:pt x="723" y="27"/>
                  </a:lnTo>
                  <a:lnTo>
                    <a:pt x="721" y="30"/>
                  </a:lnTo>
                  <a:lnTo>
                    <a:pt x="719" y="33"/>
                  </a:lnTo>
                  <a:lnTo>
                    <a:pt x="718" y="36"/>
                  </a:lnTo>
                  <a:lnTo>
                    <a:pt x="718" y="25"/>
                  </a:lnTo>
                  <a:lnTo>
                    <a:pt x="700" y="25"/>
                  </a:lnTo>
                  <a:close/>
                  <a:moveTo>
                    <a:pt x="640" y="49"/>
                  </a:moveTo>
                  <a:lnTo>
                    <a:pt x="641" y="46"/>
                  </a:lnTo>
                  <a:lnTo>
                    <a:pt x="642" y="44"/>
                  </a:lnTo>
                  <a:lnTo>
                    <a:pt x="643" y="42"/>
                  </a:lnTo>
                  <a:lnTo>
                    <a:pt x="645" y="40"/>
                  </a:lnTo>
                  <a:lnTo>
                    <a:pt x="647" y="39"/>
                  </a:lnTo>
                  <a:lnTo>
                    <a:pt x="649" y="38"/>
                  </a:lnTo>
                  <a:lnTo>
                    <a:pt x="655" y="37"/>
                  </a:lnTo>
                  <a:lnTo>
                    <a:pt x="660" y="38"/>
                  </a:lnTo>
                  <a:lnTo>
                    <a:pt x="662" y="39"/>
                  </a:lnTo>
                  <a:lnTo>
                    <a:pt x="663" y="40"/>
                  </a:lnTo>
                  <a:lnTo>
                    <a:pt x="665" y="42"/>
                  </a:lnTo>
                  <a:lnTo>
                    <a:pt x="666" y="44"/>
                  </a:lnTo>
                  <a:lnTo>
                    <a:pt x="667" y="46"/>
                  </a:lnTo>
                  <a:lnTo>
                    <a:pt x="667" y="49"/>
                  </a:lnTo>
                  <a:lnTo>
                    <a:pt x="640" y="49"/>
                  </a:lnTo>
                  <a:close/>
                  <a:moveTo>
                    <a:pt x="687" y="62"/>
                  </a:moveTo>
                  <a:lnTo>
                    <a:pt x="686" y="56"/>
                  </a:lnTo>
                  <a:lnTo>
                    <a:pt x="686" y="51"/>
                  </a:lnTo>
                  <a:lnTo>
                    <a:pt x="685" y="47"/>
                  </a:lnTo>
                  <a:lnTo>
                    <a:pt x="684" y="43"/>
                  </a:lnTo>
                  <a:lnTo>
                    <a:pt x="682" y="38"/>
                  </a:lnTo>
                  <a:lnTo>
                    <a:pt x="679" y="34"/>
                  </a:lnTo>
                  <a:lnTo>
                    <a:pt x="676" y="31"/>
                  </a:lnTo>
                  <a:lnTo>
                    <a:pt x="673" y="28"/>
                  </a:lnTo>
                  <a:lnTo>
                    <a:pt x="669" y="26"/>
                  </a:lnTo>
                  <a:lnTo>
                    <a:pt x="667" y="25"/>
                  </a:lnTo>
                  <a:lnTo>
                    <a:pt x="665" y="24"/>
                  </a:lnTo>
                  <a:lnTo>
                    <a:pt x="660" y="23"/>
                  </a:lnTo>
                  <a:lnTo>
                    <a:pt x="655" y="23"/>
                  </a:lnTo>
                  <a:lnTo>
                    <a:pt x="647" y="24"/>
                  </a:lnTo>
                  <a:lnTo>
                    <a:pt x="641" y="26"/>
                  </a:lnTo>
                  <a:lnTo>
                    <a:pt x="638" y="27"/>
                  </a:lnTo>
                  <a:lnTo>
                    <a:pt x="635" y="29"/>
                  </a:lnTo>
                  <a:lnTo>
                    <a:pt x="630" y="32"/>
                  </a:lnTo>
                  <a:lnTo>
                    <a:pt x="628" y="35"/>
                  </a:lnTo>
                  <a:lnTo>
                    <a:pt x="627" y="37"/>
                  </a:lnTo>
                  <a:lnTo>
                    <a:pt x="625" y="40"/>
                  </a:lnTo>
                  <a:lnTo>
                    <a:pt x="624" y="43"/>
                  </a:lnTo>
                  <a:lnTo>
                    <a:pt x="623" y="46"/>
                  </a:lnTo>
                  <a:lnTo>
                    <a:pt x="622" y="50"/>
                  </a:lnTo>
                  <a:lnTo>
                    <a:pt x="621" y="53"/>
                  </a:lnTo>
                  <a:lnTo>
                    <a:pt x="621" y="57"/>
                  </a:lnTo>
                  <a:lnTo>
                    <a:pt x="622" y="64"/>
                  </a:lnTo>
                  <a:lnTo>
                    <a:pt x="624" y="71"/>
                  </a:lnTo>
                  <a:lnTo>
                    <a:pt x="626" y="76"/>
                  </a:lnTo>
                  <a:lnTo>
                    <a:pt x="630" y="81"/>
                  </a:lnTo>
                  <a:lnTo>
                    <a:pt x="635" y="85"/>
                  </a:lnTo>
                  <a:lnTo>
                    <a:pt x="641" y="88"/>
                  </a:lnTo>
                  <a:lnTo>
                    <a:pt x="644" y="89"/>
                  </a:lnTo>
                  <a:lnTo>
                    <a:pt x="647" y="90"/>
                  </a:lnTo>
                  <a:lnTo>
                    <a:pt x="650" y="90"/>
                  </a:lnTo>
                  <a:lnTo>
                    <a:pt x="655" y="90"/>
                  </a:lnTo>
                  <a:lnTo>
                    <a:pt x="661" y="90"/>
                  </a:lnTo>
                  <a:lnTo>
                    <a:pt x="666" y="89"/>
                  </a:lnTo>
                  <a:lnTo>
                    <a:pt x="671" y="87"/>
                  </a:lnTo>
                  <a:lnTo>
                    <a:pt x="675" y="85"/>
                  </a:lnTo>
                  <a:lnTo>
                    <a:pt x="679" y="82"/>
                  </a:lnTo>
                  <a:lnTo>
                    <a:pt x="680" y="80"/>
                  </a:lnTo>
                  <a:lnTo>
                    <a:pt x="682" y="78"/>
                  </a:lnTo>
                  <a:lnTo>
                    <a:pt x="684" y="74"/>
                  </a:lnTo>
                  <a:lnTo>
                    <a:pt x="686" y="70"/>
                  </a:lnTo>
                  <a:lnTo>
                    <a:pt x="667" y="70"/>
                  </a:lnTo>
                  <a:lnTo>
                    <a:pt x="665" y="73"/>
                  </a:lnTo>
                  <a:lnTo>
                    <a:pt x="662" y="74"/>
                  </a:lnTo>
                  <a:lnTo>
                    <a:pt x="659" y="75"/>
                  </a:lnTo>
                  <a:lnTo>
                    <a:pt x="656" y="76"/>
                  </a:lnTo>
                  <a:lnTo>
                    <a:pt x="653" y="76"/>
                  </a:lnTo>
                  <a:lnTo>
                    <a:pt x="649" y="75"/>
                  </a:lnTo>
                  <a:lnTo>
                    <a:pt x="647" y="74"/>
                  </a:lnTo>
                  <a:lnTo>
                    <a:pt x="645" y="72"/>
                  </a:lnTo>
                  <a:lnTo>
                    <a:pt x="643" y="70"/>
                  </a:lnTo>
                  <a:lnTo>
                    <a:pt x="642" y="68"/>
                  </a:lnTo>
                  <a:lnTo>
                    <a:pt x="641" y="65"/>
                  </a:lnTo>
                  <a:lnTo>
                    <a:pt x="640" y="62"/>
                  </a:lnTo>
                  <a:lnTo>
                    <a:pt x="687" y="62"/>
                  </a:lnTo>
                  <a:close/>
                  <a:moveTo>
                    <a:pt x="593" y="89"/>
                  </a:moveTo>
                  <a:lnTo>
                    <a:pt x="614" y="25"/>
                  </a:lnTo>
                  <a:lnTo>
                    <a:pt x="594" y="25"/>
                  </a:lnTo>
                  <a:lnTo>
                    <a:pt x="588" y="49"/>
                  </a:lnTo>
                  <a:lnTo>
                    <a:pt x="584" y="68"/>
                  </a:lnTo>
                  <a:lnTo>
                    <a:pt x="579" y="49"/>
                  </a:lnTo>
                  <a:lnTo>
                    <a:pt x="571" y="25"/>
                  </a:lnTo>
                  <a:lnTo>
                    <a:pt x="552" y="25"/>
                  </a:lnTo>
                  <a:lnTo>
                    <a:pt x="575" y="89"/>
                  </a:lnTo>
                  <a:lnTo>
                    <a:pt x="593" y="89"/>
                  </a:lnTo>
                  <a:close/>
                  <a:moveTo>
                    <a:pt x="540" y="0"/>
                  </a:moveTo>
                  <a:lnTo>
                    <a:pt x="521" y="0"/>
                  </a:lnTo>
                  <a:lnTo>
                    <a:pt x="521" y="16"/>
                  </a:lnTo>
                  <a:lnTo>
                    <a:pt x="540" y="16"/>
                  </a:lnTo>
                  <a:lnTo>
                    <a:pt x="540" y="0"/>
                  </a:lnTo>
                  <a:close/>
                  <a:moveTo>
                    <a:pt x="540" y="25"/>
                  </a:moveTo>
                  <a:lnTo>
                    <a:pt x="521" y="25"/>
                  </a:lnTo>
                  <a:lnTo>
                    <a:pt x="521" y="89"/>
                  </a:lnTo>
                  <a:lnTo>
                    <a:pt x="540" y="89"/>
                  </a:lnTo>
                  <a:lnTo>
                    <a:pt x="540" y="25"/>
                  </a:lnTo>
                  <a:close/>
                  <a:moveTo>
                    <a:pt x="445" y="25"/>
                  </a:moveTo>
                  <a:lnTo>
                    <a:pt x="445" y="89"/>
                  </a:lnTo>
                  <a:lnTo>
                    <a:pt x="464" y="89"/>
                  </a:lnTo>
                  <a:lnTo>
                    <a:pt x="464" y="53"/>
                  </a:lnTo>
                  <a:lnTo>
                    <a:pt x="465" y="46"/>
                  </a:lnTo>
                  <a:lnTo>
                    <a:pt x="465" y="44"/>
                  </a:lnTo>
                  <a:lnTo>
                    <a:pt x="467" y="42"/>
                  </a:lnTo>
                  <a:lnTo>
                    <a:pt x="468" y="41"/>
                  </a:lnTo>
                  <a:lnTo>
                    <a:pt x="470" y="40"/>
                  </a:lnTo>
                  <a:lnTo>
                    <a:pt x="472" y="39"/>
                  </a:lnTo>
                  <a:lnTo>
                    <a:pt x="475" y="39"/>
                  </a:lnTo>
                  <a:lnTo>
                    <a:pt x="477" y="39"/>
                  </a:lnTo>
                  <a:lnTo>
                    <a:pt x="479" y="40"/>
                  </a:lnTo>
                  <a:lnTo>
                    <a:pt x="481" y="41"/>
                  </a:lnTo>
                  <a:lnTo>
                    <a:pt x="482" y="43"/>
                  </a:lnTo>
                  <a:lnTo>
                    <a:pt x="483" y="44"/>
                  </a:lnTo>
                  <a:lnTo>
                    <a:pt x="484" y="47"/>
                  </a:lnTo>
                  <a:lnTo>
                    <a:pt x="484" y="54"/>
                  </a:lnTo>
                  <a:lnTo>
                    <a:pt x="484" y="89"/>
                  </a:lnTo>
                  <a:lnTo>
                    <a:pt x="503" y="89"/>
                  </a:lnTo>
                  <a:lnTo>
                    <a:pt x="503" y="47"/>
                  </a:lnTo>
                  <a:lnTo>
                    <a:pt x="503" y="42"/>
                  </a:lnTo>
                  <a:lnTo>
                    <a:pt x="502" y="37"/>
                  </a:lnTo>
                  <a:lnTo>
                    <a:pt x="500" y="33"/>
                  </a:lnTo>
                  <a:lnTo>
                    <a:pt x="497" y="29"/>
                  </a:lnTo>
                  <a:lnTo>
                    <a:pt x="494" y="27"/>
                  </a:lnTo>
                  <a:lnTo>
                    <a:pt x="490" y="25"/>
                  </a:lnTo>
                  <a:lnTo>
                    <a:pt x="486" y="23"/>
                  </a:lnTo>
                  <a:lnTo>
                    <a:pt x="481" y="23"/>
                  </a:lnTo>
                  <a:lnTo>
                    <a:pt x="476" y="23"/>
                  </a:lnTo>
                  <a:lnTo>
                    <a:pt x="472" y="25"/>
                  </a:lnTo>
                  <a:lnTo>
                    <a:pt x="468" y="27"/>
                  </a:lnTo>
                  <a:lnTo>
                    <a:pt x="463" y="31"/>
                  </a:lnTo>
                  <a:lnTo>
                    <a:pt x="463" y="25"/>
                  </a:lnTo>
                  <a:lnTo>
                    <a:pt x="445" y="25"/>
                  </a:lnTo>
                  <a:close/>
                  <a:moveTo>
                    <a:pt x="407" y="0"/>
                  </a:moveTo>
                  <a:lnTo>
                    <a:pt x="407" y="59"/>
                  </a:lnTo>
                  <a:lnTo>
                    <a:pt x="407" y="63"/>
                  </a:lnTo>
                  <a:lnTo>
                    <a:pt x="406" y="66"/>
                  </a:lnTo>
                  <a:lnTo>
                    <a:pt x="405" y="68"/>
                  </a:lnTo>
                  <a:lnTo>
                    <a:pt x="404" y="70"/>
                  </a:lnTo>
                  <a:lnTo>
                    <a:pt x="401" y="72"/>
                  </a:lnTo>
                  <a:lnTo>
                    <a:pt x="398" y="73"/>
                  </a:lnTo>
                  <a:lnTo>
                    <a:pt x="395" y="74"/>
                  </a:lnTo>
                  <a:lnTo>
                    <a:pt x="392" y="74"/>
                  </a:lnTo>
                  <a:lnTo>
                    <a:pt x="388" y="74"/>
                  </a:lnTo>
                  <a:lnTo>
                    <a:pt x="385" y="73"/>
                  </a:lnTo>
                  <a:lnTo>
                    <a:pt x="382" y="72"/>
                  </a:lnTo>
                  <a:lnTo>
                    <a:pt x="380" y="70"/>
                  </a:lnTo>
                  <a:lnTo>
                    <a:pt x="378" y="68"/>
                  </a:lnTo>
                  <a:lnTo>
                    <a:pt x="377" y="66"/>
                  </a:lnTo>
                  <a:lnTo>
                    <a:pt x="376" y="63"/>
                  </a:lnTo>
                  <a:lnTo>
                    <a:pt x="376" y="59"/>
                  </a:lnTo>
                  <a:lnTo>
                    <a:pt x="376" y="0"/>
                  </a:lnTo>
                  <a:lnTo>
                    <a:pt x="356" y="0"/>
                  </a:lnTo>
                  <a:lnTo>
                    <a:pt x="356" y="60"/>
                  </a:lnTo>
                  <a:lnTo>
                    <a:pt x="357" y="68"/>
                  </a:lnTo>
                  <a:lnTo>
                    <a:pt x="359" y="74"/>
                  </a:lnTo>
                  <a:lnTo>
                    <a:pt x="360" y="77"/>
                  </a:lnTo>
                  <a:lnTo>
                    <a:pt x="362" y="79"/>
                  </a:lnTo>
                  <a:lnTo>
                    <a:pt x="364" y="81"/>
                  </a:lnTo>
                  <a:lnTo>
                    <a:pt x="366" y="83"/>
                  </a:lnTo>
                  <a:lnTo>
                    <a:pt x="371" y="86"/>
                  </a:lnTo>
                  <a:lnTo>
                    <a:pt x="374" y="88"/>
                  </a:lnTo>
                  <a:lnTo>
                    <a:pt x="378" y="89"/>
                  </a:lnTo>
                  <a:lnTo>
                    <a:pt x="384" y="90"/>
                  </a:lnTo>
                  <a:lnTo>
                    <a:pt x="392" y="91"/>
                  </a:lnTo>
                  <a:lnTo>
                    <a:pt x="399" y="90"/>
                  </a:lnTo>
                  <a:lnTo>
                    <a:pt x="403" y="90"/>
                  </a:lnTo>
                  <a:lnTo>
                    <a:pt x="406" y="89"/>
                  </a:lnTo>
                  <a:lnTo>
                    <a:pt x="412" y="86"/>
                  </a:lnTo>
                  <a:lnTo>
                    <a:pt x="418" y="83"/>
                  </a:lnTo>
                  <a:lnTo>
                    <a:pt x="420" y="81"/>
                  </a:lnTo>
                  <a:lnTo>
                    <a:pt x="422" y="79"/>
                  </a:lnTo>
                  <a:lnTo>
                    <a:pt x="424" y="77"/>
                  </a:lnTo>
                  <a:lnTo>
                    <a:pt x="425" y="74"/>
                  </a:lnTo>
                  <a:lnTo>
                    <a:pt x="427" y="68"/>
                  </a:lnTo>
                  <a:lnTo>
                    <a:pt x="427" y="64"/>
                  </a:lnTo>
                  <a:lnTo>
                    <a:pt x="427" y="60"/>
                  </a:lnTo>
                  <a:lnTo>
                    <a:pt x="427" y="0"/>
                  </a:lnTo>
                  <a:lnTo>
                    <a:pt x="407" y="0"/>
                  </a:lnTo>
                  <a:close/>
                  <a:moveTo>
                    <a:pt x="277" y="38"/>
                  </a:moveTo>
                  <a:lnTo>
                    <a:pt x="281" y="38"/>
                  </a:lnTo>
                  <a:lnTo>
                    <a:pt x="284" y="39"/>
                  </a:lnTo>
                  <a:lnTo>
                    <a:pt x="286" y="41"/>
                  </a:lnTo>
                  <a:lnTo>
                    <a:pt x="289" y="43"/>
                  </a:lnTo>
                  <a:lnTo>
                    <a:pt x="290" y="46"/>
                  </a:lnTo>
                  <a:lnTo>
                    <a:pt x="292" y="49"/>
                  </a:lnTo>
                  <a:lnTo>
                    <a:pt x="292" y="53"/>
                  </a:lnTo>
                  <a:lnTo>
                    <a:pt x="293" y="57"/>
                  </a:lnTo>
                  <a:lnTo>
                    <a:pt x="292" y="61"/>
                  </a:lnTo>
                  <a:lnTo>
                    <a:pt x="292" y="65"/>
                  </a:lnTo>
                  <a:lnTo>
                    <a:pt x="290" y="68"/>
                  </a:lnTo>
                  <a:lnTo>
                    <a:pt x="289" y="71"/>
                  </a:lnTo>
                  <a:lnTo>
                    <a:pt x="288" y="72"/>
                  </a:lnTo>
                  <a:lnTo>
                    <a:pt x="286" y="73"/>
                  </a:lnTo>
                  <a:lnTo>
                    <a:pt x="284" y="74"/>
                  </a:lnTo>
                  <a:lnTo>
                    <a:pt x="281" y="75"/>
                  </a:lnTo>
                  <a:lnTo>
                    <a:pt x="277" y="75"/>
                  </a:lnTo>
                  <a:lnTo>
                    <a:pt x="274" y="75"/>
                  </a:lnTo>
                  <a:lnTo>
                    <a:pt x="271" y="74"/>
                  </a:lnTo>
                  <a:lnTo>
                    <a:pt x="269" y="73"/>
                  </a:lnTo>
                  <a:lnTo>
                    <a:pt x="266" y="71"/>
                  </a:lnTo>
                  <a:lnTo>
                    <a:pt x="265" y="68"/>
                  </a:lnTo>
                  <a:lnTo>
                    <a:pt x="264" y="65"/>
                  </a:lnTo>
                  <a:lnTo>
                    <a:pt x="263" y="61"/>
                  </a:lnTo>
                  <a:lnTo>
                    <a:pt x="263" y="57"/>
                  </a:lnTo>
                  <a:lnTo>
                    <a:pt x="263" y="52"/>
                  </a:lnTo>
                  <a:lnTo>
                    <a:pt x="264" y="49"/>
                  </a:lnTo>
                  <a:lnTo>
                    <a:pt x="265" y="46"/>
                  </a:lnTo>
                  <a:lnTo>
                    <a:pt x="266" y="43"/>
                  </a:lnTo>
                  <a:lnTo>
                    <a:pt x="267" y="42"/>
                  </a:lnTo>
                  <a:lnTo>
                    <a:pt x="269" y="41"/>
                  </a:lnTo>
                  <a:lnTo>
                    <a:pt x="271" y="39"/>
                  </a:lnTo>
                  <a:lnTo>
                    <a:pt x="274" y="38"/>
                  </a:lnTo>
                  <a:lnTo>
                    <a:pt x="277" y="38"/>
                  </a:lnTo>
                  <a:close/>
                  <a:moveTo>
                    <a:pt x="277" y="23"/>
                  </a:moveTo>
                  <a:lnTo>
                    <a:pt x="270" y="24"/>
                  </a:lnTo>
                  <a:lnTo>
                    <a:pt x="264" y="26"/>
                  </a:lnTo>
                  <a:lnTo>
                    <a:pt x="261" y="27"/>
                  </a:lnTo>
                  <a:lnTo>
                    <a:pt x="258" y="29"/>
                  </a:lnTo>
                  <a:lnTo>
                    <a:pt x="253" y="33"/>
                  </a:lnTo>
                  <a:lnTo>
                    <a:pt x="249" y="37"/>
                  </a:lnTo>
                  <a:lnTo>
                    <a:pt x="247" y="40"/>
                  </a:lnTo>
                  <a:lnTo>
                    <a:pt x="246" y="43"/>
                  </a:lnTo>
                  <a:lnTo>
                    <a:pt x="245" y="46"/>
                  </a:lnTo>
                  <a:lnTo>
                    <a:pt x="244" y="50"/>
                  </a:lnTo>
                  <a:lnTo>
                    <a:pt x="244" y="53"/>
                  </a:lnTo>
                  <a:lnTo>
                    <a:pt x="244" y="57"/>
                  </a:lnTo>
                  <a:lnTo>
                    <a:pt x="244" y="64"/>
                  </a:lnTo>
                  <a:lnTo>
                    <a:pt x="246" y="70"/>
                  </a:lnTo>
                  <a:lnTo>
                    <a:pt x="247" y="73"/>
                  </a:lnTo>
                  <a:lnTo>
                    <a:pt x="249" y="76"/>
                  </a:lnTo>
                  <a:lnTo>
                    <a:pt x="253" y="81"/>
                  </a:lnTo>
                  <a:lnTo>
                    <a:pt x="258" y="85"/>
                  </a:lnTo>
                  <a:lnTo>
                    <a:pt x="261" y="87"/>
                  </a:lnTo>
                  <a:lnTo>
                    <a:pt x="264" y="88"/>
                  </a:lnTo>
                  <a:lnTo>
                    <a:pt x="267" y="89"/>
                  </a:lnTo>
                  <a:lnTo>
                    <a:pt x="270" y="90"/>
                  </a:lnTo>
                  <a:lnTo>
                    <a:pt x="277" y="90"/>
                  </a:lnTo>
                  <a:lnTo>
                    <a:pt x="285" y="90"/>
                  </a:lnTo>
                  <a:lnTo>
                    <a:pt x="291" y="88"/>
                  </a:lnTo>
                  <a:lnTo>
                    <a:pt x="294" y="87"/>
                  </a:lnTo>
                  <a:lnTo>
                    <a:pt x="297" y="85"/>
                  </a:lnTo>
                  <a:lnTo>
                    <a:pt x="302" y="81"/>
                  </a:lnTo>
                  <a:lnTo>
                    <a:pt x="306" y="76"/>
                  </a:lnTo>
                  <a:lnTo>
                    <a:pt x="308" y="73"/>
                  </a:lnTo>
                  <a:lnTo>
                    <a:pt x="309" y="71"/>
                  </a:lnTo>
                  <a:lnTo>
                    <a:pt x="311" y="64"/>
                  </a:lnTo>
                  <a:lnTo>
                    <a:pt x="311" y="61"/>
                  </a:lnTo>
                  <a:lnTo>
                    <a:pt x="311" y="57"/>
                  </a:lnTo>
                  <a:lnTo>
                    <a:pt x="311" y="53"/>
                  </a:lnTo>
                  <a:lnTo>
                    <a:pt x="311" y="50"/>
                  </a:lnTo>
                  <a:lnTo>
                    <a:pt x="309" y="43"/>
                  </a:lnTo>
                  <a:lnTo>
                    <a:pt x="308" y="40"/>
                  </a:lnTo>
                  <a:lnTo>
                    <a:pt x="306" y="37"/>
                  </a:lnTo>
                  <a:lnTo>
                    <a:pt x="302" y="33"/>
                  </a:lnTo>
                  <a:lnTo>
                    <a:pt x="297" y="29"/>
                  </a:lnTo>
                  <a:lnTo>
                    <a:pt x="294" y="27"/>
                  </a:lnTo>
                  <a:lnTo>
                    <a:pt x="291" y="26"/>
                  </a:lnTo>
                  <a:lnTo>
                    <a:pt x="288" y="24"/>
                  </a:lnTo>
                  <a:lnTo>
                    <a:pt x="285" y="24"/>
                  </a:lnTo>
                  <a:lnTo>
                    <a:pt x="277" y="23"/>
                  </a:lnTo>
                  <a:close/>
                  <a:moveTo>
                    <a:pt x="235" y="26"/>
                  </a:moveTo>
                  <a:lnTo>
                    <a:pt x="224" y="26"/>
                  </a:lnTo>
                  <a:lnTo>
                    <a:pt x="224" y="5"/>
                  </a:lnTo>
                  <a:lnTo>
                    <a:pt x="205" y="5"/>
                  </a:lnTo>
                  <a:lnTo>
                    <a:pt x="205" y="26"/>
                  </a:lnTo>
                  <a:lnTo>
                    <a:pt x="196" y="26"/>
                  </a:lnTo>
                  <a:lnTo>
                    <a:pt x="196" y="39"/>
                  </a:lnTo>
                  <a:lnTo>
                    <a:pt x="205" y="39"/>
                  </a:lnTo>
                  <a:lnTo>
                    <a:pt x="205" y="68"/>
                  </a:lnTo>
                  <a:lnTo>
                    <a:pt x="205" y="74"/>
                  </a:lnTo>
                  <a:lnTo>
                    <a:pt x="206" y="79"/>
                  </a:lnTo>
                  <a:lnTo>
                    <a:pt x="207" y="82"/>
                  </a:lnTo>
                  <a:lnTo>
                    <a:pt x="209" y="84"/>
                  </a:lnTo>
                  <a:lnTo>
                    <a:pt x="211" y="86"/>
                  </a:lnTo>
                  <a:lnTo>
                    <a:pt x="214" y="88"/>
                  </a:lnTo>
                  <a:lnTo>
                    <a:pt x="218" y="88"/>
                  </a:lnTo>
                  <a:lnTo>
                    <a:pt x="224" y="89"/>
                  </a:lnTo>
                  <a:lnTo>
                    <a:pt x="235" y="89"/>
                  </a:lnTo>
                  <a:lnTo>
                    <a:pt x="235" y="75"/>
                  </a:lnTo>
                  <a:lnTo>
                    <a:pt x="228" y="75"/>
                  </a:lnTo>
                  <a:lnTo>
                    <a:pt x="226" y="74"/>
                  </a:lnTo>
                  <a:lnTo>
                    <a:pt x="225" y="74"/>
                  </a:lnTo>
                  <a:lnTo>
                    <a:pt x="224" y="73"/>
                  </a:lnTo>
                  <a:lnTo>
                    <a:pt x="224" y="70"/>
                  </a:lnTo>
                  <a:lnTo>
                    <a:pt x="224" y="64"/>
                  </a:lnTo>
                  <a:lnTo>
                    <a:pt x="224" y="39"/>
                  </a:lnTo>
                  <a:lnTo>
                    <a:pt x="235" y="39"/>
                  </a:lnTo>
                  <a:lnTo>
                    <a:pt x="235" y="26"/>
                  </a:lnTo>
                  <a:close/>
                  <a:moveTo>
                    <a:pt x="184" y="0"/>
                  </a:moveTo>
                  <a:lnTo>
                    <a:pt x="166" y="0"/>
                  </a:lnTo>
                  <a:lnTo>
                    <a:pt x="166" y="89"/>
                  </a:lnTo>
                  <a:lnTo>
                    <a:pt x="184" y="89"/>
                  </a:lnTo>
                  <a:lnTo>
                    <a:pt x="184" y="0"/>
                  </a:lnTo>
                  <a:close/>
                  <a:moveTo>
                    <a:pt x="131" y="68"/>
                  </a:moveTo>
                  <a:lnTo>
                    <a:pt x="129" y="72"/>
                  </a:lnTo>
                  <a:lnTo>
                    <a:pt x="126" y="74"/>
                  </a:lnTo>
                  <a:lnTo>
                    <a:pt x="122" y="76"/>
                  </a:lnTo>
                  <a:lnTo>
                    <a:pt x="117" y="76"/>
                  </a:lnTo>
                  <a:lnTo>
                    <a:pt x="114" y="76"/>
                  </a:lnTo>
                  <a:lnTo>
                    <a:pt x="111" y="74"/>
                  </a:lnTo>
                  <a:lnTo>
                    <a:pt x="109" y="72"/>
                  </a:lnTo>
                  <a:lnTo>
                    <a:pt x="108" y="71"/>
                  </a:lnTo>
                  <a:lnTo>
                    <a:pt x="108" y="69"/>
                  </a:lnTo>
                  <a:lnTo>
                    <a:pt x="109" y="67"/>
                  </a:lnTo>
                  <a:lnTo>
                    <a:pt x="110" y="65"/>
                  </a:lnTo>
                  <a:lnTo>
                    <a:pt x="113" y="63"/>
                  </a:lnTo>
                  <a:lnTo>
                    <a:pt x="118" y="62"/>
                  </a:lnTo>
                  <a:lnTo>
                    <a:pt x="124" y="60"/>
                  </a:lnTo>
                  <a:lnTo>
                    <a:pt x="131" y="58"/>
                  </a:lnTo>
                  <a:lnTo>
                    <a:pt x="131" y="68"/>
                  </a:lnTo>
                  <a:close/>
                  <a:moveTo>
                    <a:pt x="110" y="45"/>
                  </a:moveTo>
                  <a:lnTo>
                    <a:pt x="110" y="43"/>
                  </a:lnTo>
                  <a:lnTo>
                    <a:pt x="111" y="42"/>
                  </a:lnTo>
                  <a:lnTo>
                    <a:pt x="112" y="40"/>
                  </a:lnTo>
                  <a:lnTo>
                    <a:pt x="113" y="39"/>
                  </a:lnTo>
                  <a:lnTo>
                    <a:pt x="116" y="38"/>
                  </a:lnTo>
                  <a:lnTo>
                    <a:pt x="121" y="37"/>
                  </a:lnTo>
                  <a:lnTo>
                    <a:pt x="125" y="38"/>
                  </a:lnTo>
                  <a:lnTo>
                    <a:pt x="128" y="39"/>
                  </a:lnTo>
                  <a:lnTo>
                    <a:pt x="130" y="41"/>
                  </a:lnTo>
                  <a:lnTo>
                    <a:pt x="131" y="42"/>
                  </a:lnTo>
                  <a:lnTo>
                    <a:pt x="131" y="43"/>
                  </a:lnTo>
                  <a:lnTo>
                    <a:pt x="130" y="45"/>
                  </a:lnTo>
                  <a:lnTo>
                    <a:pt x="129" y="46"/>
                  </a:lnTo>
                  <a:lnTo>
                    <a:pt x="128" y="47"/>
                  </a:lnTo>
                  <a:lnTo>
                    <a:pt x="125" y="48"/>
                  </a:lnTo>
                  <a:lnTo>
                    <a:pt x="115" y="49"/>
                  </a:lnTo>
                  <a:lnTo>
                    <a:pt x="109" y="51"/>
                  </a:lnTo>
                  <a:lnTo>
                    <a:pt x="103" y="52"/>
                  </a:lnTo>
                  <a:lnTo>
                    <a:pt x="99" y="54"/>
                  </a:lnTo>
                  <a:lnTo>
                    <a:pt x="95" y="56"/>
                  </a:lnTo>
                  <a:lnTo>
                    <a:pt x="93" y="59"/>
                  </a:lnTo>
                  <a:lnTo>
                    <a:pt x="92" y="61"/>
                  </a:lnTo>
                  <a:lnTo>
                    <a:pt x="91" y="62"/>
                  </a:lnTo>
                  <a:lnTo>
                    <a:pt x="90" y="66"/>
                  </a:lnTo>
                  <a:lnTo>
                    <a:pt x="89" y="70"/>
                  </a:lnTo>
                  <a:lnTo>
                    <a:pt x="90" y="75"/>
                  </a:lnTo>
                  <a:lnTo>
                    <a:pt x="91" y="79"/>
                  </a:lnTo>
                  <a:lnTo>
                    <a:pt x="93" y="82"/>
                  </a:lnTo>
                  <a:lnTo>
                    <a:pt x="96" y="85"/>
                  </a:lnTo>
                  <a:lnTo>
                    <a:pt x="97" y="86"/>
                  </a:lnTo>
                  <a:lnTo>
                    <a:pt x="99" y="87"/>
                  </a:lnTo>
                  <a:lnTo>
                    <a:pt x="103" y="89"/>
                  </a:lnTo>
                  <a:lnTo>
                    <a:pt x="108" y="90"/>
                  </a:lnTo>
                  <a:lnTo>
                    <a:pt x="113" y="90"/>
                  </a:lnTo>
                  <a:lnTo>
                    <a:pt x="118" y="90"/>
                  </a:lnTo>
                  <a:lnTo>
                    <a:pt x="123" y="89"/>
                  </a:lnTo>
                  <a:lnTo>
                    <a:pt x="127" y="87"/>
                  </a:lnTo>
                  <a:lnTo>
                    <a:pt x="131" y="84"/>
                  </a:lnTo>
                  <a:lnTo>
                    <a:pt x="133" y="89"/>
                  </a:lnTo>
                  <a:lnTo>
                    <a:pt x="152" y="89"/>
                  </a:lnTo>
                  <a:lnTo>
                    <a:pt x="151" y="87"/>
                  </a:lnTo>
                  <a:lnTo>
                    <a:pt x="150" y="85"/>
                  </a:lnTo>
                  <a:lnTo>
                    <a:pt x="149" y="78"/>
                  </a:lnTo>
                  <a:lnTo>
                    <a:pt x="149" y="48"/>
                  </a:lnTo>
                  <a:lnTo>
                    <a:pt x="149" y="42"/>
                  </a:lnTo>
                  <a:lnTo>
                    <a:pt x="148" y="37"/>
                  </a:lnTo>
                  <a:lnTo>
                    <a:pt x="146" y="33"/>
                  </a:lnTo>
                  <a:lnTo>
                    <a:pt x="145" y="31"/>
                  </a:lnTo>
                  <a:lnTo>
                    <a:pt x="143" y="30"/>
                  </a:lnTo>
                  <a:lnTo>
                    <a:pt x="139" y="27"/>
                  </a:lnTo>
                  <a:lnTo>
                    <a:pt x="134" y="25"/>
                  </a:lnTo>
                  <a:lnTo>
                    <a:pt x="128" y="23"/>
                  </a:lnTo>
                  <a:lnTo>
                    <a:pt x="121" y="23"/>
                  </a:lnTo>
                  <a:lnTo>
                    <a:pt x="115" y="23"/>
                  </a:lnTo>
                  <a:lnTo>
                    <a:pt x="109" y="24"/>
                  </a:lnTo>
                  <a:lnTo>
                    <a:pt x="104" y="26"/>
                  </a:lnTo>
                  <a:lnTo>
                    <a:pt x="101" y="28"/>
                  </a:lnTo>
                  <a:lnTo>
                    <a:pt x="97" y="31"/>
                  </a:lnTo>
                  <a:lnTo>
                    <a:pt x="95" y="35"/>
                  </a:lnTo>
                  <a:lnTo>
                    <a:pt x="94" y="37"/>
                  </a:lnTo>
                  <a:lnTo>
                    <a:pt x="94" y="40"/>
                  </a:lnTo>
                  <a:lnTo>
                    <a:pt x="93" y="42"/>
                  </a:lnTo>
                  <a:lnTo>
                    <a:pt x="93" y="45"/>
                  </a:lnTo>
                  <a:lnTo>
                    <a:pt x="110" y="45"/>
                  </a:lnTo>
                  <a:close/>
                  <a:moveTo>
                    <a:pt x="52" y="55"/>
                  </a:moveTo>
                  <a:lnTo>
                    <a:pt x="32" y="55"/>
                  </a:lnTo>
                  <a:lnTo>
                    <a:pt x="43" y="20"/>
                  </a:lnTo>
                  <a:lnTo>
                    <a:pt x="52" y="55"/>
                  </a:lnTo>
                  <a:close/>
                  <a:moveTo>
                    <a:pt x="57" y="71"/>
                  </a:moveTo>
                  <a:lnTo>
                    <a:pt x="61" y="89"/>
                  </a:lnTo>
                  <a:lnTo>
                    <a:pt x="84" y="89"/>
                  </a:lnTo>
                  <a:lnTo>
                    <a:pt x="56" y="0"/>
                  </a:lnTo>
                  <a:lnTo>
                    <a:pt x="31" y="0"/>
                  </a:lnTo>
                  <a:lnTo>
                    <a:pt x="0" y="89"/>
                  </a:lnTo>
                  <a:lnTo>
                    <a:pt x="22" y="89"/>
                  </a:lnTo>
                  <a:lnTo>
                    <a:pt x="27" y="71"/>
                  </a:lnTo>
                  <a:lnTo>
                    <a:pt x="57"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14" name="Freeform 7"/>
            <p:cNvSpPr>
              <a:spLocks noEditPoints="1"/>
            </p:cNvSpPr>
            <p:nvPr userDrawn="1"/>
          </p:nvSpPr>
          <p:spPr bwMode="auto">
            <a:xfrm>
              <a:off x="5756275" y="325438"/>
              <a:ext cx="1941513" cy="142875"/>
            </a:xfrm>
            <a:custGeom>
              <a:avLst/>
              <a:gdLst>
                <a:gd name="T0" fmla="*/ 1197 w 1223"/>
                <a:gd name="T1" fmla="*/ 38 h 90"/>
                <a:gd name="T2" fmla="*/ 1220 w 1223"/>
                <a:gd name="T3" fmla="*/ 32 h 90"/>
                <a:gd name="T4" fmla="*/ 1120 w 1223"/>
                <a:gd name="T5" fmla="*/ 37 h 90"/>
                <a:gd name="T6" fmla="*/ 1131 w 1223"/>
                <a:gd name="T7" fmla="*/ 70 h 90"/>
                <a:gd name="T8" fmla="*/ 1105 w 1223"/>
                <a:gd name="T9" fmla="*/ 60 h 90"/>
                <a:gd name="T10" fmla="*/ 1112 w 1223"/>
                <a:gd name="T11" fmla="*/ 23 h 90"/>
                <a:gd name="T12" fmla="*/ 1088 w 1223"/>
                <a:gd name="T13" fmla="*/ 70 h 90"/>
                <a:gd name="T14" fmla="*/ 1136 w 1223"/>
                <a:gd name="T15" fmla="*/ 86 h 90"/>
                <a:gd name="T16" fmla="*/ 1150 w 1223"/>
                <a:gd name="T17" fmla="*/ 40 h 90"/>
                <a:gd name="T18" fmla="*/ 1074 w 1223"/>
                <a:gd name="T19" fmla="*/ 15 h 90"/>
                <a:gd name="T20" fmla="*/ 1002 w 1223"/>
                <a:gd name="T21" fmla="*/ 25 h 90"/>
                <a:gd name="T22" fmla="*/ 1041 w 1223"/>
                <a:gd name="T23" fmla="*/ 88 h 90"/>
                <a:gd name="T24" fmla="*/ 967 w 1223"/>
                <a:gd name="T25" fmla="*/ 74 h 90"/>
                <a:gd name="T26" fmla="*/ 966 w 1223"/>
                <a:gd name="T27" fmla="*/ 60 h 90"/>
                <a:gd name="T28" fmla="*/ 971 w 1223"/>
                <a:gd name="T29" fmla="*/ 40 h 90"/>
                <a:gd name="T30" fmla="*/ 934 w 1223"/>
                <a:gd name="T31" fmla="*/ 59 h 90"/>
                <a:gd name="T32" fmla="*/ 954 w 1223"/>
                <a:gd name="T33" fmla="*/ 90 h 90"/>
                <a:gd name="T34" fmla="*/ 990 w 1223"/>
                <a:gd name="T35" fmla="*/ 36 h 90"/>
                <a:gd name="T36" fmla="*/ 939 w 1223"/>
                <a:gd name="T37" fmla="*/ 31 h 90"/>
                <a:gd name="T38" fmla="*/ 907 w 1223"/>
                <a:gd name="T39" fmla="*/ 26 h 90"/>
                <a:gd name="T40" fmla="*/ 859 w 1223"/>
                <a:gd name="T41" fmla="*/ 49 h 90"/>
                <a:gd name="T42" fmla="*/ 891 w 1223"/>
                <a:gd name="T43" fmla="*/ 90 h 90"/>
                <a:gd name="T44" fmla="*/ 899 w 1223"/>
                <a:gd name="T45" fmla="*/ 72 h 90"/>
                <a:gd name="T46" fmla="*/ 878 w 1223"/>
                <a:gd name="T47" fmla="*/ 56 h 90"/>
                <a:gd name="T48" fmla="*/ 900 w 1223"/>
                <a:gd name="T49" fmla="*/ 42 h 90"/>
                <a:gd name="T50" fmla="*/ 823 w 1223"/>
                <a:gd name="T51" fmla="*/ 73 h 90"/>
                <a:gd name="T52" fmla="*/ 790 w 1223"/>
                <a:gd name="T53" fmla="*/ 71 h 90"/>
                <a:gd name="T54" fmla="*/ 828 w 1223"/>
                <a:gd name="T55" fmla="*/ 83 h 90"/>
                <a:gd name="T56" fmla="*/ 756 w 1223"/>
                <a:gd name="T57" fmla="*/ 52 h 90"/>
                <a:gd name="T58" fmla="*/ 735 w 1223"/>
                <a:gd name="T59" fmla="*/ 72 h 90"/>
                <a:gd name="T60" fmla="*/ 740 w 1223"/>
                <a:gd name="T61" fmla="*/ 38 h 90"/>
                <a:gd name="T62" fmla="*/ 719 w 1223"/>
                <a:gd name="T63" fmla="*/ 32 h 90"/>
                <a:gd name="T64" fmla="*/ 723 w 1223"/>
                <a:gd name="T65" fmla="*/ 85 h 90"/>
                <a:gd name="T66" fmla="*/ 757 w 1223"/>
                <a:gd name="T67" fmla="*/ 88 h 90"/>
                <a:gd name="T68" fmla="*/ 655 w 1223"/>
                <a:gd name="T69" fmla="*/ 34 h 90"/>
                <a:gd name="T70" fmla="*/ 556 w 1223"/>
                <a:gd name="T71" fmla="*/ 38 h 90"/>
                <a:gd name="T72" fmla="*/ 580 w 1223"/>
                <a:gd name="T73" fmla="*/ 41 h 90"/>
                <a:gd name="T74" fmla="*/ 533 w 1223"/>
                <a:gd name="T75" fmla="*/ 28 h 90"/>
                <a:gd name="T76" fmla="*/ 528 w 1223"/>
                <a:gd name="T77" fmla="*/ 81 h 90"/>
                <a:gd name="T78" fmla="*/ 577 w 1223"/>
                <a:gd name="T79" fmla="*/ 80 h 90"/>
                <a:gd name="T80" fmla="*/ 543 w 1223"/>
                <a:gd name="T81" fmla="*/ 72 h 90"/>
                <a:gd name="T82" fmla="*/ 471 w 1223"/>
                <a:gd name="T83" fmla="*/ 24 h 90"/>
                <a:gd name="T84" fmla="*/ 440 w 1223"/>
                <a:gd name="T85" fmla="*/ 88 h 90"/>
                <a:gd name="T86" fmla="*/ 376 w 1223"/>
                <a:gd name="T87" fmla="*/ 78 h 90"/>
                <a:gd name="T88" fmla="*/ 394 w 1223"/>
                <a:gd name="T89" fmla="*/ 69 h 90"/>
                <a:gd name="T90" fmla="*/ 329 w 1223"/>
                <a:gd name="T91" fmla="*/ 73 h 90"/>
                <a:gd name="T92" fmla="*/ 295 w 1223"/>
                <a:gd name="T93" fmla="*/ 71 h 90"/>
                <a:gd name="T94" fmla="*/ 333 w 1223"/>
                <a:gd name="T95" fmla="*/ 83 h 90"/>
                <a:gd name="T96" fmla="*/ 259 w 1223"/>
                <a:gd name="T97" fmla="*/ 23 h 90"/>
                <a:gd name="T98" fmla="*/ 221 w 1223"/>
                <a:gd name="T99" fmla="*/ 64 h 90"/>
                <a:gd name="T100" fmla="*/ 264 w 1223"/>
                <a:gd name="T101" fmla="*/ 88 h 90"/>
                <a:gd name="T102" fmla="*/ 257 w 1223"/>
                <a:gd name="T103" fmla="*/ 74 h 90"/>
                <a:gd name="T104" fmla="*/ 240 w 1223"/>
                <a:gd name="T105" fmla="*/ 50 h 90"/>
                <a:gd name="T106" fmla="*/ 264 w 1223"/>
                <a:gd name="T107" fmla="*/ 47 h 90"/>
                <a:gd name="T108" fmla="*/ 186 w 1223"/>
                <a:gd name="T109" fmla="*/ 40 h 90"/>
                <a:gd name="T110" fmla="*/ 202 w 1223"/>
                <a:gd name="T111" fmla="*/ 33 h 90"/>
                <a:gd name="T112" fmla="*/ 152 w 1223"/>
                <a:gd name="T113" fmla="*/ 34 h 90"/>
                <a:gd name="T114" fmla="*/ 165 w 1223"/>
                <a:gd name="T115" fmla="*/ 87 h 90"/>
                <a:gd name="T116" fmla="*/ 207 w 1223"/>
                <a:gd name="T117" fmla="*/ 74 h 90"/>
                <a:gd name="T118" fmla="*/ 166 w 1223"/>
                <a:gd name="T119" fmla="*/ 67 h 90"/>
                <a:gd name="T120" fmla="*/ 96 w 1223"/>
                <a:gd name="T121" fmla="*/ 88 h 90"/>
                <a:gd name="T122" fmla="*/ 60 w 1223"/>
                <a:gd name="T123" fmla="*/ 5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3" h="90">
                  <a:moveTo>
                    <a:pt x="1165" y="24"/>
                  </a:moveTo>
                  <a:lnTo>
                    <a:pt x="1165" y="88"/>
                  </a:lnTo>
                  <a:lnTo>
                    <a:pt x="1184" y="88"/>
                  </a:lnTo>
                  <a:lnTo>
                    <a:pt x="1184" y="52"/>
                  </a:lnTo>
                  <a:lnTo>
                    <a:pt x="1184" y="46"/>
                  </a:lnTo>
                  <a:lnTo>
                    <a:pt x="1185" y="44"/>
                  </a:lnTo>
                  <a:lnTo>
                    <a:pt x="1187" y="42"/>
                  </a:lnTo>
                  <a:lnTo>
                    <a:pt x="1188" y="40"/>
                  </a:lnTo>
                  <a:lnTo>
                    <a:pt x="1190" y="39"/>
                  </a:lnTo>
                  <a:lnTo>
                    <a:pt x="1192" y="38"/>
                  </a:lnTo>
                  <a:lnTo>
                    <a:pt x="1195" y="38"/>
                  </a:lnTo>
                  <a:lnTo>
                    <a:pt x="1197" y="38"/>
                  </a:lnTo>
                  <a:lnTo>
                    <a:pt x="1199" y="39"/>
                  </a:lnTo>
                  <a:lnTo>
                    <a:pt x="1201" y="40"/>
                  </a:lnTo>
                  <a:lnTo>
                    <a:pt x="1202" y="42"/>
                  </a:lnTo>
                  <a:lnTo>
                    <a:pt x="1203" y="44"/>
                  </a:lnTo>
                  <a:lnTo>
                    <a:pt x="1204" y="46"/>
                  </a:lnTo>
                  <a:lnTo>
                    <a:pt x="1204" y="53"/>
                  </a:lnTo>
                  <a:lnTo>
                    <a:pt x="1204" y="88"/>
                  </a:lnTo>
                  <a:lnTo>
                    <a:pt x="1223" y="88"/>
                  </a:lnTo>
                  <a:lnTo>
                    <a:pt x="1223" y="47"/>
                  </a:lnTo>
                  <a:lnTo>
                    <a:pt x="1223" y="41"/>
                  </a:lnTo>
                  <a:lnTo>
                    <a:pt x="1222" y="37"/>
                  </a:lnTo>
                  <a:lnTo>
                    <a:pt x="1220" y="32"/>
                  </a:lnTo>
                  <a:lnTo>
                    <a:pt x="1217" y="29"/>
                  </a:lnTo>
                  <a:lnTo>
                    <a:pt x="1214" y="26"/>
                  </a:lnTo>
                  <a:lnTo>
                    <a:pt x="1210" y="24"/>
                  </a:lnTo>
                  <a:lnTo>
                    <a:pt x="1206" y="23"/>
                  </a:lnTo>
                  <a:lnTo>
                    <a:pt x="1201" y="22"/>
                  </a:lnTo>
                  <a:lnTo>
                    <a:pt x="1196" y="23"/>
                  </a:lnTo>
                  <a:lnTo>
                    <a:pt x="1192" y="24"/>
                  </a:lnTo>
                  <a:lnTo>
                    <a:pt x="1188" y="27"/>
                  </a:lnTo>
                  <a:lnTo>
                    <a:pt x="1183" y="30"/>
                  </a:lnTo>
                  <a:lnTo>
                    <a:pt x="1183" y="24"/>
                  </a:lnTo>
                  <a:lnTo>
                    <a:pt x="1165" y="24"/>
                  </a:lnTo>
                  <a:close/>
                  <a:moveTo>
                    <a:pt x="1120" y="37"/>
                  </a:moveTo>
                  <a:lnTo>
                    <a:pt x="1123" y="38"/>
                  </a:lnTo>
                  <a:lnTo>
                    <a:pt x="1126" y="39"/>
                  </a:lnTo>
                  <a:lnTo>
                    <a:pt x="1129" y="40"/>
                  </a:lnTo>
                  <a:lnTo>
                    <a:pt x="1131" y="42"/>
                  </a:lnTo>
                  <a:lnTo>
                    <a:pt x="1132" y="45"/>
                  </a:lnTo>
                  <a:lnTo>
                    <a:pt x="1134" y="48"/>
                  </a:lnTo>
                  <a:lnTo>
                    <a:pt x="1134" y="52"/>
                  </a:lnTo>
                  <a:lnTo>
                    <a:pt x="1135" y="57"/>
                  </a:lnTo>
                  <a:lnTo>
                    <a:pt x="1134" y="61"/>
                  </a:lnTo>
                  <a:lnTo>
                    <a:pt x="1134" y="64"/>
                  </a:lnTo>
                  <a:lnTo>
                    <a:pt x="1132" y="67"/>
                  </a:lnTo>
                  <a:lnTo>
                    <a:pt x="1131" y="70"/>
                  </a:lnTo>
                  <a:lnTo>
                    <a:pt x="1130" y="71"/>
                  </a:lnTo>
                  <a:lnTo>
                    <a:pt x="1129" y="72"/>
                  </a:lnTo>
                  <a:lnTo>
                    <a:pt x="1126" y="74"/>
                  </a:lnTo>
                  <a:lnTo>
                    <a:pt x="1123" y="75"/>
                  </a:lnTo>
                  <a:lnTo>
                    <a:pt x="1120" y="75"/>
                  </a:lnTo>
                  <a:lnTo>
                    <a:pt x="1116" y="75"/>
                  </a:lnTo>
                  <a:lnTo>
                    <a:pt x="1113" y="74"/>
                  </a:lnTo>
                  <a:lnTo>
                    <a:pt x="1111" y="72"/>
                  </a:lnTo>
                  <a:lnTo>
                    <a:pt x="1109" y="70"/>
                  </a:lnTo>
                  <a:lnTo>
                    <a:pt x="1107" y="67"/>
                  </a:lnTo>
                  <a:lnTo>
                    <a:pt x="1106" y="64"/>
                  </a:lnTo>
                  <a:lnTo>
                    <a:pt x="1105" y="60"/>
                  </a:lnTo>
                  <a:lnTo>
                    <a:pt x="1105" y="56"/>
                  </a:lnTo>
                  <a:lnTo>
                    <a:pt x="1105" y="52"/>
                  </a:lnTo>
                  <a:lnTo>
                    <a:pt x="1106" y="48"/>
                  </a:lnTo>
                  <a:lnTo>
                    <a:pt x="1107" y="45"/>
                  </a:lnTo>
                  <a:lnTo>
                    <a:pt x="1109" y="42"/>
                  </a:lnTo>
                  <a:lnTo>
                    <a:pt x="1110" y="41"/>
                  </a:lnTo>
                  <a:lnTo>
                    <a:pt x="1111" y="40"/>
                  </a:lnTo>
                  <a:lnTo>
                    <a:pt x="1113" y="39"/>
                  </a:lnTo>
                  <a:lnTo>
                    <a:pt x="1116" y="38"/>
                  </a:lnTo>
                  <a:lnTo>
                    <a:pt x="1120" y="37"/>
                  </a:lnTo>
                  <a:close/>
                  <a:moveTo>
                    <a:pt x="1120" y="23"/>
                  </a:moveTo>
                  <a:lnTo>
                    <a:pt x="1112" y="23"/>
                  </a:lnTo>
                  <a:lnTo>
                    <a:pt x="1106" y="25"/>
                  </a:lnTo>
                  <a:lnTo>
                    <a:pt x="1103" y="26"/>
                  </a:lnTo>
                  <a:lnTo>
                    <a:pt x="1100" y="28"/>
                  </a:lnTo>
                  <a:lnTo>
                    <a:pt x="1095" y="32"/>
                  </a:lnTo>
                  <a:lnTo>
                    <a:pt x="1091" y="37"/>
                  </a:lnTo>
                  <a:lnTo>
                    <a:pt x="1090" y="40"/>
                  </a:lnTo>
                  <a:lnTo>
                    <a:pt x="1088" y="43"/>
                  </a:lnTo>
                  <a:lnTo>
                    <a:pt x="1087" y="46"/>
                  </a:lnTo>
                  <a:lnTo>
                    <a:pt x="1086" y="49"/>
                  </a:lnTo>
                  <a:lnTo>
                    <a:pt x="1086" y="56"/>
                  </a:lnTo>
                  <a:lnTo>
                    <a:pt x="1086" y="63"/>
                  </a:lnTo>
                  <a:lnTo>
                    <a:pt x="1088" y="70"/>
                  </a:lnTo>
                  <a:lnTo>
                    <a:pt x="1090" y="73"/>
                  </a:lnTo>
                  <a:lnTo>
                    <a:pt x="1091" y="76"/>
                  </a:lnTo>
                  <a:lnTo>
                    <a:pt x="1095" y="80"/>
                  </a:lnTo>
                  <a:lnTo>
                    <a:pt x="1100" y="84"/>
                  </a:lnTo>
                  <a:lnTo>
                    <a:pt x="1103" y="86"/>
                  </a:lnTo>
                  <a:lnTo>
                    <a:pt x="1106" y="87"/>
                  </a:lnTo>
                  <a:lnTo>
                    <a:pt x="1109" y="88"/>
                  </a:lnTo>
                  <a:lnTo>
                    <a:pt x="1112" y="89"/>
                  </a:lnTo>
                  <a:lnTo>
                    <a:pt x="1120" y="90"/>
                  </a:lnTo>
                  <a:lnTo>
                    <a:pt x="1127" y="89"/>
                  </a:lnTo>
                  <a:lnTo>
                    <a:pt x="1133" y="87"/>
                  </a:lnTo>
                  <a:lnTo>
                    <a:pt x="1136" y="86"/>
                  </a:lnTo>
                  <a:lnTo>
                    <a:pt x="1139" y="84"/>
                  </a:lnTo>
                  <a:lnTo>
                    <a:pt x="1144" y="80"/>
                  </a:lnTo>
                  <a:lnTo>
                    <a:pt x="1148" y="76"/>
                  </a:lnTo>
                  <a:lnTo>
                    <a:pt x="1150" y="73"/>
                  </a:lnTo>
                  <a:lnTo>
                    <a:pt x="1151" y="70"/>
                  </a:lnTo>
                  <a:lnTo>
                    <a:pt x="1153" y="64"/>
                  </a:lnTo>
                  <a:lnTo>
                    <a:pt x="1153" y="60"/>
                  </a:lnTo>
                  <a:lnTo>
                    <a:pt x="1154" y="57"/>
                  </a:lnTo>
                  <a:lnTo>
                    <a:pt x="1153" y="53"/>
                  </a:lnTo>
                  <a:lnTo>
                    <a:pt x="1153" y="49"/>
                  </a:lnTo>
                  <a:lnTo>
                    <a:pt x="1151" y="43"/>
                  </a:lnTo>
                  <a:lnTo>
                    <a:pt x="1150" y="40"/>
                  </a:lnTo>
                  <a:lnTo>
                    <a:pt x="1148" y="37"/>
                  </a:lnTo>
                  <a:lnTo>
                    <a:pt x="1144" y="32"/>
                  </a:lnTo>
                  <a:lnTo>
                    <a:pt x="1139" y="28"/>
                  </a:lnTo>
                  <a:lnTo>
                    <a:pt x="1136" y="26"/>
                  </a:lnTo>
                  <a:lnTo>
                    <a:pt x="1133" y="25"/>
                  </a:lnTo>
                  <a:lnTo>
                    <a:pt x="1130" y="24"/>
                  </a:lnTo>
                  <a:lnTo>
                    <a:pt x="1127" y="23"/>
                  </a:lnTo>
                  <a:lnTo>
                    <a:pt x="1120" y="23"/>
                  </a:lnTo>
                  <a:close/>
                  <a:moveTo>
                    <a:pt x="1074" y="0"/>
                  </a:moveTo>
                  <a:lnTo>
                    <a:pt x="1056" y="0"/>
                  </a:lnTo>
                  <a:lnTo>
                    <a:pt x="1056" y="15"/>
                  </a:lnTo>
                  <a:lnTo>
                    <a:pt x="1074" y="15"/>
                  </a:lnTo>
                  <a:lnTo>
                    <a:pt x="1074" y="0"/>
                  </a:lnTo>
                  <a:close/>
                  <a:moveTo>
                    <a:pt x="1074" y="24"/>
                  </a:moveTo>
                  <a:lnTo>
                    <a:pt x="1056" y="24"/>
                  </a:lnTo>
                  <a:lnTo>
                    <a:pt x="1056" y="88"/>
                  </a:lnTo>
                  <a:lnTo>
                    <a:pt x="1074" y="88"/>
                  </a:lnTo>
                  <a:lnTo>
                    <a:pt x="1074" y="24"/>
                  </a:lnTo>
                  <a:close/>
                  <a:moveTo>
                    <a:pt x="1041" y="25"/>
                  </a:moveTo>
                  <a:lnTo>
                    <a:pt x="1029" y="25"/>
                  </a:lnTo>
                  <a:lnTo>
                    <a:pt x="1029" y="5"/>
                  </a:lnTo>
                  <a:lnTo>
                    <a:pt x="1011" y="5"/>
                  </a:lnTo>
                  <a:lnTo>
                    <a:pt x="1011" y="25"/>
                  </a:lnTo>
                  <a:lnTo>
                    <a:pt x="1002" y="25"/>
                  </a:lnTo>
                  <a:lnTo>
                    <a:pt x="1002" y="38"/>
                  </a:lnTo>
                  <a:lnTo>
                    <a:pt x="1011" y="38"/>
                  </a:lnTo>
                  <a:lnTo>
                    <a:pt x="1011" y="67"/>
                  </a:lnTo>
                  <a:lnTo>
                    <a:pt x="1011" y="74"/>
                  </a:lnTo>
                  <a:lnTo>
                    <a:pt x="1011" y="78"/>
                  </a:lnTo>
                  <a:lnTo>
                    <a:pt x="1012" y="81"/>
                  </a:lnTo>
                  <a:lnTo>
                    <a:pt x="1014" y="84"/>
                  </a:lnTo>
                  <a:lnTo>
                    <a:pt x="1017" y="86"/>
                  </a:lnTo>
                  <a:lnTo>
                    <a:pt x="1020" y="87"/>
                  </a:lnTo>
                  <a:lnTo>
                    <a:pt x="1024" y="88"/>
                  </a:lnTo>
                  <a:lnTo>
                    <a:pt x="1029" y="88"/>
                  </a:lnTo>
                  <a:lnTo>
                    <a:pt x="1041" y="88"/>
                  </a:lnTo>
                  <a:lnTo>
                    <a:pt x="1041" y="74"/>
                  </a:lnTo>
                  <a:lnTo>
                    <a:pt x="1034" y="74"/>
                  </a:lnTo>
                  <a:lnTo>
                    <a:pt x="1032" y="74"/>
                  </a:lnTo>
                  <a:lnTo>
                    <a:pt x="1030" y="72"/>
                  </a:lnTo>
                  <a:lnTo>
                    <a:pt x="1029" y="69"/>
                  </a:lnTo>
                  <a:lnTo>
                    <a:pt x="1029" y="63"/>
                  </a:lnTo>
                  <a:lnTo>
                    <a:pt x="1029" y="38"/>
                  </a:lnTo>
                  <a:lnTo>
                    <a:pt x="1041" y="38"/>
                  </a:lnTo>
                  <a:lnTo>
                    <a:pt x="1041" y="25"/>
                  </a:lnTo>
                  <a:close/>
                  <a:moveTo>
                    <a:pt x="973" y="68"/>
                  </a:moveTo>
                  <a:lnTo>
                    <a:pt x="970" y="71"/>
                  </a:lnTo>
                  <a:lnTo>
                    <a:pt x="967" y="74"/>
                  </a:lnTo>
                  <a:lnTo>
                    <a:pt x="963" y="75"/>
                  </a:lnTo>
                  <a:lnTo>
                    <a:pt x="959" y="76"/>
                  </a:lnTo>
                  <a:lnTo>
                    <a:pt x="955" y="75"/>
                  </a:lnTo>
                  <a:lnTo>
                    <a:pt x="952" y="74"/>
                  </a:lnTo>
                  <a:lnTo>
                    <a:pt x="950" y="72"/>
                  </a:lnTo>
                  <a:lnTo>
                    <a:pt x="950" y="70"/>
                  </a:lnTo>
                  <a:lnTo>
                    <a:pt x="949" y="69"/>
                  </a:lnTo>
                  <a:lnTo>
                    <a:pt x="950" y="66"/>
                  </a:lnTo>
                  <a:lnTo>
                    <a:pt x="952" y="64"/>
                  </a:lnTo>
                  <a:lnTo>
                    <a:pt x="955" y="62"/>
                  </a:lnTo>
                  <a:lnTo>
                    <a:pt x="959" y="61"/>
                  </a:lnTo>
                  <a:lnTo>
                    <a:pt x="966" y="60"/>
                  </a:lnTo>
                  <a:lnTo>
                    <a:pt x="973" y="58"/>
                  </a:lnTo>
                  <a:lnTo>
                    <a:pt x="973" y="68"/>
                  </a:lnTo>
                  <a:close/>
                  <a:moveTo>
                    <a:pt x="951" y="44"/>
                  </a:moveTo>
                  <a:lnTo>
                    <a:pt x="951" y="43"/>
                  </a:lnTo>
                  <a:lnTo>
                    <a:pt x="952" y="41"/>
                  </a:lnTo>
                  <a:lnTo>
                    <a:pt x="953" y="40"/>
                  </a:lnTo>
                  <a:lnTo>
                    <a:pt x="954" y="39"/>
                  </a:lnTo>
                  <a:lnTo>
                    <a:pt x="958" y="37"/>
                  </a:lnTo>
                  <a:lnTo>
                    <a:pt x="962" y="37"/>
                  </a:lnTo>
                  <a:lnTo>
                    <a:pt x="966" y="37"/>
                  </a:lnTo>
                  <a:lnTo>
                    <a:pt x="970" y="38"/>
                  </a:lnTo>
                  <a:lnTo>
                    <a:pt x="971" y="40"/>
                  </a:lnTo>
                  <a:lnTo>
                    <a:pt x="972" y="41"/>
                  </a:lnTo>
                  <a:lnTo>
                    <a:pt x="972" y="43"/>
                  </a:lnTo>
                  <a:lnTo>
                    <a:pt x="972" y="44"/>
                  </a:lnTo>
                  <a:lnTo>
                    <a:pt x="971" y="46"/>
                  </a:lnTo>
                  <a:lnTo>
                    <a:pt x="969" y="46"/>
                  </a:lnTo>
                  <a:lnTo>
                    <a:pt x="966" y="47"/>
                  </a:lnTo>
                  <a:lnTo>
                    <a:pt x="956" y="49"/>
                  </a:lnTo>
                  <a:lnTo>
                    <a:pt x="950" y="50"/>
                  </a:lnTo>
                  <a:lnTo>
                    <a:pt x="945" y="52"/>
                  </a:lnTo>
                  <a:lnTo>
                    <a:pt x="940" y="54"/>
                  </a:lnTo>
                  <a:lnTo>
                    <a:pt x="937" y="56"/>
                  </a:lnTo>
                  <a:lnTo>
                    <a:pt x="934" y="59"/>
                  </a:lnTo>
                  <a:lnTo>
                    <a:pt x="933" y="60"/>
                  </a:lnTo>
                  <a:lnTo>
                    <a:pt x="932" y="62"/>
                  </a:lnTo>
                  <a:lnTo>
                    <a:pt x="931" y="66"/>
                  </a:lnTo>
                  <a:lnTo>
                    <a:pt x="931" y="70"/>
                  </a:lnTo>
                  <a:lnTo>
                    <a:pt x="931" y="74"/>
                  </a:lnTo>
                  <a:lnTo>
                    <a:pt x="933" y="78"/>
                  </a:lnTo>
                  <a:lnTo>
                    <a:pt x="935" y="81"/>
                  </a:lnTo>
                  <a:lnTo>
                    <a:pt x="937" y="84"/>
                  </a:lnTo>
                  <a:lnTo>
                    <a:pt x="941" y="87"/>
                  </a:lnTo>
                  <a:lnTo>
                    <a:pt x="945" y="88"/>
                  </a:lnTo>
                  <a:lnTo>
                    <a:pt x="949" y="89"/>
                  </a:lnTo>
                  <a:lnTo>
                    <a:pt x="954" y="90"/>
                  </a:lnTo>
                  <a:lnTo>
                    <a:pt x="960" y="90"/>
                  </a:lnTo>
                  <a:lnTo>
                    <a:pt x="964" y="88"/>
                  </a:lnTo>
                  <a:lnTo>
                    <a:pt x="968" y="86"/>
                  </a:lnTo>
                  <a:lnTo>
                    <a:pt x="973" y="83"/>
                  </a:lnTo>
                  <a:lnTo>
                    <a:pt x="974" y="88"/>
                  </a:lnTo>
                  <a:lnTo>
                    <a:pt x="993" y="88"/>
                  </a:lnTo>
                  <a:lnTo>
                    <a:pt x="992" y="86"/>
                  </a:lnTo>
                  <a:lnTo>
                    <a:pt x="991" y="84"/>
                  </a:lnTo>
                  <a:lnTo>
                    <a:pt x="991" y="77"/>
                  </a:lnTo>
                  <a:lnTo>
                    <a:pt x="991" y="48"/>
                  </a:lnTo>
                  <a:lnTo>
                    <a:pt x="991" y="41"/>
                  </a:lnTo>
                  <a:lnTo>
                    <a:pt x="990" y="36"/>
                  </a:lnTo>
                  <a:lnTo>
                    <a:pt x="988" y="32"/>
                  </a:lnTo>
                  <a:lnTo>
                    <a:pt x="986" y="31"/>
                  </a:lnTo>
                  <a:lnTo>
                    <a:pt x="985" y="29"/>
                  </a:lnTo>
                  <a:lnTo>
                    <a:pt x="980" y="26"/>
                  </a:lnTo>
                  <a:lnTo>
                    <a:pt x="975" y="24"/>
                  </a:lnTo>
                  <a:lnTo>
                    <a:pt x="969" y="23"/>
                  </a:lnTo>
                  <a:lnTo>
                    <a:pt x="962" y="23"/>
                  </a:lnTo>
                  <a:lnTo>
                    <a:pt x="956" y="23"/>
                  </a:lnTo>
                  <a:lnTo>
                    <a:pt x="951" y="24"/>
                  </a:lnTo>
                  <a:lnTo>
                    <a:pt x="946" y="26"/>
                  </a:lnTo>
                  <a:lnTo>
                    <a:pt x="942" y="28"/>
                  </a:lnTo>
                  <a:lnTo>
                    <a:pt x="939" y="31"/>
                  </a:lnTo>
                  <a:lnTo>
                    <a:pt x="937" y="35"/>
                  </a:lnTo>
                  <a:lnTo>
                    <a:pt x="936" y="37"/>
                  </a:lnTo>
                  <a:lnTo>
                    <a:pt x="935" y="39"/>
                  </a:lnTo>
                  <a:lnTo>
                    <a:pt x="934" y="42"/>
                  </a:lnTo>
                  <a:lnTo>
                    <a:pt x="934" y="44"/>
                  </a:lnTo>
                  <a:lnTo>
                    <a:pt x="951" y="44"/>
                  </a:lnTo>
                  <a:close/>
                  <a:moveTo>
                    <a:pt x="920" y="47"/>
                  </a:moveTo>
                  <a:lnTo>
                    <a:pt x="920" y="42"/>
                  </a:lnTo>
                  <a:lnTo>
                    <a:pt x="918" y="37"/>
                  </a:lnTo>
                  <a:lnTo>
                    <a:pt x="915" y="33"/>
                  </a:lnTo>
                  <a:lnTo>
                    <a:pt x="912" y="29"/>
                  </a:lnTo>
                  <a:lnTo>
                    <a:pt x="907" y="26"/>
                  </a:lnTo>
                  <a:lnTo>
                    <a:pt x="903" y="24"/>
                  </a:lnTo>
                  <a:lnTo>
                    <a:pt x="897" y="23"/>
                  </a:lnTo>
                  <a:lnTo>
                    <a:pt x="891" y="23"/>
                  </a:lnTo>
                  <a:lnTo>
                    <a:pt x="884" y="23"/>
                  </a:lnTo>
                  <a:lnTo>
                    <a:pt x="878" y="25"/>
                  </a:lnTo>
                  <a:lnTo>
                    <a:pt x="872" y="28"/>
                  </a:lnTo>
                  <a:lnTo>
                    <a:pt x="870" y="29"/>
                  </a:lnTo>
                  <a:lnTo>
                    <a:pt x="867" y="32"/>
                  </a:lnTo>
                  <a:lnTo>
                    <a:pt x="865" y="34"/>
                  </a:lnTo>
                  <a:lnTo>
                    <a:pt x="864" y="36"/>
                  </a:lnTo>
                  <a:lnTo>
                    <a:pt x="861" y="42"/>
                  </a:lnTo>
                  <a:lnTo>
                    <a:pt x="859" y="49"/>
                  </a:lnTo>
                  <a:lnTo>
                    <a:pt x="859" y="56"/>
                  </a:lnTo>
                  <a:lnTo>
                    <a:pt x="859" y="64"/>
                  </a:lnTo>
                  <a:lnTo>
                    <a:pt x="860" y="67"/>
                  </a:lnTo>
                  <a:lnTo>
                    <a:pt x="861" y="70"/>
                  </a:lnTo>
                  <a:lnTo>
                    <a:pt x="864" y="76"/>
                  </a:lnTo>
                  <a:lnTo>
                    <a:pt x="865" y="79"/>
                  </a:lnTo>
                  <a:lnTo>
                    <a:pt x="867" y="81"/>
                  </a:lnTo>
                  <a:lnTo>
                    <a:pt x="872" y="85"/>
                  </a:lnTo>
                  <a:lnTo>
                    <a:pt x="877" y="88"/>
                  </a:lnTo>
                  <a:lnTo>
                    <a:pt x="884" y="89"/>
                  </a:lnTo>
                  <a:lnTo>
                    <a:pt x="887" y="90"/>
                  </a:lnTo>
                  <a:lnTo>
                    <a:pt x="891" y="90"/>
                  </a:lnTo>
                  <a:lnTo>
                    <a:pt x="897" y="89"/>
                  </a:lnTo>
                  <a:lnTo>
                    <a:pt x="902" y="88"/>
                  </a:lnTo>
                  <a:lnTo>
                    <a:pt x="907" y="86"/>
                  </a:lnTo>
                  <a:lnTo>
                    <a:pt x="911" y="83"/>
                  </a:lnTo>
                  <a:lnTo>
                    <a:pt x="915" y="80"/>
                  </a:lnTo>
                  <a:lnTo>
                    <a:pt x="918" y="75"/>
                  </a:lnTo>
                  <a:lnTo>
                    <a:pt x="920" y="70"/>
                  </a:lnTo>
                  <a:lnTo>
                    <a:pt x="921" y="65"/>
                  </a:lnTo>
                  <a:lnTo>
                    <a:pt x="903" y="64"/>
                  </a:lnTo>
                  <a:lnTo>
                    <a:pt x="902" y="66"/>
                  </a:lnTo>
                  <a:lnTo>
                    <a:pt x="901" y="69"/>
                  </a:lnTo>
                  <a:lnTo>
                    <a:pt x="899" y="72"/>
                  </a:lnTo>
                  <a:lnTo>
                    <a:pt x="897" y="73"/>
                  </a:lnTo>
                  <a:lnTo>
                    <a:pt x="896" y="74"/>
                  </a:lnTo>
                  <a:lnTo>
                    <a:pt x="893" y="74"/>
                  </a:lnTo>
                  <a:lnTo>
                    <a:pt x="891" y="75"/>
                  </a:lnTo>
                  <a:lnTo>
                    <a:pt x="888" y="74"/>
                  </a:lnTo>
                  <a:lnTo>
                    <a:pt x="885" y="73"/>
                  </a:lnTo>
                  <a:lnTo>
                    <a:pt x="883" y="72"/>
                  </a:lnTo>
                  <a:lnTo>
                    <a:pt x="881" y="70"/>
                  </a:lnTo>
                  <a:lnTo>
                    <a:pt x="880" y="67"/>
                  </a:lnTo>
                  <a:lnTo>
                    <a:pt x="879" y="64"/>
                  </a:lnTo>
                  <a:lnTo>
                    <a:pt x="878" y="60"/>
                  </a:lnTo>
                  <a:lnTo>
                    <a:pt x="878" y="56"/>
                  </a:lnTo>
                  <a:lnTo>
                    <a:pt x="878" y="52"/>
                  </a:lnTo>
                  <a:lnTo>
                    <a:pt x="878" y="50"/>
                  </a:lnTo>
                  <a:lnTo>
                    <a:pt x="879" y="48"/>
                  </a:lnTo>
                  <a:lnTo>
                    <a:pt x="880" y="45"/>
                  </a:lnTo>
                  <a:lnTo>
                    <a:pt x="881" y="42"/>
                  </a:lnTo>
                  <a:lnTo>
                    <a:pt x="883" y="40"/>
                  </a:lnTo>
                  <a:lnTo>
                    <a:pt x="885" y="39"/>
                  </a:lnTo>
                  <a:lnTo>
                    <a:pt x="888" y="38"/>
                  </a:lnTo>
                  <a:lnTo>
                    <a:pt x="891" y="38"/>
                  </a:lnTo>
                  <a:lnTo>
                    <a:pt x="895" y="38"/>
                  </a:lnTo>
                  <a:lnTo>
                    <a:pt x="899" y="40"/>
                  </a:lnTo>
                  <a:lnTo>
                    <a:pt x="900" y="42"/>
                  </a:lnTo>
                  <a:lnTo>
                    <a:pt x="901" y="43"/>
                  </a:lnTo>
                  <a:lnTo>
                    <a:pt x="902" y="45"/>
                  </a:lnTo>
                  <a:lnTo>
                    <a:pt x="903" y="47"/>
                  </a:lnTo>
                  <a:lnTo>
                    <a:pt x="920" y="47"/>
                  </a:lnTo>
                  <a:close/>
                  <a:moveTo>
                    <a:pt x="847" y="24"/>
                  </a:moveTo>
                  <a:lnTo>
                    <a:pt x="828" y="24"/>
                  </a:lnTo>
                  <a:lnTo>
                    <a:pt x="828" y="60"/>
                  </a:lnTo>
                  <a:lnTo>
                    <a:pt x="828" y="67"/>
                  </a:lnTo>
                  <a:lnTo>
                    <a:pt x="827" y="69"/>
                  </a:lnTo>
                  <a:lnTo>
                    <a:pt x="826" y="70"/>
                  </a:lnTo>
                  <a:lnTo>
                    <a:pt x="825" y="72"/>
                  </a:lnTo>
                  <a:lnTo>
                    <a:pt x="823" y="73"/>
                  </a:lnTo>
                  <a:lnTo>
                    <a:pt x="821" y="74"/>
                  </a:lnTo>
                  <a:lnTo>
                    <a:pt x="818" y="74"/>
                  </a:lnTo>
                  <a:lnTo>
                    <a:pt x="816" y="74"/>
                  </a:lnTo>
                  <a:lnTo>
                    <a:pt x="814" y="73"/>
                  </a:lnTo>
                  <a:lnTo>
                    <a:pt x="812" y="72"/>
                  </a:lnTo>
                  <a:lnTo>
                    <a:pt x="810" y="70"/>
                  </a:lnTo>
                  <a:lnTo>
                    <a:pt x="809" y="67"/>
                  </a:lnTo>
                  <a:lnTo>
                    <a:pt x="808" y="60"/>
                  </a:lnTo>
                  <a:lnTo>
                    <a:pt x="808" y="24"/>
                  </a:lnTo>
                  <a:lnTo>
                    <a:pt x="789" y="24"/>
                  </a:lnTo>
                  <a:lnTo>
                    <a:pt x="789" y="64"/>
                  </a:lnTo>
                  <a:lnTo>
                    <a:pt x="790" y="71"/>
                  </a:lnTo>
                  <a:lnTo>
                    <a:pt x="791" y="76"/>
                  </a:lnTo>
                  <a:lnTo>
                    <a:pt x="792" y="78"/>
                  </a:lnTo>
                  <a:lnTo>
                    <a:pt x="793" y="80"/>
                  </a:lnTo>
                  <a:lnTo>
                    <a:pt x="795" y="83"/>
                  </a:lnTo>
                  <a:lnTo>
                    <a:pt x="799" y="86"/>
                  </a:lnTo>
                  <a:lnTo>
                    <a:pt x="803" y="88"/>
                  </a:lnTo>
                  <a:lnTo>
                    <a:pt x="808" y="89"/>
                  </a:lnTo>
                  <a:lnTo>
                    <a:pt x="812" y="90"/>
                  </a:lnTo>
                  <a:lnTo>
                    <a:pt x="818" y="89"/>
                  </a:lnTo>
                  <a:lnTo>
                    <a:pt x="822" y="88"/>
                  </a:lnTo>
                  <a:lnTo>
                    <a:pt x="826" y="85"/>
                  </a:lnTo>
                  <a:lnTo>
                    <a:pt x="828" y="83"/>
                  </a:lnTo>
                  <a:lnTo>
                    <a:pt x="829" y="81"/>
                  </a:lnTo>
                  <a:lnTo>
                    <a:pt x="829" y="88"/>
                  </a:lnTo>
                  <a:lnTo>
                    <a:pt x="847" y="88"/>
                  </a:lnTo>
                  <a:lnTo>
                    <a:pt x="847" y="24"/>
                  </a:lnTo>
                  <a:close/>
                  <a:moveTo>
                    <a:pt x="743" y="38"/>
                  </a:moveTo>
                  <a:lnTo>
                    <a:pt x="746" y="38"/>
                  </a:lnTo>
                  <a:lnTo>
                    <a:pt x="749" y="39"/>
                  </a:lnTo>
                  <a:lnTo>
                    <a:pt x="751" y="41"/>
                  </a:lnTo>
                  <a:lnTo>
                    <a:pt x="753" y="43"/>
                  </a:lnTo>
                  <a:lnTo>
                    <a:pt x="755" y="45"/>
                  </a:lnTo>
                  <a:lnTo>
                    <a:pt x="756" y="49"/>
                  </a:lnTo>
                  <a:lnTo>
                    <a:pt x="756" y="52"/>
                  </a:lnTo>
                  <a:lnTo>
                    <a:pt x="757" y="56"/>
                  </a:lnTo>
                  <a:lnTo>
                    <a:pt x="756" y="60"/>
                  </a:lnTo>
                  <a:lnTo>
                    <a:pt x="756" y="64"/>
                  </a:lnTo>
                  <a:lnTo>
                    <a:pt x="755" y="67"/>
                  </a:lnTo>
                  <a:lnTo>
                    <a:pt x="753" y="70"/>
                  </a:lnTo>
                  <a:lnTo>
                    <a:pt x="751" y="72"/>
                  </a:lnTo>
                  <a:lnTo>
                    <a:pt x="749" y="73"/>
                  </a:lnTo>
                  <a:lnTo>
                    <a:pt x="746" y="74"/>
                  </a:lnTo>
                  <a:lnTo>
                    <a:pt x="743" y="75"/>
                  </a:lnTo>
                  <a:lnTo>
                    <a:pt x="740" y="74"/>
                  </a:lnTo>
                  <a:lnTo>
                    <a:pt x="738" y="73"/>
                  </a:lnTo>
                  <a:lnTo>
                    <a:pt x="735" y="72"/>
                  </a:lnTo>
                  <a:lnTo>
                    <a:pt x="733" y="70"/>
                  </a:lnTo>
                  <a:lnTo>
                    <a:pt x="732" y="67"/>
                  </a:lnTo>
                  <a:lnTo>
                    <a:pt x="731" y="64"/>
                  </a:lnTo>
                  <a:lnTo>
                    <a:pt x="730" y="60"/>
                  </a:lnTo>
                  <a:lnTo>
                    <a:pt x="730" y="56"/>
                  </a:lnTo>
                  <a:lnTo>
                    <a:pt x="730" y="52"/>
                  </a:lnTo>
                  <a:lnTo>
                    <a:pt x="731" y="48"/>
                  </a:lnTo>
                  <a:lnTo>
                    <a:pt x="732" y="45"/>
                  </a:lnTo>
                  <a:lnTo>
                    <a:pt x="733" y="43"/>
                  </a:lnTo>
                  <a:lnTo>
                    <a:pt x="735" y="40"/>
                  </a:lnTo>
                  <a:lnTo>
                    <a:pt x="738" y="39"/>
                  </a:lnTo>
                  <a:lnTo>
                    <a:pt x="740" y="38"/>
                  </a:lnTo>
                  <a:lnTo>
                    <a:pt x="743" y="38"/>
                  </a:lnTo>
                  <a:close/>
                  <a:moveTo>
                    <a:pt x="775" y="0"/>
                  </a:moveTo>
                  <a:lnTo>
                    <a:pt x="756" y="0"/>
                  </a:lnTo>
                  <a:lnTo>
                    <a:pt x="756" y="29"/>
                  </a:lnTo>
                  <a:lnTo>
                    <a:pt x="753" y="26"/>
                  </a:lnTo>
                  <a:lnTo>
                    <a:pt x="749" y="24"/>
                  </a:lnTo>
                  <a:lnTo>
                    <a:pt x="745" y="23"/>
                  </a:lnTo>
                  <a:lnTo>
                    <a:pt x="740" y="22"/>
                  </a:lnTo>
                  <a:lnTo>
                    <a:pt x="734" y="23"/>
                  </a:lnTo>
                  <a:lnTo>
                    <a:pt x="728" y="25"/>
                  </a:lnTo>
                  <a:lnTo>
                    <a:pt x="723" y="28"/>
                  </a:lnTo>
                  <a:lnTo>
                    <a:pt x="719" y="32"/>
                  </a:lnTo>
                  <a:lnTo>
                    <a:pt x="716" y="37"/>
                  </a:lnTo>
                  <a:lnTo>
                    <a:pt x="713" y="42"/>
                  </a:lnTo>
                  <a:lnTo>
                    <a:pt x="712" y="46"/>
                  </a:lnTo>
                  <a:lnTo>
                    <a:pt x="712" y="49"/>
                  </a:lnTo>
                  <a:lnTo>
                    <a:pt x="711" y="56"/>
                  </a:lnTo>
                  <a:lnTo>
                    <a:pt x="712" y="64"/>
                  </a:lnTo>
                  <a:lnTo>
                    <a:pt x="712" y="67"/>
                  </a:lnTo>
                  <a:lnTo>
                    <a:pt x="713" y="70"/>
                  </a:lnTo>
                  <a:lnTo>
                    <a:pt x="716" y="76"/>
                  </a:lnTo>
                  <a:lnTo>
                    <a:pt x="717" y="78"/>
                  </a:lnTo>
                  <a:lnTo>
                    <a:pt x="719" y="81"/>
                  </a:lnTo>
                  <a:lnTo>
                    <a:pt x="723" y="85"/>
                  </a:lnTo>
                  <a:lnTo>
                    <a:pt x="728" y="87"/>
                  </a:lnTo>
                  <a:lnTo>
                    <a:pt x="730" y="88"/>
                  </a:lnTo>
                  <a:lnTo>
                    <a:pt x="733" y="89"/>
                  </a:lnTo>
                  <a:lnTo>
                    <a:pt x="736" y="90"/>
                  </a:lnTo>
                  <a:lnTo>
                    <a:pt x="739" y="90"/>
                  </a:lnTo>
                  <a:lnTo>
                    <a:pt x="745" y="89"/>
                  </a:lnTo>
                  <a:lnTo>
                    <a:pt x="747" y="89"/>
                  </a:lnTo>
                  <a:lnTo>
                    <a:pt x="749" y="88"/>
                  </a:lnTo>
                  <a:lnTo>
                    <a:pt x="751" y="87"/>
                  </a:lnTo>
                  <a:lnTo>
                    <a:pt x="753" y="85"/>
                  </a:lnTo>
                  <a:lnTo>
                    <a:pt x="757" y="81"/>
                  </a:lnTo>
                  <a:lnTo>
                    <a:pt x="757" y="88"/>
                  </a:lnTo>
                  <a:lnTo>
                    <a:pt x="775" y="88"/>
                  </a:lnTo>
                  <a:lnTo>
                    <a:pt x="775" y="0"/>
                  </a:lnTo>
                  <a:close/>
                  <a:moveTo>
                    <a:pt x="701" y="0"/>
                  </a:moveTo>
                  <a:lnTo>
                    <a:pt x="634" y="0"/>
                  </a:lnTo>
                  <a:lnTo>
                    <a:pt x="634" y="88"/>
                  </a:lnTo>
                  <a:lnTo>
                    <a:pt x="702" y="88"/>
                  </a:lnTo>
                  <a:lnTo>
                    <a:pt x="702" y="71"/>
                  </a:lnTo>
                  <a:lnTo>
                    <a:pt x="655" y="71"/>
                  </a:lnTo>
                  <a:lnTo>
                    <a:pt x="655" y="50"/>
                  </a:lnTo>
                  <a:lnTo>
                    <a:pt x="695" y="50"/>
                  </a:lnTo>
                  <a:lnTo>
                    <a:pt x="695" y="34"/>
                  </a:lnTo>
                  <a:lnTo>
                    <a:pt x="655" y="34"/>
                  </a:lnTo>
                  <a:lnTo>
                    <a:pt x="655" y="17"/>
                  </a:lnTo>
                  <a:lnTo>
                    <a:pt x="701" y="17"/>
                  </a:lnTo>
                  <a:lnTo>
                    <a:pt x="701" y="0"/>
                  </a:lnTo>
                  <a:close/>
                  <a:moveTo>
                    <a:pt x="538" y="48"/>
                  </a:moveTo>
                  <a:lnTo>
                    <a:pt x="539" y="46"/>
                  </a:lnTo>
                  <a:lnTo>
                    <a:pt x="540" y="43"/>
                  </a:lnTo>
                  <a:lnTo>
                    <a:pt x="541" y="41"/>
                  </a:lnTo>
                  <a:lnTo>
                    <a:pt x="543" y="40"/>
                  </a:lnTo>
                  <a:lnTo>
                    <a:pt x="544" y="38"/>
                  </a:lnTo>
                  <a:lnTo>
                    <a:pt x="547" y="38"/>
                  </a:lnTo>
                  <a:lnTo>
                    <a:pt x="552" y="37"/>
                  </a:lnTo>
                  <a:lnTo>
                    <a:pt x="556" y="38"/>
                  </a:lnTo>
                  <a:lnTo>
                    <a:pt x="558" y="38"/>
                  </a:lnTo>
                  <a:lnTo>
                    <a:pt x="560" y="40"/>
                  </a:lnTo>
                  <a:lnTo>
                    <a:pt x="562" y="41"/>
                  </a:lnTo>
                  <a:lnTo>
                    <a:pt x="563" y="43"/>
                  </a:lnTo>
                  <a:lnTo>
                    <a:pt x="564" y="46"/>
                  </a:lnTo>
                  <a:lnTo>
                    <a:pt x="564" y="48"/>
                  </a:lnTo>
                  <a:lnTo>
                    <a:pt x="538" y="48"/>
                  </a:lnTo>
                  <a:close/>
                  <a:moveTo>
                    <a:pt x="583" y="62"/>
                  </a:moveTo>
                  <a:lnTo>
                    <a:pt x="583" y="56"/>
                  </a:lnTo>
                  <a:lnTo>
                    <a:pt x="583" y="50"/>
                  </a:lnTo>
                  <a:lnTo>
                    <a:pt x="582" y="46"/>
                  </a:lnTo>
                  <a:lnTo>
                    <a:pt x="580" y="41"/>
                  </a:lnTo>
                  <a:lnTo>
                    <a:pt x="578" y="37"/>
                  </a:lnTo>
                  <a:lnTo>
                    <a:pt x="576" y="33"/>
                  </a:lnTo>
                  <a:lnTo>
                    <a:pt x="573" y="30"/>
                  </a:lnTo>
                  <a:lnTo>
                    <a:pt x="569" y="27"/>
                  </a:lnTo>
                  <a:lnTo>
                    <a:pt x="565" y="25"/>
                  </a:lnTo>
                  <a:lnTo>
                    <a:pt x="561" y="24"/>
                  </a:lnTo>
                  <a:lnTo>
                    <a:pt x="557" y="23"/>
                  </a:lnTo>
                  <a:lnTo>
                    <a:pt x="552" y="23"/>
                  </a:lnTo>
                  <a:lnTo>
                    <a:pt x="545" y="23"/>
                  </a:lnTo>
                  <a:lnTo>
                    <a:pt x="538" y="25"/>
                  </a:lnTo>
                  <a:lnTo>
                    <a:pt x="536" y="26"/>
                  </a:lnTo>
                  <a:lnTo>
                    <a:pt x="533" y="28"/>
                  </a:lnTo>
                  <a:lnTo>
                    <a:pt x="528" y="32"/>
                  </a:lnTo>
                  <a:lnTo>
                    <a:pt x="526" y="34"/>
                  </a:lnTo>
                  <a:lnTo>
                    <a:pt x="524" y="37"/>
                  </a:lnTo>
                  <a:lnTo>
                    <a:pt x="521" y="43"/>
                  </a:lnTo>
                  <a:lnTo>
                    <a:pt x="520" y="49"/>
                  </a:lnTo>
                  <a:lnTo>
                    <a:pt x="519" y="53"/>
                  </a:lnTo>
                  <a:lnTo>
                    <a:pt x="519" y="56"/>
                  </a:lnTo>
                  <a:lnTo>
                    <a:pt x="520" y="63"/>
                  </a:lnTo>
                  <a:lnTo>
                    <a:pt x="521" y="70"/>
                  </a:lnTo>
                  <a:lnTo>
                    <a:pt x="524" y="76"/>
                  </a:lnTo>
                  <a:lnTo>
                    <a:pt x="526" y="78"/>
                  </a:lnTo>
                  <a:lnTo>
                    <a:pt x="528" y="81"/>
                  </a:lnTo>
                  <a:lnTo>
                    <a:pt x="533" y="85"/>
                  </a:lnTo>
                  <a:lnTo>
                    <a:pt x="538" y="87"/>
                  </a:lnTo>
                  <a:lnTo>
                    <a:pt x="541" y="88"/>
                  </a:lnTo>
                  <a:lnTo>
                    <a:pt x="545" y="89"/>
                  </a:lnTo>
                  <a:lnTo>
                    <a:pt x="548" y="90"/>
                  </a:lnTo>
                  <a:lnTo>
                    <a:pt x="552" y="90"/>
                  </a:lnTo>
                  <a:lnTo>
                    <a:pt x="557" y="89"/>
                  </a:lnTo>
                  <a:lnTo>
                    <a:pt x="563" y="88"/>
                  </a:lnTo>
                  <a:lnTo>
                    <a:pt x="567" y="87"/>
                  </a:lnTo>
                  <a:lnTo>
                    <a:pt x="572" y="84"/>
                  </a:lnTo>
                  <a:lnTo>
                    <a:pt x="575" y="81"/>
                  </a:lnTo>
                  <a:lnTo>
                    <a:pt x="577" y="80"/>
                  </a:lnTo>
                  <a:lnTo>
                    <a:pt x="578" y="78"/>
                  </a:lnTo>
                  <a:lnTo>
                    <a:pt x="581" y="74"/>
                  </a:lnTo>
                  <a:lnTo>
                    <a:pt x="583" y="69"/>
                  </a:lnTo>
                  <a:lnTo>
                    <a:pt x="563" y="69"/>
                  </a:lnTo>
                  <a:lnTo>
                    <a:pt x="561" y="72"/>
                  </a:lnTo>
                  <a:lnTo>
                    <a:pt x="559" y="74"/>
                  </a:lnTo>
                  <a:lnTo>
                    <a:pt x="556" y="75"/>
                  </a:lnTo>
                  <a:lnTo>
                    <a:pt x="552" y="75"/>
                  </a:lnTo>
                  <a:lnTo>
                    <a:pt x="549" y="75"/>
                  </a:lnTo>
                  <a:lnTo>
                    <a:pt x="547" y="74"/>
                  </a:lnTo>
                  <a:lnTo>
                    <a:pt x="545" y="73"/>
                  </a:lnTo>
                  <a:lnTo>
                    <a:pt x="543" y="72"/>
                  </a:lnTo>
                  <a:lnTo>
                    <a:pt x="541" y="70"/>
                  </a:lnTo>
                  <a:lnTo>
                    <a:pt x="540" y="67"/>
                  </a:lnTo>
                  <a:lnTo>
                    <a:pt x="539" y="65"/>
                  </a:lnTo>
                  <a:lnTo>
                    <a:pt x="538" y="62"/>
                  </a:lnTo>
                  <a:lnTo>
                    <a:pt x="583" y="62"/>
                  </a:lnTo>
                  <a:close/>
                  <a:moveTo>
                    <a:pt x="493" y="88"/>
                  </a:moveTo>
                  <a:lnTo>
                    <a:pt x="514" y="24"/>
                  </a:lnTo>
                  <a:lnTo>
                    <a:pt x="494" y="24"/>
                  </a:lnTo>
                  <a:lnTo>
                    <a:pt x="488" y="49"/>
                  </a:lnTo>
                  <a:lnTo>
                    <a:pt x="484" y="67"/>
                  </a:lnTo>
                  <a:lnTo>
                    <a:pt x="479" y="49"/>
                  </a:lnTo>
                  <a:lnTo>
                    <a:pt x="471" y="24"/>
                  </a:lnTo>
                  <a:lnTo>
                    <a:pt x="452" y="24"/>
                  </a:lnTo>
                  <a:lnTo>
                    <a:pt x="475" y="88"/>
                  </a:lnTo>
                  <a:lnTo>
                    <a:pt x="493" y="88"/>
                  </a:lnTo>
                  <a:close/>
                  <a:moveTo>
                    <a:pt x="440" y="0"/>
                  </a:moveTo>
                  <a:lnTo>
                    <a:pt x="421" y="0"/>
                  </a:lnTo>
                  <a:lnTo>
                    <a:pt x="421" y="15"/>
                  </a:lnTo>
                  <a:lnTo>
                    <a:pt x="440" y="15"/>
                  </a:lnTo>
                  <a:lnTo>
                    <a:pt x="440" y="0"/>
                  </a:lnTo>
                  <a:close/>
                  <a:moveTo>
                    <a:pt x="440" y="24"/>
                  </a:moveTo>
                  <a:lnTo>
                    <a:pt x="421" y="24"/>
                  </a:lnTo>
                  <a:lnTo>
                    <a:pt x="421" y="88"/>
                  </a:lnTo>
                  <a:lnTo>
                    <a:pt x="440" y="88"/>
                  </a:lnTo>
                  <a:lnTo>
                    <a:pt x="440" y="24"/>
                  </a:lnTo>
                  <a:close/>
                  <a:moveTo>
                    <a:pt x="405" y="25"/>
                  </a:moveTo>
                  <a:lnTo>
                    <a:pt x="394" y="25"/>
                  </a:lnTo>
                  <a:lnTo>
                    <a:pt x="394" y="5"/>
                  </a:lnTo>
                  <a:lnTo>
                    <a:pt x="375" y="5"/>
                  </a:lnTo>
                  <a:lnTo>
                    <a:pt x="375" y="25"/>
                  </a:lnTo>
                  <a:lnTo>
                    <a:pt x="366" y="25"/>
                  </a:lnTo>
                  <a:lnTo>
                    <a:pt x="366" y="38"/>
                  </a:lnTo>
                  <a:lnTo>
                    <a:pt x="375" y="38"/>
                  </a:lnTo>
                  <a:lnTo>
                    <a:pt x="375" y="67"/>
                  </a:lnTo>
                  <a:lnTo>
                    <a:pt x="375" y="74"/>
                  </a:lnTo>
                  <a:lnTo>
                    <a:pt x="376" y="78"/>
                  </a:lnTo>
                  <a:lnTo>
                    <a:pt x="377" y="81"/>
                  </a:lnTo>
                  <a:lnTo>
                    <a:pt x="378" y="84"/>
                  </a:lnTo>
                  <a:lnTo>
                    <a:pt x="381" y="86"/>
                  </a:lnTo>
                  <a:lnTo>
                    <a:pt x="384" y="87"/>
                  </a:lnTo>
                  <a:lnTo>
                    <a:pt x="388" y="88"/>
                  </a:lnTo>
                  <a:lnTo>
                    <a:pt x="394" y="88"/>
                  </a:lnTo>
                  <a:lnTo>
                    <a:pt x="405" y="88"/>
                  </a:lnTo>
                  <a:lnTo>
                    <a:pt x="405" y="74"/>
                  </a:lnTo>
                  <a:lnTo>
                    <a:pt x="398" y="74"/>
                  </a:lnTo>
                  <a:lnTo>
                    <a:pt x="396" y="74"/>
                  </a:lnTo>
                  <a:lnTo>
                    <a:pt x="394" y="72"/>
                  </a:lnTo>
                  <a:lnTo>
                    <a:pt x="394" y="69"/>
                  </a:lnTo>
                  <a:lnTo>
                    <a:pt x="394" y="63"/>
                  </a:lnTo>
                  <a:lnTo>
                    <a:pt x="394" y="38"/>
                  </a:lnTo>
                  <a:lnTo>
                    <a:pt x="405" y="38"/>
                  </a:lnTo>
                  <a:lnTo>
                    <a:pt x="405" y="25"/>
                  </a:lnTo>
                  <a:close/>
                  <a:moveTo>
                    <a:pt x="353" y="24"/>
                  </a:moveTo>
                  <a:lnTo>
                    <a:pt x="334" y="24"/>
                  </a:lnTo>
                  <a:lnTo>
                    <a:pt x="334" y="60"/>
                  </a:lnTo>
                  <a:lnTo>
                    <a:pt x="334" y="67"/>
                  </a:lnTo>
                  <a:lnTo>
                    <a:pt x="333" y="69"/>
                  </a:lnTo>
                  <a:lnTo>
                    <a:pt x="332" y="70"/>
                  </a:lnTo>
                  <a:lnTo>
                    <a:pt x="331" y="72"/>
                  </a:lnTo>
                  <a:lnTo>
                    <a:pt x="329" y="73"/>
                  </a:lnTo>
                  <a:lnTo>
                    <a:pt x="327" y="74"/>
                  </a:lnTo>
                  <a:lnTo>
                    <a:pt x="324" y="74"/>
                  </a:lnTo>
                  <a:lnTo>
                    <a:pt x="322" y="74"/>
                  </a:lnTo>
                  <a:lnTo>
                    <a:pt x="319" y="73"/>
                  </a:lnTo>
                  <a:lnTo>
                    <a:pt x="317" y="72"/>
                  </a:lnTo>
                  <a:lnTo>
                    <a:pt x="316" y="70"/>
                  </a:lnTo>
                  <a:lnTo>
                    <a:pt x="314" y="67"/>
                  </a:lnTo>
                  <a:lnTo>
                    <a:pt x="314" y="60"/>
                  </a:lnTo>
                  <a:lnTo>
                    <a:pt x="314" y="24"/>
                  </a:lnTo>
                  <a:lnTo>
                    <a:pt x="295" y="24"/>
                  </a:lnTo>
                  <a:lnTo>
                    <a:pt x="295" y="64"/>
                  </a:lnTo>
                  <a:lnTo>
                    <a:pt x="295" y="71"/>
                  </a:lnTo>
                  <a:lnTo>
                    <a:pt x="296" y="76"/>
                  </a:lnTo>
                  <a:lnTo>
                    <a:pt x="297" y="78"/>
                  </a:lnTo>
                  <a:lnTo>
                    <a:pt x="298" y="80"/>
                  </a:lnTo>
                  <a:lnTo>
                    <a:pt x="301" y="83"/>
                  </a:lnTo>
                  <a:lnTo>
                    <a:pt x="305" y="86"/>
                  </a:lnTo>
                  <a:lnTo>
                    <a:pt x="309" y="88"/>
                  </a:lnTo>
                  <a:lnTo>
                    <a:pt x="313" y="89"/>
                  </a:lnTo>
                  <a:lnTo>
                    <a:pt x="318" y="90"/>
                  </a:lnTo>
                  <a:lnTo>
                    <a:pt x="323" y="89"/>
                  </a:lnTo>
                  <a:lnTo>
                    <a:pt x="328" y="88"/>
                  </a:lnTo>
                  <a:lnTo>
                    <a:pt x="332" y="85"/>
                  </a:lnTo>
                  <a:lnTo>
                    <a:pt x="333" y="83"/>
                  </a:lnTo>
                  <a:lnTo>
                    <a:pt x="335" y="81"/>
                  </a:lnTo>
                  <a:lnTo>
                    <a:pt x="335" y="88"/>
                  </a:lnTo>
                  <a:lnTo>
                    <a:pt x="353" y="88"/>
                  </a:lnTo>
                  <a:lnTo>
                    <a:pt x="353" y="24"/>
                  </a:lnTo>
                  <a:close/>
                  <a:moveTo>
                    <a:pt x="282" y="47"/>
                  </a:moveTo>
                  <a:lnTo>
                    <a:pt x="281" y="42"/>
                  </a:lnTo>
                  <a:lnTo>
                    <a:pt x="279" y="37"/>
                  </a:lnTo>
                  <a:lnTo>
                    <a:pt x="276" y="33"/>
                  </a:lnTo>
                  <a:lnTo>
                    <a:pt x="273" y="29"/>
                  </a:lnTo>
                  <a:lnTo>
                    <a:pt x="269" y="26"/>
                  </a:lnTo>
                  <a:lnTo>
                    <a:pt x="264" y="24"/>
                  </a:lnTo>
                  <a:lnTo>
                    <a:pt x="259" y="23"/>
                  </a:lnTo>
                  <a:lnTo>
                    <a:pt x="253" y="23"/>
                  </a:lnTo>
                  <a:lnTo>
                    <a:pt x="245" y="23"/>
                  </a:lnTo>
                  <a:lnTo>
                    <a:pt x="239" y="25"/>
                  </a:lnTo>
                  <a:lnTo>
                    <a:pt x="233" y="28"/>
                  </a:lnTo>
                  <a:lnTo>
                    <a:pt x="231" y="29"/>
                  </a:lnTo>
                  <a:lnTo>
                    <a:pt x="229" y="32"/>
                  </a:lnTo>
                  <a:lnTo>
                    <a:pt x="227" y="34"/>
                  </a:lnTo>
                  <a:lnTo>
                    <a:pt x="225" y="36"/>
                  </a:lnTo>
                  <a:lnTo>
                    <a:pt x="222" y="42"/>
                  </a:lnTo>
                  <a:lnTo>
                    <a:pt x="221" y="49"/>
                  </a:lnTo>
                  <a:lnTo>
                    <a:pt x="220" y="56"/>
                  </a:lnTo>
                  <a:lnTo>
                    <a:pt x="221" y="64"/>
                  </a:lnTo>
                  <a:lnTo>
                    <a:pt x="221" y="67"/>
                  </a:lnTo>
                  <a:lnTo>
                    <a:pt x="222" y="70"/>
                  </a:lnTo>
                  <a:lnTo>
                    <a:pt x="225" y="76"/>
                  </a:lnTo>
                  <a:lnTo>
                    <a:pt x="227" y="79"/>
                  </a:lnTo>
                  <a:lnTo>
                    <a:pt x="229" y="81"/>
                  </a:lnTo>
                  <a:lnTo>
                    <a:pt x="233" y="85"/>
                  </a:lnTo>
                  <a:lnTo>
                    <a:pt x="239" y="88"/>
                  </a:lnTo>
                  <a:lnTo>
                    <a:pt x="245" y="89"/>
                  </a:lnTo>
                  <a:lnTo>
                    <a:pt x="248" y="90"/>
                  </a:lnTo>
                  <a:lnTo>
                    <a:pt x="252" y="90"/>
                  </a:lnTo>
                  <a:lnTo>
                    <a:pt x="258" y="89"/>
                  </a:lnTo>
                  <a:lnTo>
                    <a:pt x="264" y="88"/>
                  </a:lnTo>
                  <a:lnTo>
                    <a:pt x="268" y="86"/>
                  </a:lnTo>
                  <a:lnTo>
                    <a:pt x="273" y="83"/>
                  </a:lnTo>
                  <a:lnTo>
                    <a:pt x="276" y="80"/>
                  </a:lnTo>
                  <a:lnTo>
                    <a:pt x="279" y="75"/>
                  </a:lnTo>
                  <a:lnTo>
                    <a:pt x="281" y="70"/>
                  </a:lnTo>
                  <a:lnTo>
                    <a:pt x="283" y="65"/>
                  </a:lnTo>
                  <a:lnTo>
                    <a:pt x="264" y="64"/>
                  </a:lnTo>
                  <a:lnTo>
                    <a:pt x="264" y="66"/>
                  </a:lnTo>
                  <a:lnTo>
                    <a:pt x="263" y="69"/>
                  </a:lnTo>
                  <a:lnTo>
                    <a:pt x="260" y="72"/>
                  </a:lnTo>
                  <a:lnTo>
                    <a:pt x="259" y="73"/>
                  </a:lnTo>
                  <a:lnTo>
                    <a:pt x="257" y="74"/>
                  </a:lnTo>
                  <a:lnTo>
                    <a:pt x="255" y="74"/>
                  </a:lnTo>
                  <a:lnTo>
                    <a:pt x="252" y="75"/>
                  </a:lnTo>
                  <a:lnTo>
                    <a:pt x="249" y="74"/>
                  </a:lnTo>
                  <a:lnTo>
                    <a:pt x="247" y="73"/>
                  </a:lnTo>
                  <a:lnTo>
                    <a:pt x="244" y="72"/>
                  </a:lnTo>
                  <a:lnTo>
                    <a:pt x="243" y="70"/>
                  </a:lnTo>
                  <a:lnTo>
                    <a:pt x="241" y="67"/>
                  </a:lnTo>
                  <a:lnTo>
                    <a:pt x="240" y="64"/>
                  </a:lnTo>
                  <a:lnTo>
                    <a:pt x="239" y="60"/>
                  </a:lnTo>
                  <a:lnTo>
                    <a:pt x="239" y="56"/>
                  </a:lnTo>
                  <a:lnTo>
                    <a:pt x="239" y="52"/>
                  </a:lnTo>
                  <a:lnTo>
                    <a:pt x="240" y="50"/>
                  </a:lnTo>
                  <a:lnTo>
                    <a:pt x="240" y="48"/>
                  </a:lnTo>
                  <a:lnTo>
                    <a:pt x="241" y="45"/>
                  </a:lnTo>
                  <a:lnTo>
                    <a:pt x="242" y="42"/>
                  </a:lnTo>
                  <a:lnTo>
                    <a:pt x="244" y="40"/>
                  </a:lnTo>
                  <a:lnTo>
                    <a:pt x="247" y="39"/>
                  </a:lnTo>
                  <a:lnTo>
                    <a:pt x="249" y="38"/>
                  </a:lnTo>
                  <a:lnTo>
                    <a:pt x="252" y="38"/>
                  </a:lnTo>
                  <a:lnTo>
                    <a:pt x="257" y="38"/>
                  </a:lnTo>
                  <a:lnTo>
                    <a:pt x="260" y="40"/>
                  </a:lnTo>
                  <a:lnTo>
                    <a:pt x="262" y="42"/>
                  </a:lnTo>
                  <a:lnTo>
                    <a:pt x="263" y="43"/>
                  </a:lnTo>
                  <a:lnTo>
                    <a:pt x="264" y="47"/>
                  </a:lnTo>
                  <a:lnTo>
                    <a:pt x="282" y="47"/>
                  </a:lnTo>
                  <a:close/>
                  <a:moveTo>
                    <a:pt x="164" y="48"/>
                  </a:moveTo>
                  <a:lnTo>
                    <a:pt x="165" y="46"/>
                  </a:lnTo>
                  <a:lnTo>
                    <a:pt x="166" y="43"/>
                  </a:lnTo>
                  <a:lnTo>
                    <a:pt x="167" y="41"/>
                  </a:lnTo>
                  <a:lnTo>
                    <a:pt x="169" y="40"/>
                  </a:lnTo>
                  <a:lnTo>
                    <a:pt x="171" y="38"/>
                  </a:lnTo>
                  <a:lnTo>
                    <a:pt x="173" y="38"/>
                  </a:lnTo>
                  <a:lnTo>
                    <a:pt x="178" y="37"/>
                  </a:lnTo>
                  <a:lnTo>
                    <a:pt x="183" y="38"/>
                  </a:lnTo>
                  <a:lnTo>
                    <a:pt x="185" y="38"/>
                  </a:lnTo>
                  <a:lnTo>
                    <a:pt x="186" y="40"/>
                  </a:lnTo>
                  <a:lnTo>
                    <a:pt x="188" y="41"/>
                  </a:lnTo>
                  <a:lnTo>
                    <a:pt x="189" y="43"/>
                  </a:lnTo>
                  <a:lnTo>
                    <a:pt x="190" y="46"/>
                  </a:lnTo>
                  <a:lnTo>
                    <a:pt x="190" y="48"/>
                  </a:lnTo>
                  <a:lnTo>
                    <a:pt x="164" y="48"/>
                  </a:lnTo>
                  <a:close/>
                  <a:moveTo>
                    <a:pt x="209" y="62"/>
                  </a:moveTo>
                  <a:lnTo>
                    <a:pt x="209" y="56"/>
                  </a:lnTo>
                  <a:lnTo>
                    <a:pt x="209" y="50"/>
                  </a:lnTo>
                  <a:lnTo>
                    <a:pt x="208" y="46"/>
                  </a:lnTo>
                  <a:lnTo>
                    <a:pt x="206" y="41"/>
                  </a:lnTo>
                  <a:lnTo>
                    <a:pt x="204" y="37"/>
                  </a:lnTo>
                  <a:lnTo>
                    <a:pt x="202" y="33"/>
                  </a:lnTo>
                  <a:lnTo>
                    <a:pt x="199" y="30"/>
                  </a:lnTo>
                  <a:lnTo>
                    <a:pt x="195" y="27"/>
                  </a:lnTo>
                  <a:lnTo>
                    <a:pt x="192" y="25"/>
                  </a:lnTo>
                  <a:lnTo>
                    <a:pt x="187" y="24"/>
                  </a:lnTo>
                  <a:lnTo>
                    <a:pt x="183" y="23"/>
                  </a:lnTo>
                  <a:lnTo>
                    <a:pt x="178" y="23"/>
                  </a:lnTo>
                  <a:lnTo>
                    <a:pt x="171" y="23"/>
                  </a:lnTo>
                  <a:lnTo>
                    <a:pt x="165" y="25"/>
                  </a:lnTo>
                  <a:lnTo>
                    <a:pt x="162" y="26"/>
                  </a:lnTo>
                  <a:lnTo>
                    <a:pt x="159" y="28"/>
                  </a:lnTo>
                  <a:lnTo>
                    <a:pt x="154" y="32"/>
                  </a:lnTo>
                  <a:lnTo>
                    <a:pt x="152" y="34"/>
                  </a:lnTo>
                  <a:lnTo>
                    <a:pt x="150" y="37"/>
                  </a:lnTo>
                  <a:lnTo>
                    <a:pt x="148" y="43"/>
                  </a:lnTo>
                  <a:lnTo>
                    <a:pt x="146" y="49"/>
                  </a:lnTo>
                  <a:lnTo>
                    <a:pt x="145" y="53"/>
                  </a:lnTo>
                  <a:lnTo>
                    <a:pt x="145" y="56"/>
                  </a:lnTo>
                  <a:lnTo>
                    <a:pt x="146" y="63"/>
                  </a:lnTo>
                  <a:lnTo>
                    <a:pt x="148" y="70"/>
                  </a:lnTo>
                  <a:lnTo>
                    <a:pt x="150" y="76"/>
                  </a:lnTo>
                  <a:lnTo>
                    <a:pt x="152" y="78"/>
                  </a:lnTo>
                  <a:lnTo>
                    <a:pt x="154" y="81"/>
                  </a:lnTo>
                  <a:lnTo>
                    <a:pt x="159" y="85"/>
                  </a:lnTo>
                  <a:lnTo>
                    <a:pt x="165" y="87"/>
                  </a:lnTo>
                  <a:lnTo>
                    <a:pt x="168" y="88"/>
                  </a:lnTo>
                  <a:lnTo>
                    <a:pt x="171" y="89"/>
                  </a:lnTo>
                  <a:lnTo>
                    <a:pt x="174" y="90"/>
                  </a:lnTo>
                  <a:lnTo>
                    <a:pt x="178" y="90"/>
                  </a:lnTo>
                  <a:lnTo>
                    <a:pt x="184" y="89"/>
                  </a:lnTo>
                  <a:lnTo>
                    <a:pt x="189" y="88"/>
                  </a:lnTo>
                  <a:lnTo>
                    <a:pt x="193" y="87"/>
                  </a:lnTo>
                  <a:lnTo>
                    <a:pt x="198" y="84"/>
                  </a:lnTo>
                  <a:lnTo>
                    <a:pt x="201" y="81"/>
                  </a:lnTo>
                  <a:lnTo>
                    <a:pt x="203" y="80"/>
                  </a:lnTo>
                  <a:lnTo>
                    <a:pt x="205" y="78"/>
                  </a:lnTo>
                  <a:lnTo>
                    <a:pt x="207" y="74"/>
                  </a:lnTo>
                  <a:lnTo>
                    <a:pt x="209" y="69"/>
                  </a:lnTo>
                  <a:lnTo>
                    <a:pt x="190" y="69"/>
                  </a:lnTo>
                  <a:lnTo>
                    <a:pt x="188" y="72"/>
                  </a:lnTo>
                  <a:lnTo>
                    <a:pt x="185" y="74"/>
                  </a:lnTo>
                  <a:lnTo>
                    <a:pt x="182" y="75"/>
                  </a:lnTo>
                  <a:lnTo>
                    <a:pt x="178" y="75"/>
                  </a:lnTo>
                  <a:lnTo>
                    <a:pt x="176" y="75"/>
                  </a:lnTo>
                  <a:lnTo>
                    <a:pt x="173" y="74"/>
                  </a:lnTo>
                  <a:lnTo>
                    <a:pt x="171" y="73"/>
                  </a:lnTo>
                  <a:lnTo>
                    <a:pt x="169" y="72"/>
                  </a:lnTo>
                  <a:lnTo>
                    <a:pt x="167" y="70"/>
                  </a:lnTo>
                  <a:lnTo>
                    <a:pt x="166" y="67"/>
                  </a:lnTo>
                  <a:lnTo>
                    <a:pt x="165" y="65"/>
                  </a:lnTo>
                  <a:lnTo>
                    <a:pt x="164" y="62"/>
                  </a:lnTo>
                  <a:lnTo>
                    <a:pt x="209" y="62"/>
                  </a:lnTo>
                  <a:close/>
                  <a:moveTo>
                    <a:pt x="118" y="55"/>
                  </a:moveTo>
                  <a:lnTo>
                    <a:pt x="139" y="24"/>
                  </a:lnTo>
                  <a:lnTo>
                    <a:pt x="118" y="24"/>
                  </a:lnTo>
                  <a:lnTo>
                    <a:pt x="108" y="40"/>
                  </a:lnTo>
                  <a:lnTo>
                    <a:pt x="98" y="24"/>
                  </a:lnTo>
                  <a:lnTo>
                    <a:pt x="77" y="24"/>
                  </a:lnTo>
                  <a:lnTo>
                    <a:pt x="98" y="55"/>
                  </a:lnTo>
                  <a:lnTo>
                    <a:pt x="75" y="88"/>
                  </a:lnTo>
                  <a:lnTo>
                    <a:pt x="96" y="88"/>
                  </a:lnTo>
                  <a:lnTo>
                    <a:pt x="108" y="70"/>
                  </a:lnTo>
                  <a:lnTo>
                    <a:pt x="120" y="88"/>
                  </a:lnTo>
                  <a:lnTo>
                    <a:pt x="142" y="88"/>
                  </a:lnTo>
                  <a:lnTo>
                    <a:pt x="118" y="55"/>
                  </a:lnTo>
                  <a:close/>
                  <a:moveTo>
                    <a:pt x="66" y="0"/>
                  </a:moveTo>
                  <a:lnTo>
                    <a:pt x="0" y="0"/>
                  </a:lnTo>
                  <a:lnTo>
                    <a:pt x="0" y="88"/>
                  </a:lnTo>
                  <a:lnTo>
                    <a:pt x="67" y="88"/>
                  </a:lnTo>
                  <a:lnTo>
                    <a:pt x="67" y="71"/>
                  </a:lnTo>
                  <a:lnTo>
                    <a:pt x="20" y="71"/>
                  </a:lnTo>
                  <a:lnTo>
                    <a:pt x="20" y="50"/>
                  </a:lnTo>
                  <a:lnTo>
                    <a:pt x="60" y="50"/>
                  </a:lnTo>
                  <a:lnTo>
                    <a:pt x="60" y="34"/>
                  </a:lnTo>
                  <a:lnTo>
                    <a:pt x="20" y="34"/>
                  </a:lnTo>
                  <a:lnTo>
                    <a:pt x="20" y="17"/>
                  </a:lnTo>
                  <a:lnTo>
                    <a:pt x="66" y="17"/>
                  </a:lnTo>
                  <a:lnTo>
                    <a:pt x="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15" name="Freeform 8"/>
            <p:cNvSpPr>
              <a:spLocks noEditPoints="1"/>
            </p:cNvSpPr>
            <p:nvPr userDrawn="1"/>
          </p:nvSpPr>
          <p:spPr bwMode="auto">
            <a:xfrm>
              <a:off x="4067175" y="114301"/>
              <a:ext cx="566738" cy="560388"/>
            </a:xfrm>
            <a:custGeom>
              <a:avLst/>
              <a:gdLst>
                <a:gd name="T0" fmla="*/ 223 w 357"/>
                <a:gd name="T1" fmla="*/ 220 h 353"/>
                <a:gd name="T2" fmla="*/ 134 w 357"/>
                <a:gd name="T3" fmla="*/ 220 h 353"/>
                <a:gd name="T4" fmla="*/ 179 w 357"/>
                <a:gd name="T5" fmla="*/ 100 h 353"/>
                <a:gd name="T6" fmla="*/ 223 w 357"/>
                <a:gd name="T7" fmla="*/ 220 h 353"/>
                <a:gd name="T8" fmla="*/ 357 w 357"/>
                <a:gd name="T9" fmla="*/ 353 h 353"/>
                <a:gd name="T10" fmla="*/ 230 w 357"/>
                <a:gd name="T11" fmla="*/ 0 h 353"/>
                <a:gd name="T12" fmla="*/ 127 w 357"/>
                <a:gd name="T13" fmla="*/ 0 h 353"/>
                <a:gd name="T14" fmla="*/ 0 w 357"/>
                <a:gd name="T15" fmla="*/ 353 h 353"/>
                <a:gd name="T16" fmla="*/ 91 w 357"/>
                <a:gd name="T17" fmla="*/ 353 h 353"/>
                <a:gd name="T18" fmla="*/ 113 w 357"/>
                <a:gd name="T19" fmla="*/ 291 h 353"/>
                <a:gd name="T20" fmla="*/ 245 w 357"/>
                <a:gd name="T21" fmla="*/ 291 h 353"/>
                <a:gd name="T22" fmla="*/ 267 w 357"/>
                <a:gd name="T23" fmla="*/ 353 h 353"/>
                <a:gd name="T24" fmla="*/ 357 w 357"/>
                <a:gd name="T25"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7" h="353">
                  <a:moveTo>
                    <a:pt x="223" y="220"/>
                  </a:moveTo>
                  <a:lnTo>
                    <a:pt x="134" y="220"/>
                  </a:lnTo>
                  <a:lnTo>
                    <a:pt x="179" y="100"/>
                  </a:lnTo>
                  <a:lnTo>
                    <a:pt x="223" y="220"/>
                  </a:lnTo>
                  <a:close/>
                  <a:moveTo>
                    <a:pt x="357" y="353"/>
                  </a:moveTo>
                  <a:lnTo>
                    <a:pt x="230" y="0"/>
                  </a:lnTo>
                  <a:lnTo>
                    <a:pt x="127" y="0"/>
                  </a:lnTo>
                  <a:lnTo>
                    <a:pt x="0" y="353"/>
                  </a:lnTo>
                  <a:lnTo>
                    <a:pt x="91" y="353"/>
                  </a:lnTo>
                  <a:lnTo>
                    <a:pt x="113" y="291"/>
                  </a:lnTo>
                  <a:lnTo>
                    <a:pt x="245" y="291"/>
                  </a:lnTo>
                  <a:lnTo>
                    <a:pt x="267" y="353"/>
                  </a:lnTo>
                  <a:lnTo>
                    <a:pt x="357" y="3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16" name="Freeform 9"/>
            <p:cNvSpPr>
              <a:spLocks noEditPoints="1"/>
            </p:cNvSpPr>
            <p:nvPr userDrawn="1"/>
          </p:nvSpPr>
          <p:spPr bwMode="auto">
            <a:xfrm>
              <a:off x="4686300" y="114301"/>
              <a:ext cx="858838" cy="560388"/>
            </a:xfrm>
            <a:custGeom>
              <a:avLst/>
              <a:gdLst>
                <a:gd name="T0" fmla="*/ 541 w 541"/>
                <a:gd name="T1" fmla="*/ 75 h 353"/>
                <a:gd name="T2" fmla="*/ 541 w 541"/>
                <a:gd name="T3" fmla="*/ 0 h 353"/>
                <a:gd name="T4" fmla="*/ 303 w 541"/>
                <a:gd name="T5" fmla="*/ 0 h 353"/>
                <a:gd name="T6" fmla="*/ 303 w 541"/>
                <a:gd name="T7" fmla="*/ 353 h 353"/>
                <a:gd name="T8" fmla="*/ 541 w 541"/>
                <a:gd name="T9" fmla="*/ 353 h 353"/>
                <a:gd name="T10" fmla="*/ 541 w 541"/>
                <a:gd name="T11" fmla="*/ 278 h 353"/>
                <a:gd name="T12" fmla="*/ 388 w 541"/>
                <a:gd name="T13" fmla="*/ 278 h 353"/>
                <a:gd name="T14" fmla="*/ 388 w 541"/>
                <a:gd name="T15" fmla="*/ 210 h 353"/>
                <a:gd name="T16" fmla="*/ 536 w 541"/>
                <a:gd name="T17" fmla="*/ 210 h 353"/>
                <a:gd name="T18" fmla="*/ 536 w 541"/>
                <a:gd name="T19" fmla="*/ 139 h 353"/>
                <a:gd name="T20" fmla="*/ 388 w 541"/>
                <a:gd name="T21" fmla="*/ 139 h 353"/>
                <a:gd name="T22" fmla="*/ 388 w 541"/>
                <a:gd name="T23" fmla="*/ 75 h 353"/>
                <a:gd name="T24" fmla="*/ 541 w 541"/>
                <a:gd name="T25" fmla="*/ 75 h 353"/>
                <a:gd name="T26" fmla="*/ 239 w 541"/>
                <a:gd name="T27" fmla="*/ 75 h 353"/>
                <a:gd name="T28" fmla="*/ 239 w 541"/>
                <a:gd name="T29" fmla="*/ 0 h 353"/>
                <a:gd name="T30" fmla="*/ 0 w 541"/>
                <a:gd name="T31" fmla="*/ 0 h 353"/>
                <a:gd name="T32" fmla="*/ 0 w 541"/>
                <a:gd name="T33" fmla="*/ 353 h 353"/>
                <a:gd name="T34" fmla="*/ 239 w 541"/>
                <a:gd name="T35" fmla="*/ 353 h 353"/>
                <a:gd name="T36" fmla="*/ 239 w 541"/>
                <a:gd name="T37" fmla="*/ 278 h 353"/>
                <a:gd name="T38" fmla="*/ 85 w 541"/>
                <a:gd name="T39" fmla="*/ 278 h 353"/>
                <a:gd name="T40" fmla="*/ 85 w 541"/>
                <a:gd name="T41" fmla="*/ 210 h 353"/>
                <a:gd name="T42" fmla="*/ 235 w 541"/>
                <a:gd name="T43" fmla="*/ 210 h 353"/>
                <a:gd name="T44" fmla="*/ 235 w 541"/>
                <a:gd name="T45" fmla="*/ 139 h 353"/>
                <a:gd name="T46" fmla="*/ 85 w 541"/>
                <a:gd name="T47" fmla="*/ 139 h 353"/>
                <a:gd name="T48" fmla="*/ 85 w 541"/>
                <a:gd name="T49" fmla="*/ 75 h 353"/>
                <a:gd name="T50" fmla="*/ 239 w 541"/>
                <a:gd name="T51" fmla="*/ 75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1" h="353">
                  <a:moveTo>
                    <a:pt x="541" y="75"/>
                  </a:moveTo>
                  <a:lnTo>
                    <a:pt x="541" y="0"/>
                  </a:lnTo>
                  <a:lnTo>
                    <a:pt x="303" y="0"/>
                  </a:lnTo>
                  <a:lnTo>
                    <a:pt x="303" y="353"/>
                  </a:lnTo>
                  <a:lnTo>
                    <a:pt x="541" y="353"/>
                  </a:lnTo>
                  <a:lnTo>
                    <a:pt x="541" y="278"/>
                  </a:lnTo>
                  <a:lnTo>
                    <a:pt x="388" y="278"/>
                  </a:lnTo>
                  <a:lnTo>
                    <a:pt x="388" y="210"/>
                  </a:lnTo>
                  <a:lnTo>
                    <a:pt x="536" y="210"/>
                  </a:lnTo>
                  <a:lnTo>
                    <a:pt x="536" y="139"/>
                  </a:lnTo>
                  <a:lnTo>
                    <a:pt x="388" y="139"/>
                  </a:lnTo>
                  <a:lnTo>
                    <a:pt x="388" y="75"/>
                  </a:lnTo>
                  <a:lnTo>
                    <a:pt x="541" y="75"/>
                  </a:lnTo>
                  <a:close/>
                  <a:moveTo>
                    <a:pt x="239" y="75"/>
                  </a:moveTo>
                  <a:lnTo>
                    <a:pt x="239" y="0"/>
                  </a:lnTo>
                  <a:lnTo>
                    <a:pt x="0" y="0"/>
                  </a:lnTo>
                  <a:lnTo>
                    <a:pt x="0" y="353"/>
                  </a:lnTo>
                  <a:lnTo>
                    <a:pt x="239" y="353"/>
                  </a:lnTo>
                  <a:lnTo>
                    <a:pt x="239" y="278"/>
                  </a:lnTo>
                  <a:lnTo>
                    <a:pt x="85" y="278"/>
                  </a:lnTo>
                  <a:lnTo>
                    <a:pt x="85" y="210"/>
                  </a:lnTo>
                  <a:lnTo>
                    <a:pt x="235" y="210"/>
                  </a:lnTo>
                  <a:lnTo>
                    <a:pt x="235" y="139"/>
                  </a:lnTo>
                  <a:lnTo>
                    <a:pt x="85" y="139"/>
                  </a:lnTo>
                  <a:lnTo>
                    <a:pt x="85" y="75"/>
                  </a:lnTo>
                  <a:lnTo>
                    <a:pt x="23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grpSp>
      <p:sp>
        <p:nvSpPr>
          <p:cNvPr id="7" name="Date Placeholder 6"/>
          <p:cNvSpPr>
            <a:spLocks noGrp="1"/>
          </p:cNvSpPr>
          <p:nvPr>
            <p:ph type="dt" sz="half" idx="10"/>
          </p:nvPr>
        </p:nvSpPr>
        <p:spPr/>
        <p:txBody>
          <a:bodyPr/>
          <a:lstStyle>
            <a:lvl1pPr>
              <a:defRPr>
                <a:solidFill>
                  <a:schemeClr val="bg1"/>
                </a:solidFill>
              </a:defRPr>
            </a:lvl1pPr>
          </a:lstStyle>
          <a:p>
            <a:fld id="{BFC846AA-585E-4E2B-956E-249E469F82E7}" type="datetime1">
              <a:rPr lang="fi-FI" smtClean="0"/>
              <a:t>5.11.2023</a:t>
            </a:fld>
            <a:endParaRPr lang="en-US" dirty="0"/>
          </a:p>
        </p:txBody>
      </p:sp>
      <p:sp>
        <p:nvSpPr>
          <p:cNvPr id="8" name="Footer Placeholder 7"/>
          <p:cNvSpPr>
            <a:spLocks noGrp="1"/>
          </p:cNvSpPr>
          <p:nvPr>
            <p:ph type="ftr" sz="quarter" idx="11"/>
          </p:nvPr>
        </p:nvSpPr>
        <p:spPr/>
        <p:txBody>
          <a:bodyPr/>
          <a:lstStyle>
            <a:lvl1pPr>
              <a:defRPr>
                <a:solidFill>
                  <a:schemeClr val="bg1"/>
                </a:solidFill>
              </a:defRPr>
            </a:lvl1pPr>
          </a:lstStyle>
          <a:p>
            <a:r>
              <a:rPr lang="en-US"/>
              <a:t>© Aalto University Executive Education</a:t>
            </a:r>
            <a:endParaRPr lang="en-US" dirty="0"/>
          </a:p>
        </p:txBody>
      </p:sp>
      <p:sp>
        <p:nvSpPr>
          <p:cNvPr id="9" name="Slide Number Placeholder 8"/>
          <p:cNvSpPr>
            <a:spLocks noGrp="1"/>
          </p:cNvSpPr>
          <p:nvPr>
            <p:ph type="sldNum" sz="quarter" idx="12"/>
          </p:nvPr>
        </p:nvSpPr>
        <p:spPr/>
        <p:txBody>
          <a:bodyPr/>
          <a:lstStyle>
            <a:lvl1pPr>
              <a:defRPr>
                <a:solidFill>
                  <a:schemeClr val="bg1"/>
                </a:solidFill>
              </a:defRPr>
            </a:lvl1pPr>
          </a:lstStyle>
          <a:p>
            <a:fld id="{FCCA222D-FCF7-48C1-A274-EBDDEF75DC66}" type="slidenum">
              <a:rPr lang="en-US" smtClean="0"/>
              <a:pPr/>
              <a:t>‹#›</a:t>
            </a:fld>
            <a:endParaRPr lang="en-US" dirty="0"/>
          </a:p>
        </p:txBody>
      </p:sp>
    </p:spTree>
    <p:extLst>
      <p:ext uri="{BB962C8B-B14F-4D97-AF65-F5344CB8AC3E}">
        <p14:creationId xmlns:p14="http://schemas.microsoft.com/office/powerpoint/2010/main" val="2894092551"/>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type="obj" preserve="1">
  <p:cSld name="Introduction GREE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573882"/>
            <a:ext cx="7487081" cy="602326"/>
          </a:xfrm>
          <a:solidFill>
            <a:srgbClr val="69BE28"/>
          </a:solidFill>
        </p:spPr>
        <p:txBody>
          <a:bodyPr/>
          <a:lstStyle>
            <a:lvl1pPr>
              <a:defRPr/>
            </a:lvl1pPr>
          </a:lstStyle>
          <a:p>
            <a:r>
              <a:rPr lang="en-US" dirty="0"/>
              <a:t>Click to add title</a:t>
            </a:r>
          </a:p>
        </p:txBody>
      </p:sp>
      <p:sp>
        <p:nvSpPr>
          <p:cNvPr id="3" name="Content Placeholder 2"/>
          <p:cNvSpPr>
            <a:spLocks noGrp="1"/>
          </p:cNvSpPr>
          <p:nvPr>
            <p:ph idx="1" hasCustomPrompt="1"/>
          </p:nvPr>
        </p:nvSpPr>
        <p:spPr>
          <a:xfrm>
            <a:off x="1" y="1869674"/>
            <a:ext cx="7487081" cy="2538022"/>
          </a:xfrm>
          <a:solidFill>
            <a:srgbClr val="69BE28"/>
          </a:solidFill>
        </p:spPr>
        <p:txBody>
          <a:bodyPr lIns="540000" tIns="324000" rIns="540000" bIns="324000"/>
          <a:lstStyle>
            <a:lvl1pPr marL="0" indent="0">
              <a:buFontTx/>
              <a:buNone/>
              <a:defRPr b="1">
                <a:solidFill>
                  <a:schemeClr val="bg1"/>
                </a:solidFill>
              </a:defRPr>
            </a:lvl1pPr>
            <a:lvl2pPr marL="199965" indent="-199965">
              <a:buFont typeface="Arial" pitchFamily="34" charset="0"/>
              <a:buChar char="•"/>
              <a:defRPr>
                <a:solidFill>
                  <a:schemeClr val="bg1"/>
                </a:solidFill>
              </a:defRPr>
            </a:lvl2pPr>
          </a:lstStyle>
          <a:p>
            <a:pPr lvl="0"/>
            <a:r>
              <a:rPr lang="en-US" dirty="0"/>
              <a:t>Click to add text</a:t>
            </a:r>
          </a:p>
          <a:p>
            <a:pPr lvl="1"/>
            <a:r>
              <a:rPr lang="en-US" dirty="0"/>
              <a:t>Second level</a:t>
            </a:r>
          </a:p>
        </p:txBody>
      </p:sp>
      <p:grpSp>
        <p:nvGrpSpPr>
          <p:cNvPr id="12" name="Group 11"/>
          <p:cNvGrpSpPr>
            <a:grpSpLocks noChangeAspect="1"/>
          </p:cNvGrpSpPr>
          <p:nvPr userDrawn="1"/>
        </p:nvGrpSpPr>
        <p:grpSpPr>
          <a:xfrm>
            <a:off x="7595548" y="249492"/>
            <a:ext cx="1294117" cy="199800"/>
            <a:chOff x="4067175" y="114301"/>
            <a:chExt cx="3630613" cy="560388"/>
          </a:xfrm>
          <a:solidFill>
            <a:schemeClr val="bg1"/>
          </a:solidFill>
        </p:grpSpPr>
        <p:sp>
          <p:nvSpPr>
            <p:cNvPr id="13" name="Freeform 6"/>
            <p:cNvSpPr>
              <a:spLocks noEditPoints="1"/>
            </p:cNvSpPr>
            <p:nvPr userDrawn="1"/>
          </p:nvSpPr>
          <p:spPr bwMode="auto">
            <a:xfrm>
              <a:off x="5749925" y="114301"/>
              <a:ext cx="1530350" cy="173038"/>
            </a:xfrm>
            <a:custGeom>
              <a:avLst/>
              <a:gdLst>
                <a:gd name="T0" fmla="*/ 922 w 964"/>
                <a:gd name="T1" fmla="*/ 84 h 109"/>
                <a:gd name="T2" fmla="*/ 918 w 964"/>
                <a:gd name="T3" fmla="*/ 109 h 109"/>
                <a:gd name="T4" fmla="*/ 944 w 964"/>
                <a:gd name="T5" fmla="*/ 25 h 109"/>
                <a:gd name="T6" fmla="*/ 860 w 964"/>
                <a:gd name="T7" fmla="*/ 68 h 109"/>
                <a:gd name="T8" fmla="*/ 890 w 964"/>
                <a:gd name="T9" fmla="*/ 89 h 109"/>
                <a:gd name="T10" fmla="*/ 890 w 964"/>
                <a:gd name="T11" fmla="*/ 39 h 109"/>
                <a:gd name="T12" fmla="*/ 819 w 964"/>
                <a:gd name="T13" fmla="*/ 89 h 109"/>
                <a:gd name="T14" fmla="*/ 793 w 964"/>
                <a:gd name="T15" fmla="*/ 26 h 109"/>
                <a:gd name="T16" fmla="*/ 753 w 964"/>
                <a:gd name="T17" fmla="*/ 33 h 109"/>
                <a:gd name="T18" fmla="*/ 757 w 964"/>
                <a:gd name="T19" fmla="*/ 58 h 109"/>
                <a:gd name="T20" fmla="*/ 788 w 964"/>
                <a:gd name="T21" fmla="*/ 72 h 109"/>
                <a:gd name="T22" fmla="*/ 767 w 964"/>
                <a:gd name="T23" fmla="*/ 70 h 109"/>
                <a:gd name="T24" fmla="*/ 772 w 964"/>
                <a:gd name="T25" fmla="*/ 90 h 109"/>
                <a:gd name="T26" fmla="*/ 806 w 964"/>
                <a:gd name="T27" fmla="*/ 73 h 109"/>
                <a:gd name="T28" fmla="*/ 788 w 964"/>
                <a:gd name="T29" fmla="*/ 49 h 109"/>
                <a:gd name="T30" fmla="*/ 777 w 964"/>
                <a:gd name="T31" fmla="*/ 37 h 109"/>
                <a:gd name="T32" fmla="*/ 700 w 964"/>
                <a:gd name="T33" fmla="*/ 89 h 109"/>
                <a:gd name="T34" fmla="*/ 729 w 964"/>
                <a:gd name="T35" fmla="*/ 42 h 109"/>
                <a:gd name="T36" fmla="*/ 723 w 964"/>
                <a:gd name="T37" fmla="*/ 27 h 109"/>
                <a:gd name="T38" fmla="*/ 643 w 964"/>
                <a:gd name="T39" fmla="*/ 42 h 109"/>
                <a:gd name="T40" fmla="*/ 666 w 964"/>
                <a:gd name="T41" fmla="*/ 44 h 109"/>
                <a:gd name="T42" fmla="*/ 682 w 964"/>
                <a:gd name="T43" fmla="*/ 38 h 109"/>
                <a:gd name="T44" fmla="*/ 647 w 964"/>
                <a:gd name="T45" fmla="*/ 24 h 109"/>
                <a:gd name="T46" fmla="*/ 623 w 964"/>
                <a:gd name="T47" fmla="*/ 46 h 109"/>
                <a:gd name="T48" fmla="*/ 641 w 964"/>
                <a:gd name="T49" fmla="*/ 88 h 109"/>
                <a:gd name="T50" fmla="*/ 679 w 964"/>
                <a:gd name="T51" fmla="*/ 82 h 109"/>
                <a:gd name="T52" fmla="*/ 656 w 964"/>
                <a:gd name="T53" fmla="*/ 76 h 109"/>
                <a:gd name="T54" fmla="*/ 687 w 964"/>
                <a:gd name="T55" fmla="*/ 62 h 109"/>
                <a:gd name="T56" fmla="*/ 575 w 964"/>
                <a:gd name="T57" fmla="*/ 89 h 109"/>
                <a:gd name="T58" fmla="*/ 521 w 964"/>
                <a:gd name="T59" fmla="*/ 89 h 109"/>
                <a:gd name="T60" fmla="*/ 467 w 964"/>
                <a:gd name="T61" fmla="*/ 42 h 109"/>
                <a:gd name="T62" fmla="*/ 483 w 964"/>
                <a:gd name="T63" fmla="*/ 44 h 109"/>
                <a:gd name="T64" fmla="*/ 497 w 964"/>
                <a:gd name="T65" fmla="*/ 29 h 109"/>
                <a:gd name="T66" fmla="*/ 463 w 964"/>
                <a:gd name="T67" fmla="*/ 25 h 109"/>
                <a:gd name="T68" fmla="*/ 398 w 964"/>
                <a:gd name="T69" fmla="*/ 73 h 109"/>
                <a:gd name="T70" fmla="*/ 376 w 964"/>
                <a:gd name="T71" fmla="*/ 63 h 109"/>
                <a:gd name="T72" fmla="*/ 364 w 964"/>
                <a:gd name="T73" fmla="*/ 81 h 109"/>
                <a:gd name="T74" fmla="*/ 406 w 964"/>
                <a:gd name="T75" fmla="*/ 89 h 109"/>
                <a:gd name="T76" fmla="*/ 427 w 964"/>
                <a:gd name="T77" fmla="*/ 60 h 109"/>
                <a:gd name="T78" fmla="*/ 292 w 964"/>
                <a:gd name="T79" fmla="*/ 49 h 109"/>
                <a:gd name="T80" fmla="*/ 284 w 964"/>
                <a:gd name="T81" fmla="*/ 74 h 109"/>
                <a:gd name="T82" fmla="*/ 263 w 964"/>
                <a:gd name="T83" fmla="*/ 61 h 109"/>
                <a:gd name="T84" fmla="*/ 274 w 964"/>
                <a:gd name="T85" fmla="*/ 38 h 109"/>
                <a:gd name="T86" fmla="*/ 247 w 964"/>
                <a:gd name="T87" fmla="*/ 40 h 109"/>
                <a:gd name="T88" fmla="*/ 249 w 964"/>
                <a:gd name="T89" fmla="*/ 76 h 109"/>
                <a:gd name="T90" fmla="*/ 291 w 964"/>
                <a:gd name="T91" fmla="*/ 88 h 109"/>
                <a:gd name="T92" fmla="*/ 311 w 964"/>
                <a:gd name="T93" fmla="*/ 57 h 109"/>
                <a:gd name="T94" fmla="*/ 291 w 964"/>
                <a:gd name="T95" fmla="*/ 26 h 109"/>
                <a:gd name="T96" fmla="*/ 196 w 964"/>
                <a:gd name="T97" fmla="*/ 26 h 109"/>
                <a:gd name="T98" fmla="*/ 214 w 964"/>
                <a:gd name="T99" fmla="*/ 88 h 109"/>
                <a:gd name="T100" fmla="*/ 224 w 964"/>
                <a:gd name="T101" fmla="*/ 70 h 109"/>
                <a:gd name="T102" fmla="*/ 184 w 964"/>
                <a:gd name="T103" fmla="*/ 0 h 109"/>
                <a:gd name="T104" fmla="*/ 108 w 964"/>
                <a:gd name="T105" fmla="*/ 71 h 109"/>
                <a:gd name="T106" fmla="*/ 110 w 964"/>
                <a:gd name="T107" fmla="*/ 45 h 109"/>
                <a:gd name="T108" fmla="*/ 130 w 964"/>
                <a:gd name="T109" fmla="*/ 41 h 109"/>
                <a:gd name="T110" fmla="*/ 103 w 964"/>
                <a:gd name="T111" fmla="*/ 52 h 109"/>
                <a:gd name="T112" fmla="*/ 91 w 964"/>
                <a:gd name="T113" fmla="*/ 79 h 109"/>
                <a:gd name="T114" fmla="*/ 123 w 964"/>
                <a:gd name="T115" fmla="*/ 89 h 109"/>
                <a:gd name="T116" fmla="*/ 149 w 964"/>
                <a:gd name="T117" fmla="*/ 42 h 109"/>
                <a:gd name="T118" fmla="*/ 115 w 964"/>
                <a:gd name="T119" fmla="*/ 23 h 109"/>
                <a:gd name="T120" fmla="*/ 93 w 964"/>
                <a:gd name="T121" fmla="*/ 45 h 109"/>
                <a:gd name="T122" fmla="*/ 56 w 964"/>
                <a:gd name="T1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4" h="109">
                  <a:moveTo>
                    <a:pt x="944" y="25"/>
                  </a:moveTo>
                  <a:lnTo>
                    <a:pt x="936" y="54"/>
                  </a:lnTo>
                  <a:lnTo>
                    <a:pt x="933" y="68"/>
                  </a:lnTo>
                  <a:lnTo>
                    <a:pt x="932" y="65"/>
                  </a:lnTo>
                  <a:lnTo>
                    <a:pt x="928" y="54"/>
                  </a:lnTo>
                  <a:lnTo>
                    <a:pt x="919" y="25"/>
                  </a:lnTo>
                  <a:lnTo>
                    <a:pt x="899" y="25"/>
                  </a:lnTo>
                  <a:lnTo>
                    <a:pt x="920" y="79"/>
                  </a:lnTo>
                  <a:lnTo>
                    <a:pt x="922" y="84"/>
                  </a:lnTo>
                  <a:lnTo>
                    <a:pt x="922" y="87"/>
                  </a:lnTo>
                  <a:lnTo>
                    <a:pt x="922" y="90"/>
                  </a:lnTo>
                  <a:lnTo>
                    <a:pt x="920" y="93"/>
                  </a:lnTo>
                  <a:lnTo>
                    <a:pt x="919" y="94"/>
                  </a:lnTo>
                  <a:lnTo>
                    <a:pt x="917" y="94"/>
                  </a:lnTo>
                  <a:lnTo>
                    <a:pt x="913" y="95"/>
                  </a:lnTo>
                  <a:lnTo>
                    <a:pt x="907" y="95"/>
                  </a:lnTo>
                  <a:lnTo>
                    <a:pt x="907" y="109"/>
                  </a:lnTo>
                  <a:lnTo>
                    <a:pt x="918" y="109"/>
                  </a:lnTo>
                  <a:lnTo>
                    <a:pt x="923" y="109"/>
                  </a:lnTo>
                  <a:lnTo>
                    <a:pt x="927" y="108"/>
                  </a:lnTo>
                  <a:lnTo>
                    <a:pt x="930" y="107"/>
                  </a:lnTo>
                  <a:lnTo>
                    <a:pt x="933" y="105"/>
                  </a:lnTo>
                  <a:lnTo>
                    <a:pt x="935" y="103"/>
                  </a:lnTo>
                  <a:lnTo>
                    <a:pt x="937" y="100"/>
                  </a:lnTo>
                  <a:lnTo>
                    <a:pt x="941" y="89"/>
                  </a:lnTo>
                  <a:lnTo>
                    <a:pt x="964" y="25"/>
                  </a:lnTo>
                  <a:lnTo>
                    <a:pt x="944" y="25"/>
                  </a:lnTo>
                  <a:close/>
                  <a:moveTo>
                    <a:pt x="890" y="26"/>
                  </a:moveTo>
                  <a:lnTo>
                    <a:pt x="879" y="26"/>
                  </a:lnTo>
                  <a:lnTo>
                    <a:pt x="879" y="5"/>
                  </a:lnTo>
                  <a:lnTo>
                    <a:pt x="860" y="5"/>
                  </a:lnTo>
                  <a:lnTo>
                    <a:pt x="860" y="26"/>
                  </a:lnTo>
                  <a:lnTo>
                    <a:pt x="851" y="26"/>
                  </a:lnTo>
                  <a:lnTo>
                    <a:pt x="851" y="39"/>
                  </a:lnTo>
                  <a:lnTo>
                    <a:pt x="860" y="39"/>
                  </a:lnTo>
                  <a:lnTo>
                    <a:pt x="860" y="68"/>
                  </a:lnTo>
                  <a:lnTo>
                    <a:pt x="860" y="74"/>
                  </a:lnTo>
                  <a:lnTo>
                    <a:pt x="861" y="79"/>
                  </a:lnTo>
                  <a:lnTo>
                    <a:pt x="862" y="82"/>
                  </a:lnTo>
                  <a:lnTo>
                    <a:pt x="863" y="84"/>
                  </a:lnTo>
                  <a:lnTo>
                    <a:pt x="866" y="86"/>
                  </a:lnTo>
                  <a:lnTo>
                    <a:pt x="869" y="88"/>
                  </a:lnTo>
                  <a:lnTo>
                    <a:pt x="873" y="88"/>
                  </a:lnTo>
                  <a:lnTo>
                    <a:pt x="879" y="89"/>
                  </a:lnTo>
                  <a:lnTo>
                    <a:pt x="890" y="89"/>
                  </a:lnTo>
                  <a:lnTo>
                    <a:pt x="890" y="75"/>
                  </a:lnTo>
                  <a:lnTo>
                    <a:pt x="883" y="75"/>
                  </a:lnTo>
                  <a:lnTo>
                    <a:pt x="881" y="74"/>
                  </a:lnTo>
                  <a:lnTo>
                    <a:pt x="880" y="74"/>
                  </a:lnTo>
                  <a:lnTo>
                    <a:pt x="879" y="73"/>
                  </a:lnTo>
                  <a:lnTo>
                    <a:pt x="879" y="70"/>
                  </a:lnTo>
                  <a:lnTo>
                    <a:pt x="879" y="64"/>
                  </a:lnTo>
                  <a:lnTo>
                    <a:pt x="879" y="39"/>
                  </a:lnTo>
                  <a:lnTo>
                    <a:pt x="890" y="39"/>
                  </a:lnTo>
                  <a:lnTo>
                    <a:pt x="890" y="26"/>
                  </a:lnTo>
                  <a:close/>
                  <a:moveTo>
                    <a:pt x="838" y="0"/>
                  </a:moveTo>
                  <a:lnTo>
                    <a:pt x="819" y="0"/>
                  </a:lnTo>
                  <a:lnTo>
                    <a:pt x="819" y="16"/>
                  </a:lnTo>
                  <a:lnTo>
                    <a:pt x="838" y="16"/>
                  </a:lnTo>
                  <a:lnTo>
                    <a:pt x="838" y="0"/>
                  </a:lnTo>
                  <a:close/>
                  <a:moveTo>
                    <a:pt x="838" y="25"/>
                  </a:moveTo>
                  <a:lnTo>
                    <a:pt x="819" y="25"/>
                  </a:lnTo>
                  <a:lnTo>
                    <a:pt x="819" y="89"/>
                  </a:lnTo>
                  <a:lnTo>
                    <a:pt x="838" y="89"/>
                  </a:lnTo>
                  <a:lnTo>
                    <a:pt x="838" y="25"/>
                  </a:lnTo>
                  <a:close/>
                  <a:moveTo>
                    <a:pt x="806" y="44"/>
                  </a:moveTo>
                  <a:lnTo>
                    <a:pt x="805" y="39"/>
                  </a:lnTo>
                  <a:lnTo>
                    <a:pt x="803" y="35"/>
                  </a:lnTo>
                  <a:lnTo>
                    <a:pt x="800" y="31"/>
                  </a:lnTo>
                  <a:lnTo>
                    <a:pt x="797" y="28"/>
                  </a:lnTo>
                  <a:lnTo>
                    <a:pt x="795" y="27"/>
                  </a:lnTo>
                  <a:lnTo>
                    <a:pt x="793" y="26"/>
                  </a:lnTo>
                  <a:lnTo>
                    <a:pt x="789" y="24"/>
                  </a:lnTo>
                  <a:lnTo>
                    <a:pt x="783" y="23"/>
                  </a:lnTo>
                  <a:lnTo>
                    <a:pt x="777" y="23"/>
                  </a:lnTo>
                  <a:lnTo>
                    <a:pt x="771" y="23"/>
                  </a:lnTo>
                  <a:lnTo>
                    <a:pt x="766" y="24"/>
                  </a:lnTo>
                  <a:lnTo>
                    <a:pt x="761" y="26"/>
                  </a:lnTo>
                  <a:lnTo>
                    <a:pt x="757" y="29"/>
                  </a:lnTo>
                  <a:lnTo>
                    <a:pt x="754" y="32"/>
                  </a:lnTo>
                  <a:lnTo>
                    <a:pt x="753" y="33"/>
                  </a:lnTo>
                  <a:lnTo>
                    <a:pt x="752" y="35"/>
                  </a:lnTo>
                  <a:lnTo>
                    <a:pt x="751" y="39"/>
                  </a:lnTo>
                  <a:lnTo>
                    <a:pt x="750" y="44"/>
                  </a:lnTo>
                  <a:lnTo>
                    <a:pt x="750" y="47"/>
                  </a:lnTo>
                  <a:lnTo>
                    <a:pt x="751" y="50"/>
                  </a:lnTo>
                  <a:lnTo>
                    <a:pt x="752" y="52"/>
                  </a:lnTo>
                  <a:lnTo>
                    <a:pt x="753" y="53"/>
                  </a:lnTo>
                  <a:lnTo>
                    <a:pt x="755" y="56"/>
                  </a:lnTo>
                  <a:lnTo>
                    <a:pt x="757" y="58"/>
                  </a:lnTo>
                  <a:lnTo>
                    <a:pt x="761" y="59"/>
                  </a:lnTo>
                  <a:lnTo>
                    <a:pt x="765" y="61"/>
                  </a:lnTo>
                  <a:lnTo>
                    <a:pt x="770" y="62"/>
                  </a:lnTo>
                  <a:lnTo>
                    <a:pt x="781" y="65"/>
                  </a:lnTo>
                  <a:lnTo>
                    <a:pt x="785" y="66"/>
                  </a:lnTo>
                  <a:lnTo>
                    <a:pt x="787" y="67"/>
                  </a:lnTo>
                  <a:lnTo>
                    <a:pt x="788" y="69"/>
                  </a:lnTo>
                  <a:lnTo>
                    <a:pt x="788" y="71"/>
                  </a:lnTo>
                  <a:lnTo>
                    <a:pt x="788" y="72"/>
                  </a:lnTo>
                  <a:lnTo>
                    <a:pt x="788" y="73"/>
                  </a:lnTo>
                  <a:lnTo>
                    <a:pt x="786" y="75"/>
                  </a:lnTo>
                  <a:lnTo>
                    <a:pt x="783" y="76"/>
                  </a:lnTo>
                  <a:lnTo>
                    <a:pt x="779" y="77"/>
                  </a:lnTo>
                  <a:lnTo>
                    <a:pt x="774" y="76"/>
                  </a:lnTo>
                  <a:lnTo>
                    <a:pt x="772" y="76"/>
                  </a:lnTo>
                  <a:lnTo>
                    <a:pt x="770" y="75"/>
                  </a:lnTo>
                  <a:lnTo>
                    <a:pt x="767" y="72"/>
                  </a:lnTo>
                  <a:lnTo>
                    <a:pt x="767" y="70"/>
                  </a:lnTo>
                  <a:lnTo>
                    <a:pt x="766" y="68"/>
                  </a:lnTo>
                  <a:lnTo>
                    <a:pt x="748" y="68"/>
                  </a:lnTo>
                  <a:lnTo>
                    <a:pt x="749" y="73"/>
                  </a:lnTo>
                  <a:lnTo>
                    <a:pt x="751" y="77"/>
                  </a:lnTo>
                  <a:lnTo>
                    <a:pt x="754" y="81"/>
                  </a:lnTo>
                  <a:lnTo>
                    <a:pt x="757" y="84"/>
                  </a:lnTo>
                  <a:lnTo>
                    <a:pt x="761" y="87"/>
                  </a:lnTo>
                  <a:lnTo>
                    <a:pt x="766" y="89"/>
                  </a:lnTo>
                  <a:lnTo>
                    <a:pt x="772" y="90"/>
                  </a:lnTo>
                  <a:lnTo>
                    <a:pt x="778" y="90"/>
                  </a:lnTo>
                  <a:lnTo>
                    <a:pt x="785" y="90"/>
                  </a:lnTo>
                  <a:lnTo>
                    <a:pt x="790" y="89"/>
                  </a:lnTo>
                  <a:lnTo>
                    <a:pt x="795" y="87"/>
                  </a:lnTo>
                  <a:lnTo>
                    <a:pt x="799" y="84"/>
                  </a:lnTo>
                  <a:lnTo>
                    <a:pt x="803" y="81"/>
                  </a:lnTo>
                  <a:lnTo>
                    <a:pt x="805" y="78"/>
                  </a:lnTo>
                  <a:lnTo>
                    <a:pt x="806" y="75"/>
                  </a:lnTo>
                  <a:lnTo>
                    <a:pt x="806" y="73"/>
                  </a:lnTo>
                  <a:lnTo>
                    <a:pt x="807" y="68"/>
                  </a:lnTo>
                  <a:lnTo>
                    <a:pt x="807" y="65"/>
                  </a:lnTo>
                  <a:lnTo>
                    <a:pt x="806" y="61"/>
                  </a:lnTo>
                  <a:lnTo>
                    <a:pt x="804" y="58"/>
                  </a:lnTo>
                  <a:lnTo>
                    <a:pt x="802" y="56"/>
                  </a:lnTo>
                  <a:lnTo>
                    <a:pt x="800" y="54"/>
                  </a:lnTo>
                  <a:lnTo>
                    <a:pt x="797" y="52"/>
                  </a:lnTo>
                  <a:lnTo>
                    <a:pt x="793" y="51"/>
                  </a:lnTo>
                  <a:lnTo>
                    <a:pt x="788" y="49"/>
                  </a:lnTo>
                  <a:lnTo>
                    <a:pt x="776" y="47"/>
                  </a:lnTo>
                  <a:lnTo>
                    <a:pt x="772" y="46"/>
                  </a:lnTo>
                  <a:lnTo>
                    <a:pt x="770" y="45"/>
                  </a:lnTo>
                  <a:lnTo>
                    <a:pt x="768" y="44"/>
                  </a:lnTo>
                  <a:lnTo>
                    <a:pt x="768" y="42"/>
                  </a:lnTo>
                  <a:lnTo>
                    <a:pt x="769" y="40"/>
                  </a:lnTo>
                  <a:lnTo>
                    <a:pt x="771" y="38"/>
                  </a:lnTo>
                  <a:lnTo>
                    <a:pt x="773" y="37"/>
                  </a:lnTo>
                  <a:lnTo>
                    <a:pt x="777" y="37"/>
                  </a:lnTo>
                  <a:lnTo>
                    <a:pt x="781" y="37"/>
                  </a:lnTo>
                  <a:lnTo>
                    <a:pt x="783" y="38"/>
                  </a:lnTo>
                  <a:lnTo>
                    <a:pt x="785" y="39"/>
                  </a:lnTo>
                  <a:lnTo>
                    <a:pt x="786" y="40"/>
                  </a:lnTo>
                  <a:lnTo>
                    <a:pt x="787" y="41"/>
                  </a:lnTo>
                  <a:lnTo>
                    <a:pt x="788" y="44"/>
                  </a:lnTo>
                  <a:lnTo>
                    <a:pt x="806" y="44"/>
                  </a:lnTo>
                  <a:close/>
                  <a:moveTo>
                    <a:pt x="700" y="25"/>
                  </a:moveTo>
                  <a:lnTo>
                    <a:pt x="700" y="89"/>
                  </a:lnTo>
                  <a:lnTo>
                    <a:pt x="719" y="89"/>
                  </a:lnTo>
                  <a:lnTo>
                    <a:pt x="719" y="71"/>
                  </a:lnTo>
                  <a:lnTo>
                    <a:pt x="719" y="56"/>
                  </a:lnTo>
                  <a:lnTo>
                    <a:pt x="720" y="52"/>
                  </a:lnTo>
                  <a:lnTo>
                    <a:pt x="721" y="48"/>
                  </a:lnTo>
                  <a:lnTo>
                    <a:pt x="722" y="46"/>
                  </a:lnTo>
                  <a:lnTo>
                    <a:pt x="724" y="45"/>
                  </a:lnTo>
                  <a:lnTo>
                    <a:pt x="727" y="42"/>
                  </a:lnTo>
                  <a:lnTo>
                    <a:pt x="729" y="42"/>
                  </a:lnTo>
                  <a:lnTo>
                    <a:pt x="731" y="41"/>
                  </a:lnTo>
                  <a:lnTo>
                    <a:pt x="735" y="40"/>
                  </a:lnTo>
                  <a:lnTo>
                    <a:pt x="740" y="41"/>
                  </a:lnTo>
                  <a:lnTo>
                    <a:pt x="740" y="23"/>
                  </a:lnTo>
                  <a:lnTo>
                    <a:pt x="735" y="23"/>
                  </a:lnTo>
                  <a:lnTo>
                    <a:pt x="731" y="24"/>
                  </a:lnTo>
                  <a:lnTo>
                    <a:pt x="728" y="24"/>
                  </a:lnTo>
                  <a:lnTo>
                    <a:pt x="725" y="26"/>
                  </a:lnTo>
                  <a:lnTo>
                    <a:pt x="723" y="27"/>
                  </a:lnTo>
                  <a:lnTo>
                    <a:pt x="721" y="30"/>
                  </a:lnTo>
                  <a:lnTo>
                    <a:pt x="719" y="33"/>
                  </a:lnTo>
                  <a:lnTo>
                    <a:pt x="718" y="36"/>
                  </a:lnTo>
                  <a:lnTo>
                    <a:pt x="718" y="25"/>
                  </a:lnTo>
                  <a:lnTo>
                    <a:pt x="700" y="25"/>
                  </a:lnTo>
                  <a:close/>
                  <a:moveTo>
                    <a:pt x="640" y="49"/>
                  </a:moveTo>
                  <a:lnTo>
                    <a:pt x="641" y="46"/>
                  </a:lnTo>
                  <a:lnTo>
                    <a:pt x="642" y="44"/>
                  </a:lnTo>
                  <a:lnTo>
                    <a:pt x="643" y="42"/>
                  </a:lnTo>
                  <a:lnTo>
                    <a:pt x="645" y="40"/>
                  </a:lnTo>
                  <a:lnTo>
                    <a:pt x="647" y="39"/>
                  </a:lnTo>
                  <a:lnTo>
                    <a:pt x="649" y="38"/>
                  </a:lnTo>
                  <a:lnTo>
                    <a:pt x="655" y="37"/>
                  </a:lnTo>
                  <a:lnTo>
                    <a:pt x="660" y="38"/>
                  </a:lnTo>
                  <a:lnTo>
                    <a:pt x="662" y="39"/>
                  </a:lnTo>
                  <a:lnTo>
                    <a:pt x="663" y="40"/>
                  </a:lnTo>
                  <a:lnTo>
                    <a:pt x="665" y="42"/>
                  </a:lnTo>
                  <a:lnTo>
                    <a:pt x="666" y="44"/>
                  </a:lnTo>
                  <a:lnTo>
                    <a:pt x="667" y="46"/>
                  </a:lnTo>
                  <a:lnTo>
                    <a:pt x="667" y="49"/>
                  </a:lnTo>
                  <a:lnTo>
                    <a:pt x="640" y="49"/>
                  </a:lnTo>
                  <a:close/>
                  <a:moveTo>
                    <a:pt x="687" y="62"/>
                  </a:moveTo>
                  <a:lnTo>
                    <a:pt x="686" y="56"/>
                  </a:lnTo>
                  <a:lnTo>
                    <a:pt x="686" y="51"/>
                  </a:lnTo>
                  <a:lnTo>
                    <a:pt x="685" y="47"/>
                  </a:lnTo>
                  <a:lnTo>
                    <a:pt x="684" y="43"/>
                  </a:lnTo>
                  <a:lnTo>
                    <a:pt x="682" y="38"/>
                  </a:lnTo>
                  <a:lnTo>
                    <a:pt x="679" y="34"/>
                  </a:lnTo>
                  <a:lnTo>
                    <a:pt x="676" y="31"/>
                  </a:lnTo>
                  <a:lnTo>
                    <a:pt x="673" y="28"/>
                  </a:lnTo>
                  <a:lnTo>
                    <a:pt x="669" y="26"/>
                  </a:lnTo>
                  <a:lnTo>
                    <a:pt x="667" y="25"/>
                  </a:lnTo>
                  <a:lnTo>
                    <a:pt x="665" y="24"/>
                  </a:lnTo>
                  <a:lnTo>
                    <a:pt x="660" y="23"/>
                  </a:lnTo>
                  <a:lnTo>
                    <a:pt x="655" y="23"/>
                  </a:lnTo>
                  <a:lnTo>
                    <a:pt x="647" y="24"/>
                  </a:lnTo>
                  <a:lnTo>
                    <a:pt x="641" y="26"/>
                  </a:lnTo>
                  <a:lnTo>
                    <a:pt x="638" y="27"/>
                  </a:lnTo>
                  <a:lnTo>
                    <a:pt x="635" y="29"/>
                  </a:lnTo>
                  <a:lnTo>
                    <a:pt x="630" y="32"/>
                  </a:lnTo>
                  <a:lnTo>
                    <a:pt x="628" y="35"/>
                  </a:lnTo>
                  <a:lnTo>
                    <a:pt x="627" y="37"/>
                  </a:lnTo>
                  <a:lnTo>
                    <a:pt x="625" y="40"/>
                  </a:lnTo>
                  <a:lnTo>
                    <a:pt x="624" y="43"/>
                  </a:lnTo>
                  <a:lnTo>
                    <a:pt x="623" y="46"/>
                  </a:lnTo>
                  <a:lnTo>
                    <a:pt x="622" y="50"/>
                  </a:lnTo>
                  <a:lnTo>
                    <a:pt x="621" y="53"/>
                  </a:lnTo>
                  <a:lnTo>
                    <a:pt x="621" y="57"/>
                  </a:lnTo>
                  <a:lnTo>
                    <a:pt x="622" y="64"/>
                  </a:lnTo>
                  <a:lnTo>
                    <a:pt x="624" y="71"/>
                  </a:lnTo>
                  <a:lnTo>
                    <a:pt x="626" y="76"/>
                  </a:lnTo>
                  <a:lnTo>
                    <a:pt x="630" y="81"/>
                  </a:lnTo>
                  <a:lnTo>
                    <a:pt x="635" y="85"/>
                  </a:lnTo>
                  <a:lnTo>
                    <a:pt x="641" y="88"/>
                  </a:lnTo>
                  <a:lnTo>
                    <a:pt x="644" y="89"/>
                  </a:lnTo>
                  <a:lnTo>
                    <a:pt x="647" y="90"/>
                  </a:lnTo>
                  <a:lnTo>
                    <a:pt x="650" y="90"/>
                  </a:lnTo>
                  <a:lnTo>
                    <a:pt x="655" y="90"/>
                  </a:lnTo>
                  <a:lnTo>
                    <a:pt x="661" y="90"/>
                  </a:lnTo>
                  <a:lnTo>
                    <a:pt x="666" y="89"/>
                  </a:lnTo>
                  <a:lnTo>
                    <a:pt x="671" y="87"/>
                  </a:lnTo>
                  <a:lnTo>
                    <a:pt x="675" y="85"/>
                  </a:lnTo>
                  <a:lnTo>
                    <a:pt x="679" y="82"/>
                  </a:lnTo>
                  <a:lnTo>
                    <a:pt x="680" y="80"/>
                  </a:lnTo>
                  <a:lnTo>
                    <a:pt x="682" y="78"/>
                  </a:lnTo>
                  <a:lnTo>
                    <a:pt x="684" y="74"/>
                  </a:lnTo>
                  <a:lnTo>
                    <a:pt x="686" y="70"/>
                  </a:lnTo>
                  <a:lnTo>
                    <a:pt x="667" y="70"/>
                  </a:lnTo>
                  <a:lnTo>
                    <a:pt x="665" y="73"/>
                  </a:lnTo>
                  <a:lnTo>
                    <a:pt x="662" y="74"/>
                  </a:lnTo>
                  <a:lnTo>
                    <a:pt x="659" y="75"/>
                  </a:lnTo>
                  <a:lnTo>
                    <a:pt x="656" y="76"/>
                  </a:lnTo>
                  <a:lnTo>
                    <a:pt x="653" y="76"/>
                  </a:lnTo>
                  <a:lnTo>
                    <a:pt x="649" y="75"/>
                  </a:lnTo>
                  <a:lnTo>
                    <a:pt x="647" y="74"/>
                  </a:lnTo>
                  <a:lnTo>
                    <a:pt x="645" y="72"/>
                  </a:lnTo>
                  <a:lnTo>
                    <a:pt x="643" y="70"/>
                  </a:lnTo>
                  <a:lnTo>
                    <a:pt x="642" y="68"/>
                  </a:lnTo>
                  <a:lnTo>
                    <a:pt x="641" y="65"/>
                  </a:lnTo>
                  <a:lnTo>
                    <a:pt x="640" y="62"/>
                  </a:lnTo>
                  <a:lnTo>
                    <a:pt x="687" y="62"/>
                  </a:lnTo>
                  <a:close/>
                  <a:moveTo>
                    <a:pt x="593" y="89"/>
                  </a:moveTo>
                  <a:lnTo>
                    <a:pt x="614" y="25"/>
                  </a:lnTo>
                  <a:lnTo>
                    <a:pt x="594" y="25"/>
                  </a:lnTo>
                  <a:lnTo>
                    <a:pt x="588" y="49"/>
                  </a:lnTo>
                  <a:lnTo>
                    <a:pt x="584" y="68"/>
                  </a:lnTo>
                  <a:lnTo>
                    <a:pt x="579" y="49"/>
                  </a:lnTo>
                  <a:lnTo>
                    <a:pt x="571" y="25"/>
                  </a:lnTo>
                  <a:lnTo>
                    <a:pt x="552" y="25"/>
                  </a:lnTo>
                  <a:lnTo>
                    <a:pt x="575" y="89"/>
                  </a:lnTo>
                  <a:lnTo>
                    <a:pt x="593" y="89"/>
                  </a:lnTo>
                  <a:close/>
                  <a:moveTo>
                    <a:pt x="540" y="0"/>
                  </a:moveTo>
                  <a:lnTo>
                    <a:pt x="521" y="0"/>
                  </a:lnTo>
                  <a:lnTo>
                    <a:pt x="521" y="16"/>
                  </a:lnTo>
                  <a:lnTo>
                    <a:pt x="540" y="16"/>
                  </a:lnTo>
                  <a:lnTo>
                    <a:pt x="540" y="0"/>
                  </a:lnTo>
                  <a:close/>
                  <a:moveTo>
                    <a:pt x="540" y="25"/>
                  </a:moveTo>
                  <a:lnTo>
                    <a:pt x="521" y="25"/>
                  </a:lnTo>
                  <a:lnTo>
                    <a:pt x="521" y="89"/>
                  </a:lnTo>
                  <a:lnTo>
                    <a:pt x="540" y="89"/>
                  </a:lnTo>
                  <a:lnTo>
                    <a:pt x="540" y="25"/>
                  </a:lnTo>
                  <a:close/>
                  <a:moveTo>
                    <a:pt x="445" y="25"/>
                  </a:moveTo>
                  <a:lnTo>
                    <a:pt x="445" y="89"/>
                  </a:lnTo>
                  <a:lnTo>
                    <a:pt x="464" y="89"/>
                  </a:lnTo>
                  <a:lnTo>
                    <a:pt x="464" y="53"/>
                  </a:lnTo>
                  <a:lnTo>
                    <a:pt x="465" y="46"/>
                  </a:lnTo>
                  <a:lnTo>
                    <a:pt x="465" y="44"/>
                  </a:lnTo>
                  <a:lnTo>
                    <a:pt x="467" y="42"/>
                  </a:lnTo>
                  <a:lnTo>
                    <a:pt x="468" y="41"/>
                  </a:lnTo>
                  <a:lnTo>
                    <a:pt x="470" y="40"/>
                  </a:lnTo>
                  <a:lnTo>
                    <a:pt x="472" y="39"/>
                  </a:lnTo>
                  <a:lnTo>
                    <a:pt x="475" y="39"/>
                  </a:lnTo>
                  <a:lnTo>
                    <a:pt x="477" y="39"/>
                  </a:lnTo>
                  <a:lnTo>
                    <a:pt x="479" y="40"/>
                  </a:lnTo>
                  <a:lnTo>
                    <a:pt x="481" y="41"/>
                  </a:lnTo>
                  <a:lnTo>
                    <a:pt x="482" y="43"/>
                  </a:lnTo>
                  <a:lnTo>
                    <a:pt x="483" y="44"/>
                  </a:lnTo>
                  <a:lnTo>
                    <a:pt x="484" y="47"/>
                  </a:lnTo>
                  <a:lnTo>
                    <a:pt x="484" y="54"/>
                  </a:lnTo>
                  <a:lnTo>
                    <a:pt x="484" y="89"/>
                  </a:lnTo>
                  <a:lnTo>
                    <a:pt x="503" y="89"/>
                  </a:lnTo>
                  <a:lnTo>
                    <a:pt x="503" y="47"/>
                  </a:lnTo>
                  <a:lnTo>
                    <a:pt x="503" y="42"/>
                  </a:lnTo>
                  <a:lnTo>
                    <a:pt x="502" y="37"/>
                  </a:lnTo>
                  <a:lnTo>
                    <a:pt x="500" y="33"/>
                  </a:lnTo>
                  <a:lnTo>
                    <a:pt x="497" y="29"/>
                  </a:lnTo>
                  <a:lnTo>
                    <a:pt x="494" y="27"/>
                  </a:lnTo>
                  <a:lnTo>
                    <a:pt x="490" y="25"/>
                  </a:lnTo>
                  <a:lnTo>
                    <a:pt x="486" y="23"/>
                  </a:lnTo>
                  <a:lnTo>
                    <a:pt x="481" y="23"/>
                  </a:lnTo>
                  <a:lnTo>
                    <a:pt x="476" y="23"/>
                  </a:lnTo>
                  <a:lnTo>
                    <a:pt x="472" y="25"/>
                  </a:lnTo>
                  <a:lnTo>
                    <a:pt x="468" y="27"/>
                  </a:lnTo>
                  <a:lnTo>
                    <a:pt x="463" y="31"/>
                  </a:lnTo>
                  <a:lnTo>
                    <a:pt x="463" y="25"/>
                  </a:lnTo>
                  <a:lnTo>
                    <a:pt x="445" y="25"/>
                  </a:lnTo>
                  <a:close/>
                  <a:moveTo>
                    <a:pt x="407" y="0"/>
                  </a:moveTo>
                  <a:lnTo>
                    <a:pt x="407" y="59"/>
                  </a:lnTo>
                  <a:lnTo>
                    <a:pt x="407" y="63"/>
                  </a:lnTo>
                  <a:lnTo>
                    <a:pt x="406" y="66"/>
                  </a:lnTo>
                  <a:lnTo>
                    <a:pt x="405" y="68"/>
                  </a:lnTo>
                  <a:lnTo>
                    <a:pt x="404" y="70"/>
                  </a:lnTo>
                  <a:lnTo>
                    <a:pt x="401" y="72"/>
                  </a:lnTo>
                  <a:lnTo>
                    <a:pt x="398" y="73"/>
                  </a:lnTo>
                  <a:lnTo>
                    <a:pt x="395" y="74"/>
                  </a:lnTo>
                  <a:lnTo>
                    <a:pt x="392" y="74"/>
                  </a:lnTo>
                  <a:lnTo>
                    <a:pt x="388" y="74"/>
                  </a:lnTo>
                  <a:lnTo>
                    <a:pt x="385" y="73"/>
                  </a:lnTo>
                  <a:lnTo>
                    <a:pt x="382" y="72"/>
                  </a:lnTo>
                  <a:lnTo>
                    <a:pt x="380" y="70"/>
                  </a:lnTo>
                  <a:lnTo>
                    <a:pt x="378" y="68"/>
                  </a:lnTo>
                  <a:lnTo>
                    <a:pt x="377" y="66"/>
                  </a:lnTo>
                  <a:lnTo>
                    <a:pt x="376" y="63"/>
                  </a:lnTo>
                  <a:lnTo>
                    <a:pt x="376" y="59"/>
                  </a:lnTo>
                  <a:lnTo>
                    <a:pt x="376" y="0"/>
                  </a:lnTo>
                  <a:lnTo>
                    <a:pt x="356" y="0"/>
                  </a:lnTo>
                  <a:lnTo>
                    <a:pt x="356" y="60"/>
                  </a:lnTo>
                  <a:lnTo>
                    <a:pt x="357" y="68"/>
                  </a:lnTo>
                  <a:lnTo>
                    <a:pt x="359" y="74"/>
                  </a:lnTo>
                  <a:lnTo>
                    <a:pt x="360" y="77"/>
                  </a:lnTo>
                  <a:lnTo>
                    <a:pt x="362" y="79"/>
                  </a:lnTo>
                  <a:lnTo>
                    <a:pt x="364" y="81"/>
                  </a:lnTo>
                  <a:lnTo>
                    <a:pt x="366" y="83"/>
                  </a:lnTo>
                  <a:lnTo>
                    <a:pt x="371" y="86"/>
                  </a:lnTo>
                  <a:lnTo>
                    <a:pt x="374" y="88"/>
                  </a:lnTo>
                  <a:lnTo>
                    <a:pt x="378" y="89"/>
                  </a:lnTo>
                  <a:lnTo>
                    <a:pt x="384" y="90"/>
                  </a:lnTo>
                  <a:lnTo>
                    <a:pt x="392" y="91"/>
                  </a:lnTo>
                  <a:lnTo>
                    <a:pt x="399" y="90"/>
                  </a:lnTo>
                  <a:lnTo>
                    <a:pt x="403" y="90"/>
                  </a:lnTo>
                  <a:lnTo>
                    <a:pt x="406" y="89"/>
                  </a:lnTo>
                  <a:lnTo>
                    <a:pt x="412" y="86"/>
                  </a:lnTo>
                  <a:lnTo>
                    <a:pt x="418" y="83"/>
                  </a:lnTo>
                  <a:lnTo>
                    <a:pt x="420" y="81"/>
                  </a:lnTo>
                  <a:lnTo>
                    <a:pt x="422" y="79"/>
                  </a:lnTo>
                  <a:lnTo>
                    <a:pt x="424" y="77"/>
                  </a:lnTo>
                  <a:lnTo>
                    <a:pt x="425" y="74"/>
                  </a:lnTo>
                  <a:lnTo>
                    <a:pt x="427" y="68"/>
                  </a:lnTo>
                  <a:lnTo>
                    <a:pt x="427" y="64"/>
                  </a:lnTo>
                  <a:lnTo>
                    <a:pt x="427" y="60"/>
                  </a:lnTo>
                  <a:lnTo>
                    <a:pt x="427" y="0"/>
                  </a:lnTo>
                  <a:lnTo>
                    <a:pt x="407" y="0"/>
                  </a:lnTo>
                  <a:close/>
                  <a:moveTo>
                    <a:pt x="277" y="38"/>
                  </a:moveTo>
                  <a:lnTo>
                    <a:pt x="281" y="38"/>
                  </a:lnTo>
                  <a:lnTo>
                    <a:pt x="284" y="39"/>
                  </a:lnTo>
                  <a:lnTo>
                    <a:pt x="286" y="41"/>
                  </a:lnTo>
                  <a:lnTo>
                    <a:pt x="289" y="43"/>
                  </a:lnTo>
                  <a:lnTo>
                    <a:pt x="290" y="46"/>
                  </a:lnTo>
                  <a:lnTo>
                    <a:pt x="292" y="49"/>
                  </a:lnTo>
                  <a:lnTo>
                    <a:pt x="292" y="53"/>
                  </a:lnTo>
                  <a:lnTo>
                    <a:pt x="293" y="57"/>
                  </a:lnTo>
                  <a:lnTo>
                    <a:pt x="292" y="61"/>
                  </a:lnTo>
                  <a:lnTo>
                    <a:pt x="292" y="65"/>
                  </a:lnTo>
                  <a:lnTo>
                    <a:pt x="290" y="68"/>
                  </a:lnTo>
                  <a:lnTo>
                    <a:pt x="289" y="71"/>
                  </a:lnTo>
                  <a:lnTo>
                    <a:pt x="288" y="72"/>
                  </a:lnTo>
                  <a:lnTo>
                    <a:pt x="286" y="73"/>
                  </a:lnTo>
                  <a:lnTo>
                    <a:pt x="284" y="74"/>
                  </a:lnTo>
                  <a:lnTo>
                    <a:pt x="281" y="75"/>
                  </a:lnTo>
                  <a:lnTo>
                    <a:pt x="277" y="75"/>
                  </a:lnTo>
                  <a:lnTo>
                    <a:pt x="274" y="75"/>
                  </a:lnTo>
                  <a:lnTo>
                    <a:pt x="271" y="74"/>
                  </a:lnTo>
                  <a:lnTo>
                    <a:pt x="269" y="73"/>
                  </a:lnTo>
                  <a:lnTo>
                    <a:pt x="266" y="71"/>
                  </a:lnTo>
                  <a:lnTo>
                    <a:pt x="265" y="68"/>
                  </a:lnTo>
                  <a:lnTo>
                    <a:pt x="264" y="65"/>
                  </a:lnTo>
                  <a:lnTo>
                    <a:pt x="263" y="61"/>
                  </a:lnTo>
                  <a:lnTo>
                    <a:pt x="263" y="57"/>
                  </a:lnTo>
                  <a:lnTo>
                    <a:pt x="263" y="52"/>
                  </a:lnTo>
                  <a:lnTo>
                    <a:pt x="264" y="49"/>
                  </a:lnTo>
                  <a:lnTo>
                    <a:pt x="265" y="46"/>
                  </a:lnTo>
                  <a:lnTo>
                    <a:pt x="266" y="43"/>
                  </a:lnTo>
                  <a:lnTo>
                    <a:pt x="267" y="42"/>
                  </a:lnTo>
                  <a:lnTo>
                    <a:pt x="269" y="41"/>
                  </a:lnTo>
                  <a:lnTo>
                    <a:pt x="271" y="39"/>
                  </a:lnTo>
                  <a:lnTo>
                    <a:pt x="274" y="38"/>
                  </a:lnTo>
                  <a:lnTo>
                    <a:pt x="277" y="38"/>
                  </a:lnTo>
                  <a:close/>
                  <a:moveTo>
                    <a:pt x="277" y="23"/>
                  </a:moveTo>
                  <a:lnTo>
                    <a:pt x="270" y="24"/>
                  </a:lnTo>
                  <a:lnTo>
                    <a:pt x="264" y="26"/>
                  </a:lnTo>
                  <a:lnTo>
                    <a:pt x="261" y="27"/>
                  </a:lnTo>
                  <a:lnTo>
                    <a:pt x="258" y="29"/>
                  </a:lnTo>
                  <a:lnTo>
                    <a:pt x="253" y="33"/>
                  </a:lnTo>
                  <a:lnTo>
                    <a:pt x="249" y="37"/>
                  </a:lnTo>
                  <a:lnTo>
                    <a:pt x="247" y="40"/>
                  </a:lnTo>
                  <a:lnTo>
                    <a:pt x="246" y="43"/>
                  </a:lnTo>
                  <a:lnTo>
                    <a:pt x="245" y="46"/>
                  </a:lnTo>
                  <a:lnTo>
                    <a:pt x="244" y="50"/>
                  </a:lnTo>
                  <a:lnTo>
                    <a:pt x="244" y="53"/>
                  </a:lnTo>
                  <a:lnTo>
                    <a:pt x="244" y="57"/>
                  </a:lnTo>
                  <a:lnTo>
                    <a:pt x="244" y="64"/>
                  </a:lnTo>
                  <a:lnTo>
                    <a:pt x="246" y="70"/>
                  </a:lnTo>
                  <a:lnTo>
                    <a:pt x="247" y="73"/>
                  </a:lnTo>
                  <a:lnTo>
                    <a:pt x="249" y="76"/>
                  </a:lnTo>
                  <a:lnTo>
                    <a:pt x="253" y="81"/>
                  </a:lnTo>
                  <a:lnTo>
                    <a:pt x="258" y="85"/>
                  </a:lnTo>
                  <a:lnTo>
                    <a:pt x="261" y="87"/>
                  </a:lnTo>
                  <a:lnTo>
                    <a:pt x="264" y="88"/>
                  </a:lnTo>
                  <a:lnTo>
                    <a:pt x="267" y="89"/>
                  </a:lnTo>
                  <a:lnTo>
                    <a:pt x="270" y="90"/>
                  </a:lnTo>
                  <a:lnTo>
                    <a:pt x="277" y="90"/>
                  </a:lnTo>
                  <a:lnTo>
                    <a:pt x="285" y="90"/>
                  </a:lnTo>
                  <a:lnTo>
                    <a:pt x="291" y="88"/>
                  </a:lnTo>
                  <a:lnTo>
                    <a:pt x="294" y="87"/>
                  </a:lnTo>
                  <a:lnTo>
                    <a:pt x="297" y="85"/>
                  </a:lnTo>
                  <a:lnTo>
                    <a:pt x="302" y="81"/>
                  </a:lnTo>
                  <a:lnTo>
                    <a:pt x="306" y="76"/>
                  </a:lnTo>
                  <a:lnTo>
                    <a:pt x="308" y="73"/>
                  </a:lnTo>
                  <a:lnTo>
                    <a:pt x="309" y="71"/>
                  </a:lnTo>
                  <a:lnTo>
                    <a:pt x="311" y="64"/>
                  </a:lnTo>
                  <a:lnTo>
                    <a:pt x="311" y="61"/>
                  </a:lnTo>
                  <a:lnTo>
                    <a:pt x="311" y="57"/>
                  </a:lnTo>
                  <a:lnTo>
                    <a:pt x="311" y="53"/>
                  </a:lnTo>
                  <a:lnTo>
                    <a:pt x="311" y="50"/>
                  </a:lnTo>
                  <a:lnTo>
                    <a:pt x="309" y="43"/>
                  </a:lnTo>
                  <a:lnTo>
                    <a:pt x="308" y="40"/>
                  </a:lnTo>
                  <a:lnTo>
                    <a:pt x="306" y="37"/>
                  </a:lnTo>
                  <a:lnTo>
                    <a:pt x="302" y="33"/>
                  </a:lnTo>
                  <a:lnTo>
                    <a:pt x="297" y="29"/>
                  </a:lnTo>
                  <a:lnTo>
                    <a:pt x="294" y="27"/>
                  </a:lnTo>
                  <a:lnTo>
                    <a:pt x="291" y="26"/>
                  </a:lnTo>
                  <a:lnTo>
                    <a:pt x="288" y="24"/>
                  </a:lnTo>
                  <a:lnTo>
                    <a:pt x="285" y="24"/>
                  </a:lnTo>
                  <a:lnTo>
                    <a:pt x="277" y="23"/>
                  </a:lnTo>
                  <a:close/>
                  <a:moveTo>
                    <a:pt x="235" y="26"/>
                  </a:moveTo>
                  <a:lnTo>
                    <a:pt x="224" y="26"/>
                  </a:lnTo>
                  <a:lnTo>
                    <a:pt x="224" y="5"/>
                  </a:lnTo>
                  <a:lnTo>
                    <a:pt x="205" y="5"/>
                  </a:lnTo>
                  <a:lnTo>
                    <a:pt x="205" y="26"/>
                  </a:lnTo>
                  <a:lnTo>
                    <a:pt x="196" y="26"/>
                  </a:lnTo>
                  <a:lnTo>
                    <a:pt x="196" y="39"/>
                  </a:lnTo>
                  <a:lnTo>
                    <a:pt x="205" y="39"/>
                  </a:lnTo>
                  <a:lnTo>
                    <a:pt x="205" y="68"/>
                  </a:lnTo>
                  <a:lnTo>
                    <a:pt x="205" y="74"/>
                  </a:lnTo>
                  <a:lnTo>
                    <a:pt x="206" y="79"/>
                  </a:lnTo>
                  <a:lnTo>
                    <a:pt x="207" y="82"/>
                  </a:lnTo>
                  <a:lnTo>
                    <a:pt x="209" y="84"/>
                  </a:lnTo>
                  <a:lnTo>
                    <a:pt x="211" y="86"/>
                  </a:lnTo>
                  <a:lnTo>
                    <a:pt x="214" y="88"/>
                  </a:lnTo>
                  <a:lnTo>
                    <a:pt x="218" y="88"/>
                  </a:lnTo>
                  <a:lnTo>
                    <a:pt x="224" y="89"/>
                  </a:lnTo>
                  <a:lnTo>
                    <a:pt x="235" y="89"/>
                  </a:lnTo>
                  <a:lnTo>
                    <a:pt x="235" y="75"/>
                  </a:lnTo>
                  <a:lnTo>
                    <a:pt x="228" y="75"/>
                  </a:lnTo>
                  <a:lnTo>
                    <a:pt x="226" y="74"/>
                  </a:lnTo>
                  <a:lnTo>
                    <a:pt x="225" y="74"/>
                  </a:lnTo>
                  <a:lnTo>
                    <a:pt x="224" y="73"/>
                  </a:lnTo>
                  <a:lnTo>
                    <a:pt x="224" y="70"/>
                  </a:lnTo>
                  <a:lnTo>
                    <a:pt x="224" y="64"/>
                  </a:lnTo>
                  <a:lnTo>
                    <a:pt x="224" y="39"/>
                  </a:lnTo>
                  <a:lnTo>
                    <a:pt x="235" y="39"/>
                  </a:lnTo>
                  <a:lnTo>
                    <a:pt x="235" y="26"/>
                  </a:lnTo>
                  <a:close/>
                  <a:moveTo>
                    <a:pt x="184" y="0"/>
                  </a:moveTo>
                  <a:lnTo>
                    <a:pt x="166" y="0"/>
                  </a:lnTo>
                  <a:lnTo>
                    <a:pt x="166" y="89"/>
                  </a:lnTo>
                  <a:lnTo>
                    <a:pt x="184" y="89"/>
                  </a:lnTo>
                  <a:lnTo>
                    <a:pt x="184" y="0"/>
                  </a:lnTo>
                  <a:close/>
                  <a:moveTo>
                    <a:pt x="131" y="68"/>
                  </a:moveTo>
                  <a:lnTo>
                    <a:pt x="129" y="72"/>
                  </a:lnTo>
                  <a:lnTo>
                    <a:pt x="126" y="74"/>
                  </a:lnTo>
                  <a:lnTo>
                    <a:pt x="122" y="76"/>
                  </a:lnTo>
                  <a:lnTo>
                    <a:pt x="117" y="76"/>
                  </a:lnTo>
                  <a:lnTo>
                    <a:pt x="114" y="76"/>
                  </a:lnTo>
                  <a:lnTo>
                    <a:pt x="111" y="74"/>
                  </a:lnTo>
                  <a:lnTo>
                    <a:pt x="109" y="72"/>
                  </a:lnTo>
                  <a:lnTo>
                    <a:pt x="108" y="71"/>
                  </a:lnTo>
                  <a:lnTo>
                    <a:pt x="108" y="69"/>
                  </a:lnTo>
                  <a:lnTo>
                    <a:pt x="109" y="67"/>
                  </a:lnTo>
                  <a:lnTo>
                    <a:pt x="110" y="65"/>
                  </a:lnTo>
                  <a:lnTo>
                    <a:pt x="113" y="63"/>
                  </a:lnTo>
                  <a:lnTo>
                    <a:pt x="118" y="62"/>
                  </a:lnTo>
                  <a:lnTo>
                    <a:pt x="124" y="60"/>
                  </a:lnTo>
                  <a:lnTo>
                    <a:pt x="131" y="58"/>
                  </a:lnTo>
                  <a:lnTo>
                    <a:pt x="131" y="68"/>
                  </a:lnTo>
                  <a:close/>
                  <a:moveTo>
                    <a:pt x="110" y="45"/>
                  </a:moveTo>
                  <a:lnTo>
                    <a:pt x="110" y="43"/>
                  </a:lnTo>
                  <a:lnTo>
                    <a:pt x="111" y="42"/>
                  </a:lnTo>
                  <a:lnTo>
                    <a:pt x="112" y="40"/>
                  </a:lnTo>
                  <a:lnTo>
                    <a:pt x="113" y="39"/>
                  </a:lnTo>
                  <a:lnTo>
                    <a:pt x="116" y="38"/>
                  </a:lnTo>
                  <a:lnTo>
                    <a:pt x="121" y="37"/>
                  </a:lnTo>
                  <a:lnTo>
                    <a:pt x="125" y="38"/>
                  </a:lnTo>
                  <a:lnTo>
                    <a:pt x="128" y="39"/>
                  </a:lnTo>
                  <a:lnTo>
                    <a:pt x="130" y="41"/>
                  </a:lnTo>
                  <a:lnTo>
                    <a:pt x="131" y="42"/>
                  </a:lnTo>
                  <a:lnTo>
                    <a:pt x="131" y="43"/>
                  </a:lnTo>
                  <a:lnTo>
                    <a:pt x="130" y="45"/>
                  </a:lnTo>
                  <a:lnTo>
                    <a:pt x="129" y="46"/>
                  </a:lnTo>
                  <a:lnTo>
                    <a:pt x="128" y="47"/>
                  </a:lnTo>
                  <a:lnTo>
                    <a:pt x="125" y="48"/>
                  </a:lnTo>
                  <a:lnTo>
                    <a:pt x="115" y="49"/>
                  </a:lnTo>
                  <a:lnTo>
                    <a:pt x="109" y="51"/>
                  </a:lnTo>
                  <a:lnTo>
                    <a:pt x="103" y="52"/>
                  </a:lnTo>
                  <a:lnTo>
                    <a:pt x="99" y="54"/>
                  </a:lnTo>
                  <a:lnTo>
                    <a:pt x="95" y="56"/>
                  </a:lnTo>
                  <a:lnTo>
                    <a:pt x="93" y="59"/>
                  </a:lnTo>
                  <a:lnTo>
                    <a:pt x="92" y="61"/>
                  </a:lnTo>
                  <a:lnTo>
                    <a:pt x="91" y="62"/>
                  </a:lnTo>
                  <a:lnTo>
                    <a:pt x="90" y="66"/>
                  </a:lnTo>
                  <a:lnTo>
                    <a:pt x="89" y="70"/>
                  </a:lnTo>
                  <a:lnTo>
                    <a:pt x="90" y="75"/>
                  </a:lnTo>
                  <a:lnTo>
                    <a:pt x="91" y="79"/>
                  </a:lnTo>
                  <a:lnTo>
                    <a:pt x="93" y="82"/>
                  </a:lnTo>
                  <a:lnTo>
                    <a:pt x="96" y="85"/>
                  </a:lnTo>
                  <a:lnTo>
                    <a:pt x="97" y="86"/>
                  </a:lnTo>
                  <a:lnTo>
                    <a:pt x="99" y="87"/>
                  </a:lnTo>
                  <a:lnTo>
                    <a:pt x="103" y="89"/>
                  </a:lnTo>
                  <a:lnTo>
                    <a:pt x="108" y="90"/>
                  </a:lnTo>
                  <a:lnTo>
                    <a:pt x="113" y="90"/>
                  </a:lnTo>
                  <a:lnTo>
                    <a:pt x="118" y="90"/>
                  </a:lnTo>
                  <a:lnTo>
                    <a:pt x="123" y="89"/>
                  </a:lnTo>
                  <a:lnTo>
                    <a:pt x="127" y="87"/>
                  </a:lnTo>
                  <a:lnTo>
                    <a:pt x="131" y="84"/>
                  </a:lnTo>
                  <a:lnTo>
                    <a:pt x="133" y="89"/>
                  </a:lnTo>
                  <a:lnTo>
                    <a:pt x="152" y="89"/>
                  </a:lnTo>
                  <a:lnTo>
                    <a:pt x="151" y="87"/>
                  </a:lnTo>
                  <a:lnTo>
                    <a:pt x="150" y="85"/>
                  </a:lnTo>
                  <a:lnTo>
                    <a:pt x="149" y="78"/>
                  </a:lnTo>
                  <a:lnTo>
                    <a:pt x="149" y="48"/>
                  </a:lnTo>
                  <a:lnTo>
                    <a:pt x="149" y="42"/>
                  </a:lnTo>
                  <a:lnTo>
                    <a:pt x="148" y="37"/>
                  </a:lnTo>
                  <a:lnTo>
                    <a:pt x="146" y="33"/>
                  </a:lnTo>
                  <a:lnTo>
                    <a:pt x="145" y="31"/>
                  </a:lnTo>
                  <a:lnTo>
                    <a:pt x="143" y="30"/>
                  </a:lnTo>
                  <a:lnTo>
                    <a:pt x="139" y="27"/>
                  </a:lnTo>
                  <a:lnTo>
                    <a:pt x="134" y="25"/>
                  </a:lnTo>
                  <a:lnTo>
                    <a:pt x="128" y="23"/>
                  </a:lnTo>
                  <a:lnTo>
                    <a:pt x="121" y="23"/>
                  </a:lnTo>
                  <a:lnTo>
                    <a:pt x="115" y="23"/>
                  </a:lnTo>
                  <a:lnTo>
                    <a:pt x="109" y="24"/>
                  </a:lnTo>
                  <a:lnTo>
                    <a:pt x="104" y="26"/>
                  </a:lnTo>
                  <a:lnTo>
                    <a:pt x="101" y="28"/>
                  </a:lnTo>
                  <a:lnTo>
                    <a:pt x="97" y="31"/>
                  </a:lnTo>
                  <a:lnTo>
                    <a:pt x="95" y="35"/>
                  </a:lnTo>
                  <a:lnTo>
                    <a:pt x="94" y="37"/>
                  </a:lnTo>
                  <a:lnTo>
                    <a:pt x="94" y="40"/>
                  </a:lnTo>
                  <a:lnTo>
                    <a:pt x="93" y="42"/>
                  </a:lnTo>
                  <a:lnTo>
                    <a:pt x="93" y="45"/>
                  </a:lnTo>
                  <a:lnTo>
                    <a:pt x="110" y="45"/>
                  </a:lnTo>
                  <a:close/>
                  <a:moveTo>
                    <a:pt x="52" y="55"/>
                  </a:moveTo>
                  <a:lnTo>
                    <a:pt x="32" y="55"/>
                  </a:lnTo>
                  <a:lnTo>
                    <a:pt x="43" y="20"/>
                  </a:lnTo>
                  <a:lnTo>
                    <a:pt x="52" y="55"/>
                  </a:lnTo>
                  <a:close/>
                  <a:moveTo>
                    <a:pt x="57" y="71"/>
                  </a:moveTo>
                  <a:lnTo>
                    <a:pt x="61" y="89"/>
                  </a:lnTo>
                  <a:lnTo>
                    <a:pt x="84" y="89"/>
                  </a:lnTo>
                  <a:lnTo>
                    <a:pt x="56" y="0"/>
                  </a:lnTo>
                  <a:lnTo>
                    <a:pt x="31" y="0"/>
                  </a:lnTo>
                  <a:lnTo>
                    <a:pt x="0" y="89"/>
                  </a:lnTo>
                  <a:lnTo>
                    <a:pt x="22" y="89"/>
                  </a:lnTo>
                  <a:lnTo>
                    <a:pt x="27" y="71"/>
                  </a:lnTo>
                  <a:lnTo>
                    <a:pt x="57"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14" name="Freeform 7"/>
            <p:cNvSpPr>
              <a:spLocks noEditPoints="1"/>
            </p:cNvSpPr>
            <p:nvPr userDrawn="1"/>
          </p:nvSpPr>
          <p:spPr bwMode="auto">
            <a:xfrm>
              <a:off x="5756275" y="325438"/>
              <a:ext cx="1941513" cy="142875"/>
            </a:xfrm>
            <a:custGeom>
              <a:avLst/>
              <a:gdLst>
                <a:gd name="T0" fmla="*/ 1197 w 1223"/>
                <a:gd name="T1" fmla="*/ 38 h 90"/>
                <a:gd name="T2" fmla="*/ 1220 w 1223"/>
                <a:gd name="T3" fmla="*/ 32 h 90"/>
                <a:gd name="T4" fmla="*/ 1120 w 1223"/>
                <a:gd name="T5" fmla="*/ 37 h 90"/>
                <a:gd name="T6" fmla="*/ 1131 w 1223"/>
                <a:gd name="T7" fmla="*/ 70 h 90"/>
                <a:gd name="T8" fmla="*/ 1105 w 1223"/>
                <a:gd name="T9" fmla="*/ 60 h 90"/>
                <a:gd name="T10" fmla="*/ 1112 w 1223"/>
                <a:gd name="T11" fmla="*/ 23 h 90"/>
                <a:gd name="T12" fmla="*/ 1088 w 1223"/>
                <a:gd name="T13" fmla="*/ 70 h 90"/>
                <a:gd name="T14" fmla="*/ 1136 w 1223"/>
                <a:gd name="T15" fmla="*/ 86 h 90"/>
                <a:gd name="T16" fmla="*/ 1150 w 1223"/>
                <a:gd name="T17" fmla="*/ 40 h 90"/>
                <a:gd name="T18" fmla="*/ 1074 w 1223"/>
                <a:gd name="T19" fmla="*/ 15 h 90"/>
                <a:gd name="T20" fmla="*/ 1002 w 1223"/>
                <a:gd name="T21" fmla="*/ 25 h 90"/>
                <a:gd name="T22" fmla="*/ 1041 w 1223"/>
                <a:gd name="T23" fmla="*/ 88 h 90"/>
                <a:gd name="T24" fmla="*/ 967 w 1223"/>
                <a:gd name="T25" fmla="*/ 74 h 90"/>
                <a:gd name="T26" fmla="*/ 966 w 1223"/>
                <a:gd name="T27" fmla="*/ 60 h 90"/>
                <a:gd name="T28" fmla="*/ 971 w 1223"/>
                <a:gd name="T29" fmla="*/ 40 h 90"/>
                <a:gd name="T30" fmla="*/ 934 w 1223"/>
                <a:gd name="T31" fmla="*/ 59 h 90"/>
                <a:gd name="T32" fmla="*/ 954 w 1223"/>
                <a:gd name="T33" fmla="*/ 90 h 90"/>
                <a:gd name="T34" fmla="*/ 990 w 1223"/>
                <a:gd name="T35" fmla="*/ 36 h 90"/>
                <a:gd name="T36" fmla="*/ 939 w 1223"/>
                <a:gd name="T37" fmla="*/ 31 h 90"/>
                <a:gd name="T38" fmla="*/ 907 w 1223"/>
                <a:gd name="T39" fmla="*/ 26 h 90"/>
                <a:gd name="T40" fmla="*/ 859 w 1223"/>
                <a:gd name="T41" fmla="*/ 49 h 90"/>
                <a:gd name="T42" fmla="*/ 891 w 1223"/>
                <a:gd name="T43" fmla="*/ 90 h 90"/>
                <a:gd name="T44" fmla="*/ 899 w 1223"/>
                <a:gd name="T45" fmla="*/ 72 h 90"/>
                <a:gd name="T46" fmla="*/ 878 w 1223"/>
                <a:gd name="T47" fmla="*/ 56 h 90"/>
                <a:gd name="T48" fmla="*/ 900 w 1223"/>
                <a:gd name="T49" fmla="*/ 42 h 90"/>
                <a:gd name="T50" fmla="*/ 823 w 1223"/>
                <a:gd name="T51" fmla="*/ 73 h 90"/>
                <a:gd name="T52" fmla="*/ 790 w 1223"/>
                <a:gd name="T53" fmla="*/ 71 h 90"/>
                <a:gd name="T54" fmla="*/ 828 w 1223"/>
                <a:gd name="T55" fmla="*/ 83 h 90"/>
                <a:gd name="T56" fmla="*/ 756 w 1223"/>
                <a:gd name="T57" fmla="*/ 52 h 90"/>
                <a:gd name="T58" fmla="*/ 735 w 1223"/>
                <a:gd name="T59" fmla="*/ 72 h 90"/>
                <a:gd name="T60" fmla="*/ 740 w 1223"/>
                <a:gd name="T61" fmla="*/ 38 h 90"/>
                <a:gd name="T62" fmla="*/ 719 w 1223"/>
                <a:gd name="T63" fmla="*/ 32 h 90"/>
                <a:gd name="T64" fmla="*/ 723 w 1223"/>
                <a:gd name="T65" fmla="*/ 85 h 90"/>
                <a:gd name="T66" fmla="*/ 757 w 1223"/>
                <a:gd name="T67" fmla="*/ 88 h 90"/>
                <a:gd name="T68" fmla="*/ 655 w 1223"/>
                <a:gd name="T69" fmla="*/ 34 h 90"/>
                <a:gd name="T70" fmla="*/ 556 w 1223"/>
                <a:gd name="T71" fmla="*/ 38 h 90"/>
                <a:gd name="T72" fmla="*/ 580 w 1223"/>
                <a:gd name="T73" fmla="*/ 41 h 90"/>
                <a:gd name="T74" fmla="*/ 533 w 1223"/>
                <a:gd name="T75" fmla="*/ 28 h 90"/>
                <a:gd name="T76" fmla="*/ 528 w 1223"/>
                <a:gd name="T77" fmla="*/ 81 h 90"/>
                <a:gd name="T78" fmla="*/ 577 w 1223"/>
                <a:gd name="T79" fmla="*/ 80 h 90"/>
                <a:gd name="T80" fmla="*/ 543 w 1223"/>
                <a:gd name="T81" fmla="*/ 72 h 90"/>
                <a:gd name="T82" fmla="*/ 471 w 1223"/>
                <a:gd name="T83" fmla="*/ 24 h 90"/>
                <a:gd name="T84" fmla="*/ 440 w 1223"/>
                <a:gd name="T85" fmla="*/ 88 h 90"/>
                <a:gd name="T86" fmla="*/ 376 w 1223"/>
                <a:gd name="T87" fmla="*/ 78 h 90"/>
                <a:gd name="T88" fmla="*/ 394 w 1223"/>
                <a:gd name="T89" fmla="*/ 69 h 90"/>
                <a:gd name="T90" fmla="*/ 329 w 1223"/>
                <a:gd name="T91" fmla="*/ 73 h 90"/>
                <a:gd name="T92" fmla="*/ 295 w 1223"/>
                <a:gd name="T93" fmla="*/ 71 h 90"/>
                <a:gd name="T94" fmla="*/ 333 w 1223"/>
                <a:gd name="T95" fmla="*/ 83 h 90"/>
                <a:gd name="T96" fmla="*/ 259 w 1223"/>
                <a:gd name="T97" fmla="*/ 23 h 90"/>
                <a:gd name="T98" fmla="*/ 221 w 1223"/>
                <a:gd name="T99" fmla="*/ 64 h 90"/>
                <a:gd name="T100" fmla="*/ 264 w 1223"/>
                <a:gd name="T101" fmla="*/ 88 h 90"/>
                <a:gd name="T102" fmla="*/ 257 w 1223"/>
                <a:gd name="T103" fmla="*/ 74 h 90"/>
                <a:gd name="T104" fmla="*/ 240 w 1223"/>
                <a:gd name="T105" fmla="*/ 50 h 90"/>
                <a:gd name="T106" fmla="*/ 264 w 1223"/>
                <a:gd name="T107" fmla="*/ 47 h 90"/>
                <a:gd name="T108" fmla="*/ 186 w 1223"/>
                <a:gd name="T109" fmla="*/ 40 h 90"/>
                <a:gd name="T110" fmla="*/ 202 w 1223"/>
                <a:gd name="T111" fmla="*/ 33 h 90"/>
                <a:gd name="T112" fmla="*/ 152 w 1223"/>
                <a:gd name="T113" fmla="*/ 34 h 90"/>
                <a:gd name="T114" fmla="*/ 165 w 1223"/>
                <a:gd name="T115" fmla="*/ 87 h 90"/>
                <a:gd name="T116" fmla="*/ 207 w 1223"/>
                <a:gd name="T117" fmla="*/ 74 h 90"/>
                <a:gd name="T118" fmla="*/ 166 w 1223"/>
                <a:gd name="T119" fmla="*/ 67 h 90"/>
                <a:gd name="T120" fmla="*/ 96 w 1223"/>
                <a:gd name="T121" fmla="*/ 88 h 90"/>
                <a:gd name="T122" fmla="*/ 60 w 1223"/>
                <a:gd name="T123" fmla="*/ 5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3" h="90">
                  <a:moveTo>
                    <a:pt x="1165" y="24"/>
                  </a:moveTo>
                  <a:lnTo>
                    <a:pt x="1165" y="88"/>
                  </a:lnTo>
                  <a:lnTo>
                    <a:pt x="1184" y="88"/>
                  </a:lnTo>
                  <a:lnTo>
                    <a:pt x="1184" y="52"/>
                  </a:lnTo>
                  <a:lnTo>
                    <a:pt x="1184" y="46"/>
                  </a:lnTo>
                  <a:lnTo>
                    <a:pt x="1185" y="44"/>
                  </a:lnTo>
                  <a:lnTo>
                    <a:pt x="1187" y="42"/>
                  </a:lnTo>
                  <a:lnTo>
                    <a:pt x="1188" y="40"/>
                  </a:lnTo>
                  <a:lnTo>
                    <a:pt x="1190" y="39"/>
                  </a:lnTo>
                  <a:lnTo>
                    <a:pt x="1192" y="38"/>
                  </a:lnTo>
                  <a:lnTo>
                    <a:pt x="1195" y="38"/>
                  </a:lnTo>
                  <a:lnTo>
                    <a:pt x="1197" y="38"/>
                  </a:lnTo>
                  <a:lnTo>
                    <a:pt x="1199" y="39"/>
                  </a:lnTo>
                  <a:lnTo>
                    <a:pt x="1201" y="40"/>
                  </a:lnTo>
                  <a:lnTo>
                    <a:pt x="1202" y="42"/>
                  </a:lnTo>
                  <a:lnTo>
                    <a:pt x="1203" y="44"/>
                  </a:lnTo>
                  <a:lnTo>
                    <a:pt x="1204" y="46"/>
                  </a:lnTo>
                  <a:lnTo>
                    <a:pt x="1204" y="53"/>
                  </a:lnTo>
                  <a:lnTo>
                    <a:pt x="1204" y="88"/>
                  </a:lnTo>
                  <a:lnTo>
                    <a:pt x="1223" y="88"/>
                  </a:lnTo>
                  <a:lnTo>
                    <a:pt x="1223" y="47"/>
                  </a:lnTo>
                  <a:lnTo>
                    <a:pt x="1223" y="41"/>
                  </a:lnTo>
                  <a:lnTo>
                    <a:pt x="1222" y="37"/>
                  </a:lnTo>
                  <a:lnTo>
                    <a:pt x="1220" y="32"/>
                  </a:lnTo>
                  <a:lnTo>
                    <a:pt x="1217" y="29"/>
                  </a:lnTo>
                  <a:lnTo>
                    <a:pt x="1214" y="26"/>
                  </a:lnTo>
                  <a:lnTo>
                    <a:pt x="1210" y="24"/>
                  </a:lnTo>
                  <a:lnTo>
                    <a:pt x="1206" y="23"/>
                  </a:lnTo>
                  <a:lnTo>
                    <a:pt x="1201" y="22"/>
                  </a:lnTo>
                  <a:lnTo>
                    <a:pt x="1196" y="23"/>
                  </a:lnTo>
                  <a:lnTo>
                    <a:pt x="1192" y="24"/>
                  </a:lnTo>
                  <a:lnTo>
                    <a:pt x="1188" y="27"/>
                  </a:lnTo>
                  <a:lnTo>
                    <a:pt x="1183" y="30"/>
                  </a:lnTo>
                  <a:lnTo>
                    <a:pt x="1183" y="24"/>
                  </a:lnTo>
                  <a:lnTo>
                    <a:pt x="1165" y="24"/>
                  </a:lnTo>
                  <a:close/>
                  <a:moveTo>
                    <a:pt x="1120" y="37"/>
                  </a:moveTo>
                  <a:lnTo>
                    <a:pt x="1123" y="38"/>
                  </a:lnTo>
                  <a:lnTo>
                    <a:pt x="1126" y="39"/>
                  </a:lnTo>
                  <a:lnTo>
                    <a:pt x="1129" y="40"/>
                  </a:lnTo>
                  <a:lnTo>
                    <a:pt x="1131" y="42"/>
                  </a:lnTo>
                  <a:lnTo>
                    <a:pt x="1132" y="45"/>
                  </a:lnTo>
                  <a:lnTo>
                    <a:pt x="1134" y="48"/>
                  </a:lnTo>
                  <a:lnTo>
                    <a:pt x="1134" y="52"/>
                  </a:lnTo>
                  <a:lnTo>
                    <a:pt x="1135" y="57"/>
                  </a:lnTo>
                  <a:lnTo>
                    <a:pt x="1134" y="61"/>
                  </a:lnTo>
                  <a:lnTo>
                    <a:pt x="1134" y="64"/>
                  </a:lnTo>
                  <a:lnTo>
                    <a:pt x="1132" y="67"/>
                  </a:lnTo>
                  <a:lnTo>
                    <a:pt x="1131" y="70"/>
                  </a:lnTo>
                  <a:lnTo>
                    <a:pt x="1130" y="71"/>
                  </a:lnTo>
                  <a:lnTo>
                    <a:pt x="1129" y="72"/>
                  </a:lnTo>
                  <a:lnTo>
                    <a:pt x="1126" y="74"/>
                  </a:lnTo>
                  <a:lnTo>
                    <a:pt x="1123" y="75"/>
                  </a:lnTo>
                  <a:lnTo>
                    <a:pt x="1120" y="75"/>
                  </a:lnTo>
                  <a:lnTo>
                    <a:pt x="1116" y="75"/>
                  </a:lnTo>
                  <a:lnTo>
                    <a:pt x="1113" y="74"/>
                  </a:lnTo>
                  <a:lnTo>
                    <a:pt x="1111" y="72"/>
                  </a:lnTo>
                  <a:lnTo>
                    <a:pt x="1109" y="70"/>
                  </a:lnTo>
                  <a:lnTo>
                    <a:pt x="1107" y="67"/>
                  </a:lnTo>
                  <a:lnTo>
                    <a:pt x="1106" y="64"/>
                  </a:lnTo>
                  <a:lnTo>
                    <a:pt x="1105" y="60"/>
                  </a:lnTo>
                  <a:lnTo>
                    <a:pt x="1105" y="56"/>
                  </a:lnTo>
                  <a:lnTo>
                    <a:pt x="1105" y="52"/>
                  </a:lnTo>
                  <a:lnTo>
                    <a:pt x="1106" y="48"/>
                  </a:lnTo>
                  <a:lnTo>
                    <a:pt x="1107" y="45"/>
                  </a:lnTo>
                  <a:lnTo>
                    <a:pt x="1109" y="42"/>
                  </a:lnTo>
                  <a:lnTo>
                    <a:pt x="1110" y="41"/>
                  </a:lnTo>
                  <a:lnTo>
                    <a:pt x="1111" y="40"/>
                  </a:lnTo>
                  <a:lnTo>
                    <a:pt x="1113" y="39"/>
                  </a:lnTo>
                  <a:lnTo>
                    <a:pt x="1116" y="38"/>
                  </a:lnTo>
                  <a:lnTo>
                    <a:pt x="1120" y="37"/>
                  </a:lnTo>
                  <a:close/>
                  <a:moveTo>
                    <a:pt x="1120" y="23"/>
                  </a:moveTo>
                  <a:lnTo>
                    <a:pt x="1112" y="23"/>
                  </a:lnTo>
                  <a:lnTo>
                    <a:pt x="1106" y="25"/>
                  </a:lnTo>
                  <a:lnTo>
                    <a:pt x="1103" y="26"/>
                  </a:lnTo>
                  <a:lnTo>
                    <a:pt x="1100" y="28"/>
                  </a:lnTo>
                  <a:lnTo>
                    <a:pt x="1095" y="32"/>
                  </a:lnTo>
                  <a:lnTo>
                    <a:pt x="1091" y="37"/>
                  </a:lnTo>
                  <a:lnTo>
                    <a:pt x="1090" y="40"/>
                  </a:lnTo>
                  <a:lnTo>
                    <a:pt x="1088" y="43"/>
                  </a:lnTo>
                  <a:lnTo>
                    <a:pt x="1087" y="46"/>
                  </a:lnTo>
                  <a:lnTo>
                    <a:pt x="1086" y="49"/>
                  </a:lnTo>
                  <a:lnTo>
                    <a:pt x="1086" y="56"/>
                  </a:lnTo>
                  <a:lnTo>
                    <a:pt x="1086" y="63"/>
                  </a:lnTo>
                  <a:lnTo>
                    <a:pt x="1088" y="70"/>
                  </a:lnTo>
                  <a:lnTo>
                    <a:pt x="1090" y="73"/>
                  </a:lnTo>
                  <a:lnTo>
                    <a:pt x="1091" y="76"/>
                  </a:lnTo>
                  <a:lnTo>
                    <a:pt x="1095" y="80"/>
                  </a:lnTo>
                  <a:lnTo>
                    <a:pt x="1100" y="84"/>
                  </a:lnTo>
                  <a:lnTo>
                    <a:pt x="1103" y="86"/>
                  </a:lnTo>
                  <a:lnTo>
                    <a:pt x="1106" y="87"/>
                  </a:lnTo>
                  <a:lnTo>
                    <a:pt x="1109" y="88"/>
                  </a:lnTo>
                  <a:lnTo>
                    <a:pt x="1112" y="89"/>
                  </a:lnTo>
                  <a:lnTo>
                    <a:pt x="1120" y="90"/>
                  </a:lnTo>
                  <a:lnTo>
                    <a:pt x="1127" y="89"/>
                  </a:lnTo>
                  <a:lnTo>
                    <a:pt x="1133" y="87"/>
                  </a:lnTo>
                  <a:lnTo>
                    <a:pt x="1136" y="86"/>
                  </a:lnTo>
                  <a:lnTo>
                    <a:pt x="1139" y="84"/>
                  </a:lnTo>
                  <a:lnTo>
                    <a:pt x="1144" y="80"/>
                  </a:lnTo>
                  <a:lnTo>
                    <a:pt x="1148" y="76"/>
                  </a:lnTo>
                  <a:lnTo>
                    <a:pt x="1150" y="73"/>
                  </a:lnTo>
                  <a:lnTo>
                    <a:pt x="1151" y="70"/>
                  </a:lnTo>
                  <a:lnTo>
                    <a:pt x="1153" y="64"/>
                  </a:lnTo>
                  <a:lnTo>
                    <a:pt x="1153" y="60"/>
                  </a:lnTo>
                  <a:lnTo>
                    <a:pt x="1154" y="57"/>
                  </a:lnTo>
                  <a:lnTo>
                    <a:pt x="1153" y="53"/>
                  </a:lnTo>
                  <a:lnTo>
                    <a:pt x="1153" y="49"/>
                  </a:lnTo>
                  <a:lnTo>
                    <a:pt x="1151" y="43"/>
                  </a:lnTo>
                  <a:lnTo>
                    <a:pt x="1150" y="40"/>
                  </a:lnTo>
                  <a:lnTo>
                    <a:pt x="1148" y="37"/>
                  </a:lnTo>
                  <a:lnTo>
                    <a:pt x="1144" y="32"/>
                  </a:lnTo>
                  <a:lnTo>
                    <a:pt x="1139" y="28"/>
                  </a:lnTo>
                  <a:lnTo>
                    <a:pt x="1136" y="26"/>
                  </a:lnTo>
                  <a:lnTo>
                    <a:pt x="1133" y="25"/>
                  </a:lnTo>
                  <a:lnTo>
                    <a:pt x="1130" y="24"/>
                  </a:lnTo>
                  <a:lnTo>
                    <a:pt x="1127" y="23"/>
                  </a:lnTo>
                  <a:lnTo>
                    <a:pt x="1120" y="23"/>
                  </a:lnTo>
                  <a:close/>
                  <a:moveTo>
                    <a:pt x="1074" y="0"/>
                  </a:moveTo>
                  <a:lnTo>
                    <a:pt x="1056" y="0"/>
                  </a:lnTo>
                  <a:lnTo>
                    <a:pt x="1056" y="15"/>
                  </a:lnTo>
                  <a:lnTo>
                    <a:pt x="1074" y="15"/>
                  </a:lnTo>
                  <a:lnTo>
                    <a:pt x="1074" y="0"/>
                  </a:lnTo>
                  <a:close/>
                  <a:moveTo>
                    <a:pt x="1074" y="24"/>
                  </a:moveTo>
                  <a:lnTo>
                    <a:pt x="1056" y="24"/>
                  </a:lnTo>
                  <a:lnTo>
                    <a:pt x="1056" y="88"/>
                  </a:lnTo>
                  <a:lnTo>
                    <a:pt x="1074" y="88"/>
                  </a:lnTo>
                  <a:lnTo>
                    <a:pt x="1074" y="24"/>
                  </a:lnTo>
                  <a:close/>
                  <a:moveTo>
                    <a:pt x="1041" y="25"/>
                  </a:moveTo>
                  <a:lnTo>
                    <a:pt x="1029" y="25"/>
                  </a:lnTo>
                  <a:lnTo>
                    <a:pt x="1029" y="5"/>
                  </a:lnTo>
                  <a:lnTo>
                    <a:pt x="1011" y="5"/>
                  </a:lnTo>
                  <a:lnTo>
                    <a:pt x="1011" y="25"/>
                  </a:lnTo>
                  <a:lnTo>
                    <a:pt x="1002" y="25"/>
                  </a:lnTo>
                  <a:lnTo>
                    <a:pt x="1002" y="38"/>
                  </a:lnTo>
                  <a:lnTo>
                    <a:pt x="1011" y="38"/>
                  </a:lnTo>
                  <a:lnTo>
                    <a:pt x="1011" y="67"/>
                  </a:lnTo>
                  <a:lnTo>
                    <a:pt x="1011" y="74"/>
                  </a:lnTo>
                  <a:lnTo>
                    <a:pt x="1011" y="78"/>
                  </a:lnTo>
                  <a:lnTo>
                    <a:pt x="1012" y="81"/>
                  </a:lnTo>
                  <a:lnTo>
                    <a:pt x="1014" y="84"/>
                  </a:lnTo>
                  <a:lnTo>
                    <a:pt x="1017" y="86"/>
                  </a:lnTo>
                  <a:lnTo>
                    <a:pt x="1020" y="87"/>
                  </a:lnTo>
                  <a:lnTo>
                    <a:pt x="1024" y="88"/>
                  </a:lnTo>
                  <a:lnTo>
                    <a:pt x="1029" y="88"/>
                  </a:lnTo>
                  <a:lnTo>
                    <a:pt x="1041" y="88"/>
                  </a:lnTo>
                  <a:lnTo>
                    <a:pt x="1041" y="74"/>
                  </a:lnTo>
                  <a:lnTo>
                    <a:pt x="1034" y="74"/>
                  </a:lnTo>
                  <a:lnTo>
                    <a:pt x="1032" y="74"/>
                  </a:lnTo>
                  <a:lnTo>
                    <a:pt x="1030" y="72"/>
                  </a:lnTo>
                  <a:lnTo>
                    <a:pt x="1029" y="69"/>
                  </a:lnTo>
                  <a:lnTo>
                    <a:pt x="1029" y="63"/>
                  </a:lnTo>
                  <a:lnTo>
                    <a:pt x="1029" y="38"/>
                  </a:lnTo>
                  <a:lnTo>
                    <a:pt x="1041" y="38"/>
                  </a:lnTo>
                  <a:lnTo>
                    <a:pt x="1041" y="25"/>
                  </a:lnTo>
                  <a:close/>
                  <a:moveTo>
                    <a:pt x="973" y="68"/>
                  </a:moveTo>
                  <a:lnTo>
                    <a:pt x="970" y="71"/>
                  </a:lnTo>
                  <a:lnTo>
                    <a:pt x="967" y="74"/>
                  </a:lnTo>
                  <a:lnTo>
                    <a:pt x="963" y="75"/>
                  </a:lnTo>
                  <a:lnTo>
                    <a:pt x="959" y="76"/>
                  </a:lnTo>
                  <a:lnTo>
                    <a:pt x="955" y="75"/>
                  </a:lnTo>
                  <a:lnTo>
                    <a:pt x="952" y="74"/>
                  </a:lnTo>
                  <a:lnTo>
                    <a:pt x="950" y="72"/>
                  </a:lnTo>
                  <a:lnTo>
                    <a:pt x="950" y="70"/>
                  </a:lnTo>
                  <a:lnTo>
                    <a:pt x="949" y="69"/>
                  </a:lnTo>
                  <a:lnTo>
                    <a:pt x="950" y="66"/>
                  </a:lnTo>
                  <a:lnTo>
                    <a:pt x="952" y="64"/>
                  </a:lnTo>
                  <a:lnTo>
                    <a:pt x="955" y="62"/>
                  </a:lnTo>
                  <a:lnTo>
                    <a:pt x="959" y="61"/>
                  </a:lnTo>
                  <a:lnTo>
                    <a:pt x="966" y="60"/>
                  </a:lnTo>
                  <a:lnTo>
                    <a:pt x="973" y="58"/>
                  </a:lnTo>
                  <a:lnTo>
                    <a:pt x="973" y="68"/>
                  </a:lnTo>
                  <a:close/>
                  <a:moveTo>
                    <a:pt x="951" y="44"/>
                  </a:moveTo>
                  <a:lnTo>
                    <a:pt x="951" y="43"/>
                  </a:lnTo>
                  <a:lnTo>
                    <a:pt x="952" y="41"/>
                  </a:lnTo>
                  <a:lnTo>
                    <a:pt x="953" y="40"/>
                  </a:lnTo>
                  <a:lnTo>
                    <a:pt x="954" y="39"/>
                  </a:lnTo>
                  <a:lnTo>
                    <a:pt x="958" y="37"/>
                  </a:lnTo>
                  <a:lnTo>
                    <a:pt x="962" y="37"/>
                  </a:lnTo>
                  <a:lnTo>
                    <a:pt x="966" y="37"/>
                  </a:lnTo>
                  <a:lnTo>
                    <a:pt x="970" y="38"/>
                  </a:lnTo>
                  <a:lnTo>
                    <a:pt x="971" y="40"/>
                  </a:lnTo>
                  <a:lnTo>
                    <a:pt x="972" y="41"/>
                  </a:lnTo>
                  <a:lnTo>
                    <a:pt x="972" y="43"/>
                  </a:lnTo>
                  <a:lnTo>
                    <a:pt x="972" y="44"/>
                  </a:lnTo>
                  <a:lnTo>
                    <a:pt x="971" y="46"/>
                  </a:lnTo>
                  <a:lnTo>
                    <a:pt x="969" y="46"/>
                  </a:lnTo>
                  <a:lnTo>
                    <a:pt x="966" y="47"/>
                  </a:lnTo>
                  <a:lnTo>
                    <a:pt x="956" y="49"/>
                  </a:lnTo>
                  <a:lnTo>
                    <a:pt x="950" y="50"/>
                  </a:lnTo>
                  <a:lnTo>
                    <a:pt x="945" y="52"/>
                  </a:lnTo>
                  <a:lnTo>
                    <a:pt x="940" y="54"/>
                  </a:lnTo>
                  <a:lnTo>
                    <a:pt x="937" y="56"/>
                  </a:lnTo>
                  <a:lnTo>
                    <a:pt x="934" y="59"/>
                  </a:lnTo>
                  <a:lnTo>
                    <a:pt x="933" y="60"/>
                  </a:lnTo>
                  <a:lnTo>
                    <a:pt x="932" y="62"/>
                  </a:lnTo>
                  <a:lnTo>
                    <a:pt x="931" y="66"/>
                  </a:lnTo>
                  <a:lnTo>
                    <a:pt x="931" y="70"/>
                  </a:lnTo>
                  <a:lnTo>
                    <a:pt x="931" y="74"/>
                  </a:lnTo>
                  <a:lnTo>
                    <a:pt x="933" y="78"/>
                  </a:lnTo>
                  <a:lnTo>
                    <a:pt x="935" y="81"/>
                  </a:lnTo>
                  <a:lnTo>
                    <a:pt x="937" y="84"/>
                  </a:lnTo>
                  <a:lnTo>
                    <a:pt x="941" y="87"/>
                  </a:lnTo>
                  <a:lnTo>
                    <a:pt x="945" y="88"/>
                  </a:lnTo>
                  <a:lnTo>
                    <a:pt x="949" y="89"/>
                  </a:lnTo>
                  <a:lnTo>
                    <a:pt x="954" y="90"/>
                  </a:lnTo>
                  <a:lnTo>
                    <a:pt x="960" y="90"/>
                  </a:lnTo>
                  <a:lnTo>
                    <a:pt x="964" y="88"/>
                  </a:lnTo>
                  <a:lnTo>
                    <a:pt x="968" y="86"/>
                  </a:lnTo>
                  <a:lnTo>
                    <a:pt x="973" y="83"/>
                  </a:lnTo>
                  <a:lnTo>
                    <a:pt x="974" y="88"/>
                  </a:lnTo>
                  <a:lnTo>
                    <a:pt x="993" y="88"/>
                  </a:lnTo>
                  <a:lnTo>
                    <a:pt x="992" y="86"/>
                  </a:lnTo>
                  <a:lnTo>
                    <a:pt x="991" y="84"/>
                  </a:lnTo>
                  <a:lnTo>
                    <a:pt x="991" y="77"/>
                  </a:lnTo>
                  <a:lnTo>
                    <a:pt x="991" y="48"/>
                  </a:lnTo>
                  <a:lnTo>
                    <a:pt x="991" y="41"/>
                  </a:lnTo>
                  <a:lnTo>
                    <a:pt x="990" y="36"/>
                  </a:lnTo>
                  <a:lnTo>
                    <a:pt x="988" y="32"/>
                  </a:lnTo>
                  <a:lnTo>
                    <a:pt x="986" y="31"/>
                  </a:lnTo>
                  <a:lnTo>
                    <a:pt x="985" y="29"/>
                  </a:lnTo>
                  <a:lnTo>
                    <a:pt x="980" y="26"/>
                  </a:lnTo>
                  <a:lnTo>
                    <a:pt x="975" y="24"/>
                  </a:lnTo>
                  <a:lnTo>
                    <a:pt x="969" y="23"/>
                  </a:lnTo>
                  <a:lnTo>
                    <a:pt x="962" y="23"/>
                  </a:lnTo>
                  <a:lnTo>
                    <a:pt x="956" y="23"/>
                  </a:lnTo>
                  <a:lnTo>
                    <a:pt x="951" y="24"/>
                  </a:lnTo>
                  <a:lnTo>
                    <a:pt x="946" y="26"/>
                  </a:lnTo>
                  <a:lnTo>
                    <a:pt x="942" y="28"/>
                  </a:lnTo>
                  <a:lnTo>
                    <a:pt x="939" y="31"/>
                  </a:lnTo>
                  <a:lnTo>
                    <a:pt x="937" y="35"/>
                  </a:lnTo>
                  <a:lnTo>
                    <a:pt x="936" y="37"/>
                  </a:lnTo>
                  <a:lnTo>
                    <a:pt x="935" y="39"/>
                  </a:lnTo>
                  <a:lnTo>
                    <a:pt x="934" y="42"/>
                  </a:lnTo>
                  <a:lnTo>
                    <a:pt x="934" y="44"/>
                  </a:lnTo>
                  <a:lnTo>
                    <a:pt x="951" y="44"/>
                  </a:lnTo>
                  <a:close/>
                  <a:moveTo>
                    <a:pt x="920" y="47"/>
                  </a:moveTo>
                  <a:lnTo>
                    <a:pt x="920" y="42"/>
                  </a:lnTo>
                  <a:lnTo>
                    <a:pt x="918" y="37"/>
                  </a:lnTo>
                  <a:lnTo>
                    <a:pt x="915" y="33"/>
                  </a:lnTo>
                  <a:lnTo>
                    <a:pt x="912" y="29"/>
                  </a:lnTo>
                  <a:lnTo>
                    <a:pt x="907" y="26"/>
                  </a:lnTo>
                  <a:lnTo>
                    <a:pt x="903" y="24"/>
                  </a:lnTo>
                  <a:lnTo>
                    <a:pt x="897" y="23"/>
                  </a:lnTo>
                  <a:lnTo>
                    <a:pt x="891" y="23"/>
                  </a:lnTo>
                  <a:lnTo>
                    <a:pt x="884" y="23"/>
                  </a:lnTo>
                  <a:lnTo>
                    <a:pt x="878" y="25"/>
                  </a:lnTo>
                  <a:lnTo>
                    <a:pt x="872" y="28"/>
                  </a:lnTo>
                  <a:lnTo>
                    <a:pt x="870" y="29"/>
                  </a:lnTo>
                  <a:lnTo>
                    <a:pt x="867" y="32"/>
                  </a:lnTo>
                  <a:lnTo>
                    <a:pt x="865" y="34"/>
                  </a:lnTo>
                  <a:lnTo>
                    <a:pt x="864" y="36"/>
                  </a:lnTo>
                  <a:lnTo>
                    <a:pt x="861" y="42"/>
                  </a:lnTo>
                  <a:lnTo>
                    <a:pt x="859" y="49"/>
                  </a:lnTo>
                  <a:lnTo>
                    <a:pt x="859" y="56"/>
                  </a:lnTo>
                  <a:lnTo>
                    <a:pt x="859" y="64"/>
                  </a:lnTo>
                  <a:lnTo>
                    <a:pt x="860" y="67"/>
                  </a:lnTo>
                  <a:lnTo>
                    <a:pt x="861" y="70"/>
                  </a:lnTo>
                  <a:lnTo>
                    <a:pt x="864" y="76"/>
                  </a:lnTo>
                  <a:lnTo>
                    <a:pt x="865" y="79"/>
                  </a:lnTo>
                  <a:lnTo>
                    <a:pt x="867" y="81"/>
                  </a:lnTo>
                  <a:lnTo>
                    <a:pt x="872" y="85"/>
                  </a:lnTo>
                  <a:lnTo>
                    <a:pt x="877" y="88"/>
                  </a:lnTo>
                  <a:lnTo>
                    <a:pt x="884" y="89"/>
                  </a:lnTo>
                  <a:lnTo>
                    <a:pt x="887" y="90"/>
                  </a:lnTo>
                  <a:lnTo>
                    <a:pt x="891" y="90"/>
                  </a:lnTo>
                  <a:lnTo>
                    <a:pt x="897" y="89"/>
                  </a:lnTo>
                  <a:lnTo>
                    <a:pt x="902" y="88"/>
                  </a:lnTo>
                  <a:lnTo>
                    <a:pt x="907" y="86"/>
                  </a:lnTo>
                  <a:lnTo>
                    <a:pt x="911" y="83"/>
                  </a:lnTo>
                  <a:lnTo>
                    <a:pt x="915" y="80"/>
                  </a:lnTo>
                  <a:lnTo>
                    <a:pt x="918" y="75"/>
                  </a:lnTo>
                  <a:lnTo>
                    <a:pt x="920" y="70"/>
                  </a:lnTo>
                  <a:lnTo>
                    <a:pt x="921" y="65"/>
                  </a:lnTo>
                  <a:lnTo>
                    <a:pt x="903" y="64"/>
                  </a:lnTo>
                  <a:lnTo>
                    <a:pt x="902" y="66"/>
                  </a:lnTo>
                  <a:lnTo>
                    <a:pt x="901" y="69"/>
                  </a:lnTo>
                  <a:lnTo>
                    <a:pt x="899" y="72"/>
                  </a:lnTo>
                  <a:lnTo>
                    <a:pt x="897" y="73"/>
                  </a:lnTo>
                  <a:lnTo>
                    <a:pt x="896" y="74"/>
                  </a:lnTo>
                  <a:lnTo>
                    <a:pt x="893" y="74"/>
                  </a:lnTo>
                  <a:lnTo>
                    <a:pt x="891" y="75"/>
                  </a:lnTo>
                  <a:lnTo>
                    <a:pt x="888" y="74"/>
                  </a:lnTo>
                  <a:lnTo>
                    <a:pt x="885" y="73"/>
                  </a:lnTo>
                  <a:lnTo>
                    <a:pt x="883" y="72"/>
                  </a:lnTo>
                  <a:lnTo>
                    <a:pt x="881" y="70"/>
                  </a:lnTo>
                  <a:lnTo>
                    <a:pt x="880" y="67"/>
                  </a:lnTo>
                  <a:lnTo>
                    <a:pt x="879" y="64"/>
                  </a:lnTo>
                  <a:lnTo>
                    <a:pt x="878" y="60"/>
                  </a:lnTo>
                  <a:lnTo>
                    <a:pt x="878" y="56"/>
                  </a:lnTo>
                  <a:lnTo>
                    <a:pt x="878" y="52"/>
                  </a:lnTo>
                  <a:lnTo>
                    <a:pt x="878" y="50"/>
                  </a:lnTo>
                  <a:lnTo>
                    <a:pt x="879" y="48"/>
                  </a:lnTo>
                  <a:lnTo>
                    <a:pt x="880" y="45"/>
                  </a:lnTo>
                  <a:lnTo>
                    <a:pt x="881" y="42"/>
                  </a:lnTo>
                  <a:lnTo>
                    <a:pt x="883" y="40"/>
                  </a:lnTo>
                  <a:lnTo>
                    <a:pt x="885" y="39"/>
                  </a:lnTo>
                  <a:lnTo>
                    <a:pt x="888" y="38"/>
                  </a:lnTo>
                  <a:lnTo>
                    <a:pt x="891" y="38"/>
                  </a:lnTo>
                  <a:lnTo>
                    <a:pt x="895" y="38"/>
                  </a:lnTo>
                  <a:lnTo>
                    <a:pt x="899" y="40"/>
                  </a:lnTo>
                  <a:lnTo>
                    <a:pt x="900" y="42"/>
                  </a:lnTo>
                  <a:lnTo>
                    <a:pt x="901" y="43"/>
                  </a:lnTo>
                  <a:lnTo>
                    <a:pt x="902" y="45"/>
                  </a:lnTo>
                  <a:lnTo>
                    <a:pt x="903" y="47"/>
                  </a:lnTo>
                  <a:lnTo>
                    <a:pt x="920" y="47"/>
                  </a:lnTo>
                  <a:close/>
                  <a:moveTo>
                    <a:pt x="847" y="24"/>
                  </a:moveTo>
                  <a:lnTo>
                    <a:pt x="828" y="24"/>
                  </a:lnTo>
                  <a:lnTo>
                    <a:pt x="828" y="60"/>
                  </a:lnTo>
                  <a:lnTo>
                    <a:pt x="828" y="67"/>
                  </a:lnTo>
                  <a:lnTo>
                    <a:pt x="827" y="69"/>
                  </a:lnTo>
                  <a:lnTo>
                    <a:pt x="826" y="70"/>
                  </a:lnTo>
                  <a:lnTo>
                    <a:pt x="825" y="72"/>
                  </a:lnTo>
                  <a:lnTo>
                    <a:pt x="823" y="73"/>
                  </a:lnTo>
                  <a:lnTo>
                    <a:pt x="821" y="74"/>
                  </a:lnTo>
                  <a:lnTo>
                    <a:pt x="818" y="74"/>
                  </a:lnTo>
                  <a:lnTo>
                    <a:pt x="816" y="74"/>
                  </a:lnTo>
                  <a:lnTo>
                    <a:pt x="814" y="73"/>
                  </a:lnTo>
                  <a:lnTo>
                    <a:pt x="812" y="72"/>
                  </a:lnTo>
                  <a:lnTo>
                    <a:pt x="810" y="70"/>
                  </a:lnTo>
                  <a:lnTo>
                    <a:pt x="809" y="67"/>
                  </a:lnTo>
                  <a:lnTo>
                    <a:pt x="808" y="60"/>
                  </a:lnTo>
                  <a:lnTo>
                    <a:pt x="808" y="24"/>
                  </a:lnTo>
                  <a:lnTo>
                    <a:pt x="789" y="24"/>
                  </a:lnTo>
                  <a:lnTo>
                    <a:pt x="789" y="64"/>
                  </a:lnTo>
                  <a:lnTo>
                    <a:pt x="790" y="71"/>
                  </a:lnTo>
                  <a:lnTo>
                    <a:pt x="791" y="76"/>
                  </a:lnTo>
                  <a:lnTo>
                    <a:pt x="792" y="78"/>
                  </a:lnTo>
                  <a:lnTo>
                    <a:pt x="793" y="80"/>
                  </a:lnTo>
                  <a:lnTo>
                    <a:pt x="795" y="83"/>
                  </a:lnTo>
                  <a:lnTo>
                    <a:pt x="799" y="86"/>
                  </a:lnTo>
                  <a:lnTo>
                    <a:pt x="803" y="88"/>
                  </a:lnTo>
                  <a:lnTo>
                    <a:pt x="808" y="89"/>
                  </a:lnTo>
                  <a:lnTo>
                    <a:pt x="812" y="90"/>
                  </a:lnTo>
                  <a:lnTo>
                    <a:pt x="818" y="89"/>
                  </a:lnTo>
                  <a:lnTo>
                    <a:pt x="822" y="88"/>
                  </a:lnTo>
                  <a:lnTo>
                    <a:pt x="826" y="85"/>
                  </a:lnTo>
                  <a:lnTo>
                    <a:pt x="828" y="83"/>
                  </a:lnTo>
                  <a:lnTo>
                    <a:pt x="829" y="81"/>
                  </a:lnTo>
                  <a:lnTo>
                    <a:pt x="829" y="88"/>
                  </a:lnTo>
                  <a:lnTo>
                    <a:pt x="847" y="88"/>
                  </a:lnTo>
                  <a:lnTo>
                    <a:pt x="847" y="24"/>
                  </a:lnTo>
                  <a:close/>
                  <a:moveTo>
                    <a:pt x="743" y="38"/>
                  </a:moveTo>
                  <a:lnTo>
                    <a:pt x="746" y="38"/>
                  </a:lnTo>
                  <a:lnTo>
                    <a:pt x="749" y="39"/>
                  </a:lnTo>
                  <a:lnTo>
                    <a:pt x="751" y="41"/>
                  </a:lnTo>
                  <a:lnTo>
                    <a:pt x="753" y="43"/>
                  </a:lnTo>
                  <a:lnTo>
                    <a:pt x="755" y="45"/>
                  </a:lnTo>
                  <a:lnTo>
                    <a:pt x="756" y="49"/>
                  </a:lnTo>
                  <a:lnTo>
                    <a:pt x="756" y="52"/>
                  </a:lnTo>
                  <a:lnTo>
                    <a:pt x="757" y="56"/>
                  </a:lnTo>
                  <a:lnTo>
                    <a:pt x="756" y="60"/>
                  </a:lnTo>
                  <a:lnTo>
                    <a:pt x="756" y="64"/>
                  </a:lnTo>
                  <a:lnTo>
                    <a:pt x="755" y="67"/>
                  </a:lnTo>
                  <a:lnTo>
                    <a:pt x="753" y="70"/>
                  </a:lnTo>
                  <a:lnTo>
                    <a:pt x="751" y="72"/>
                  </a:lnTo>
                  <a:lnTo>
                    <a:pt x="749" y="73"/>
                  </a:lnTo>
                  <a:lnTo>
                    <a:pt x="746" y="74"/>
                  </a:lnTo>
                  <a:lnTo>
                    <a:pt x="743" y="75"/>
                  </a:lnTo>
                  <a:lnTo>
                    <a:pt x="740" y="74"/>
                  </a:lnTo>
                  <a:lnTo>
                    <a:pt x="738" y="73"/>
                  </a:lnTo>
                  <a:lnTo>
                    <a:pt x="735" y="72"/>
                  </a:lnTo>
                  <a:lnTo>
                    <a:pt x="733" y="70"/>
                  </a:lnTo>
                  <a:lnTo>
                    <a:pt x="732" y="67"/>
                  </a:lnTo>
                  <a:lnTo>
                    <a:pt x="731" y="64"/>
                  </a:lnTo>
                  <a:lnTo>
                    <a:pt x="730" y="60"/>
                  </a:lnTo>
                  <a:lnTo>
                    <a:pt x="730" y="56"/>
                  </a:lnTo>
                  <a:lnTo>
                    <a:pt x="730" y="52"/>
                  </a:lnTo>
                  <a:lnTo>
                    <a:pt x="731" y="48"/>
                  </a:lnTo>
                  <a:lnTo>
                    <a:pt x="732" y="45"/>
                  </a:lnTo>
                  <a:lnTo>
                    <a:pt x="733" y="43"/>
                  </a:lnTo>
                  <a:lnTo>
                    <a:pt x="735" y="40"/>
                  </a:lnTo>
                  <a:lnTo>
                    <a:pt x="738" y="39"/>
                  </a:lnTo>
                  <a:lnTo>
                    <a:pt x="740" y="38"/>
                  </a:lnTo>
                  <a:lnTo>
                    <a:pt x="743" y="38"/>
                  </a:lnTo>
                  <a:close/>
                  <a:moveTo>
                    <a:pt x="775" y="0"/>
                  </a:moveTo>
                  <a:lnTo>
                    <a:pt x="756" y="0"/>
                  </a:lnTo>
                  <a:lnTo>
                    <a:pt x="756" y="29"/>
                  </a:lnTo>
                  <a:lnTo>
                    <a:pt x="753" y="26"/>
                  </a:lnTo>
                  <a:lnTo>
                    <a:pt x="749" y="24"/>
                  </a:lnTo>
                  <a:lnTo>
                    <a:pt x="745" y="23"/>
                  </a:lnTo>
                  <a:lnTo>
                    <a:pt x="740" y="22"/>
                  </a:lnTo>
                  <a:lnTo>
                    <a:pt x="734" y="23"/>
                  </a:lnTo>
                  <a:lnTo>
                    <a:pt x="728" y="25"/>
                  </a:lnTo>
                  <a:lnTo>
                    <a:pt x="723" y="28"/>
                  </a:lnTo>
                  <a:lnTo>
                    <a:pt x="719" y="32"/>
                  </a:lnTo>
                  <a:lnTo>
                    <a:pt x="716" y="37"/>
                  </a:lnTo>
                  <a:lnTo>
                    <a:pt x="713" y="42"/>
                  </a:lnTo>
                  <a:lnTo>
                    <a:pt x="712" y="46"/>
                  </a:lnTo>
                  <a:lnTo>
                    <a:pt x="712" y="49"/>
                  </a:lnTo>
                  <a:lnTo>
                    <a:pt x="711" y="56"/>
                  </a:lnTo>
                  <a:lnTo>
                    <a:pt x="712" y="64"/>
                  </a:lnTo>
                  <a:lnTo>
                    <a:pt x="712" y="67"/>
                  </a:lnTo>
                  <a:lnTo>
                    <a:pt x="713" y="70"/>
                  </a:lnTo>
                  <a:lnTo>
                    <a:pt x="716" y="76"/>
                  </a:lnTo>
                  <a:lnTo>
                    <a:pt x="717" y="78"/>
                  </a:lnTo>
                  <a:lnTo>
                    <a:pt x="719" y="81"/>
                  </a:lnTo>
                  <a:lnTo>
                    <a:pt x="723" y="85"/>
                  </a:lnTo>
                  <a:lnTo>
                    <a:pt x="728" y="87"/>
                  </a:lnTo>
                  <a:lnTo>
                    <a:pt x="730" y="88"/>
                  </a:lnTo>
                  <a:lnTo>
                    <a:pt x="733" y="89"/>
                  </a:lnTo>
                  <a:lnTo>
                    <a:pt x="736" y="90"/>
                  </a:lnTo>
                  <a:lnTo>
                    <a:pt x="739" y="90"/>
                  </a:lnTo>
                  <a:lnTo>
                    <a:pt x="745" y="89"/>
                  </a:lnTo>
                  <a:lnTo>
                    <a:pt x="747" y="89"/>
                  </a:lnTo>
                  <a:lnTo>
                    <a:pt x="749" y="88"/>
                  </a:lnTo>
                  <a:lnTo>
                    <a:pt x="751" y="87"/>
                  </a:lnTo>
                  <a:lnTo>
                    <a:pt x="753" y="85"/>
                  </a:lnTo>
                  <a:lnTo>
                    <a:pt x="757" y="81"/>
                  </a:lnTo>
                  <a:lnTo>
                    <a:pt x="757" y="88"/>
                  </a:lnTo>
                  <a:lnTo>
                    <a:pt x="775" y="88"/>
                  </a:lnTo>
                  <a:lnTo>
                    <a:pt x="775" y="0"/>
                  </a:lnTo>
                  <a:close/>
                  <a:moveTo>
                    <a:pt x="701" y="0"/>
                  </a:moveTo>
                  <a:lnTo>
                    <a:pt x="634" y="0"/>
                  </a:lnTo>
                  <a:lnTo>
                    <a:pt x="634" y="88"/>
                  </a:lnTo>
                  <a:lnTo>
                    <a:pt x="702" y="88"/>
                  </a:lnTo>
                  <a:lnTo>
                    <a:pt x="702" y="71"/>
                  </a:lnTo>
                  <a:lnTo>
                    <a:pt x="655" y="71"/>
                  </a:lnTo>
                  <a:lnTo>
                    <a:pt x="655" y="50"/>
                  </a:lnTo>
                  <a:lnTo>
                    <a:pt x="695" y="50"/>
                  </a:lnTo>
                  <a:lnTo>
                    <a:pt x="695" y="34"/>
                  </a:lnTo>
                  <a:lnTo>
                    <a:pt x="655" y="34"/>
                  </a:lnTo>
                  <a:lnTo>
                    <a:pt x="655" y="17"/>
                  </a:lnTo>
                  <a:lnTo>
                    <a:pt x="701" y="17"/>
                  </a:lnTo>
                  <a:lnTo>
                    <a:pt x="701" y="0"/>
                  </a:lnTo>
                  <a:close/>
                  <a:moveTo>
                    <a:pt x="538" y="48"/>
                  </a:moveTo>
                  <a:lnTo>
                    <a:pt x="539" y="46"/>
                  </a:lnTo>
                  <a:lnTo>
                    <a:pt x="540" y="43"/>
                  </a:lnTo>
                  <a:lnTo>
                    <a:pt x="541" y="41"/>
                  </a:lnTo>
                  <a:lnTo>
                    <a:pt x="543" y="40"/>
                  </a:lnTo>
                  <a:lnTo>
                    <a:pt x="544" y="38"/>
                  </a:lnTo>
                  <a:lnTo>
                    <a:pt x="547" y="38"/>
                  </a:lnTo>
                  <a:lnTo>
                    <a:pt x="552" y="37"/>
                  </a:lnTo>
                  <a:lnTo>
                    <a:pt x="556" y="38"/>
                  </a:lnTo>
                  <a:lnTo>
                    <a:pt x="558" y="38"/>
                  </a:lnTo>
                  <a:lnTo>
                    <a:pt x="560" y="40"/>
                  </a:lnTo>
                  <a:lnTo>
                    <a:pt x="562" y="41"/>
                  </a:lnTo>
                  <a:lnTo>
                    <a:pt x="563" y="43"/>
                  </a:lnTo>
                  <a:lnTo>
                    <a:pt x="564" y="46"/>
                  </a:lnTo>
                  <a:lnTo>
                    <a:pt x="564" y="48"/>
                  </a:lnTo>
                  <a:lnTo>
                    <a:pt x="538" y="48"/>
                  </a:lnTo>
                  <a:close/>
                  <a:moveTo>
                    <a:pt x="583" y="62"/>
                  </a:moveTo>
                  <a:lnTo>
                    <a:pt x="583" y="56"/>
                  </a:lnTo>
                  <a:lnTo>
                    <a:pt x="583" y="50"/>
                  </a:lnTo>
                  <a:lnTo>
                    <a:pt x="582" y="46"/>
                  </a:lnTo>
                  <a:lnTo>
                    <a:pt x="580" y="41"/>
                  </a:lnTo>
                  <a:lnTo>
                    <a:pt x="578" y="37"/>
                  </a:lnTo>
                  <a:lnTo>
                    <a:pt x="576" y="33"/>
                  </a:lnTo>
                  <a:lnTo>
                    <a:pt x="573" y="30"/>
                  </a:lnTo>
                  <a:lnTo>
                    <a:pt x="569" y="27"/>
                  </a:lnTo>
                  <a:lnTo>
                    <a:pt x="565" y="25"/>
                  </a:lnTo>
                  <a:lnTo>
                    <a:pt x="561" y="24"/>
                  </a:lnTo>
                  <a:lnTo>
                    <a:pt x="557" y="23"/>
                  </a:lnTo>
                  <a:lnTo>
                    <a:pt x="552" y="23"/>
                  </a:lnTo>
                  <a:lnTo>
                    <a:pt x="545" y="23"/>
                  </a:lnTo>
                  <a:lnTo>
                    <a:pt x="538" y="25"/>
                  </a:lnTo>
                  <a:lnTo>
                    <a:pt x="536" y="26"/>
                  </a:lnTo>
                  <a:lnTo>
                    <a:pt x="533" y="28"/>
                  </a:lnTo>
                  <a:lnTo>
                    <a:pt x="528" y="32"/>
                  </a:lnTo>
                  <a:lnTo>
                    <a:pt x="526" y="34"/>
                  </a:lnTo>
                  <a:lnTo>
                    <a:pt x="524" y="37"/>
                  </a:lnTo>
                  <a:lnTo>
                    <a:pt x="521" y="43"/>
                  </a:lnTo>
                  <a:lnTo>
                    <a:pt x="520" y="49"/>
                  </a:lnTo>
                  <a:lnTo>
                    <a:pt x="519" y="53"/>
                  </a:lnTo>
                  <a:lnTo>
                    <a:pt x="519" y="56"/>
                  </a:lnTo>
                  <a:lnTo>
                    <a:pt x="520" y="63"/>
                  </a:lnTo>
                  <a:lnTo>
                    <a:pt x="521" y="70"/>
                  </a:lnTo>
                  <a:lnTo>
                    <a:pt x="524" y="76"/>
                  </a:lnTo>
                  <a:lnTo>
                    <a:pt x="526" y="78"/>
                  </a:lnTo>
                  <a:lnTo>
                    <a:pt x="528" y="81"/>
                  </a:lnTo>
                  <a:lnTo>
                    <a:pt x="533" y="85"/>
                  </a:lnTo>
                  <a:lnTo>
                    <a:pt x="538" y="87"/>
                  </a:lnTo>
                  <a:lnTo>
                    <a:pt x="541" y="88"/>
                  </a:lnTo>
                  <a:lnTo>
                    <a:pt x="545" y="89"/>
                  </a:lnTo>
                  <a:lnTo>
                    <a:pt x="548" y="90"/>
                  </a:lnTo>
                  <a:lnTo>
                    <a:pt x="552" y="90"/>
                  </a:lnTo>
                  <a:lnTo>
                    <a:pt x="557" y="89"/>
                  </a:lnTo>
                  <a:lnTo>
                    <a:pt x="563" y="88"/>
                  </a:lnTo>
                  <a:lnTo>
                    <a:pt x="567" y="87"/>
                  </a:lnTo>
                  <a:lnTo>
                    <a:pt x="572" y="84"/>
                  </a:lnTo>
                  <a:lnTo>
                    <a:pt x="575" y="81"/>
                  </a:lnTo>
                  <a:lnTo>
                    <a:pt x="577" y="80"/>
                  </a:lnTo>
                  <a:lnTo>
                    <a:pt x="578" y="78"/>
                  </a:lnTo>
                  <a:lnTo>
                    <a:pt x="581" y="74"/>
                  </a:lnTo>
                  <a:lnTo>
                    <a:pt x="583" y="69"/>
                  </a:lnTo>
                  <a:lnTo>
                    <a:pt x="563" y="69"/>
                  </a:lnTo>
                  <a:lnTo>
                    <a:pt x="561" y="72"/>
                  </a:lnTo>
                  <a:lnTo>
                    <a:pt x="559" y="74"/>
                  </a:lnTo>
                  <a:lnTo>
                    <a:pt x="556" y="75"/>
                  </a:lnTo>
                  <a:lnTo>
                    <a:pt x="552" y="75"/>
                  </a:lnTo>
                  <a:lnTo>
                    <a:pt x="549" y="75"/>
                  </a:lnTo>
                  <a:lnTo>
                    <a:pt x="547" y="74"/>
                  </a:lnTo>
                  <a:lnTo>
                    <a:pt x="545" y="73"/>
                  </a:lnTo>
                  <a:lnTo>
                    <a:pt x="543" y="72"/>
                  </a:lnTo>
                  <a:lnTo>
                    <a:pt x="541" y="70"/>
                  </a:lnTo>
                  <a:lnTo>
                    <a:pt x="540" y="67"/>
                  </a:lnTo>
                  <a:lnTo>
                    <a:pt x="539" y="65"/>
                  </a:lnTo>
                  <a:lnTo>
                    <a:pt x="538" y="62"/>
                  </a:lnTo>
                  <a:lnTo>
                    <a:pt x="583" y="62"/>
                  </a:lnTo>
                  <a:close/>
                  <a:moveTo>
                    <a:pt x="493" y="88"/>
                  </a:moveTo>
                  <a:lnTo>
                    <a:pt x="514" y="24"/>
                  </a:lnTo>
                  <a:lnTo>
                    <a:pt x="494" y="24"/>
                  </a:lnTo>
                  <a:lnTo>
                    <a:pt x="488" y="49"/>
                  </a:lnTo>
                  <a:lnTo>
                    <a:pt x="484" y="67"/>
                  </a:lnTo>
                  <a:lnTo>
                    <a:pt x="479" y="49"/>
                  </a:lnTo>
                  <a:lnTo>
                    <a:pt x="471" y="24"/>
                  </a:lnTo>
                  <a:lnTo>
                    <a:pt x="452" y="24"/>
                  </a:lnTo>
                  <a:lnTo>
                    <a:pt x="475" y="88"/>
                  </a:lnTo>
                  <a:lnTo>
                    <a:pt x="493" y="88"/>
                  </a:lnTo>
                  <a:close/>
                  <a:moveTo>
                    <a:pt x="440" y="0"/>
                  </a:moveTo>
                  <a:lnTo>
                    <a:pt x="421" y="0"/>
                  </a:lnTo>
                  <a:lnTo>
                    <a:pt x="421" y="15"/>
                  </a:lnTo>
                  <a:lnTo>
                    <a:pt x="440" y="15"/>
                  </a:lnTo>
                  <a:lnTo>
                    <a:pt x="440" y="0"/>
                  </a:lnTo>
                  <a:close/>
                  <a:moveTo>
                    <a:pt x="440" y="24"/>
                  </a:moveTo>
                  <a:lnTo>
                    <a:pt x="421" y="24"/>
                  </a:lnTo>
                  <a:lnTo>
                    <a:pt x="421" y="88"/>
                  </a:lnTo>
                  <a:lnTo>
                    <a:pt x="440" y="88"/>
                  </a:lnTo>
                  <a:lnTo>
                    <a:pt x="440" y="24"/>
                  </a:lnTo>
                  <a:close/>
                  <a:moveTo>
                    <a:pt x="405" y="25"/>
                  </a:moveTo>
                  <a:lnTo>
                    <a:pt x="394" y="25"/>
                  </a:lnTo>
                  <a:lnTo>
                    <a:pt x="394" y="5"/>
                  </a:lnTo>
                  <a:lnTo>
                    <a:pt x="375" y="5"/>
                  </a:lnTo>
                  <a:lnTo>
                    <a:pt x="375" y="25"/>
                  </a:lnTo>
                  <a:lnTo>
                    <a:pt x="366" y="25"/>
                  </a:lnTo>
                  <a:lnTo>
                    <a:pt x="366" y="38"/>
                  </a:lnTo>
                  <a:lnTo>
                    <a:pt x="375" y="38"/>
                  </a:lnTo>
                  <a:lnTo>
                    <a:pt x="375" y="67"/>
                  </a:lnTo>
                  <a:lnTo>
                    <a:pt x="375" y="74"/>
                  </a:lnTo>
                  <a:lnTo>
                    <a:pt x="376" y="78"/>
                  </a:lnTo>
                  <a:lnTo>
                    <a:pt x="377" y="81"/>
                  </a:lnTo>
                  <a:lnTo>
                    <a:pt x="378" y="84"/>
                  </a:lnTo>
                  <a:lnTo>
                    <a:pt x="381" y="86"/>
                  </a:lnTo>
                  <a:lnTo>
                    <a:pt x="384" y="87"/>
                  </a:lnTo>
                  <a:lnTo>
                    <a:pt x="388" y="88"/>
                  </a:lnTo>
                  <a:lnTo>
                    <a:pt x="394" y="88"/>
                  </a:lnTo>
                  <a:lnTo>
                    <a:pt x="405" y="88"/>
                  </a:lnTo>
                  <a:lnTo>
                    <a:pt x="405" y="74"/>
                  </a:lnTo>
                  <a:lnTo>
                    <a:pt x="398" y="74"/>
                  </a:lnTo>
                  <a:lnTo>
                    <a:pt x="396" y="74"/>
                  </a:lnTo>
                  <a:lnTo>
                    <a:pt x="394" y="72"/>
                  </a:lnTo>
                  <a:lnTo>
                    <a:pt x="394" y="69"/>
                  </a:lnTo>
                  <a:lnTo>
                    <a:pt x="394" y="63"/>
                  </a:lnTo>
                  <a:lnTo>
                    <a:pt x="394" y="38"/>
                  </a:lnTo>
                  <a:lnTo>
                    <a:pt x="405" y="38"/>
                  </a:lnTo>
                  <a:lnTo>
                    <a:pt x="405" y="25"/>
                  </a:lnTo>
                  <a:close/>
                  <a:moveTo>
                    <a:pt x="353" y="24"/>
                  </a:moveTo>
                  <a:lnTo>
                    <a:pt x="334" y="24"/>
                  </a:lnTo>
                  <a:lnTo>
                    <a:pt x="334" y="60"/>
                  </a:lnTo>
                  <a:lnTo>
                    <a:pt x="334" y="67"/>
                  </a:lnTo>
                  <a:lnTo>
                    <a:pt x="333" y="69"/>
                  </a:lnTo>
                  <a:lnTo>
                    <a:pt x="332" y="70"/>
                  </a:lnTo>
                  <a:lnTo>
                    <a:pt x="331" y="72"/>
                  </a:lnTo>
                  <a:lnTo>
                    <a:pt x="329" y="73"/>
                  </a:lnTo>
                  <a:lnTo>
                    <a:pt x="327" y="74"/>
                  </a:lnTo>
                  <a:lnTo>
                    <a:pt x="324" y="74"/>
                  </a:lnTo>
                  <a:lnTo>
                    <a:pt x="322" y="74"/>
                  </a:lnTo>
                  <a:lnTo>
                    <a:pt x="319" y="73"/>
                  </a:lnTo>
                  <a:lnTo>
                    <a:pt x="317" y="72"/>
                  </a:lnTo>
                  <a:lnTo>
                    <a:pt x="316" y="70"/>
                  </a:lnTo>
                  <a:lnTo>
                    <a:pt x="314" y="67"/>
                  </a:lnTo>
                  <a:lnTo>
                    <a:pt x="314" y="60"/>
                  </a:lnTo>
                  <a:lnTo>
                    <a:pt x="314" y="24"/>
                  </a:lnTo>
                  <a:lnTo>
                    <a:pt x="295" y="24"/>
                  </a:lnTo>
                  <a:lnTo>
                    <a:pt x="295" y="64"/>
                  </a:lnTo>
                  <a:lnTo>
                    <a:pt x="295" y="71"/>
                  </a:lnTo>
                  <a:lnTo>
                    <a:pt x="296" y="76"/>
                  </a:lnTo>
                  <a:lnTo>
                    <a:pt x="297" y="78"/>
                  </a:lnTo>
                  <a:lnTo>
                    <a:pt x="298" y="80"/>
                  </a:lnTo>
                  <a:lnTo>
                    <a:pt x="301" y="83"/>
                  </a:lnTo>
                  <a:lnTo>
                    <a:pt x="305" y="86"/>
                  </a:lnTo>
                  <a:lnTo>
                    <a:pt x="309" y="88"/>
                  </a:lnTo>
                  <a:lnTo>
                    <a:pt x="313" y="89"/>
                  </a:lnTo>
                  <a:lnTo>
                    <a:pt x="318" y="90"/>
                  </a:lnTo>
                  <a:lnTo>
                    <a:pt x="323" y="89"/>
                  </a:lnTo>
                  <a:lnTo>
                    <a:pt x="328" y="88"/>
                  </a:lnTo>
                  <a:lnTo>
                    <a:pt x="332" y="85"/>
                  </a:lnTo>
                  <a:lnTo>
                    <a:pt x="333" y="83"/>
                  </a:lnTo>
                  <a:lnTo>
                    <a:pt x="335" y="81"/>
                  </a:lnTo>
                  <a:lnTo>
                    <a:pt x="335" y="88"/>
                  </a:lnTo>
                  <a:lnTo>
                    <a:pt x="353" y="88"/>
                  </a:lnTo>
                  <a:lnTo>
                    <a:pt x="353" y="24"/>
                  </a:lnTo>
                  <a:close/>
                  <a:moveTo>
                    <a:pt x="282" y="47"/>
                  </a:moveTo>
                  <a:lnTo>
                    <a:pt x="281" y="42"/>
                  </a:lnTo>
                  <a:lnTo>
                    <a:pt x="279" y="37"/>
                  </a:lnTo>
                  <a:lnTo>
                    <a:pt x="276" y="33"/>
                  </a:lnTo>
                  <a:lnTo>
                    <a:pt x="273" y="29"/>
                  </a:lnTo>
                  <a:lnTo>
                    <a:pt x="269" y="26"/>
                  </a:lnTo>
                  <a:lnTo>
                    <a:pt x="264" y="24"/>
                  </a:lnTo>
                  <a:lnTo>
                    <a:pt x="259" y="23"/>
                  </a:lnTo>
                  <a:lnTo>
                    <a:pt x="253" y="23"/>
                  </a:lnTo>
                  <a:lnTo>
                    <a:pt x="245" y="23"/>
                  </a:lnTo>
                  <a:lnTo>
                    <a:pt x="239" y="25"/>
                  </a:lnTo>
                  <a:lnTo>
                    <a:pt x="233" y="28"/>
                  </a:lnTo>
                  <a:lnTo>
                    <a:pt x="231" y="29"/>
                  </a:lnTo>
                  <a:lnTo>
                    <a:pt x="229" y="32"/>
                  </a:lnTo>
                  <a:lnTo>
                    <a:pt x="227" y="34"/>
                  </a:lnTo>
                  <a:lnTo>
                    <a:pt x="225" y="36"/>
                  </a:lnTo>
                  <a:lnTo>
                    <a:pt x="222" y="42"/>
                  </a:lnTo>
                  <a:lnTo>
                    <a:pt x="221" y="49"/>
                  </a:lnTo>
                  <a:lnTo>
                    <a:pt x="220" y="56"/>
                  </a:lnTo>
                  <a:lnTo>
                    <a:pt x="221" y="64"/>
                  </a:lnTo>
                  <a:lnTo>
                    <a:pt x="221" y="67"/>
                  </a:lnTo>
                  <a:lnTo>
                    <a:pt x="222" y="70"/>
                  </a:lnTo>
                  <a:lnTo>
                    <a:pt x="225" y="76"/>
                  </a:lnTo>
                  <a:lnTo>
                    <a:pt x="227" y="79"/>
                  </a:lnTo>
                  <a:lnTo>
                    <a:pt x="229" y="81"/>
                  </a:lnTo>
                  <a:lnTo>
                    <a:pt x="233" y="85"/>
                  </a:lnTo>
                  <a:lnTo>
                    <a:pt x="239" y="88"/>
                  </a:lnTo>
                  <a:lnTo>
                    <a:pt x="245" y="89"/>
                  </a:lnTo>
                  <a:lnTo>
                    <a:pt x="248" y="90"/>
                  </a:lnTo>
                  <a:lnTo>
                    <a:pt x="252" y="90"/>
                  </a:lnTo>
                  <a:lnTo>
                    <a:pt x="258" y="89"/>
                  </a:lnTo>
                  <a:lnTo>
                    <a:pt x="264" y="88"/>
                  </a:lnTo>
                  <a:lnTo>
                    <a:pt x="268" y="86"/>
                  </a:lnTo>
                  <a:lnTo>
                    <a:pt x="273" y="83"/>
                  </a:lnTo>
                  <a:lnTo>
                    <a:pt x="276" y="80"/>
                  </a:lnTo>
                  <a:lnTo>
                    <a:pt x="279" y="75"/>
                  </a:lnTo>
                  <a:lnTo>
                    <a:pt x="281" y="70"/>
                  </a:lnTo>
                  <a:lnTo>
                    <a:pt x="283" y="65"/>
                  </a:lnTo>
                  <a:lnTo>
                    <a:pt x="264" y="64"/>
                  </a:lnTo>
                  <a:lnTo>
                    <a:pt x="264" y="66"/>
                  </a:lnTo>
                  <a:lnTo>
                    <a:pt x="263" y="69"/>
                  </a:lnTo>
                  <a:lnTo>
                    <a:pt x="260" y="72"/>
                  </a:lnTo>
                  <a:lnTo>
                    <a:pt x="259" y="73"/>
                  </a:lnTo>
                  <a:lnTo>
                    <a:pt x="257" y="74"/>
                  </a:lnTo>
                  <a:lnTo>
                    <a:pt x="255" y="74"/>
                  </a:lnTo>
                  <a:lnTo>
                    <a:pt x="252" y="75"/>
                  </a:lnTo>
                  <a:lnTo>
                    <a:pt x="249" y="74"/>
                  </a:lnTo>
                  <a:lnTo>
                    <a:pt x="247" y="73"/>
                  </a:lnTo>
                  <a:lnTo>
                    <a:pt x="244" y="72"/>
                  </a:lnTo>
                  <a:lnTo>
                    <a:pt x="243" y="70"/>
                  </a:lnTo>
                  <a:lnTo>
                    <a:pt x="241" y="67"/>
                  </a:lnTo>
                  <a:lnTo>
                    <a:pt x="240" y="64"/>
                  </a:lnTo>
                  <a:lnTo>
                    <a:pt x="239" y="60"/>
                  </a:lnTo>
                  <a:lnTo>
                    <a:pt x="239" y="56"/>
                  </a:lnTo>
                  <a:lnTo>
                    <a:pt x="239" y="52"/>
                  </a:lnTo>
                  <a:lnTo>
                    <a:pt x="240" y="50"/>
                  </a:lnTo>
                  <a:lnTo>
                    <a:pt x="240" y="48"/>
                  </a:lnTo>
                  <a:lnTo>
                    <a:pt x="241" y="45"/>
                  </a:lnTo>
                  <a:lnTo>
                    <a:pt x="242" y="42"/>
                  </a:lnTo>
                  <a:lnTo>
                    <a:pt x="244" y="40"/>
                  </a:lnTo>
                  <a:lnTo>
                    <a:pt x="247" y="39"/>
                  </a:lnTo>
                  <a:lnTo>
                    <a:pt x="249" y="38"/>
                  </a:lnTo>
                  <a:lnTo>
                    <a:pt x="252" y="38"/>
                  </a:lnTo>
                  <a:lnTo>
                    <a:pt x="257" y="38"/>
                  </a:lnTo>
                  <a:lnTo>
                    <a:pt x="260" y="40"/>
                  </a:lnTo>
                  <a:lnTo>
                    <a:pt x="262" y="42"/>
                  </a:lnTo>
                  <a:lnTo>
                    <a:pt x="263" y="43"/>
                  </a:lnTo>
                  <a:lnTo>
                    <a:pt x="264" y="47"/>
                  </a:lnTo>
                  <a:lnTo>
                    <a:pt x="282" y="47"/>
                  </a:lnTo>
                  <a:close/>
                  <a:moveTo>
                    <a:pt x="164" y="48"/>
                  </a:moveTo>
                  <a:lnTo>
                    <a:pt x="165" y="46"/>
                  </a:lnTo>
                  <a:lnTo>
                    <a:pt x="166" y="43"/>
                  </a:lnTo>
                  <a:lnTo>
                    <a:pt x="167" y="41"/>
                  </a:lnTo>
                  <a:lnTo>
                    <a:pt x="169" y="40"/>
                  </a:lnTo>
                  <a:lnTo>
                    <a:pt x="171" y="38"/>
                  </a:lnTo>
                  <a:lnTo>
                    <a:pt x="173" y="38"/>
                  </a:lnTo>
                  <a:lnTo>
                    <a:pt x="178" y="37"/>
                  </a:lnTo>
                  <a:lnTo>
                    <a:pt x="183" y="38"/>
                  </a:lnTo>
                  <a:lnTo>
                    <a:pt x="185" y="38"/>
                  </a:lnTo>
                  <a:lnTo>
                    <a:pt x="186" y="40"/>
                  </a:lnTo>
                  <a:lnTo>
                    <a:pt x="188" y="41"/>
                  </a:lnTo>
                  <a:lnTo>
                    <a:pt x="189" y="43"/>
                  </a:lnTo>
                  <a:lnTo>
                    <a:pt x="190" y="46"/>
                  </a:lnTo>
                  <a:lnTo>
                    <a:pt x="190" y="48"/>
                  </a:lnTo>
                  <a:lnTo>
                    <a:pt x="164" y="48"/>
                  </a:lnTo>
                  <a:close/>
                  <a:moveTo>
                    <a:pt x="209" y="62"/>
                  </a:moveTo>
                  <a:lnTo>
                    <a:pt x="209" y="56"/>
                  </a:lnTo>
                  <a:lnTo>
                    <a:pt x="209" y="50"/>
                  </a:lnTo>
                  <a:lnTo>
                    <a:pt x="208" y="46"/>
                  </a:lnTo>
                  <a:lnTo>
                    <a:pt x="206" y="41"/>
                  </a:lnTo>
                  <a:lnTo>
                    <a:pt x="204" y="37"/>
                  </a:lnTo>
                  <a:lnTo>
                    <a:pt x="202" y="33"/>
                  </a:lnTo>
                  <a:lnTo>
                    <a:pt x="199" y="30"/>
                  </a:lnTo>
                  <a:lnTo>
                    <a:pt x="195" y="27"/>
                  </a:lnTo>
                  <a:lnTo>
                    <a:pt x="192" y="25"/>
                  </a:lnTo>
                  <a:lnTo>
                    <a:pt x="187" y="24"/>
                  </a:lnTo>
                  <a:lnTo>
                    <a:pt x="183" y="23"/>
                  </a:lnTo>
                  <a:lnTo>
                    <a:pt x="178" y="23"/>
                  </a:lnTo>
                  <a:lnTo>
                    <a:pt x="171" y="23"/>
                  </a:lnTo>
                  <a:lnTo>
                    <a:pt x="165" y="25"/>
                  </a:lnTo>
                  <a:lnTo>
                    <a:pt x="162" y="26"/>
                  </a:lnTo>
                  <a:lnTo>
                    <a:pt x="159" y="28"/>
                  </a:lnTo>
                  <a:lnTo>
                    <a:pt x="154" y="32"/>
                  </a:lnTo>
                  <a:lnTo>
                    <a:pt x="152" y="34"/>
                  </a:lnTo>
                  <a:lnTo>
                    <a:pt x="150" y="37"/>
                  </a:lnTo>
                  <a:lnTo>
                    <a:pt x="148" y="43"/>
                  </a:lnTo>
                  <a:lnTo>
                    <a:pt x="146" y="49"/>
                  </a:lnTo>
                  <a:lnTo>
                    <a:pt x="145" y="53"/>
                  </a:lnTo>
                  <a:lnTo>
                    <a:pt x="145" y="56"/>
                  </a:lnTo>
                  <a:lnTo>
                    <a:pt x="146" y="63"/>
                  </a:lnTo>
                  <a:lnTo>
                    <a:pt x="148" y="70"/>
                  </a:lnTo>
                  <a:lnTo>
                    <a:pt x="150" y="76"/>
                  </a:lnTo>
                  <a:lnTo>
                    <a:pt x="152" y="78"/>
                  </a:lnTo>
                  <a:lnTo>
                    <a:pt x="154" y="81"/>
                  </a:lnTo>
                  <a:lnTo>
                    <a:pt x="159" y="85"/>
                  </a:lnTo>
                  <a:lnTo>
                    <a:pt x="165" y="87"/>
                  </a:lnTo>
                  <a:lnTo>
                    <a:pt x="168" y="88"/>
                  </a:lnTo>
                  <a:lnTo>
                    <a:pt x="171" y="89"/>
                  </a:lnTo>
                  <a:lnTo>
                    <a:pt x="174" y="90"/>
                  </a:lnTo>
                  <a:lnTo>
                    <a:pt x="178" y="90"/>
                  </a:lnTo>
                  <a:lnTo>
                    <a:pt x="184" y="89"/>
                  </a:lnTo>
                  <a:lnTo>
                    <a:pt x="189" y="88"/>
                  </a:lnTo>
                  <a:lnTo>
                    <a:pt x="193" y="87"/>
                  </a:lnTo>
                  <a:lnTo>
                    <a:pt x="198" y="84"/>
                  </a:lnTo>
                  <a:lnTo>
                    <a:pt x="201" y="81"/>
                  </a:lnTo>
                  <a:lnTo>
                    <a:pt x="203" y="80"/>
                  </a:lnTo>
                  <a:lnTo>
                    <a:pt x="205" y="78"/>
                  </a:lnTo>
                  <a:lnTo>
                    <a:pt x="207" y="74"/>
                  </a:lnTo>
                  <a:lnTo>
                    <a:pt x="209" y="69"/>
                  </a:lnTo>
                  <a:lnTo>
                    <a:pt x="190" y="69"/>
                  </a:lnTo>
                  <a:lnTo>
                    <a:pt x="188" y="72"/>
                  </a:lnTo>
                  <a:lnTo>
                    <a:pt x="185" y="74"/>
                  </a:lnTo>
                  <a:lnTo>
                    <a:pt x="182" y="75"/>
                  </a:lnTo>
                  <a:lnTo>
                    <a:pt x="178" y="75"/>
                  </a:lnTo>
                  <a:lnTo>
                    <a:pt x="176" y="75"/>
                  </a:lnTo>
                  <a:lnTo>
                    <a:pt x="173" y="74"/>
                  </a:lnTo>
                  <a:lnTo>
                    <a:pt x="171" y="73"/>
                  </a:lnTo>
                  <a:lnTo>
                    <a:pt x="169" y="72"/>
                  </a:lnTo>
                  <a:lnTo>
                    <a:pt x="167" y="70"/>
                  </a:lnTo>
                  <a:lnTo>
                    <a:pt x="166" y="67"/>
                  </a:lnTo>
                  <a:lnTo>
                    <a:pt x="165" y="65"/>
                  </a:lnTo>
                  <a:lnTo>
                    <a:pt x="164" y="62"/>
                  </a:lnTo>
                  <a:lnTo>
                    <a:pt x="209" y="62"/>
                  </a:lnTo>
                  <a:close/>
                  <a:moveTo>
                    <a:pt x="118" y="55"/>
                  </a:moveTo>
                  <a:lnTo>
                    <a:pt x="139" y="24"/>
                  </a:lnTo>
                  <a:lnTo>
                    <a:pt x="118" y="24"/>
                  </a:lnTo>
                  <a:lnTo>
                    <a:pt x="108" y="40"/>
                  </a:lnTo>
                  <a:lnTo>
                    <a:pt x="98" y="24"/>
                  </a:lnTo>
                  <a:lnTo>
                    <a:pt x="77" y="24"/>
                  </a:lnTo>
                  <a:lnTo>
                    <a:pt x="98" y="55"/>
                  </a:lnTo>
                  <a:lnTo>
                    <a:pt x="75" y="88"/>
                  </a:lnTo>
                  <a:lnTo>
                    <a:pt x="96" y="88"/>
                  </a:lnTo>
                  <a:lnTo>
                    <a:pt x="108" y="70"/>
                  </a:lnTo>
                  <a:lnTo>
                    <a:pt x="120" y="88"/>
                  </a:lnTo>
                  <a:lnTo>
                    <a:pt x="142" y="88"/>
                  </a:lnTo>
                  <a:lnTo>
                    <a:pt x="118" y="55"/>
                  </a:lnTo>
                  <a:close/>
                  <a:moveTo>
                    <a:pt x="66" y="0"/>
                  </a:moveTo>
                  <a:lnTo>
                    <a:pt x="0" y="0"/>
                  </a:lnTo>
                  <a:lnTo>
                    <a:pt x="0" y="88"/>
                  </a:lnTo>
                  <a:lnTo>
                    <a:pt x="67" y="88"/>
                  </a:lnTo>
                  <a:lnTo>
                    <a:pt x="67" y="71"/>
                  </a:lnTo>
                  <a:lnTo>
                    <a:pt x="20" y="71"/>
                  </a:lnTo>
                  <a:lnTo>
                    <a:pt x="20" y="50"/>
                  </a:lnTo>
                  <a:lnTo>
                    <a:pt x="60" y="50"/>
                  </a:lnTo>
                  <a:lnTo>
                    <a:pt x="60" y="34"/>
                  </a:lnTo>
                  <a:lnTo>
                    <a:pt x="20" y="34"/>
                  </a:lnTo>
                  <a:lnTo>
                    <a:pt x="20" y="17"/>
                  </a:lnTo>
                  <a:lnTo>
                    <a:pt x="66" y="17"/>
                  </a:lnTo>
                  <a:lnTo>
                    <a:pt x="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15" name="Freeform 8"/>
            <p:cNvSpPr>
              <a:spLocks noEditPoints="1"/>
            </p:cNvSpPr>
            <p:nvPr userDrawn="1"/>
          </p:nvSpPr>
          <p:spPr bwMode="auto">
            <a:xfrm>
              <a:off x="4067175" y="114301"/>
              <a:ext cx="566738" cy="560388"/>
            </a:xfrm>
            <a:custGeom>
              <a:avLst/>
              <a:gdLst>
                <a:gd name="T0" fmla="*/ 223 w 357"/>
                <a:gd name="T1" fmla="*/ 220 h 353"/>
                <a:gd name="T2" fmla="*/ 134 w 357"/>
                <a:gd name="T3" fmla="*/ 220 h 353"/>
                <a:gd name="T4" fmla="*/ 179 w 357"/>
                <a:gd name="T5" fmla="*/ 100 h 353"/>
                <a:gd name="T6" fmla="*/ 223 w 357"/>
                <a:gd name="T7" fmla="*/ 220 h 353"/>
                <a:gd name="T8" fmla="*/ 357 w 357"/>
                <a:gd name="T9" fmla="*/ 353 h 353"/>
                <a:gd name="T10" fmla="*/ 230 w 357"/>
                <a:gd name="T11" fmla="*/ 0 h 353"/>
                <a:gd name="T12" fmla="*/ 127 w 357"/>
                <a:gd name="T13" fmla="*/ 0 h 353"/>
                <a:gd name="T14" fmla="*/ 0 w 357"/>
                <a:gd name="T15" fmla="*/ 353 h 353"/>
                <a:gd name="T16" fmla="*/ 91 w 357"/>
                <a:gd name="T17" fmla="*/ 353 h 353"/>
                <a:gd name="T18" fmla="*/ 113 w 357"/>
                <a:gd name="T19" fmla="*/ 291 h 353"/>
                <a:gd name="T20" fmla="*/ 245 w 357"/>
                <a:gd name="T21" fmla="*/ 291 h 353"/>
                <a:gd name="T22" fmla="*/ 267 w 357"/>
                <a:gd name="T23" fmla="*/ 353 h 353"/>
                <a:gd name="T24" fmla="*/ 357 w 357"/>
                <a:gd name="T25"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7" h="353">
                  <a:moveTo>
                    <a:pt x="223" y="220"/>
                  </a:moveTo>
                  <a:lnTo>
                    <a:pt x="134" y="220"/>
                  </a:lnTo>
                  <a:lnTo>
                    <a:pt x="179" y="100"/>
                  </a:lnTo>
                  <a:lnTo>
                    <a:pt x="223" y="220"/>
                  </a:lnTo>
                  <a:close/>
                  <a:moveTo>
                    <a:pt x="357" y="353"/>
                  </a:moveTo>
                  <a:lnTo>
                    <a:pt x="230" y="0"/>
                  </a:lnTo>
                  <a:lnTo>
                    <a:pt x="127" y="0"/>
                  </a:lnTo>
                  <a:lnTo>
                    <a:pt x="0" y="353"/>
                  </a:lnTo>
                  <a:lnTo>
                    <a:pt x="91" y="353"/>
                  </a:lnTo>
                  <a:lnTo>
                    <a:pt x="113" y="291"/>
                  </a:lnTo>
                  <a:lnTo>
                    <a:pt x="245" y="291"/>
                  </a:lnTo>
                  <a:lnTo>
                    <a:pt x="267" y="353"/>
                  </a:lnTo>
                  <a:lnTo>
                    <a:pt x="357" y="3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16" name="Freeform 9"/>
            <p:cNvSpPr>
              <a:spLocks noEditPoints="1"/>
            </p:cNvSpPr>
            <p:nvPr userDrawn="1"/>
          </p:nvSpPr>
          <p:spPr bwMode="auto">
            <a:xfrm>
              <a:off x="4686300" y="114301"/>
              <a:ext cx="858838" cy="560388"/>
            </a:xfrm>
            <a:custGeom>
              <a:avLst/>
              <a:gdLst>
                <a:gd name="T0" fmla="*/ 541 w 541"/>
                <a:gd name="T1" fmla="*/ 75 h 353"/>
                <a:gd name="T2" fmla="*/ 541 w 541"/>
                <a:gd name="T3" fmla="*/ 0 h 353"/>
                <a:gd name="T4" fmla="*/ 303 w 541"/>
                <a:gd name="T5" fmla="*/ 0 h 353"/>
                <a:gd name="T6" fmla="*/ 303 w 541"/>
                <a:gd name="T7" fmla="*/ 353 h 353"/>
                <a:gd name="T8" fmla="*/ 541 w 541"/>
                <a:gd name="T9" fmla="*/ 353 h 353"/>
                <a:gd name="T10" fmla="*/ 541 w 541"/>
                <a:gd name="T11" fmla="*/ 278 h 353"/>
                <a:gd name="T12" fmla="*/ 388 w 541"/>
                <a:gd name="T13" fmla="*/ 278 h 353"/>
                <a:gd name="T14" fmla="*/ 388 w 541"/>
                <a:gd name="T15" fmla="*/ 210 h 353"/>
                <a:gd name="T16" fmla="*/ 536 w 541"/>
                <a:gd name="T17" fmla="*/ 210 h 353"/>
                <a:gd name="T18" fmla="*/ 536 w 541"/>
                <a:gd name="T19" fmla="*/ 139 h 353"/>
                <a:gd name="T20" fmla="*/ 388 w 541"/>
                <a:gd name="T21" fmla="*/ 139 h 353"/>
                <a:gd name="T22" fmla="*/ 388 w 541"/>
                <a:gd name="T23" fmla="*/ 75 h 353"/>
                <a:gd name="T24" fmla="*/ 541 w 541"/>
                <a:gd name="T25" fmla="*/ 75 h 353"/>
                <a:gd name="T26" fmla="*/ 239 w 541"/>
                <a:gd name="T27" fmla="*/ 75 h 353"/>
                <a:gd name="T28" fmla="*/ 239 w 541"/>
                <a:gd name="T29" fmla="*/ 0 h 353"/>
                <a:gd name="T30" fmla="*/ 0 w 541"/>
                <a:gd name="T31" fmla="*/ 0 h 353"/>
                <a:gd name="T32" fmla="*/ 0 w 541"/>
                <a:gd name="T33" fmla="*/ 353 h 353"/>
                <a:gd name="T34" fmla="*/ 239 w 541"/>
                <a:gd name="T35" fmla="*/ 353 h 353"/>
                <a:gd name="T36" fmla="*/ 239 w 541"/>
                <a:gd name="T37" fmla="*/ 278 h 353"/>
                <a:gd name="T38" fmla="*/ 85 w 541"/>
                <a:gd name="T39" fmla="*/ 278 h 353"/>
                <a:gd name="T40" fmla="*/ 85 w 541"/>
                <a:gd name="T41" fmla="*/ 210 h 353"/>
                <a:gd name="T42" fmla="*/ 235 w 541"/>
                <a:gd name="T43" fmla="*/ 210 h 353"/>
                <a:gd name="T44" fmla="*/ 235 w 541"/>
                <a:gd name="T45" fmla="*/ 139 h 353"/>
                <a:gd name="T46" fmla="*/ 85 w 541"/>
                <a:gd name="T47" fmla="*/ 139 h 353"/>
                <a:gd name="T48" fmla="*/ 85 w 541"/>
                <a:gd name="T49" fmla="*/ 75 h 353"/>
                <a:gd name="T50" fmla="*/ 239 w 541"/>
                <a:gd name="T51" fmla="*/ 75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1" h="353">
                  <a:moveTo>
                    <a:pt x="541" y="75"/>
                  </a:moveTo>
                  <a:lnTo>
                    <a:pt x="541" y="0"/>
                  </a:lnTo>
                  <a:lnTo>
                    <a:pt x="303" y="0"/>
                  </a:lnTo>
                  <a:lnTo>
                    <a:pt x="303" y="353"/>
                  </a:lnTo>
                  <a:lnTo>
                    <a:pt x="541" y="353"/>
                  </a:lnTo>
                  <a:lnTo>
                    <a:pt x="541" y="278"/>
                  </a:lnTo>
                  <a:lnTo>
                    <a:pt x="388" y="278"/>
                  </a:lnTo>
                  <a:lnTo>
                    <a:pt x="388" y="210"/>
                  </a:lnTo>
                  <a:lnTo>
                    <a:pt x="536" y="210"/>
                  </a:lnTo>
                  <a:lnTo>
                    <a:pt x="536" y="139"/>
                  </a:lnTo>
                  <a:lnTo>
                    <a:pt x="388" y="139"/>
                  </a:lnTo>
                  <a:lnTo>
                    <a:pt x="388" y="75"/>
                  </a:lnTo>
                  <a:lnTo>
                    <a:pt x="541" y="75"/>
                  </a:lnTo>
                  <a:close/>
                  <a:moveTo>
                    <a:pt x="239" y="75"/>
                  </a:moveTo>
                  <a:lnTo>
                    <a:pt x="239" y="0"/>
                  </a:lnTo>
                  <a:lnTo>
                    <a:pt x="0" y="0"/>
                  </a:lnTo>
                  <a:lnTo>
                    <a:pt x="0" y="353"/>
                  </a:lnTo>
                  <a:lnTo>
                    <a:pt x="239" y="353"/>
                  </a:lnTo>
                  <a:lnTo>
                    <a:pt x="239" y="278"/>
                  </a:lnTo>
                  <a:lnTo>
                    <a:pt x="85" y="278"/>
                  </a:lnTo>
                  <a:lnTo>
                    <a:pt x="85" y="210"/>
                  </a:lnTo>
                  <a:lnTo>
                    <a:pt x="235" y="210"/>
                  </a:lnTo>
                  <a:lnTo>
                    <a:pt x="235" y="139"/>
                  </a:lnTo>
                  <a:lnTo>
                    <a:pt x="85" y="139"/>
                  </a:lnTo>
                  <a:lnTo>
                    <a:pt x="85" y="75"/>
                  </a:lnTo>
                  <a:lnTo>
                    <a:pt x="239"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grpSp>
      <p:sp>
        <p:nvSpPr>
          <p:cNvPr id="7" name="Date Placeholder 6"/>
          <p:cNvSpPr>
            <a:spLocks noGrp="1"/>
          </p:cNvSpPr>
          <p:nvPr>
            <p:ph type="dt" sz="half" idx="10"/>
          </p:nvPr>
        </p:nvSpPr>
        <p:spPr/>
        <p:txBody>
          <a:bodyPr/>
          <a:lstStyle>
            <a:lvl1pPr>
              <a:defRPr>
                <a:solidFill>
                  <a:schemeClr val="bg1"/>
                </a:solidFill>
              </a:defRPr>
            </a:lvl1pPr>
          </a:lstStyle>
          <a:p>
            <a:fld id="{874C9300-8D31-40BF-9AA5-957D6CB64534}" type="datetime1">
              <a:rPr lang="fi-FI" smtClean="0"/>
              <a:t>5.11.2023</a:t>
            </a:fld>
            <a:endParaRPr lang="en-US" dirty="0"/>
          </a:p>
        </p:txBody>
      </p:sp>
      <p:sp>
        <p:nvSpPr>
          <p:cNvPr id="8" name="Footer Placeholder 7"/>
          <p:cNvSpPr>
            <a:spLocks noGrp="1"/>
          </p:cNvSpPr>
          <p:nvPr>
            <p:ph type="ftr" sz="quarter" idx="11"/>
          </p:nvPr>
        </p:nvSpPr>
        <p:spPr/>
        <p:txBody>
          <a:bodyPr/>
          <a:lstStyle>
            <a:lvl1pPr>
              <a:defRPr>
                <a:solidFill>
                  <a:schemeClr val="bg1"/>
                </a:solidFill>
              </a:defRPr>
            </a:lvl1pPr>
          </a:lstStyle>
          <a:p>
            <a:r>
              <a:rPr lang="en-US"/>
              <a:t>© Aalto University Executive Education</a:t>
            </a:r>
            <a:endParaRPr lang="en-US" dirty="0"/>
          </a:p>
        </p:txBody>
      </p:sp>
      <p:sp>
        <p:nvSpPr>
          <p:cNvPr id="9" name="Slide Number Placeholder 8"/>
          <p:cNvSpPr>
            <a:spLocks noGrp="1"/>
          </p:cNvSpPr>
          <p:nvPr>
            <p:ph type="sldNum" sz="quarter" idx="12"/>
          </p:nvPr>
        </p:nvSpPr>
        <p:spPr/>
        <p:txBody>
          <a:bodyPr/>
          <a:lstStyle>
            <a:lvl1pPr>
              <a:defRPr>
                <a:solidFill>
                  <a:schemeClr val="bg1"/>
                </a:solidFill>
              </a:defRPr>
            </a:lvl1pPr>
          </a:lstStyle>
          <a:p>
            <a:fld id="{FCCA222D-FCF7-48C1-A274-EBDDEF75DC66}" type="slidenum">
              <a:rPr lang="en-US" smtClean="0"/>
              <a:pPr/>
              <a:t>‹#›</a:t>
            </a:fld>
            <a:endParaRPr lang="en-US" dirty="0"/>
          </a:p>
        </p:txBody>
      </p:sp>
    </p:spTree>
    <p:extLst>
      <p:ext uri="{BB962C8B-B14F-4D97-AF65-F5344CB8AC3E}">
        <p14:creationId xmlns:p14="http://schemas.microsoft.com/office/powerpoint/2010/main" val="460898016"/>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add title</a:t>
            </a:r>
          </a:p>
        </p:txBody>
      </p:sp>
      <p:sp>
        <p:nvSpPr>
          <p:cNvPr id="3" name="Content Placeholder 2"/>
          <p:cNvSpPr>
            <a:spLocks noGrp="1"/>
          </p:cNvSpPr>
          <p:nvPr>
            <p:ph sz="half" idx="1" hasCustomPrompt="1"/>
          </p:nvPr>
        </p:nvSpPr>
        <p:spPr>
          <a:xfrm>
            <a:off x="414231" y="1869282"/>
            <a:ext cx="4049786" cy="2538413"/>
          </a:xfrm>
        </p:spPr>
        <p:txBody>
          <a:bodyPr/>
          <a:lstStyle>
            <a:lvl1pPr>
              <a:defRPr sz="1499"/>
            </a:lvl1pPr>
            <a:lvl2pPr>
              <a:defRPr sz="1349"/>
            </a:lvl2pPr>
            <a:lvl3pPr>
              <a:defRPr sz="1200"/>
            </a:lvl3pPr>
            <a:lvl4pPr>
              <a:defRPr sz="1050"/>
            </a:lvl4pPr>
            <a:lvl5pPr>
              <a:defRPr sz="1050"/>
            </a:lvl5pPr>
            <a:lvl6pPr>
              <a:defRPr sz="1349"/>
            </a:lvl6pPr>
            <a:lvl7pPr>
              <a:defRPr sz="1349"/>
            </a:lvl7pPr>
            <a:lvl8pPr>
              <a:defRPr sz="1349"/>
            </a:lvl8pPr>
            <a:lvl9pPr>
              <a:defRPr sz="1349"/>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4679984" y="1869282"/>
            <a:ext cx="4049787" cy="2538413"/>
          </a:xfrm>
        </p:spPr>
        <p:txBody>
          <a:bodyPr/>
          <a:lstStyle>
            <a:lvl1pPr>
              <a:defRPr sz="1499"/>
            </a:lvl1pPr>
            <a:lvl2pPr>
              <a:defRPr sz="1349"/>
            </a:lvl2pPr>
            <a:lvl3pPr>
              <a:defRPr sz="1200"/>
            </a:lvl3pPr>
            <a:lvl4pPr>
              <a:defRPr sz="1050"/>
            </a:lvl4pPr>
            <a:lvl5pPr>
              <a:defRPr sz="1050"/>
            </a:lvl5pPr>
            <a:lvl6pPr>
              <a:defRPr sz="1349"/>
            </a:lvl6pPr>
            <a:lvl7pPr>
              <a:defRPr sz="1349"/>
            </a:lvl7pPr>
            <a:lvl8pPr>
              <a:defRPr sz="1349"/>
            </a:lvl8pPr>
            <a:lvl9pPr>
              <a:defRPr sz="1349"/>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p>
            <a:fld id="{F842D18A-B818-4014-96A3-9460F9384D50}" type="datetime1">
              <a:rPr lang="fi-FI" smtClean="0"/>
              <a:t>5.11.2023</a:t>
            </a:fld>
            <a:endParaRPr lang="en-US"/>
          </a:p>
        </p:txBody>
      </p:sp>
      <p:sp>
        <p:nvSpPr>
          <p:cNvPr id="6" name="Footer Placeholder 5"/>
          <p:cNvSpPr>
            <a:spLocks noGrp="1"/>
          </p:cNvSpPr>
          <p:nvPr>
            <p:ph type="ftr" sz="quarter" idx="11"/>
          </p:nvPr>
        </p:nvSpPr>
        <p:spPr/>
        <p:txBody>
          <a:bodyPr/>
          <a:lstStyle/>
          <a:p>
            <a:r>
              <a:rPr lang="en-US"/>
              <a:t>© Aalto University Executive Education</a:t>
            </a:r>
          </a:p>
        </p:txBody>
      </p:sp>
      <p:sp>
        <p:nvSpPr>
          <p:cNvPr id="7" name="Slide Number Placeholder 6"/>
          <p:cNvSpPr>
            <a:spLocks noGrp="1"/>
          </p:cNvSpPr>
          <p:nvPr>
            <p:ph type="sldNum" sz="quarter" idx="12"/>
          </p:nvPr>
        </p:nvSpPr>
        <p:spPr/>
        <p:txBody>
          <a:bodyPr/>
          <a:lstStyle/>
          <a:p>
            <a:fld id="{FCCA222D-FCF7-48C1-A274-EBDDEF75DC66}" type="slidenum">
              <a:rPr lang="en-US" smtClean="0"/>
              <a:t>‹#›</a:t>
            </a:fld>
            <a:endParaRPr lang="en-US"/>
          </a:p>
        </p:txBody>
      </p:sp>
    </p:spTree>
    <p:extLst>
      <p:ext uri="{BB962C8B-B14F-4D97-AF65-F5344CB8AC3E}">
        <p14:creationId xmlns:p14="http://schemas.microsoft.com/office/powerpoint/2010/main" val="3788934946"/>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414231" y="1545431"/>
            <a:ext cx="4049786" cy="323850"/>
          </a:xfrm>
        </p:spPr>
        <p:txBody>
          <a:bodyPr anchor="b"/>
          <a:lstStyle>
            <a:lvl1pPr marL="0" indent="0">
              <a:buNone/>
              <a:defRPr sz="1349" b="0">
                <a:solidFill>
                  <a:schemeClr val="accent2"/>
                </a:solidFill>
              </a:defRPr>
            </a:lvl1pPr>
            <a:lvl2pPr marL="342797" indent="0">
              <a:buNone/>
              <a:defRPr sz="1499" b="1"/>
            </a:lvl2pPr>
            <a:lvl3pPr marL="685595" indent="0">
              <a:buNone/>
              <a:defRPr sz="1349" b="1"/>
            </a:lvl3pPr>
            <a:lvl4pPr marL="1028392" indent="0">
              <a:buNone/>
              <a:defRPr sz="1200" b="1"/>
            </a:lvl4pPr>
            <a:lvl5pPr marL="1371188" indent="0">
              <a:buNone/>
              <a:defRPr sz="1200" b="1"/>
            </a:lvl5pPr>
            <a:lvl6pPr marL="1713986" indent="0">
              <a:buNone/>
              <a:defRPr sz="1200" b="1"/>
            </a:lvl6pPr>
            <a:lvl7pPr marL="2056783" indent="0">
              <a:buNone/>
              <a:defRPr sz="1200" b="1"/>
            </a:lvl7pPr>
            <a:lvl8pPr marL="2399580" indent="0">
              <a:buNone/>
              <a:defRPr sz="1200" b="1"/>
            </a:lvl8pPr>
            <a:lvl9pPr marL="2742377" indent="0">
              <a:buNone/>
              <a:defRPr sz="1200" b="1"/>
            </a:lvl9pPr>
          </a:lstStyle>
          <a:p>
            <a:pPr lvl="0"/>
            <a:r>
              <a:rPr lang="en-US" dirty="0"/>
              <a:t>Click to add text</a:t>
            </a:r>
          </a:p>
        </p:txBody>
      </p:sp>
      <p:sp>
        <p:nvSpPr>
          <p:cNvPr id="4" name="Content Placeholder 3"/>
          <p:cNvSpPr>
            <a:spLocks noGrp="1"/>
          </p:cNvSpPr>
          <p:nvPr>
            <p:ph sz="half" idx="2" hasCustomPrompt="1"/>
          </p:nvPr>
        </p:nvSpPr>
        <p:spPr>
          <a:xfrm>
            <a:off x="414231" y="1869282"/>
            <a:ext cx="4049786" cy="2538413"/>
          </a:xfrm>
        </p:spPr>
        <p:txBody>
          <a:bodyPr/>
          <a:lstStyle>
            <a:lvl1pPr>
              <a:defRPr sz="1499"/>
            </a:lvl1pPr>
            <a:lvl2pPr>
              <a:defRPr sz="1349"/>
            </a:lvl2pPr>
            <a:lvl3pPr>
              <a:defRPr sz="1200"/>
            </a:lvl3pPr>
            <a:lvl4pPr>
              <a:defRPr sz="1050"/>
            </a:lvl4pPr>
            <a:lvl5pPr>
              <a:defRPr sz="1050"/>
            </a:lvl5pPr>
            <a:lvl6pPr>
              <a:defRPr sz="1200"/>
            </a:lvl6pPr>
            <a:lvl7pPr>
              <a:defRPr sz="1200"/>
            </a:lvl7pPr>
            <a:lvl8pPr>
              <a:defRPr sz="1200"/>
            </a:lvl8pPr>
            <a:lvl9pPr>
              <a:defRPr sz="12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hasCustomPrompt="1"/>
          </p:nvPr>
        </p:nvSpPr>
        <p:spPr>
          <a:xfrm>
            <a:off x="4679984" y="1545431"/>
            <a:ext cx="4049787" cy="323850"/>
          </a:xfrm>
        </p:spPr>
        <p:txBody>
          <a:bodyPr anchor="b"/>
          <a:lstStyle>
            <a:lvl1pPr marL="0" indent="0">
              <a:buNone/>
              <a:defRPr sz="1349" b="0">
                <a:solidFill>
                  <a:schemeClr val="accent2"/>
                </a:solidFill>
              </a:defRPr>
            </a:lvl1pPr>
            <a:lvl2pPr marL="342797" indent="0">
              <a:buNone/>
              <a:defRPr sz="1499" b="1"/>
            </a:lvl2pPr>
            <a:lvl3pPr marL="685595" indent="0">
              <a:buNone/>
              <a:defRPr sz="1349" b="1"/>
            </a:lvl3pPr>
            <a:lvl4pPr marL="1028392" indent="0">
              <a:buNone/>
              <a:defRPr sz="1200" b="1"/>
            </a:lvl4pPr>
            <a:lvl5pPr marL="1371188" indent="0">
              <a:buNone/>
              <a:defRPr sz="1200" b="1"/>
            </a:lvl5pPr>
            <a:lvl6pPr marL="1713986" indent="0">
              <a:buNone/>
              <a:defRPr sz="1200" b="1"/>
            </a:lvl6pPr>
            <a:lvl7pPr marL="2056783" indent="0">
              <a:buNone/>
              <a:defRPr sz="1200" b="1"/>
            </a:lvl7pPr>
            <a:lvl8pPr marL="2399580" indent="0">
              <a:buNone/>
              <a:defRPr sz="1200" b="1"/>
            </a:lvl8pPr>
            <a:lvl9pPr marL="2742377" indent="0">
              <a:buNone/>
              <a:defRPr sz="1200" b="1"/>
            </a:lvl9pPr>
          </a:lstStyle>
          <a:p>
            <a:pPr lvl="0"/>
            <a:r>
              <a:rPr lang="en-US" dirty="0"/>
              <a:t>Click to add text</a:t>
            </a:r>
          </a:p>
        </p:txBody>
      </p:sp>
      <p:sp>
        <p:nvSpPr>
          <p:cNvPr id="6" name="Content Placeholder 5"/>
          <p:cNvSpPr>
            <a:spLocks noGrp="1"/>
          </p:cNvSpPr>
          <p:nvPr>
            <p:ph sz="quarter" idx="4" hasCustomPrompt="1"/>
          </p:nvPr>
        </p:nvSpPr>
        <p:spPr>
          <a:xfrm>
            <a:off x="4679984" y="1869282"/>
            <a:ext cx="4049787" cy="2538413"/>
          </a:xfrm>
        </p:spPr>
        <p:txBody>
          <a:bodyPr/>
          <a:lstStyle>
            <a:lvl1pPr>
              <a:defRPr sz="1499"/>
            </a:lvl1pPr>
            <a:lvl2pPr>
              <a:defRPr sz="1349"/>
            </a:lvl2pPr>
            <a:lvl3pPr>
              <a:defRPr sz="1200"/>
            </a:lvl3pPr>
            <a:lvl4pPr>
              <a:defRPr sz="1050"/>
            </a:lvl4pPr>
            <a:lvl5pPr>
              <a:defRPr sz="1050"/>
            </a:lvl5pPr>
            <a:lvl6pPr>
              <a:defRPr sz="1200"/>
            </a:lvl6pPr>
            <a:lvl7pPr>
              <a:defRPr sz="1200"/>
            </a:lvl7pPr>
            <a:lvl8pPr>
              <a:defRPr sz="1200"/>
            </a:lvl8pPr>
            <a:lvl9pPr>
              <a:defRPr sz="1200"/>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p:txBody>
          <a:bodyPr/>
          <a:lstStyle/>
          <a:p>
            <a:fld id="{84BA04C4-8537-40D1-9461-53B174481FF5}" type="datetime1">
              <a:rPr lang="fi-FI" smtClean="0"/>
              <a:t>5.11.2023</a:t>
            </a:fld>
            <a:endParaRPr lang="en-US"/>
          </a:p>
        </p:txBody>
      </p:sp>
      <p:sp>
        <p:nvSpPr>
          <p:cNvPr id="8" name="Footer Placeholder 7"/>
          <p:cNvSpPr>
            <a:spLocks noGrp="1"/>
          </p:cNvSpPr>
          <p:nvPr>
            <p:ph type="ftr" sz="quarter" idx="11"/>
          </p:nvPr>
        </p:nvSpPr>
        <p:spPr/>
        <p:txBody>
          <a:bodyPr/>
          <a:lstStyle/>
          <a:p>
            <a:r>
              <a:rPr lang="en-US"/>
              <a:t>© Aalto University Executive Education</a:t>
            </a:r>
          </a:p>
        </p:txBody>
      </p:sp>
      <p:sp>
        <p:nvSpPr>
          <p:cNvPr id="9" name="Slide Number Placeholder 8"/>
          <p:cNvSpPr>
            <a:spLocks noGrp="1"/>
          </p:cNvSpPr>
          <p:nvPr>
            <p:ph type="sldNum" sz="quarter" idx="12"/>
          </p:nvPr>
        </p:nvSpPr>
        <p:spPr/>
        <p:txBody>
          <a:bodyPr/>
          <a:lstStyle/>
          <a:p>
            <a:fld id="{FCCA222D-FCF7-48C1-A274-EBDDEF75DC66}" type="slidenum">
              <a:rPr lang="en-US" smtClean="0"/>
              <a:t>‹#›</a:t>
            </a:fld>
            <a:endParaRPr lang="en-US"/>
          </a:p>
        </p:txBody>
      </p:sp>
      <p:sp>
        <p:nvSpPr>
          <p:cNvPr id="10" name="Title 1"/>
          <p:cNvSpPr>
            <a:spLocks noGrp="1"/>
          </p:cNvSpPr>
          <p:nvPr>
            <p:ph type="title" hasCustomPrompt="1"/>
          </p:nvPr>
        </p:nvSpPr>
        <p:spPr>
          <a:xfrm>
            <a:off x="0" y="573882"/>
            <a:ext cx="8729771" cy="456902"/>
          </a:xfrm>
          <a:solidFill>
            <a:schemeClr val="accent2"/>
          </a:solidFill>
        </p:spPr>
        <p:txBody>
          <a:bodyPr/>
          <a:lstStyle>
            <a:lvl1pPr>
              <a:defRPr sz="2249"/>
            </a:lvl1pPr>
          </a:lstStyle>
          <a:p>
            <a:r>
              <a:rPr lang="en-US" dirty="0"/>
              <a:t>Click to add title</a:t>
            </a:r>
          </a:p>
        </p:txBody>
      </p:sp>
    </p:spTree>
    <p:extLst>
      <p:ext uri="{BB962C8B-B14F-4D97-AF65-F5344CB8AC3E}">
        <p14:creationId xmlns:p14="http://schemas.microsoft.com/office/powerpoint/2010/main" val="1345415224"/>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type="obj" preserve="1">
  <p:cSld name="Small 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573882"/>
            <a:ext cx="8729771" cy="456902"/>
          </a:xfrm>
        </p:spPr>
        <p:txBody>
          <a:bodyPr/>
          <a:lstStyle>
            <a:lvl1pPr>
              <a:defRPr sz="2249"/>
            </a:lvl1pPr>
          </a:lstStyle>
          <a:p>
            <a:r>
              <a:rPr lang="en-US" dirty="0"/>
              <a:t>Click to add title</a:t>
            </a:r>
          </a:p>
        </p:txBody>
      </p:sp>
      <p:sp>
        <p:nvSpPr>
          <p:cNvPr id="3" name="Content Placeholder 2"/>
          <p:cNvSpPr>
            <a:spLocks noGrp="1"/>
          </p:cNvSpPr>
          <p:nvPr>
            <p:ph idx="1" hasCustomPrompt="1"/>
          </p:nvPr>
        </p:nvSpPr>
        <p:spPr>
          <a:xfrm>
            <a:off x="414230" y="1545432"/>
            <a:ext cx="8315541" cy="2862263"/>
          </a:xfrm>
        </p:spPr>
        <p:txBody>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CC2D0442-C4A3-4453-9BE2-10F92029009F}" type="datetime1">
              <a:rPr lang="fi-FI" smtClean="0"/>
              <a:t>5.11.2023</a:t>
            </a:fld>
            <a:endParaRPr lang="en-US"/>
          </a:p>
        </p:txBody>
      </p:sp>
      <p:sp>
        <p:nvSpPr>
          <p:cNvPr id="5" name="Footer Placeholder 4"/>
          <p:cNvSpPr>
            <a:spLocks noGrp="1"/>
          </p:cNvSpPr>
          <p:nvPr>
            <p:ph type="ftr" sz="quarter" idx="11"/>
          </p:nvPr>
        </p:nvSpPr>
        <p:spPr/>
        <p:txBody>
          <a:bodyPr/>
          <a:lstStyle/>
          <a:p>
            <a:r>
              <a:rPr lang="en-US"/>
              <a:t>© Aalto University Executive Education</a:t>
            </a:r>
          </a:p>
        </p:txBody>
      </p:sp>
      <p:sp>
        <p:nvSpPr>
          <p:cNvPr id="6" name="Slide Number Placeholder 5"/>
          <p:cNvSpPr>
            <a:spLocks noGrp="1"/>
          </p:cNvSpPr>
          <p:nvPr>
            <p:ph type="sldNum" sz="quarter" idx="12"/>
          </p:nvPr>
        </p:nvSpPr>
        <p:spPr/>
        <p:txBody>
          <a:bodyPr/>
          <a:lstStyle/>
          <a:p>
            <a:fld id="{FCCA222D-FCF7-48C1-A274-EBDDEF75DC66}" type="slidenum">
              <a:rPr lang="en-US" smtClean="0"/>
              <a:t>‹#›</a:t>
            </a:fld>
            <a:endParaRPr lang="en-US"/>
          </a:p>
        </p:txBody>
      </p:sp>
    </p:spTree>
    <p:extLst>
      <p:ext uri="{BB962C8B-B14F-4D97-AF65-F5344CB8AC3E}">
        <p14:creationId xmlns:p14="http://schemas.microsoft.com/office/powerpoint/2010/main" val="1327306332"/>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add title</a:t>
            </a:r>
          </a:p>
        </p:txBody>
      </p:sp>
      <p:sp>
        <p:nvSpPr>
          <p:cNvPr id="3" name="Date Placeholder 2"/>
          <p:cNvSpPr>
            <a:spLocks noGrp="1"/>
          </p:cNvSpPr>
          <p:nvPr>
            <p:ph type="dt" sz="half" idx="10"/>
          </p:nvPr>
        </p:nvSpPr>
        <p:spPr/>
        <p:txBody>
          <a:bodyPr/>
          <a:lstStyle/>
          <a:p>
            <a:fld id="{672666DA-8E81-4CE6-9981-96AB2942B629}" type="datetime1">
              <a:rPr lang="fi-FI" smtClean="0"/>
              <a:t>5.11.2023</a:t>
            </a:fld>
            <a:endParaRPr lang="en-US"/>
          </a:p>
        </p:txBody>
      </p:sp>
      <p:sp>
        <p:nvSpPr>
          <p:cNvPr id="4" name="Footer Placeholder 3"/>
          <p:cNvSpPr>
            <a:spLocks noGrp="1"/>
          </p:cNvSpPr>
          <p:nvPr>
            <p:ph type="ftr" sz="quarter" idx="11"/>
          </p:nvPr>
        </p:nvSpPr>
        <p:spPr/>
        <p:txBody>
          <a:bodyPr/>
          <a:lstStyle/>
          <a:p>
            <a:r>
              <a:rPr lang="en-US"/>
              <a:t>© Aalto University Executive Education</a:t>
            </a:r>
          </a:p>
        </p:txBody>
      </p:sp>
      <p:sp>
        <p:nvSpPr>
          <p:cNvPr id="5" name="Slide Number Placeholder 4"/>
          <p:cNvSpPr>
            <a:spLocks noGrp="1"/>
          </p:cNvSpPr>
          <p:nvPr>
            <p:ph type="sldNum" sz="quarter" idx="12"/>
          </p:nvPr>
        </p:nvSpPr>
        <p:spPr/>
        <p:txBody>
          <a:bodyPr/>
          <a:lstStyle/>
          <a:p>
            <a:fld id="{FCCA222D-FCF7-48C1-A274-EBDDEF75DC66}" type="slidenum">
              <a:rPr lang="en-US" smtClean="0"/>
              <a:t>‹#›</a:t>
            </a:fld>
            <a:endParaRPr lang="en-US"/>
          </a:p>
        </p:txBody>
      </p:sp>
    </p:spTree>
    <p:extLst>
      <p:ext uri="{BB962C8B-B14F-4D97-AF65-F5344CB8AC3E}">
        <p14:creationId xmlns:p14="http://schemas.microsoft.com/office/powerpoint/2010/main" val="3881442369"/>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9. Body slide - Text - Red title left">
    <p:spTree>
      <p:nvGrpSpPr>
        <p:cNvPr id="1" name=""/>
        <p:cNvGrpSpPr/>
        <p:nvPr/>
      </p:nvGrpSpPr>
      <p:grpSpPr>
        <a:xfrm>
          <a:off x="0" y="0"/>
          <a:ext cx="0" cy="0"/>
          <a:chOff x="0" y="0"/>
          <a:chExt cx="0" cy="0"/>
        </a:xfrm>
      </p:grpSpPr>
      <p:sp>
        <p:nvSpPr>
          <p:cNvPr id="4" name="Text Placeholder 3"/>
          <p:cNvSpPr>
            <a:spLocks noGrp="1"/>
          </p:cNvSpPr>
          <p:nvPr>
            <p:ph type="body" sz="half" idx="2" hasCustomPrompt="1"/>
          </p:nvPr>
        </p:nvSpPr>
        <p:spPr>
          <a:xfrm>
            <a:off x="287339" y="2615909"/>
            <a:ext cx="3015456" cy="1645144"/>
          </a:xfrm>
          <a:prstGeom prst="rect">
            <a:avLst/>
          </a:prstGeom>
        </p:spPr>
        <p:txBody>
          <a:bodyPr lIns="0" tIns="0" rIns="0" bIns="0"/>
          <a:lstStyle>
            <a:lvl1pPr marL="0" indent="0">
              <a:lnSpc>
                <a:spcPct val="100000"/>
              </a:lnSpc>
              <a:spcBef>
                <a:spcPts val="0"/>
              </a:spcBef>
              <a:buNone/>
              <a:defRPr sz="2800" b="1" i="0" baseline="0">
                <a:solidFill>
                  <a:schemeClr val="tx1"/>
                </a:solidFill>
                <a:latin typeface="arial"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Sub Headline</a:t>
            </a:r>
          </a:p>
        </p:txBody>
      </p:sp>
      <p:sp>
        <p:nvSpPr>
          <p:cNvPr id="11" name="Text Placeholder 3"/>
          <p:cNvSpPr>
            <a:spLocks noGrp="1"/>
          </p:cNvSpPr>
          <p:nvPr>
            <p:ph type="body" sz="half" idx="10" hasCustomPrompt="1"/>
          </p:nvPr>
        </p:nvSpPr>
        <p:spPr>
          <a:xfrm>
            <a:off x="287339" y="401354"/>
            <a:ext cx="3015456" cy="1747969"/>
          </a:xfrm>
          <a:prstGeom prst="rect">
            <a:avLst/>
          </a:prstGeom>
        </p:spPr>
        <p:txBody>
          <a:bodyPr lIns="0" tIns="0" rIns="0" bIns="0"/>
          <a:lstStyle>
            <a:lvl1pPr marL="0" indent="0">
              <a:lnSpc>
                <a:spcPct val="100000"/>
              </a:lnSpc>
              <a:buNone/>
              <a:defRPr sz="4000" b="1" baseline="0">
                <a:solidFill>
                  <a:schemeClr val="tx2"/>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Body slide title</a:t>
            </a:r>
          </a:p>
        </p:txBody>
      </p:sp>
      <p:sp>
        <p:nvSpPr>
          <p:cNvPr id="21" name="Text Placeholder 3"/>
          <p:cNvSpPr>
            <a:spLocks noGrp="1"/>
          </p:cNvSpPr>
          <p:nvPr>
            <p:ph type="body" sz="half" idx="12" hasCustomPrompt="1"/>
          </p:nvPr>
        </p:nvSpPr>
        <p:spPr>
          <a:xfrm>
            <a:off x="3654029" y="463696"/>
            <a:ext cx="5130402" cy="3797357"/>
          </a:xfrm>
          <a:prstGeom prst="rect">
            <a:avLst/>
          </a:prstGeom>
        </p:spPr>
        <p:txBody>
          <a:bodyPr wrap="square" lIns="0" tIns="0" rIns="0" bIns="0"/>
          <a:lstStyle>
            <a:lvl1pPr marL="0" marR="0" indent="0" algn="l" defTabSz="685800" rtl="0" eaLnBrk="1" fontAlgn="auto" latinLnBrk="0" hangingPunct="1">
              <a:lnSpc>
                <a:spcPct val="100000"/>
              </a:lnSpc>
              <a:spcBef>
                <a:spcPts val="750"/>
              </a:spcBef>
              <a:spcAft>
                <a:spcPts val="0"/>
              </a:spcAft>
              <a:buClrTx/>
              <a:buSzTx/>
              <a:buFontTx/>
              <a:buNone/>
              <a:tabLst/>
              <a:defRPr lang="en-US" sz="2100" b="1" kern="1200" dirty="0">
                <a:solidFill>
                  <a:schemeClr val="tx1"/>
                </a:solidFill>
                <a:latin typeface="+mn-lt"/>
                <a:ea typeface="+mn-ea"/>
                <a:cs typeface="+mn-cs"/>
              </a:defRPr>
            </a:lvl1pPr>
            <a:lvl2pPr marL="342900" indent="0">
              <a:buFontTx/>
              <a:buNone/>
              <a:defRPr sz="2100"/>
            </a:lvl2pPr>
            <a:lvl3pPr marL="628650" indent="0">
              <a:buFontTx/>
              <a:buNone/>
              <a:defRPr sz="16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Your text here</a:t>
            </a:r>
          </a:p>
        </p:txBody>
      </p:sp>
      <p:sp>
        <p:nvSpPr>
          <p:cNvPr id="6" name="Slide Number Placeholder 5">
            <a:extLst>
              <a:ext uri="{FF2B5EF4-FFF2-40B4-BE49-F238E27FC236}">
                <a16:creationId xmlns:a16="http://schemas.microsoft.com/office/drawing/2014/main" id="{479062E6-8B0E-4DB4-8209-4E7EB4F3FAA8}"/>
              </a:ext>
            </a:extLst>
          </p:cNvPr>
          <p:cNvSpPr>
            <a:spLocks noGrp="1"/>
          </p:cNvSpPr>
          <p:nvPr>
            <p:ph type="sldNum" sz="quarter" idx="4"/>
          </p:nvPr>
        </p:nvSpPr>
        <p:spPr>
          <a:xfrm>
            <a:off x="6678800" y="4848629"/>
            <a:ext cx="2057400" cy="172823"/>
          </a:xfrm>
          <a:prstGeom prst="rect">
            <a:avLst/>
          </a:prstGeom>
        </p:spPr>
        <p:txBody>
          <a:bodyPr vert="horz" lIns="91440" tIns="45720" rIns="91440" bIns="45720" rtlCol="0" anchor="ctr"/>
          <a:lstStyle>
            <a:lvl1pPr algn="r">
              <a:defRPr sz="900" baseline="0">
                <a:solidFill>
                  <a:schemeClr val="tx1"/>
                </a:solidFill>
              </a:defRPr>
            </a:lvl1pPr>
          </a:lstStyle>
          <a:p>
            <a:fld id="{28F7F04C-F568-F649-A2AE-EA61C66B69B4}" type="slidenum">
              <a:rPr lang="en-US" smtClean="0"/>
              <a:pPr/>
              <a:t>‹#›</a:t>
            </a:fld>
            <a:endParaRPr lang="en-US" dirty="0"/>
          </a:p>
        </p:txBody>
      </p:sp>
      <p:sp>
        <p:nvSpPr>
          <p:cNvPr id="8" name="Date Placeholder 3">
            <a:extLst>
              <a:ext uri="{FF2B5EF4-FFF2-40B4-BE49-F238E27FC236}">
                <a16:creationId xmlns:a16="http://schemas.microsoft.com/office/drawing/2014/main" id="{5DE37A55-AE2A-40CC-8240-F6FD4F5BD0F6}"/>
              </a:ext>
            </a:extLst>
          </p:cNvPr>
          <p:cNvSpPr>
            <a:spLocks noGrp="1"/>
          </p:cNvSpPr>
          <p:nvPr>
            <p:ph type="dt" sz="half" idx="13"/>
          </p:nvPr>
        </p:nvSpPr>
        <p:spPr>
          <a:xfrm>
            <a:off x="6678800" y="4672740"/>
            <a:ext cx="2057400" cy="175889"/>
          </a:xfrm>
          <a:prstGeom prst="rect">
            <a:avLst/>
          </a:prstGeom>
        </p:spPr>
        <p:txBody>
          <a:bodyPr vert="horz" lIns="91440" tIns="45720" rIns="91440" bIns="45720" rtlCol="0" anchor="ctr"/>
          <a:lstStyle>
            <a:lvl1pPr algn="r">
              <a:defRPr sz="900" baseline="0">
                <a:solidFill>
                  <a:schemeClr val="tx1"/>
                </a:solidFill>
              </a:defRPr>
            </a:lvl1pPr>
          </a:lstStyle>
          <a:p>
            <a:r>
              <a:rPr lang="fi-FI" dirty="0"/>
              <a:t>dd.mm.yyyy</a:t>
            </a:r>
            <a:endParaRPr lang="en-US" dirty="0"/>
          </a:p>
        </p:txBody>
      </p:sp>
      <p:sp>
        <p:nvSpPr>
          <p:cNvPr id="9" name="Alatunnisteen paikkamerkki 1">
            <a:extLst>
              <a:ext uri="{FF2B5EF4-FFF2-40B4-BE49-F238E27FC236}">
                <a16:creationId xmlns:a16="http://schemas.microsoft.com/office/drawing/2014/main" id="{AD81B084-A59A-450A-B69B-00DEBAF84E34}"/>
              </a:ext>
            </a:extLst>
          </p:cNvPr>
          <p:cNvSpPr>
            <a:spLocks noGrp="1"/>
          </p:cNvSpPr>
          <p:nvPr>
            <p:ph type="ftr" sz="quarter" idx="3"/>
          </p:nvPr>
        </p:nvSpPr>
        <p:spPr>
          <a:xfrm>
            <a:off x="3028950" y="4849200"/>
            <a:ext cx="3086100" cy="172800"/>
          </a:xfrm>
          <a:prstGeom prst="rect">
            <a:avLst/>
          </a:prstGeom>
        </p:spPr>
        <p:txBody>
          <a:bodyPr vert="horz" lIns="91440" tIns="45720" rIns="91440" bIns="45720" rtlCol="0" anchor="ctr"/>
          <a:lstStyle>
            <a:lvl1pPr algn="ctr">
              <a:defRPr sz="900">
                <a:solidFill>
                  <a:schemeClr val="tx1"/>
                </a:solidFill>
              </a:defRPr>
            </a:lvl1pPr>
          </a:lstStyle>
          <a:p>
            <a:r>
              <a:rPr lang="fi-FI" dirty="0"/>
              <a:t>Your text here</a:t>
            </a:r>
          </a:p>
        </p:txBody>
      </p:sp>
      <p:pic>
        <p:nvPicPr>
          <p:cNvPr id="13" name="Kuva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288790"/>
            <a:ext cx="2073704" cy="856800"/>
          </a:xfrm>
          <a:prstGeom prst="rect">
            <a:avLst/>
          </a:prstGeom>
        </p:spPr>
      </p:pic>
    </p:spTree>
  </p:cSld>
  <p:clrMapOvr>
    <a:masterClrMapping/>
  </p:clrMapOvr>
  <p:extLst>
    <p:ext uri="{DCECCB84-F9BA-43D5-87BE-67443E8EF086}">
      <p15:sldGuideLst xmlns:p15="http://schemas.microsoft.com/office/powerpoint/2012/main">
        <p15:guide id="1" pos="2081" userDrawn="1">
          <p15:clr>
            <a:srgbClr val="FBAE40"/>
          </p15:clr>
        </p15:guide>
        <p15:guide id="2" pos="2302" userDrawn="1">
          <p15:clr>
            <a:srgbClr val="FBAE40"/>
          </p15:clr>
        </p15:guide>
        <p15:guide id="3" pos="5534" userDrawn="1">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Content and 1/2 PIC">
    <p:spTree>
      <p:nvGrpSpPr>
        <p:cNvPr id="1" name=""/>
        <p:cNvGrpSpPr/>
        <p:nvPr/>
      </p:nvGrpSpPr>
      <p:grpSpPr>
        <a:xfrm>
          <a:off x="0" y="0"/>
          <a:ext cx="0" cy="0"/>
          <a:chOff x="0" y="0"/>
          <a:chExt cx="0" cy="0"/>
        </a:xfrm>
      </p:grpSpPr>
      <p:sp>
        <p:nvSpPr>
          <p:cNvPr id="11" name="Picture Placeholder 10"/>
          <p:cNvSpPr>
            <a:spLocks noGrp="1"/>
          </p:cNvSpPr>
          <p:nvPr>
            <p:ph type="pic" sz="quarter" idx="15"/>
          </p:nvPr>
        </p:nvSpPr>
        <p:spPr>
          <a:xfrm>
            <a:off x="1" y="0"/>
            <a:ext cx="4464015" cy="5143500"/>
          </a:xfrm>
          <a:solidFill>
            <a:schemeClr val="bg2">
              <a:lumMod val="20000"/>
              <a:lumOff val="80000"/>
            </a:schemeClr>
          </a:solidFill>
        </p:spPr>
        <p:txBody>
          <a:bodyPr/>
          <a:lstStyle>
            <a:lvl1pPr marL="0" indent="0">
              <a:buFontTx/>
              <a:buNone/>
              <a:defRPr sz="1050"/>
            </a:lvl1pPr>
          </a:lstStyle>
          <a:p>
            <a:r>
              <a:rPr lang="en-US"/>
              <a:t>Click icon to add picture</a:t>
            </a:r>
            <a:endParaRPr lang="fi-FI" dirty="0"/>
          </a:p>
        </p:txBody>
      </p:sp>
      <p:sp>
        <p:nvSpPr>
          <p:cNvPr id="2" name="Title 1"/>
          <p:cNvSpPr>
            <a:spLocks noGrp="1"/>
          </p:cNvSpPr>
          <p:nvPr>
            <p:ph type="title" hasCustomPrompt="1"/>
          </p:nvPr>
        </p:nvSpPr>
        <p:spPr/>
        <p:txBody>
          <a:bodyPr/>
          <a:lstStyle>
            <a:lvl1pPr>
              <a:defRPr/>
            </a:lvl1pPr>
          </a:lstStyle>
          <a:p>
            <a:r>
              <a:rPr lang="en-US" dirty="0"/>
              <a:t>Click to add title</a:t>
            </a:r>
          </a:p>
        </p:txBody>
      </p:sp>
      <p:sp>
        <p:nvSpPr>
          <p:cNvPr id="5" name="Date Placeholder 4"/>
          <p:cNvSpPr>
            <a:spLocks noGrp="1"/>
          </p:cNvSpPr>
          <p:nvPr>
            <p:ph type="dt" sz="half" idx="10"/>
          </p:nvPr>
        </p:nvSpPr>
        <p:spPr/>
        <p:txBody>
          <a:bodyPr/>
          <a:lstStyle>
            <a:lvl1pPr>
              <a:defRPr>
                <a:noFill/>
              </a:defRPr>
            </a:lvl1pPr>
          </a:lstStyle>
          <a:p>
            <a:fld id="{9F29C8DB-8864-495E-945C-E8E237C3EE93}" type="datetime1">
              <a:rPr lang="fi-FI" smtClean="0"/>
              <a:t>5.11.2023</a:t>
            </a:fld>
            <a:endParaRPr lang="en-US"/>
          </a:p>
        </p:txBody>
      </p:sp>
      <p:sp>
        <p:nvSpPr>
          <p:cNvPr id="6" name="Footer Placeholder 5"/>
          <p:cNvSpPr>
            <a:spLocks noGrp="1"/>
          </p:cNvSpPr>
          <p:nvPr>
            <p:ph type="ftr" sz="quarter" idx="11"/>
          </p:nvPr>
        </p:nvSpPr>
        <p:spPr/>
        <p:txBody>
          <a:bodyPr/>
          <a:lstStyle>
            <a:lvl1pPr>
              <a:defRPr>
                <a:noFill/>
              </a:defRPr>
            </a:lvl1pPr>
          </a:lstStyle>
          <a:p>
            <a:r>
              <a:rPr lang="en-US"/>
              <a:t>© Aalto University Executive Education</a:t>
            </a:r>
          </a:p>
        </p:txBody>
      </p:sp>
      <p:sp>
        <p:nvSpPr>
          <p:cNvPr id="7" name="Slide Number Placeholder 6"/>
          <p:cNvSpPr>
            <a:spLocks noGrp="1"/>
          </p:cNvSpPr>
          <p:nvPr>
            <p:ph type="sldNum" sz="quarter" idx="12"/>
          </p:nvPr>
        </p:nvSpPr>
        <p:spPr/>
        <p:txBody>
          <a:bodyPr/>
          <a:lstStyle/>
          <a:p>
            <a:fld id="{FCCA222D-FCF7-48C1-A274-EBDDEF75DC66}" type="slidenum">
              <a:rPr lang="en-US" smtClean="0"/>
              <a:t>‹#›</a:t>
            </a:fld>
            <a:endParaRPr lang="en-US"/>
          </a:p>
        </p:txBody>
      </p:sp>
      <p:sp>
        <p:nvSpPr>
          <p:cNvPr id="8" name="Content Placeholder 7"/>
          <p:cNvSpPr>
            <a:spLocks noGrp="1"/>
          </p:cNvSpPr>
          <p:nvPr>
            <p:ph sz="quarter" idx="14" hasCustomPrompt="1"/>
          </p:nvPr>
        </p:nvSpPr>
        <p:spPr>
          <a:xfrm>
            <a:off x="4679984" y="1869281"/>
            <a:ext cx="4049787" cy="2538413"/>
          </a:xfrm>
        </p:spPr>
        <p:txBody>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Tree>
    <p:extLst>
      <p:ext uri="{BB962C8B-B14F-4D97-AF65-F5344CB8AC3E}">
        <p14:creationId xmlns:p14="http://schemas.microsoft.com/office/powerpoint/2010/main" val="23328571"/>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Content and 1/3 PIC">
    <p:spTree>
      <p:nvGrpSpPr>
        <p:cNvPr id="1" name=""/>
        <p:cNvGrpSpPr/>
        <p:nvPr/>
      </p:nvGrpSpPr>
      <p:grpSpPr>
        <a:xfrm>
          <a:off x="0" y="0"/>
          <a:ext cx="0" cy="0"/>
          <a:chOff x="0" y="0"/>
          <a:chExt cx="0" cy="0"/>
        </a:xfrm>
      </p:grpSpPr>
      <p:sp>
        <p:nvSpPr>
          <p:cNvPr id="11" name="Picture Placeholder 10"/>
          <p:cNvSpPr>
            <a:spLocks noGrp="1"/>
          </p:cNvSpPr>
          <p:nvPr>
            <p:ph type="pic" sz="quarter" idx="15"/>
          </p:nvPr>
        </p:nvSpPr>
        <p:spPr>
          <a:xfrm>
            <a:off x="1" y="0"/>
            <a:ext cx="3060299" cy="5143500"/>
          </a:xfrm>
          <a:solidFill>
            <a:schemeClr val="bg2">
              <a:lumMod val="20000"/>
              <a:lumOff val="80000"/>
            </a:schemeClr>
          </a:solidFill>
        </p:spPr>
        <p:txBody>
          <a:bodyPr/>
          <a:lstStyle>
            <a:lvl1pPr marL="0" indent="0">
              <a:buFontTx/>
              <a:buNone/>
              <a:defRPr sz="1050"/>
            </a:lvl1pPr>
          </a:lstStyle>
          <a:p>
            <a:r>
              <a:rPr lang="en-US"/>
              <a:t>Click icon to add picture</a:t>
            </a:r>
            <a:endParaRPr lang="fi-FI"/>
          </a:p>
        </p:txBody>
      </p:sp>
      <p:sp>
        <p:nvSpPr>
          <p:cNvPr id="2" name="Title 1"/>
          <p:cNvSpPr>
            <a:spLocks noGrp="1"/>
          </p:cNvSpPr>
          <p:nvPr>
            <p:ph type="title" hasCustomPrompt="1"/>
          </p:nvPr>
        </p:nvSpPr>
        <p:spPr/>
        <p:txBody>
          <a:bodyPr/>
          <a:lstStyle>
            <a:lvl1pPr>
              <a:defRPr/>
            </a:lvl1pPr>
          </a:lstStyle>
          <a:p>
            <a:r>
              <a:rPr lang="en-US" dirty="0"/>
              <a:t>Click to add title</a:t>
            </a:r>
          </a:p>
        </p:txBody>
      </p:sp>
      <p:sp>
        <p:nvSpPr>
          <p:cNvPr id="5" name="Date Placeholder 4"/>
          <p:cNvSpPr>
            <a:spLocks noGrp="1"/>
          </p:cNvSpPr>
          <p:nvPr>
            <p:ph type="dt" sz="half" idx="10"/>
          </p:nvPr>
        </p:nvSpPr>
        <p:spPr/>
        <p:txBody>
          <a:bodyPr/>
          <a:lstStyle>
            <a:lvl1pPr>
              <a:defRPr>
                <a:noFill/>
              </a:defRPr>
            </a:lvl1pPr>
          </a:lstStyle>
          <a:p>
            <a:fld id="{CE226531-C9F9-483A-B5FE-CD598EBE2D3B}" type="datetime1">
              <a:rPr lang="fi-FI" smtClean="0"/>
              <a:t>5.11.2023</a:t>
            </a:fld>
            <a:endParaRPr lang="en-US"/>
          </a:p>
        </p:txBody>
      </p:sp>
      <p:sp>
        <p:nvSpPr>
          <p:cNvPr id="6" name="Footer Placeholder 5"/>
          <p:cNvSpPr>
            <a:spLocks noGrp="1"/>
          </p:cNvSpPr>
          <p:nvPr>
            <p:ph type="ftr" sz="quarter" idx="11"/>
          </p:nvPr>
        </p:nvSpPr>
        <p:spPr/>
        <p:txBody>
          <a:bodyPr/>
          <a:lstStyle>
            <a:lvl1pPr>
              <a:defRPr>
                <a:noFill/>
              </a:defRPr>
            </a:lvl1pPr>
          </a:lstStyle>
          <a:p>
            <a:r>
              <a:rPr lang="en-US"/>
              <a:t>© Aalto University Executive Education</a:t>
            </a:r>
          </a:p>
        </p:txBody>
      </p:sp>
      <p:sp>
        <p:nvSpPr>
          <p:cNvPr id="7" name="Slide Number Placeholder 6"/>
          <p:cNvSpPr>
            <a:spLocks noGrp="1"/>
          </p:cNvSpPr>
          <p:nvPr>
            <p:ph type="sldNum" sz="quarter" idx="12"/>
          </p:nvPr>
        </p:nvSpPr>
        <p:spPr/>
        <p:txBody>
          <a:bodyPr/>
          <a:lstStyle/>
          <a:p>
            <a:fld id="{FCCA222D-FCF7-48C1-A274-EBDDEF75DC66}" type="slidenum">
              <a:rPr lang="en-US" smtClean="0"/>
              <a:t>‹#›</a:t>
            </a:fld>
            <a:endParaRPr lang="en-US"/>
          </a:p>
        </p:txBody>
      </p:sp>
      <p:sp>
        <p:nvSpPr>
          <p:cNvPr id="8" name="Content Placeholder 7"/>
          <p:cNvSpPr>
            <a:spLocks noGrp="1"/>
          </p:cNvSpPr>
          <p:nvPr>
            <p:ph sz="quarter" idx="14" hasCustomPrompt="1"/>
          </p:nvPr>
        </p:nvSpPr>
        <p:spPr>
          <a:xfrm>
            <a:off x="3276194" y="1869281"/>
            <a:ext cx="5453577" cy="2538413"/>
          </a:xfrm>
        </p:spPr>
        <p:txBody>
          <a:bodyPr/>
          <a:lstStyle>
            <a:lvl1pPr marL="0" indent="0">
              <a:buFontTx/>
              <a:buNone/>
              <a:defRPr b="1">
                <a:solidFill>
                  <a:schemeClr val="accent2"/>
                </a:solidFill>
              </a:defRPr>
            </a:lvl1pPr>
            <a:lvl2pPr marL="199965" indent="-199965">
              <a:buFont typeface="Arial" panose="020B0604020202020204" pitchFamily="34" charset="0"/>
              <a:buChar char="•"/>
              <a:defRPr sz="1499"/>
            </a:lvl2pPr>
            <a:lvl3pPr marL="404691" indent="-204726">
              <a:buFont typeface="Arial" panose="020B0604020202020204" pitchFamily="34" charset="0"/>
              <a:buChar char="–"/>
              <a:defRPr sz="1349"/>
            </a:lvl3pPr>
            <a:lvl4pPr marL="604656" indent="-199965">
              <a:buFont typeface="Arial" panose="020B0604020202020204" pitchFamily="34" charset="0"/>
              <a:buChar char="•"/>
              <a:defRPr sz="1200"/>
            </a:lvl4pPr>
            <a:lvl5pPr marL="803432" indent="-198775">
              <a:buFont typeface="Arial" panose="020B0604020202020204" pitchFamily="34" charset="0"/>
              <a:buChar char="–"/>
              <a:defRPr/>
            </a:lvl5pPr>
            <a:lvl6pPr marL="1009347" indent="-205917">
              <a:defRPr/>
            </a:lvl6pPr>
            <a:lvl7pPr marL="1209312" indent="-199965">
              <a:defRPr/>
            </a:lvl7pPr>
            <a:lvl8pPr marL="1408088" indent="-198775">
              <a:defRPr/>
            </a:lvl8pPr>
            <a:lvl9pPr marL="1614003" indent="-205917">
              <a:defRPr/>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endParaRPr lang="fi-FI" dirty="0"/>
          </a:p>
        </p:txBody>
      </p:sp>
    </p:spTree>
    <p:extLst>
      <p:ext uri="{BB962C8B-B14F-4D97-AF65-F5344CB8AC3E}">
        <p14:creationId xmlns:p14="http://schemas.microsoft.com/office/powerpoint/2010/main" val="269320371"/>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Small Content and 1/2 PIC">
    <p:spTree>
      <p:nvGrpSpPr>
        <p:cNvPr id="1" name=""/>
        <p:cNvGrpSpPr/>
        <p:nvPr/>
      </p:nvGrpSpPr>
      <p:grpSpPr>
        <a:xfrm>
          <a:off x="0" y="0"/>
          <a:ext cx="0" cy="0"/>
          <a:chOff x="0" y="0"/>
          <a:chExt cx="0" cy="0"/>
        </a:xfrm>
      </p:grpSpPr>
      <p:sp>
        <p:nvSpPr>
          <p:cNvPr id="11" name="Picture Placeholder 10"/>
          <p:cNvSpPr>
            <a:spLocks noGrp="1"/>
          </p:cNvSpPr>
          <p:nvPr>
            <p:ph type="pic" sz="quarter" idx="15"/>
          </p:nvPr>
        </p:nvSpPr>
        <p:spPr>
          <a:xfrm>
            <a:off x="1" y="0"/>
            <a:ext cx="4464015" cy="5143500"/>
          </a:xfrm>
          <a:solidFill>
            <a:schemeClr val="bg2">
              <a:lumMod val="20000"/>
              <a:lumOff val="80000"/>
            </a:schemeClr>
          </a:solidFill>
        </p:spPr>
        <p:txBody>
          <a:bodyPr/>
          <a:lstStyle>
            <a:lvl1pPr marL="0" indent="0">
              <a:buFontTx/>
              <a:buNone/>
              <a:defRPr sz="1050"/>
            </a:lvl1pPr>
          </a:lstStyle>
          <a:p>
            <a:r>
              <a:rPr lang="en-US"/>
              <a:t>Click icon to add picture</a:t>
            </a:r>
            <a:endParaRPr lang="fi-FI" dirty="0"/>
          </a:p>
        </p:txBody>
      </p:sp>
      <p:sp>
        <p:nvSpPr>
          <p:cNvPr id="2" name="Title 1"/>
          <p:cNvSpPr>
            <a:spLocks noGrp="1"/>
          </p:cNvSpPr>
          <p:nvPr>
            <p:ph type="title" hasCustomPrompt="1"/>
          </p:nvPr>
        </p:nvSpPr>
        <p:spPr>
          <a:xfrm>
            <a:off x="0" y="573882"/>
            <a:ext cx="8729771" cy="456902"/>
          </a:xfrm>
        </p:spPr>
        <p:txBody>
          <a:bodyPr/>
          <a:lstStyle>
            <a:lvl1pPr>
              <a:defRPr sz="2249"/>
            </a:lvl1pPr>
          </a:lstStyle>
          <a:p>
            <a:r>
              <a:rPr lang="en-US" dirty="0"/>
              <a:t>Click to add title</a:t>
            </a:r>
          </a:p>
        </p:txBody>
      </p:sp>
      <p:sp>
        <p:nvSpPr>
          <p:cNvPr id="5" name="Date Placeholder 4"/>
          <p:cNvSpPr>
            <a:spLocks noGrp="1"/>
          </p:cNvSpPr>
          <p:nvPr>
            <p:ph type="dt" sz="half" idx="10"/>
          </p:nvPr>
        </p:nvSpPr>
        <p:spPr/>
        <p:txBody>
          <a:bodyPr/>
          <a:lstStyle>
            <a:lvl1pPr>
              <a:defRPr>
                <a:noFill/>
              </a:defRPr>
            </a:lvl1pPr>
          </a:lstStyle>
          <a:p>
            <a:fld id="{EF7DB285-309F-45E1-955B-34715DA4B4CD}" type="datetime1">
              <a:rPr lang="fi-FI" smtClean="0"/>
              <a:t>5.11.2023</a:t>
            </a:fld>
            <a:endParaRPr lang="en-US"/>
          </a:p>
        </p:txBody>
      </p:sp>
      <p:sp>
        <p:nvSpPr>
          <p:cNvPr id="6" name="Footer Placeholder 5"/>
          <p:cNvSpPr>
            <a:spLocks noGrp="1"/>
          </p:cNvSpPr>
          <p:nvPr>
            <p:ph type="ftr" sz="quarter" idx="11"/>
          </p:nvPr>
        </p:nvSpPr>
        <p:spPr/>
        <p:txBody>
          <a:bodyPr/>
          <a:lstStyle>
            <a:lvl1pPr>
              <a:defRPr>
                <a:noFill/>
              </a:defRPr>
            </a:lvl1pPr>
          </a:lstStyle>
          <a:p>
            <a:r>
              <a:rPr lang="en-US"/>
              <a:t>© Aalto University Executive Education</a:t>
            </a:r>
          </a:p>
        </p:txBody>
      </p:sp>
      <p:sp>
        <p:nvSpPr>
          <p:cNvPr id="7" name="Slide Number Placeholder 6"/>
          <p:cNvSpPr>
            <a:spLocks noGrp="1"/>
          </p:cNvSpPr>
          <p:nvPr>
            <p:ph type="sldNum" sz="quarter" idx="12"/>
          </p:nvPr>
        </p:nvSpPr>
        <p:spPr/>
        <p:txBody>
          <a:bodyPr/>
          <a:lstStyle/>
          <a:p>
            <a:fld id="{FCCA222D-FCF7-48C1-A274-EBDDEF75DC66}" type="slidenum">
              <a:rPr lang="en-US" smtClean="0"/>
              <a:t>‹#›</a:t>
            </a:fld>
            <a:endParaRPr lang="en-US"/>
          </a:p>
        </p:txBody>
      </p:sp>
      <p:sp>
        <p:nvSpPr>
          <p:cNvPr id="8" name="Content Placeholder 7"/>
          <p:cNvSpPr>
            <a:spLocks noGrp="1"/>
          </p:cNvSpPr>
          <p:nvPr>
            <p:ph sz="quarter" idx="14" hasCustomPrompt="1"/>
          </p:nvPr>
        </p:nvSpPr>
        <p:spPr>
          <a:xfrm>
            <a:off x="4679984" y="1545431"/>
            <a:ext cx="4049787" cy="2862263"/>
          </a:xfrm>
        </p:spPr>
        <p:txBody>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Tree>
    <p:extLst>
      <p:ext uri="{BB962C8B-B14F-4D97-AF65-F5344CB8AC3E}">
        <p14:creationId xmlns:p14="http://schemas.microsoft.com/office/powerpoint/2010/main" val="2971830232"/>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Small Content and 1/3 PIC">
    <p:spTree>
      <p:nvGrpSpPr>
        <p:cNvPr id="1" name=""/>
        <p:cNvGrpSpPr/>
        <p:nvPr/>
      </p:nvGrpSpPr>
      <p:grpSpPr>
        <a:xfrm>
          <a:off x="0" y="0"/>
          <a:ext cx="0" cy="0"/>
          <a:chOff x="0" y="0"/>
          <a:chExt cx="0" cy="0"/>
        </a:xfrm>
      </p:grpSpPr>
      <p:sp>
        <p:nvSpPr>
          <p:cNvPr id="11" name="Picture Placeholder 10"/>
          <p:cNvSpPr>
            <a:spLocks noGrp="1"/>
          </p:cNvSpPr>
          <p:nvPr>
            <p:ph type="pic" sz="quarter" idx="15"/>
          </p:nvPr>
        </p:nvSpPr>
        <p:spPr>
          <a:xfrm>
            <a:off x="1" y="0"/>
            <a:ext cx="3060299" cy="5143500"/>
          </a:xfrm>
          <a:solidFill>
            <a:schemeClr val="bg2">
              <a:lumMod val="20000"/>
              <a:lumOff val="80000"/>
            </a:schemeClr>
          </a:solidFill>
        </p:spPr>
        <p:txBody>
          <a:bodyPr/>
          <a:lstStyle>
            <a:lvl1pPr marL="0" indent="0">
              <a:buFontTx/>
              <a:buNone/>
              <a:defRPr sz="1050"/>
            </a:lvl1pPr>
          </a:lstStyle>
          <a:p>
            <a:r>
              <a:rPr lang="en-US"/>
              <a:t>Click icon to add picture</a:t>
            </a:r>
            <a:endParaRPr lang="fi-FI"/>
          </a:p>
        </p:txBody>
      </p:sp>
      <p:sp>
        <p:nvSpPr>
          <p:cNvPr id="2" name="Title 1"/>
          <p:cNvSpPr>
            <a:spLocks noGrp="1"/>
          </p:cNvSpPr>
          <p:nvPr>
            <p:ph type="title" hasCustomPrompt="1"/>
          </p:nvPr>
        </p:nvSpPr>
        <p:spPr>
          <a:xfrm>
            <a:off x="0" y="573882"/>
            <a:ext cx="8729771" cy="456902"/>
          </a:xfrm>
        </p:spPr>
        <p:txBody>
          <a:bodyPr/>
          <a:lstStyle>
            <a:lvl1pPr>
              <a:defRPr sz="2249"/>
            </a:lvl1pPr>
          </a:lstStyle>
          <a:p>
            <a:r>
              <a:rPr lang="en-US" dirty="0"/>
              <a:t>Click to add title</a:t>
            </a:r>
          </a:p>
        </p:txBody>
      </p:sp>
      <p:sp>
        <p:nvSpPr>
          <p:cNvPr id="5" name="Date Placeholder 4"/>
          <p:cNvSpPr>
            <a:spLocks noGrp="1"/>
          </p:cNvSpPr>
          <p:nvPr>
            <p:ph type="dt" sz="half" idx="10"/>
          </p:nvPr>
        </p:nvSpPr>
        <p:spPr/>
        <p:txBody>
          <a:bodyPr/>
          <a:lstStyle>
            <a:lvl1pPr>
              <a:defRPr>
                <a:noFill/>
              </a:defRPr>
            </a:lvl1pPr>
          </a:lstStyle>
          <a:p>
            <a:fld id="{22642C14-3DE9-4F64-B21D-7CB7D984F8BA}" type="datetime1">
              <a:rPr lang="fi-FI" smtClean="0"/>
              <a:t>5.11.2023</a:t>
            </a:fld>
            <a:endParaRPr lang="en-US"/>
          </a:p>
        </p:txBody>
      </p:sp>
      <p:sp>
        <p:nvSpPr>
          <p:cNvPr id="6" name="Footer Placeholder 5"/>
          <p:cNvSpPr>
            <a:spLocks noGrp="1"/>
          </p:cNvSpPr>
          <p:nvPr>
            <p:ph type="ftr" sz="quarter" idx="11"/>
          </p:nvPr>
        </p:nvSpPr>
        <p:spPr/>
        <p:txBody>
          <a:bodyPr/>
          <a:lstStyle>
            <a:lvl1pPr>
              <a:defRPr>
                <a:noFill/>
              </a:defRPr>
            </a:lvl1pPr>
          </a:lstStyle>
          <a:p>
            <a:r>
              <a:rPr lang="en-US"/>
              <a:t>© Aalto University Executive Education</a:t>
            </a:r>
          </a:p>
        </p:txBody>
      </p:sp>
      <p:sp>
        <p:nvSpPr>
          <p:cNvPr id="7" name="Slide Number Placeholder 6"/>
          <p:cNvSpPr>
            <a:spLocks noGrp="1"/>
          </p:cNvSpPr>
          <p:nvPr>
            <p:ph type="sldNum" sz="quarter" idx="12"/>
          </p:nvPr>
        </p:nvSpPr>
        <p:spPr/>
        <p:txBody>
          <a:bodyPr/>
          <a:lstStyle/>
          <a:p>
            <a:fld id="{FCCA222D-FCF7-48C1-A274-EBDDEF75DC66}" type="slidenum">
              <a:rPr lang="en-US" smtClean="0"/>
              <a:t>‹#›</a:t>
            </a:fld>
            <a:endParaRPr lang="en-US"/>
          </a:p>
        </p:txBody>
      </p:sp>
      <p:sp>
        <p:nvSpPr>
          <p:cNvPr id="8" name="Content Placeholder 7"/>
          <p:cNvSpPr>
            <a:spLocks noGrp="1"/>
          </p:cNvSpPr>
          <p:nvPr>
            <p:ph sz="quarter" idx="14" hasCustomPrompt="1"/>
          </p:nvPr>
        </p:nvSpPr>
        <p:spPr>
          <a:xfrm>
            <a:off x="3276194" y="1545431"/>
            <a:ext cx="5453577" cy="2862263"/>
          </a:xfrm>
        </p:spPr>
        <p:txBody>
          <a:bodyPr/>
          <a:lstStyle>
            <a:lvl1pPr marL="0" indent="0">
              <a:buFontTx/>
              <a:buNone/>
              <a:defRPr b="1">
                <a:solidFill>
                  <a:schemeClr val="accent2"/>
                </a:solidFill>
              </a:defRPr>
            </a:lvl1pPr>
            <a:lvl2pPr marL="199965" indent="-199965">
              <a:buFont typeface="Arial" panose="020B0604020202020204" pitchFamily="34" charset="0"/>
              <a:buChar char="•"/>
              <a:defRPr sz="1499"/>
            </a:lvl2pPr>
            <a:lvl3pPr marL="404691" indent="-204726">
              <a:buFont typeface="Arial" panose="020B0604020202020204" pitchFamily="34" charset="0"/>
              <a:buChar char="–"/>
              <a:defRPr sz="1349"/>
            </a:lvl3pPr>
            <a:lvl4pPr marL="604656" indent="-199965">
              <a:buFont typeface="Arial" panose="020B0604020202020204" pitchFamily="34" charset="0"/>
              <a:buChar char="•"/>
              <a:defRPr sz="1200"/>
            </a:lvl4pPr>
            <a:lvl5pPr marL="803432" indent="-198775">
              <a:buFont typeface="Arial" panose="020B0604020202020204" pitchFamily="34" charset="0"/>
              <a:buChar char="–"/>
              <a:defRPr/>
            </a:lvl5pPr>
            <a:lvl6pPr marL="1009347" indent="-205917">
              <a:defRPr/>
            </a:lvl6pPr>
            <a:lvl7pPr marL="1209312" indent="-199965">
              <a:defRPr/>
            </a:lvl7pPr>
            <a:lvl8pPr marL="1408088" indent="-198775">
              <a:defRPr/>
            </a:lvl8pPr>
            <a:lvl9pPr marL="1614003" indent="-205917">
              <a:defRPr/>
            </a:lvl9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endParaRPr lang="fi-FI" dirty="0"/>
          </a:p>
        </p:txBody>
      </p:sp>
    </p:spTree>
    <p:extLst>
      <p:ext uri="{BB962C8B-B14F-4D97-AF65-F5344CB8AC3E}">
        <p14:creationId xmlns:p14="http://schemas.microsoft.com/office/powerpoint/2010/main" val="3106062600"/>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Content with Picture">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952DEB47-5D9B-4A82-8E12-5DD09DF8F359}" type="datetime1">
              <a:rPr lang="fi-FI" smtClean="0"/>
              <a:t>5.11.2023</a:t>
            </a:fld>
            <a:endParaRPr lang="en-US"/>
          </a:p>
        </p:txBody>
      </p:sp>
      <p:sp>
        <p:nvSpPr>
          <p:cNvPr id="4" name="Footer Placeholder 3"/>
          <p:cNvSpPr>
            <a:spLocks noGrp="1"/>
          </p:cNvSpPr>
          <p:nvPr>
            <p:ph type="ftr" sz="quarter" idx="11"/>
          </p:nvPr>
        </p:nvSpPr>
        <p:spPr/>
        <p:txBody>
          <a:bodyPr/>
          <a:lstStyle/>
          <a:p>
            <a:r>
              <a:rPr lang="en-US"/>
              <a:t>© Aalto University Executive Education</a:t>
            </a:r>
          </a:p>
        </p:txBody>
      </p:sp>
      <p:sp>
        <p:nvSpPr>
          <p:cNvPr id="5" name="Slide Number Placeholder 4"/>
          <p:cNvSpPr>
            <a:spLocks noGrp="1"/>
          </p:cNvSpPr>
          <p:nvPr>
            <p:ph type="sldNum" sz="quarter" idx="12"/>
          </p:nvPr>
        </p:nvSpPr>
        <p:spPr/>
        <p:txBody>
          <a:bodyPr/>
          <a:lstStyle/>
          <a:p>
            <a:fld id="{FCCA222D-FCF7-48C1-A274-EBDDEF75DC66}" type="slidenum">
              <a:rPr lang="en-US" smtClean="0"/>
              <a:t>‹#›</a:t>
            </a:fld>
            <a:endParaRPr lang="en-US"/>
          </a:p>
        </p:txBody>
      </p:sp>
      <p:sp>
        <p:nvSpPr>
          <p:cNvPr id="6" name="Title 1"/>
          <p:cNvSpPr>
            <a:spLocks noGrp="1"/>
          </p:cNvSpPr>
          <p:nvPr>
            <p:ph type="title" hasCustomPrompt="1"/>
          </p:nvPr>
        </p:nvSpPr>
        <p:spPr>
          <a:xfrm>
            <a:off x="0" y="573882"/>
            <a:ext cx="8729771" cy="456902"/>
          </a:xfrm>
        </p:spPr>
        <p:txBody>
          <a:bodyPr/>
          <a:lstStyle>
            <a:lvl1pPr>
              <a:defRPr sz="2249"/>
            </a:lvl1pPr>
          </a:lstStyle>
          <a:p>
            <a:r>
              <a:rPr lang="en-US" dirty="0"/>
              <a:t>Click to add title</a:t>
            </a:r>
          </a:p>
        </p:txBody>
      </p:sp>
      <p:sp>
        <p:nvSpPr>
          <p:cNvPr id="9" name="Picture Placeholder 2"/>
          <p:cNvSpPr>
            <a:spLocks noGrp="1"/>
          </p:cNvSpPr>
          <p:nvPr>
            <p:ph type="pic" idx="13"/>
          </p:nvPr>
        </p:nvSpPr>
        <p:spPr>
          <a:xfrm>
            <a:off x="7109620" y="1545433"/>
            <a:ext cx="2034380" cy="2862326"/>
          </a:xfrm>
          <a:solidFill>
            <a:schemeClr val="bg2">
              <a:lumMod val="20000"/>
              <a:lumOff val="80000"/>
            </a:schemeClr>
          </a:solidFill>
        </p:spPr>
        <p:txBody>
          <a:bodyPr/>
          <a:lstStyle>
            <a:lvl1pPr marL="0" indent="0">
              <a:buNone/>
              <a:defRPr sz="1050"/>
            </a:lvl1pPr>
            <a:lvl2pPr marL="342797" indent="0">
              <a:buNone/>
              <a:defRPr sz="2099"/>
            </a:lvl2pPr>
            <a:lvl3pPr marL="685595" indent="0">
              <a:buNone/>
              <a:defRPr sz="1799"/>
            </a:lvl3pPr>
            <a:lvl4pPr marL="1028392" indent="0">
              <a:buNone/>
              <a:defRPr sz="1499"/>
            </a:lvl4pPr>
            <a:lvl5pPr marL="1371188" indent="0">
              <a:buNone/>
              <a:defRPr sz="1499"/>
            </a:lvl5pPr>
            <a:lvl6pPr marL="1713986" indent="0">
              <a:buNone/>
              <a:defRPr sz="1499"/>
            </a:lvl6pPr>
            <a:lvl7pPr marL="2056783" indent="0">
              <a:buNone/>
              <a:defRPr sz="1499"/>
            </a:lvl7pPr>
            <a:lvl8pPr marL="2399580" indent="0">
              <a:buNone/>
              <a:defRPr sz="1499"/>
            </a:lvl8pPr>
            <a:lvl9pPr marL="2742377" indent="0">
              <a:buNone/>
              <a:defRPr sz="1499"/>
            </a:lvl9pPr>
          </a:lstStyle>
          <a:p>
            <a:r>
              <a:rPr lang="en-US"/>
              <a:t>Click icon to add picture</a:t>
            </a:r>
          </a:p>
        </p:txBody>
      </p:sp>
      <p:sp>
        <p:nvSpPr>
          <p:cNvPr id="13" name="Content Placeholder 12"/>
          <p:cNvSpPr>
            <a:spLocks noGrp="1"/>
          </p:cNvSpPr>
          <p:nvPr>
            <p:ph sz="quarter" idx="14" hasCustomPrompt="1"/>
          </p:nvPr>
        </p:nvSpPr>
        <p:spPr>
          <a:xfrm>
            <a:off x="414231" y="1545431"/>
            <a:ext cx="6479423" cy="2862263"/>
          </a:xfrm>
        </p:spPr>
        <p:txBody>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5063996"/>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Case">
    <p:spTree>
      <p:nvGrpSpPr>
        <p:cNvPr id="1" name=""/>
        <p:cNvGrpSpPr/>
        <p:nvPr/>
      </p:nvGrpSpPr>
      <p:grpSpPr>
        <a:xfrm>
          <a:off x="0" y="0"/>
          <a:ext cx="0" cy="0"/>
          <a:chOff x="0" y="0"/>
          <a:chExt cx="0" cy="0"/>
        </a:xfrm>
      </p:grpSpPr>
      <p:sp>
        <p:nvSpPr>
          <p:cNvPr id="9" name="Text Placeholder 8"/>
          <p:cNvSpPr>
            <a:spLocks noGrp="1"/>
          </p:cNvSpPr>
          <p:nvPr>
            <p:ph type="body" sz="quarter" idx="14" hasCustomPrompt="1"/>
          </p:nvPr>
        </p:nvSpPr>
        <p:spPr>
          <a:xfrm>
            <a:off x="4572000" y="2571750"/>
            <a:ext cx="4572000" cy="2571750"/>
          </a:xfrm>
          <a:solidFill>
            <a:schemeClr val="accent2"/>
          </a:solidFill>
        </p:spPr>
        <p:txBody>
          <a:bodyPr lIns="396000" tIns="360000" rIns="396000" bIns="360000"/>
          <a:lstStyle>
            <a:lvl1pPr marL="0" indent="0">
              <a:buNone/>
              <a:defRPr sz="2099" b="1">
                <a:solidFill>
                  <a:schemeClr val="bg1"/>
                </a:solidFill>
              </a:defRPr>
            </a:lvl1pPr>
            <a:lvl2pPr marL="0" indent="0">
              <a:buNone/>
              <a:defRPr sz="1050">
                <a:solidFill>
                  <a:schemeClr val="bg1"/>
                </a:solidFill>
              </a:defRPr>
            </a:lvl2pPr>
            <a:lvl3pPr marL="199965" indent="-199965">
              <a:defRPr sz="900">
                <a:solidFill>
                  <a:schemeClr val="bg1"/>
                </a:solidFill>
              </a:defRPr>
            </a:lvl3pPr>
            <a:lvl4pPr marL="604656" indent="-199965">
              <a:defRPr>
                <a:solidFill>
                  <a:schemeClr val="bg1"/>
                </a:solidFill>
              </a:defRPr>
            </a:lvl4pPr>
            <a:lvl5pPr marL="803432" indent="-198775">
              <a:defRPr>
                <a:solidFill>
                  <a:schemeClr val="bg1"/>
                </a:solidFill>
              </a:defRPr>
            </a:lvl5pPr>
          </a:lstStyle>
          <a:p>
            <a:pPr lvl="0"/>
            <a:r>
              <a:rPr lang="en-US" dirty="0"/>
              <a:t>Click to add text</a:t>
            </a:r>
          </a:p>
          <a:p>
            <a:pPr lvl="1"/>
            <a:r>
              <a:rPr lang="en-US" dirty="0"/>
              <a:t>Second level</a:t>
            </a:r>
          </a:p>
          <a:p>
            <a:pPr lvl="2"/>
            <a:r>
              <a:rPr lang="en-US" dirty="0"/>
              <a:t>Third level</a:t>
            </a:r>
          </a:p>
        </p:txBody>
      </p:sp>
      <p:sp>
        <p:nvSpPr>
          <p:cNvPr id="13" name="Picture Placeholder 12"/>
          <p:cNvSpPr>
            <a:spLocks noGrp="1"/>
          </p:cNvSpPr>
          <p:nvPr>
            <p:ph type="pic" sz="quarter" idx="15"/>
          </p:nvPr>
        </p:nvSpPr>
        <p:spPr>
          <a:xfrm>
            <a:off x="4572000" y="0"/>
            <a:ext cx="4572000" cy="2571750"/>
          </a:xfrm>
          <a:solidFill>
            <a:schemeClr val="bg2">
              <a:lumMod val="20000"/>
              <a:lumOff val="80000"/>
            </a:schemeClr>
          </a:solidFill>
        </p:spPr>
        <p:txBody>
          <a:bodyPr/>
          <a:lstStyle>
            <a:lvl1pPr marL="0" indent="0">
              <a:buNone/>
              <a:defRPr sz="1050"/>
            </a:lvl1pPr>
          </a:lstStyle>
          <a:p>
            <a:r>
              <a:rPr lang="en-US"/>
              <a:t>Click icon to add picture</a:t>
            </a:r>
            <a:endParaRPr lang="fi-FI" dirty="0"/>
          </a:p>
        </p:txBody>
      </p:sp>
      <p:sp>
        <p:nvSpPr>
          <p:cNvPr id="2" name="Title 1"/>
          <p:cNvSpPr>
            <a:spLocks noGrp="1"/>
          </p:cNvSpPr>
          <p:nvPr>
            <p:ph type="title" hasCustomPrompt="1"/>
          </p:nvPr>
        </p:nvSpPr>
        <p:spPr>
          <a:xfrm>
            <a:off x="0" y="573882"/>
            <a:ext cx="4464013" cy="456902"/>
          </a:xfrm>
        </p:spPr>
        <p:txBody>
          <a:bodyPr/>
          <a:lstStyle>
            <a:lvl1pPr>
              <a:defRPr sz="2249" baseline="0"/>
            </a:lvl1pPr>
          </a:lstStyle>
          <a:p>
            <a:r>
              <a:rPr lang="en-US" dirty="0"/>
              <a:t>Click to add title</a:t>
            </a:r>
          </a:p>
        </p:txBody>
      </p:sp>
      <p:sp>
        <p:nvSpPr>
          <p:cNvPr id="3" name="Content Placeholder 2"/>
          <p:cNvSpPr>
            <a:spLocks noGrp="1"/>
          </p:cNvSpPr>
          <p:nvPr>
            <p:ph idx="1" hasCustomPrompt="1"/>
          </p:nvPr>
        </p:nvSpPr>
        <p:spPr>
          <a:xfrm>
            <a:off x="414230" y="1168003"/>
            <a:ext cx="4049786" cy="1079702"/>
          </a:xfrm>
        </p:spPr>
        <p:txBody>
          <a:bodyPr/>
          <a:lstStyle>
            <a:lvl1pPr>
              <a:defRPr sz="1050" b="1"/>
            </a:lvl1pPr>
            <a:lvl2pPr>
              <a:defRPr sz="900"/>
            </a:lvl2pPr>
            <a:lvl3pPr>
              <a:defRPr sz="825"/>
            </a:lvl3pPr>
            <a:lvl4pPr>
              <a:defRPr sz="788"/>
            </a:lvl4pPr>
            <a:lvl5pPr>
              <a:defRPr sz="788"/>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lvl1pPr>
              <a:defRPr>
                <a:solidFill>
                  <a:srgbClr val="B3B2B2"/>
                </a:solidFill>
              </a:defRPr>
            </a:lvl1pPr>
          </a:lstStyle>
          <a:p>
            <a:fld id="{689A7EC0-9CAF-476F-AFA2-09BEF61B6716}" type="datetime1">
              <a:rPr lang="fi-FI" smtClean="0"/>
              <a:t>5.11.2023</a:t>
            </a:fld>
            <a:endParaRPr lang="en-US"/>
          </a:p>
        </p:txBody>
      </p:sp>
      <p:sp>
        <p:nvSpPr>
          <p:cNvPr id="5" name="Footer Placeholder 4"/>
          <p:cNvSpPr>
            <a:spLocks noGrp="1"/>
          </p:cNvSpPr>
          <p:nvPr>
            <p:ph type="ftr" sz="quarter" idx="11"/>
          </p:nvPr>
        </p:nvSpPr>
        <p:spPr/>
        <p:txBody>
          <a:bodyPr/>
          <a:lstStyle>
            <a:lvl1pPr>
              <a:defRPr>
                <a:noFill/>
              </a:defRPr>
            </a:lvl1pPr>
          </a:lstStyle>
          <a:p>
            <a:r>
              <a:rPr lang="en-US"/>
              <a:t>© Aalto University Executive Education</a:t>
            </a: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FCCA222D-FCF7-48C1-A274-EBDDEF75DC66}" type="slidenum">
              <a:rPr lang="en-US" smtClean="0"/>
              <a:pPr/>
              <a:t>‹#›</a:t>
            </a:fld>
            <a:endParaRPr lang="en-US"/>
          </a:p>
        </p:txBody>
      </p:sp>
      <p:sp>
        <p:nvSpPr>
          <p:cNvPr id="7" name="Content Placeholder 2"/>
          <p:cNvSpPr>
            <a:spLocks noGrp="1"/>
          </p:cNvSpPr>
          <p:nvPr>
            <p:ph idx="13" hasCustomPrompt="1"/>
          </p:nvPr>
        </p:nvSpPr>
        <p:spPr>
          <a:xfrm>
            <a:off x="414229" y="2355720"/>
            <a:ext cx="4049759" cy="2051975"/>
          </a:xfrm>
        </p:spPr>
        <p:txBody>
          <a:bodyPr/>
          <a:lstStyle>
            <a:lvl1pPr marL="199965" indent="-199965">
              <a:buFont typeface="+mj-lt"/>
              <a:buAutoNum type="arabicPeriod"/>
              <a:defRPr sz="1200" b="1">
                <a:solidFill>
                  <a:schemeClr val="accent2"/>
                </a:solidFill>
              </a:defRPr>
            </a:lvl1pPr>
            <a:lvl2pPr marL="0" indent="0">
              <a:buNone/>
              <a:defRPr sz="1050"/>
            </a:lvl2pPr>
            <a:lvl3pPr marL="199965" indent="-199965">
              <a:defRPr sz="900"/>
            </a:lvl3pPr>
            <a:lvl4pPr marL="404691" indent="-204726">
              <a:defRPr sz="825"/>
            </a:lvl4pPr>
            <a:lvl5pPr marL="604656" indent="-199965">
              <a:defRPr sz="825"/>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30474015"/>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Title and Sched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573882"/>
            <a:ext cx="8729771" cy="456902"/>
          </a:xfrm>
        </p:spPr>
        <p:txBody>
          <a:bodyPr/>
          <a:lstStyle>
            <a:lvl1pPr>
              <a:defRPr sz="2249"/>
            </a:lvl1pPr>
          </a:lstStyle>
          <a:p>
            <a:r>
              <a:rPr lang="en-US" dirty="0"/>
              <a:t>Click to add title</a:t>
            </a:r>
          </a:p>
        </p:txBody>
      </p:sp>
      <p:sp>
        <p:nvSpPr>
          <p:cNvPr id="4" name="Date Placeholder 3"/>
          <p:cNvSpPr>
            <a:spLocks noGrp="1"/>
          </p:cNvSpPr>
          <p:nvPr>
            <p:ph type="dt" sz="half" idx="10"/>
          </p:nvPr>
        </p:nvSpPr>
        <p:spPr/>
        <p:txBody>
          <a:bodyPr/>
          <a:lstStyle/>
          <a:p>
            <a:fld id="{2739F984-E3A1-4480-8440-14CE1826A798}" type="datetime1">
              <a:rPr lang="fi-FI" smtClean="0"/>
              <a:t>5.11.2023</a:t>
            </a:fld>
            <a:endParaRPr lang="en-US"/>
          </a:p>
        </p:txBody>
      </p:sp>
      <p:sp>
        <p:nvSpPr>
          <p:cNvPr id="5" name="Footer Placeholder 4"/>
          <p:cNvSpPr>
            <a:spLocks noGrp="1"/>
          </p:cNvSpPr>
          <p:nvPr>
            <p:ph type="ftr" sz="quarter" idx="11"/>
          </p:nvPr>
        </p:nvSpPr>
        <p:spPr/>
        <p:txBody>
          <a:bodyPr/>
          <a:lstStyle/>
          <a:p>
            <a:r>
              <a:rPr lang="en-US"/>
              <a:t>© Aalto University Executive Education</a:t>
            </a:r>
          </a:p>
        </p:txBody>
      </p:sp>
      <p:sp>
        <p:nvSpPr>
          <p:cNvPr id="6" name="Slide Number Placeholder 5"/>
          <p:cNvSpPr>
            <a:spLocks noGrp="1"/>
          </p:cNvSpPr>
          <p:nvPr>
            <p:ph type="sldNum" sz="quarter" idx="12"/>
          </p:nvPr>
        </p:nvSpPr>
        <p:spPr/>
        <p:txBody>
          <a:bodyPr/>
          <a:lstStyle/>
          <a:p>
            <a:fld id="{FCCA222D-FCF7-48C1-A274-EBDDEF75DC66}" type="slidenum">
              <a:rPr lang="en-US" smtClean="0"/>
              <a:t>‹#›</a:t>
            </a:fld>
            <a:endParaRPr lang="en-US"/>
          </a:p>
        </p:txBody>
      </p:sp>
      <p:sp>
        <p:nvSpPr>
          <p:cNvPr id="9" name="Text Placeholder 8"/>
          <p:cNvSpPr>
            <a:spLocks noGrp="1"/>
          </p:cNvSpPr>
          <p:nvPr>
            <p:ph type="body" sz="quarter" idx="13" hasCustomPrompt="1"/>
          </p:nvPr>
        </p:nvSpPr>
        <p:spPr>
          <a:xfrm>
            <a:off x="252346" y="1168004"/>
            <a:ext cx="1458137" cy="161574"/>
          </a:xfrm>
          <a:solidFill>
            <a:srgbClr val="CCCCCC"/>
          </a:solidFill>
        </p:spPr>
        <p:txBody>
          <a:bodyPr anchor="ctr" anchorCtr="0"/>
          <a:lstStyle>
            <a:lvl1pPr marL="0" indent="0" algn="ctr">
              <a:buFontTx/>
              <a:buNone/>
              <a:defRPr sz="900" b="1">
                <a:solidFill>
                  <a:srgbClr val="4C4C4C"/>
                </a:solidFill>
              </a:defRPr>
            </a:lvl1pPr>
          </a:lstStyle>
          <a:p>
            <a:pPr lvl="0"/>
            <a:r>
              <a:rPr lang="en-US" dirty="0"/>
              <a:t>Month</a:t>
            </a:r>
          </a:p>
        </p:txBody>
      </p:sp>
      <p:sp>
        <p:nvSpPr>
          <p:cNvPr id="10" name="Text Placeholder 8"/>
          <p:cNvSpPr>
            <a:spLocks noGrp="1"/>
          </p:cNvSpPr>
          <p:nvPr>
            <p:ph type="body" sz="quarter" idx="14" hasCustomPrompt="1"/>
          </p:nvPr>
        </p:nvSpPr>
        <p:spPr>
          <a:xfrm>
            <a:off x="1710484" y="1168004"/>
            <a:ext cx="1403381" cy="161574"/>
          </a:xfrm>
          <a:solidFill>
            <a:srgbClr val="999999"/>
          </a:solidFill>
        </p:spPr>
        <p:txBody>
          <a:bodyPr anchor="ctr" anchorCtr="0"/>
          <a:lstStyle>
            <a:lvl1pPr marL="0" indent="0" algn="ctr">
              <a:buFontTx/>
              <a:buNone/>
              <a:defRPr sz="900" b="1">
                <a:solidFill>
                  <a:schemeClr val="bg1"/>
                </a:solidFill>
              </a:defRPr>
            </a:lvl1pPr>
          </a:lstStyle>
          <a:p>
            <a:pPr lvl="0"/>
            <a:r>
              <a:rPr lang="en-US" dirty="0"/>
              <a:t>Month</a:t>
            </a:r>
          </a:p>
        </p:txBody>
      </p:sp>
      <p:sp>
        <p:nvSpPr>
          <p:cNvPr id="11" name="Text Placeholder 8"/>
          <p:cNvSpPr>
            <a:spLocks noGrp="1"/>
          </p:cNvSpPr>
          <p:nvPr>
            <p:ph type="body" sz="quarter" idx="15" hasCustomPrompt="1"/>
          </p:nvPr>
        </p:nvSpPr>
        <p:spPr>
          <a:xfrm>
            <a:off x="3113864" y="1168004"/>
            <a:ext cx="1458137" cy="161574"/>
          </a:xfrm>
          <a:solidFill>
            <a:srgbClr val="CCCCCC"/>
          </a:solidFill>
        </p:spPr>
        <p:txBody>
          <a:bodyPr anchor="ctr" anchorCtr="0"/>
          <a:lstStyle>
            <a:lvl1pPr marL="0" indent="0" algn="ctr">
              <a:buFontTx/>
              <a:buNone/>
              <a:defRPr sz="900" b="1">
                <a:solidFill>
                  <a:srgbClr val="4C4C4C"/>
                </a:solidFill>
              </a:defRPr>
            </a:lvl1pPr>
          </a:lstStyle>
          <a:p>
            <a:pPr lvl="0"/>
            <a:r>
              <a:rPr lang="en-US" dirty="0"/>
              <a:t>Month</a:t>
            </a:r>
          </a:p>
        </p:txBody>
      </p:sp>
      <p:sp>
        <p:nvSpPr>
          <p:cNvPr id="12" name="Text Placeholder 8"/>
          <p:cNvSpPr>
            <a:spLocks noGrp="1"/>
          </p:cNvSpPr>
          <p:nvPr>
            <p:ph type="body" sz="quarter" idx="16" hasCustomPrompt="1"/>
          </p:nvPr>
        </p:nvSpPr>
        <p:spPr>
          <a:xfrm>
            <a:off x="4572001" y="1168004"/>
            <a:ext cx="1458136" cy="161574"/>
          </a:xfrm>
          <a:solidFill>
            <a:srgbClr val="999999"/>
          </a:solidFill>
        </p:spPr>
        <p:txBody>
          <a:bodyPr anchor="ctr" anchorCtr="0"/>
          <a:lstStyle>
            <a:lvl1pPr marL="0" indent="0" algn="ctr">
              <a:buFontTx/>
              <a:buNone/>
              <a:defRPr sz="900" b="1">
                <a:solidFill>
                  <a:schemeClr val="bg1"/>
                </a:solidFill>
              </a:defRPr>
            </a:lvl1pPr>
          </a:lstStyle>
          <a:p>
            <a:pPr lvl="0"/>
            <a:r>
              <a:rPr lang="en-US" dirty="0"/>
              <a:t>Month</a:t>
            </a:r>
          </a:p>
        </p:txBody>
      </p:sp>
      <p:sp>
        <p:nvSpPr>
          <p:cNvPr id="13" name="Text Placeholder 8"/>
          <p:cNvSpPr>
            <a:spLocks noGrp="1"/>
          </p:cNvSpPr>
          <p:nvPr>
            <p:ph type="body" sz="quarter" idx="17" hasCustomPrompt="1"/>
          </p:nvPr>
        </p:nvSpPr>
        <p:spPr>
          <a:xfrm>
            <a:off x="7487081" y="1168004"/>
            <a:ext cx="1404572" cy="161574"/>
          </a:xfrm>
          <a:solidFill>
            <a:srgbClr val="999999"/>
          </a:solidFill>
        </p:spPr>
        <p:txBody>
          <a:bodyPr anchor="ctr" anchorCtr="0"/>
          <a:lstStyle>
            <a:lvl1pPr marL="0" indent="0" algn="ctr">
              <a:buFontTx/>
              <a:buNone/>
              <a:defRPr sz="900" b="1">
                <a:solidFill>
                  <a:schemeClr val="bg1"/>
                </a:solidFill>
              </a:defRPr>
            </a:lvl1pPr>
          </a:lstStyle>
          <a:p>
            <a:pPr lvl="0"/>
            <a:r>
              <a:rPr lang="en-US" dirty="0"/>
              <a:t>Month</a:t>
            </a:r>
          </a:p>
        </p:txBody>
      </p:sp>
      <p:sp>
        <p:nvSpPr>
          <p:cNvPr id="14" name="Text Placeholder 8"/>
          <p:cNvSpPr>
            <a:spLocks noGrp="1"/>
          </p:cNvSpPr>
          <p:nvPr>
            <p:ph type="body" sz="quarter" idx="18" hasCustomPrompt="1"/>
          </p:nvPr>
        </p:nvSpPr>
        <p:spPr>
          <a:xfrm>
            <a:off x="6030136" y="1168004"/>
            <a:ext cx="1456946" cy="161574"/>
          </a:xfrm>
          <a:solidFill>
            <a:srgbClr val="CCCCCC"/>
          </a:solidFill>
        </p:spPr>
        <p:txBody>
          <a:bodyPr anchor="ctr" anchorCtr="0"/>
          <a:lstStyle>
            <a:lvl1pPr marL="0" indent="0" algn="ctr">
              <a:buFontTx/>
              <a:buNone/>
              <a:defRPr sz="900" b="1">
                <a:solidFill>
                  <a:srgbClr val="4C4C4C"/>
                </a:solidFill>
              </a:defRPr>
            </a:lvl1pPr>
          </a:lstStyle>
          <a:p>
            <a:pPr lvl="0"/>
            <a:r>
              <a:rPr lang="en-US" dirty="0"/>
              <a:t>Month</a:t>
            </a:r>
          </a:p>
        </p:txBody>
      </p:sp>
      <p:sp>
        <p:nvSpPr>
          <p:cNvPr id="24" name="Text Placeholder 8"/>
          <p:cNvSpPr>
            <a:spLocks noGrp="1"/>
          </p:cNvSpPr>
          <p:nvPr>
            <p:ph type="body" sz="quarter" idx="19" hasCustomPrompt="1"/>
          </p:nvPr>
        </p:nvSpPr>
        <p:spPr>
          <a:xfrm>
            <a:off x="252346" y="2787254"/>
            <a:ext cx="1458137" cy="161925"/>
          </a:xfrm>
          <a:solidFill>
            <a:srgbClr val="CCCCCC"/>
          </a:solidFill>
        </p:spPr>
        <p:txBody>
          <a:bodyPr anchor="ctr" anchorCtr="0"/>
          <a:lstStyle>
            <a:lvl1pPr marL="0" indent="0" algn="ctr">
              <a:buFontTx/>
              <a:buNone/>
              <a:defRPr sz="900" b="1">
                <a:solidFill>
                  <a:srgbClr val="4C4C4C"/>
                </a:solidFill>
              </a:defRPr>
            </a:lvl1pPr>
          </a:lstStyle>
          <a:p>
            <a:pPr lvl="0"/>
            <a:r>
              <a:rPr lang="en-US" dirty="0"/>
              <a:t>Month</a:t>
            </a:r>
          </a:p>
        </p:txBody>
      </p:sp>
      <p:sp>
        <p:nvSpPr>
          <p:cNvPr id="25" name="Text Placeholder 8"/>
          <p:cNvSpPr>
            <a:spLocks noGrp="1"/>
          </p:cNvSpPr>
          <p:nvPr>
            <p:ph type="body" sz="quarter" idx="20" hasCustomPrompt="1"/>
          </p:nvPr>
        </p:nvSpPr>
        <p:spPr>
          <a:xfrm>
            <a:off x="1710484" y="2787254"/>
            <a:ext cx="1403381" cy="161925"/>
          </a:xfrm>
          <a:solidFill>
            <a:srgbClr val="999999"/>
          </a:solidFill>
        </p:spPr>
        <p:txBody>
          <a:bodyPr anchor="ctr" anchorCtr="0"/>
          <a:lstStyle>
            <a:lvl1pPr marL="0" indent="0" algn="ctr">
              <a:buFontTx/>
              <a:buNone/>
              <a:defRPr sz="900" b="1">
                <a:solidFill>
                  <a:schemeClr val="bg1"/>
                </a:solidFill>
              </a:defRPr>
            </a:lvl1pPr>
          </a:lstStyle>
          <a:p>
            <a:pPr lvl="0"/>
            <a:r>
              <a:rPr lang="en-US" dirty="0"/>
              <a:t>Month</a:t>
            </a:r>
          </a:p>
        </p:txBody>
      </p:sp>
      <p:sp>
        <p:nvSpPr>
          <p:cNvPr id="26" name="Text Placeholder 8"/>
          <p:cNvSpPr>
            <a:spLocks noGrp="1"/>
          </p:cNvSpPr>
          <p:nvPr>
            <p:ph type="body" sz="quarter" idx="21" hasCustomPrompt="1"/>
          </p:nvPr>
        </p:nvSpPr>
        <p:spPr>
          <a:xfrm>
            <a:off x="3113864" y="2787254"/>
            <a:ext cx="1458137" cy="161925"/>
          </a:xfrm>
          <a:solidFill>
            <a:srgbClr val="CCCCCC"/>
          </a:solidFill>
        </p:spPr>
        <p:txBody>
          <a:bodyPr anchor="ctr" anchorCtr="0"/>
          <a:lstStyle>
            <a:lvl1pPr marL="0" indent="0" algn="ctr">
              <a:buFontTx/>
              <a:buNone/>
              <a:defRPr sz="900" b="1">
                <a:solidFill>
                  <a:srgbClr val="4C4C4C"/>
                </a:solidFill>
              </a:defRPr>
            </a:lvl1pPr>
          </a:lstStyle>
          <a:p>
            <a:pPr lvl="0"/>
            <a:r>
              <a:rPr lang="en-US" dirty="0"/>
              <a:t>Month</a:t>
            </a:r>
          </a:p>
        </p:txBody>
      </p:sp>
      <p:sp>
        <p:nvSpPr>
          <p:cNvPr id="27" name="Text Placeholder 8"/>
          <p:cNvSpPr>
            <a:spLocks noGrp="1"/>
          </p:cNvSpPr>
          <p:nvPr>
            <p:ph type="body" sz="quarter" idx="22" hasCustomPrompt="1"/>
          </p:nvPr>
        </p:nvSpPr>
        <p:spPr>
          <a:xfrm>
            <a:off x="4572001" y="2787254"/>
            <a:ext cx="1458136" cy="161925"/>
          </a:xfrm>
          <a:solidFill>
            <a:srgbClr val="999999"/>
          </a:solidFill>
        </p:spPr>
        <p:txBody>
          <a:bodyPr anchor="ctr" anchorCtr="0"/>
          <a:lstStyle>
            <a:lvl1pPr marL="0" indent="0" algn="ctr">
              <a:buFontTx/>
              <a:buNone/>
              <a:defRPr sz="900" b="1">
                <a:solidFill>
                  <a:schemeClr val="bg1"/>
                </a:solidFill>
              </a:defRPr>
            </a:lvl1pPr>
          </a:lstStyle>
          <a:p>
            <a:pPr lvl="0"/>
            <a:r>
              <a:rPr lang="en-US" dirty="0"/>
              <a:t>Month</a:t>
            </a:r>
          </a:p>
        </p:txBody>
      </p:sp>
      <p:sp>
        <p:nvSpPr>
          <p:cNvPr id="28" name="Text Placeholder 8"/>
          <p:cNvSpPr>
            <a:spLocks noGrp="1"/>
          </p:cNvSpPr>
          <p:nvPr>
            <p:ph type="body" sz="quarter" idx="23" hasCustomPrompt="1"/>
          </p:nvPr>
        </p:nvSpPr>
        <p:spPr>
          <a:xfrm>
            <a:off x="7487081" y="2787254"/>
            <a:ext cx="1404572" cy="161925"/>
          </a:xfrm>
          <a:solidFill>
            <a:srgbClr val="999999"/>
          </a:solidFill>
        </p:spPr>
        <p:txBody>
          <a:bodyPr anchor="ctr" anchorCtr="0"/>
          <a:lstStyle>
            <a:lvl1pPr marL="0" indent="0" algn="ctr">
              <a:buFontTx/>
              <a:buNone/>
              <a:defRPr sz="900" b="1">
                <a:solidFill>
                  <a:schemeClr val="bg1"/>
                </a:solidFill>
              </a:defRPr>
            </a:lvl1pPr>
          </a:lstStyle>
          <a:p>
            <a:pPr lvl="0"/>
            <a:r>
              <a:rPr lang="en-US" dirty="0"/>
              <a:t>Month</a:t>
            </a:r>
          </a:p>
        </p:txBody>
      </p:sp>
      <p:sp>
        <p:nvSpPr>
          <p:cNvPr id="29" name="Text Placeholder 8"/>
          <p:cNvSpPr>
            <a:spLocks noGrp="1"/>
          </p:cNvSpPr>
          <p:nvPr>
            <p:ph type="body" sz="quarter" idx="24" hasCustomPrompt="1"/>
          </p:nvPr>
        </p:nvSpPr>
        <p:spPr>
          <a:xfrm>
            <a:off x="6030136" y="2787254"/>
            <a:ext cx="1456946" cy="161925"/>
          </a:xfrm>
          <a:solidFill>
            <a:srgbClr val="CCCCCC"/>
          </a:solidFill>
        </p:spPr>
        <p:txBody>
          <a:bodyPr anchor="ctr" anchorCtr="0"/>
          <a:lstStyle>
            <a:lvl1pPr marL="0" indent="0" algn="ctr">
              <a:buFontTx/>
              <a:buNone/>
              <a:defRPr sz="900" b="1">
                <a:solidFill>
                  <a:srgbClr val="4C4C4C"/>
                </a:solidFill>
              </a:defRPr>
            </a:lvl1pPr>
          </a:lstStyle>
          <a:p>
            <a:pPr lvl="0"/>
            <a:r>
              <a:rPr lang="en-US" dirty="0"/>
              <a:t>Month</a:t>
            </a:r>
          </a:p>
        </p:txBody>
      </p:sp>
    </p:spTree>
    <p:extLst>
      <p:ext uri="{BB962C8B-B14F-4D97-AF65-F5344CB8AC3E}">
        <p14:creationId xmlns:p14="http://schemas.microsoft.com/office/powerpoint/2010/main" val="3844712495"/>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Title and Schedule 1/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573882"/>
            <a:ext cx="8729771" cy="456902"/>
          </a:xfrm>
        </p:spPr>
        <p:txBody>
          <a:bodyPr/>
          <a:lstStyle>
            <a:lvl1pPr>
              <a:defRPr sz="2249"/>
            </a:lvl1pPr>
          </a:lstStyle>
          <a:p>
            <a:r>
              <a:rPr lang="en-US" dirty="0"/>
              <a:t>Click to add title</a:t>
            </a:r>
          </a:p>
        </p:txBody>
      </p:sp>
      <p:sp>
        <p:nvSpPr>
          <p:cNvPr id="4" name="Date Placeholder 3"/>
          <p:cNvSpPr>
            <a:spLocks noGrp="1"/>
          </p:cNvSpPr>
          <p:nvPr>
            <p:ph type="dt" sz="half" idx="10"/>
          </p:nvPr>
        </p:nvSpPr>
        <p:spPr/>
        <p:txBody>
          <a:bodyPr/>
          <a:lstStyle/>
          <a:p>
            <a:fld id="{9563F5D9-D960-494D-97FB-91F70DCEAA0D}" type="datetime1">
              <a:rPr lang="fi-FI" smtClean="0"/>
              <a:t>5.11.2023</a:t>
            </a:fld>
            <a:endParaRPr lang="en-US"/>
          </a:p>
        </p:txBody>
      </p:sp>
      <p:sp>
        <p:nvSpPr>
          <p:cNvPr id="5" name="Footer Placeholder 4"/>
          <p:cNvSpPr>
            <a:spLocks noGrp="1"/>
          </p:cNvSpPr>
          <p:nvPr>
            <p:ph type="ftr" sz="quarter" idx="11"/>
          </p:nvPr>
        </p:nvSpPr>
        <p:spPr/>
        <p:txBody>
          <a:bodyPr/>
          <a:lstStyle/>
          <a:p>
            <a:r>
              <a:rPr lang="en-US"/>
              <a:t>© Aalto University Executive Education</a:t>
            </a:r>
          </a:p>
        </p:txBody>
      </p:sp>
      <p:sp>
        <p:nvSpPr>
          <p:cNvPr id="6" name="Slide Number Placeholder 5"/>
          <p:cNvSpPr>
            <a:spLocks noGrp="1"/>
          </p:cNvSpPr>
          <p:nvPr>
            <p:ph type="sldNum" sz="quarter" idx="12"/>
          </p:nvPr>
        </p:nvSpPr>
        <p:spPr/>
        <p:txBody>
          <a:bodyPr/>
          <a:lstStyle/>
          <a:p>
            <a:fld id="{FCCA222D-FCF7-48C1-A274-EBDDEF75DC66}" type="slidenum">
              <a:rPr lang="en-US" smtClean="0"/>
              <a:t>‹#›</a:t>
            </a:fld>
            <a:endParaRPr lang="en-US"/>
          </a:p>
        </p:txBody>
      </p:sp>
      <p:sp>
        <p:nvSpPr>
          <p:cNvPr id="9" name="Text Placeholder 8"/>
          <p:cNvSpPr>
            <a:spLocks noGrp="1"/>
          </p:cNvSpPr>
          <p:nvPr>
            <p:ph type="body" sz="quarter" idx="13" hasCustomPrompt="1"/>
          </p:nvPr>
        </p:nvSpPr>
        <p:spPr>
          <a:xfrm>
            <a:off x="252346" y="1168004"/>
            <a:ext cx="1458137" cy="161574"/>
          </a:xfrm>
          <a:solidFill>
            <a:srgbClr val="CCCCCC"/>
          </a:solidFill>
        </p:spPr>
        <p:txBody>
          <a:bodyPr anchor="ctr" anchorCtr="0"/>
          <a:lstStyle>
            <a:lvl1pPr marL="0" indent="0" algn="ctr">
              <a:buFontTx/>
              <a:buNone/>
              <a:defRPr sz="900" b="1">
                <a:solidFill>
                  <a:srgbClr val="4C4C4C"/>
                </a:solidFill>
              </a:defRPr>
            </a:lvl1pPr>
          </a:lstStyle>
          <a:p>
            <a:pPr lvl="0"/>
            <a:r>
              <a:rPr lang="en-US" dirty="0"/>
              <a:t>Month</a:t>
            </a:r>
          </a:p>
        </p:txBody>
      </p:sp>
      <p:sp>
        <p:nvSpPr>
          <p:cNvPr id="10" name="Text Placeholder 8"/>
          <p:cNvSpPr>
            <a:spLocks noGrp="1"/>
          </p:cNvSpPr>
          <p:nvPr>
            <p:ph type="body" sz="quarter" idx="14" hasCustomPrompt="1"/>
          </p:nvPr>
        </p:nvSpPr>
        <p:spPr>
          <a:xfrm>
            <a:off x="1710484" y="1168004"/>
            <a:ext cx="1403381" cy="161574"/>
          </a:xfrm>
          <a:solidFill>
            <a:srgbClr val="999999"/>
          </a:solidFill>
        </p:spPr>
        <p:txBody>
          <a:bodyPr anchor="ctr" anchorCtr="0"/>
          <a:lstStyle>
            <a:lvl1pPr marL="0" indent="0" algn="ctr">
              <a:buFontTx/>
              <a:buNone/>
              <a:defRPr sz="900" b="1">
                <a:solidFill>
                  <a:schemeClr val="bg1"/>
                </a:solidFill>
              </a:defRPr>
            </a:lvl1pPr>
          </a:lstStyle>
          <a:p>
            <a:pPr lvl="0"/>
            <a:r>
              <a:rPr lang="en-US" dirty="0"/>
              <a:t>Month</a:t>
            </a:r>
          </a:p>
        </p:txBody>
      </p:sp>
      <p:sp>
        <p:nvSpPr>
          <p:cNvPr id="11" name="Text Placeholder 8"/>
          <p:cNvSpPr>
            <a:spLocks noGrp="1"/>
          </p:cNvSpPr>
          <p:nvPr>
            <p:ph type="body" sz="quarter" idx="15" hasCustomPrompt="1"/>
          </p:nvPr>
        </p:nvSpPr>
        <p:spPr>
          <a:xfrm>
            <a:off x="3113864" y="1168004"/>
            <a:ext cx="1458137" cy="161574"/>
          </a:xfrm>
          <a:solidFill>
            <a:srgbClr val="CCCCCC"/>
          </a:solidFill>
        </p:spPr>
        <p:txBody>
          <a:bodyPr anchor="ctr" anchorCtr="0"/>
          <a:lstStyle>
            <a:lvl1pPr marL="0" indent="0" algn="ctr">
              <a:buFontTx/>
              <a:buNone/>
              <a:defRPr sz="900" b="1">
                <a:solidFill>
                  <a:srgbClr val="4C4C4C"/>
                </a:solidFill>
              </a:defRPr>
            </a:lvl1pPr>
          </a:lstStyle>
          <a:p>
            <a:pPr lvl="0"/>
            <a:r>
              <a:rPr lang="en-US" dirty="0"/>
              <a:t>Month</a:t>
            </a:r>
          </a:p>
        </p:txBody>
      </p:sp>
      <p:sp>
        <p:nvSpPr>
          <p:cNvPr id="12" name="Text Placeholder 8"/>
          <p:cNvSpPr>
            <a:spLocks noGrp="1"/>
          </p:cNvSpPr>
          <p:nvPr>
            <p:ph type="body" sz="quarter" idx="16" hasCustomPrompt="1"/>
          </p:nvPr>
        </p:nvSpPr>
        <p:spPr>
          <a:xfrm>
            <a:off x="4572001" y="1168004"/>
            <a:ext cx="1458136" cy="161574"/>
          </a:xfrm>
          <a:solidFill>
            <a:srgbClr val="999999"/>
          </a:solidFill>
        </p:spPr>
        <p:txBody>
          <a:bodyPr anchor="ctr" anchorCtr="0"/>
          <a:lstStyle>
            <a:lvl1pPr marL="0" indent="0" algn="ctr">
              <a:buFontTx/>
              <a:buNone/>
              <a:defRPr sz="900" b="1">
                <a:solidFill>
                  <a:schemeClr val="bg1"/>
                </a:solidFill>
              </a:defRPr>
            </a:lvl1pPr>
          </a:lstStyle>
          <a:p>
            <a:pPr lvl="0"/>
            <a:r>
              <a:rPr lang="en-US" dirty="0"/>
              <a:t>Month</a:t>
            </a:r>
          </a:p>
        </p:txBody>
      </p:sp>
      <p:sp>
        <p:nvSpPr>
          <p:cNvPr id="13" name="Text Placeholder 8"/>
          <p:cNvSpPr>
            <a:spLocks noGrp="1"/>
          </p:cNvSpPr>
          <p:nvPr>
            <p:ph type="body" sz="quarter" idx="17" hasCustomPrompt="1"/>
          </p:nvPr>
        </p:nvSpPr>
        <p:spPr>
          <a:xfrm>
            <a:off x="7487081" y="1168004"/>
            <a:ext cx="1404572" cy="161574"/>
          </a:xfrm>
          <a:solidFill>
            <a:srgbClr val="999999"/>
          </a:solidFill>
        </p:spPr>
        <p:txBody>
          <a:bodyPr anchor="ctr" anchorCtr="0"/>
          <a:lstStyle>
            <a:lvl1pPr marL="0" indent="0" algn="ctr">
              <a:buFontTx/>
              <a:buNone/>
              <a:defRPr sz="900" b="1">
                <a:solidFill>
                  <a:schemeClr val="bg1"/>
                </a:solidFill>
              </a:defRPr>
            </a:lvl1pPr>
          </a:lstStyle>
          <a:p>
            <a:pPr lvl="0"/>
            <a:r>
              <a:rPr lang="en-US" dirty="0"/>
              <a:t>Month</a:t>
            </a:r>
          </a:p>
        </p:txBody>
      </p:sp>
      <p:sp>
        <p:nvSpPr>
          <p:cNvPr id="14" name="Text Placeholder 8"/>
          <p:cNvSpPr>
            <a:spLocks noGrp="1"/>
          </p:cNvSpPr>
          <p:nvPr>
            <p:ph type="body" sz="quarter" idx="18" hasCustomPrompt="1"/>
          </p:nvPr>
        </p:nvSpPr>
        <p:spPr>
          <a:xfrm>
            <a:off x="6030136" y="1168004"/>
            <a:ext cx="1456946" cy="161574"/>
          </a:xfrm>
          <a:solidFill>
            <a:srgbClr val="CCCCCC"/>
          </a:solidFill>
        </p:spPr>
        <p:txBody>
          <a:bodyPr anchor="ctr" anchorCtr="0"/>
          <a:lstStyle>
            <a:lvl1pPr marL="0" indent="0" algn="ctr">
              <a:buFontTx/>
              <a:buNone/>
              <a:defRPr sz="900" b="1">
                <a:solidFill>
                  <a:srgbClr val="4C4C4C"/>
                </a:solidFill>
              </a:defRPr>
            </a:lvl1pPr>
          </a:lstStyle>
          <a:p>
            <a:pPr lvl="0"/>
            <a:r>
              <a:rPr lang="en-US" dirty="0"/>
              <a:t>Month</a:t>
            </a:r>
          </a:p>
        </p:txBody>
      </p:sp>
    </p:spTree>
    <p:extLst>
      <p:ext uri="{BB962C8B-B14F-4D97-AF65-F5344CB8AC3E}">
        <p14:creationId xmlns:p14="http://schemas.microsoft.com/office/powerpoint/2010/main" val="1147942851"/>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Proces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573882"/>
            <a:ext cx="8729771" cy="456902"/>
          </a:xfrm>
        </p:spPr>
        <p:txBody>
          <a:bodyPr/>
          <a:lstStyle>
            <a:lvl1pPr>
              <a:defRPr sz="2249"/>
            </a:lvl1pPr>
          </a:lstStyle>
          <a:p>
            <a:r>
              <a:rPr lang="en-US" dirty="0"/>
              <a:t>Click to add title</a:t>
            </a:r>
          </a:p>
        </p:txBody>
      </p:sp>
      <p:sp>
        <p:nvSpPr>
          <p:cNvPr id="4" name="Date Placeholder 3"/>
          <p:cNvSpPr>
            <a:spLocks noGrp="1"/>
          </p:cNvSpPr>
          <p:nvPr>
            <p:ph type="dt" sz="half" idx="10"/>
          </p:nvPr>
        </p:nvSpPr>
        <p:spPr/>
        <p:txBody>
          <a:bodyPr/>
          <a:lstStyle/>
          <a:p>
            <a:fld id="{47D29171-FC86-4412-B9C2-159F0A152F34}" type="datetime1">
              <a:rPr lang="fi-FI" smtClean="0"/>
              <a:t>5.11.2023</a:t>
            </a:fld>
            <a:endParaRPr lang="en-US"/>
          </a:p>
        </p:txBody>
      </p:sp>
      <p:sp>
        <p:nvSpPr>
          <p:cNvPr id="5" name="Footer Placeholder 4"/>
          <p:cNvSpPr>
            <a:spLocks noGrp="1"/>
          </p:cNvSpPr>
          <p:nvPr>
            <p:ph type="ftr" sz="quarter" idx="11"/>
          </p:nvPr>
        </p:nvSpPr>
        <p:spPr/>
        <p:txBody>
          <a:bodyPr/>
          <a:lstStyle/>
          <a:p>
            <a:r>
              <a:rPr lang="en-US"/>
              <a:t>© Aalto University Executive Education</a:t>
            </a:r>
          </a:p>
        </p:txBody>
      </p:sp>
      <p:sp>
        <p:nvSpPr>
          <p:cNvPr id="6" name="Slide Number Placeholder 5"/>
          <p:cNvSpPr>
            <a:spLocks noGrp="1"/>
          </p:cNvSpPr>
          <p:nvPr>
            <p:ph type="sldNum" sz="quarter" idx="12"/>
          </p:nvPr>
        </p:nvSpPr>
        <p:spPr/>
        <p:txBody>
          <a:bodyPr/>
          <a:lstStyle/>
          <a:p>
            <a:fld id="{FCCA222D-FCF7-48C1-A274-EBDDEF75DC66}" type="slidenum">
              <a:rPr lang="en-US" smtClean="0"/>
              <a:t>‹#›</a:t>
            </a:fld>
            <a:endParaRPr lang="en-US"/>
          </a:p>
        </p:txBody>
      </p:sp>
      <p:sp>
        <p:nvSpPr>
          <p:cNvPr id="16" name="Text Placeholder 11"/>
          <p:cNvSpPr>
            <a:spLocks noGrp="1"/>
          </p:cNvSpPr>
          <p:nvPr>
            <p:ph type="body" sz="quarter" idx="13" hasCustomPrompt="1"/>
          </p:nvPr>
        </p:nvSpPr>
        <p:spPr>
          <a:xfrm>
            <a:off x="522492" y="1545432"/>
            <a:ext cx="1997305" cy="2808685"/>
          </a:xfrm>
          <a:custGeom>
            <a:avLst/>
            <a:gdLst>
              <a:gd name="connsiteX0" fmla="*/ 0 w 2520350"/>
              <a:gd name="connsiteY0" fmla="*/ 0 h 3744913"/>
              <a:gd name="connsiteX1" fmla="*/ 1470204 w 2520350"/>
              <a:gd name="connsiteY1" fmla="*/ 0 h 3744913"/>
              <a:gd name="connsiteX2" fmla="*/ 1470204 w 2520350"/>
              <a:gd name="connsiteY2" fmla="*/ 0 h 3744913"/>
              <a:gd name="connsiteX3" fmla="*/ 2100292 w 2520350"/>
              <a:gd name="connsiteY3" fmla="*/ 0 h 3744913"/>
              <a:gd name="connsiteX4" fmla="*/ 2520350 w 2520350"/>
              <a:gd name="connsiteY4" fmla="*/ 0 h 3744913"/>
              <a:gd name="connsiteX5" fmla="*/ 2520350 w 2520350"/>
              <a:gd name="connsiteY5" fmla="*/ 624152 h 3744913"/>
              <a:gd name="connsiteX6" fmla="*/ 2655340 w 2520350"/>
              <a:gd name="connsiteY6" fmla="*/ 1070820 h 3744913"/>
              <a:gd name="connsiteX7" fmla="*/ 2520350 w 2520350"/>
              <a:gd name="connsiteY7" fmla="*/ 1560380 h 3744913"/>
              <a:gd name="connsiteX8" fmla="*/ 2520350 w 2520350"/>
              <a:gd name="connsiteY8" fmla="*/ 3744913 h 3744913"/>
              <a:gd name="connsiteX9" fmla="*/ 2100292 w 2520350"/>
              <a:gd name="connsiteY9" fmla="*/ 3744913 h 3744913"/>
              <a:gd name="connsiteX10" fmla="*/ 1470204 w 2520350"/>
              <a:gd name="connsiteY10" fmla="*/ 3744913 h 3744913"/>
              <a:gd name="connsiteX11" fmla="*/ 1470204 w 2520350"/>
              <a:gd name="connsiteY11" fmla="*/ 3744913 h 3744913"/>
              <a:gd name="connsiteX12" fmla="*/ 0 w 2520350"/>
              <a:gd name="connsiteY12" fmla="*/ 3744913 h 3744913"/>
              <a:gd name="connsiteX13" fmla="*/ 0 w 2520350"/>
              <a:gd name="connsiteY13" fmla="*/ 1560380 h 3744913"/>
              <a:gd name="connsiteX14" fmla="*/ 0 w 2520350"/>
              <a:gd name="connsiteY14" fmla="*/ 624152 h 3744913"/>
              <a:gd name="connsiteX15" fmla="*/ 0 w 2520350"/>
              <a:gd name="connsiteY15" fmla="*/ 624152 h 3744913"/>
              <a:gd name="connsiteX16" fmla="*/ 0 w 2520350"/>
              <a:gd name="connsiteY16" fmla="*/ 0 h 3744913"/>
              <a:gd name="connsiteX0" fmla="*/ 0 w 2655340"/>
              <a:gd name="connsiteY0" fmla="*/ 0 h 3744913"/>
              <a:gd name="connsiteX1" fmla="*/ 1470204 w 2655340"/>
              <a:gd name="connsiteY1" fmla="*/ 0 h 3744913"/>
              <a:gd name="connsiteX2" fmla="*/ 1470204 w 2655340"/>
              <a:gd name="connsiteY2" fmla="*/ 0 h 3744913"/>
              <a:gd name="connsiteX3" fmla="*/ 2100292 w 2655340"/>
              <a:gd name="connsiteY3" fmla="*/ 0 h 3744913"/>
              <a:gd name="connsiteX4" fmla="*/ 2520350 w 2655340"/>
              <a:gd name="connsiteY4" fmla="*/ 0 h 3744913"/>
              <a:gd name="connsiteX5" fmla="*/ 2520350 w 2655340"/>
              <a:gd name="connsiteY5" fmla="*/ 624152 h 3744913"/>
              <a:gd name="connsiteX6" fmla="*/ 2655340 w 2655340"/>
              <a:gd name="connsiteY6" fmla="*/ 1070820 h 3744913"/>
              <a:gd name="connsiteX7" fmla="*/ 2520350 w 2655340"/>
              <a:gd name="connsiteY7" fmla="*/ 2007046 h 3744913"/>
              <a:gd name="connsiteX8" fmla="*/ 2520350 w 2655340"/>
              <a:gd name="connsiteY8" fmla="*/ 3744913 h 3744913"/>
              <a:gd name="connsiteX9" fmla="*/ 2100292 w 2655340"/>
              <a:gd name="connsiteY9" fmla="*/ 3744913 h 3744913"/>
              <a:gd name="connsiteX10" fmla="*/ 1470204 w 2655340"/>
              <a:gd name="connsiteY10" fmla="*/ 3744913 h 3744913"/>
              <a:gd name="connsiteX11" fmla="*/ 1470204 w 2655340"/>
              <a:gd name="connsiteY11" fmla="*/ 3744913 h 3744913"/>
              <a:gd name="connsiteX12" fmla="*/ 0 w 2655340"/>
              <a:gd name="connsiteY12" fmla="*/ 3744913 h 3744913"/>
              <a:gd name="connsiteX13" fmla="*/ 0 w 2655340"/>
              <a:gd name="connsiteY13" fmla="*/ 1560380 h 3744913"/>
              <a:gd name="connsiteX14" fmla="*/ 0 w 2655340"/>
              <a:gd name="connsiteY14" fmla="*/ 624152 h 3744913"/>
              <a:gd name="connsiteX15" fmla="*/ 0 w 2655340"/>
              <a:gd name="connsiteY15" fmla="*/ 624152 h 3744913"/>
              <a:gd name="connsiteX16" fmla="*/ 0 w 2655340"/>
              <a:gd name="connsiteY16" fmla="*/ 0 h 3744913"/>
              <a:gd name="connsiteX0" fmla="*/ 0 w 2655340"/>
              <a:gd name="connsiteY0" fmla="*/ 0 h 3744913"/>
              <a:gd name="connsiteX1" fmla="*/ 1470204 w 2655340"/>
              <a:gd name="connsiteY1" fmla="*/ 0 h 3744913"/>
              <a:gd name="connsiteX2" fmla="*/ 1470204 w 2655340"/>
              <a:gd name="connsiteY2" fmla="*/ 0 h 3744913"/>
              <a:gd name="connsiteX3" fmla="*/ 2100292 w 2655340"/>
              <a:gd name="connsiteY3" fmla="*/ 0 h 3744913"/>
              <a:gd name="connsiteX4" fmla="*/ 2520350 w 2655340"/>
              <a:gd name="connsiteY4" fmla="*/ 0 h 3744913"/>
              <a:gd name="connsiteX5" fmla="*/ 2511923 w 2655340"/>
              <a:gd name="connsiteY5" fmla="*/ 1715533 h 3744913"/>
              <a:gd name="connsiteX6" fmla="*/ 2655340 w 2655340"/>
              <a:gd name="connsiteY6" fmla="*/ 1070820 h 3744913"/>
              <a:gd name="connsiteX7" fmla="*/ 2520350 w 2655340"/>
              <a:gd name="connsiteY7" fmla="*/ 2007046 h 3744913"/>
              <a:gd name="connsiteX8" fmla="*/ 2520350 w 2655340"/>
              <a:gd name="connsiteY8" fmla="*/ 3744913 h 3744913"/>
              <a:gd name="connsiteX9" fmla="*/ 2100292 w 2655340"/>
              <a:gd name="connsiteY9" fmla="*/ 3744913 h 3744913"/>
              <a:gd name="connsiteX10" fmla="*/ 1470204 w 2655340"/>
              <a:gd name="connsiteY10" fmla="*/ 3744913 h 3744913"/>
              <a:gd name="connsiteX11" fmla="*/ 1470204 w 2655340"/>
              <a:gd name="connsiteY11" fmla="*/ 3744913 h 3744913"/>
              <a:gd name="connsiteX12" fmla="*/ 0 w 2655340"/>
              <a:gd name="connsiteY12" fmla="*/ 3744913 h 3744913"/>
              <a:gd name="connsiteX13" fmla="*/ 0 w 2655340"/>
              <a:gd name="connsiteY13" fmla="*/ 1560380 h 3744913"/>
              <a:gd name="connsiteX14" fmla="*/ 0 w 2655340"/>
              <a:gd name="connsiteY14" fmla="*/ 624152 h 3744913"/>
              <a:gd name="connsiteX15" fmla="*/ 0 w 2655340"/>
              <a:gd name="connsiteY15" fmla="*/ 624152 h 3744913"/>
              <a:gd name="connsiteX16" fmla="*/ 0 w 2655340"/>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5533 h 3744913"/>
              <a:gd name="connsiteX6" fmla="*/ 2663767 w 2663767"/>
              <a:gd name="connsiteY6" fmla="*/ 1867233 h 3744913"/>
              <a:gd name="connsiteX7" fmla="*/ 2520350 w 2663767"/>
              <a:gd name="connsiteY7" fmla="*/ 2007046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9747 h 3744913"/>
              <a:gd name="connsiteX6" fmla="*/ 2663767 w 2663767"/>
              <a:gd name="connsiteY6" fmla="*/ 1867233 h 3744913"/>
              <a:gd name="connsiteX7" fmla="*/ 2520350 w 2663767"/>
              <a:gd name="connsiteY7" fmla="*/ 2007046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9747 h 3744913"/>
              <a:gd name="connsiteX6" fmla="*/ 2663767 w 2663767"/>
              <a:gd name="connsiteY6" fmla="*/ 1867233 h 3744913"/>
              <a:gd name="connsiteX7" fmla="*/ 2520350 w 2663767"/>
              <a:gd name="connsiteY7" fmla="*/ 2016440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5054 w 2663767"/>
              <a:gd name="connsiteY5" fmla="*/ 1722879 h 3744913"/>
              <a:gd name="connsiteX6" fmla="*/ 2663767 w 2663767"/>
              <a:gd name="connsiteY6" fmla="*/ 1867233 h 3744913"/>
              <a:gd name="connsiteX7" fmla="*/ 2520350 w 2663767"/>
              <a:gd name="connsiteY7" fmla="*/ 2016440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63767" h="3744913">
                <a:moveTo>
                  <a:pt x="0" y="0"/>
                </a:moveTo>
                <a:lnTo>
                  <a:pt x="1470204" y="0"/>
                </a:lnTo>
                <a:lnTo>
                  <a:pt x="1470204" y="0"/>
                </a:lnTo>
                <a:lnTo>
                  <a:pt x="2100292" y="0"/>
                </a:lnTo>
                <a:lnTo>
                  <a:pt x="2520350" y="0"/>
                </a:lnTo>
                <a:cubicBezTo>
                  <a:pt x="2518585" y="574293"/>
                  <a:pt x="2516819" y="1148586"/>
                  <a:pt x="2515054" y="1722879"/>
                </a:cubicBezTo>
                <a:lnTo>
                  <a:pt x="2663767" y="1867233"/>
                </a:lnTo>
                <a:lnTo>
                  <a:pt x="2520350" y="2016440"/>
                </a:lnTo>
                <a:lnTo>
                  <a:pt x="2520350" y="3744913"/>
                </a:lnTo>
                <a:lnTo>
                  <a:pt x="2100292" y="3744913"/>
                </a:lnTo>
                <a:lnTo>
                  <a:pt x="1470204" y="3744913"/>
                </a:lnTo>
                <a:lnTo>
                  <a:pt x="1470204" y="3744913"/>
                </a:lnTo>
                <a:lnTo>
                  <a:pt x="0" y="3744913"/>
                </a:lnTo>
                <a:lnTo>
                  <a:pt x="0" y="1560380"/>
                </a:lnTo>
                <a:lnTo>
                  <a:pt x="0" y="624152"/>
                </a:lnTo>
                <a:lnTo>
                  <a:pt x="0" y="624152"/>
                </a:lnTo>
                <a:lnTo>
                  <a:pt x="0" y="0"/>
                </a:lnTo>
                <a:close/>
              </a:path>
            </a:pathLst>
          </a:custGeom>
          <a:solidFill>
            <a:schemeClr val="accent2"/>
          </a:solidFill>
        </p:spPr>
        <p:txBody>
          <a:bodyPr lIns="144000" tIns="108000" rIns="288000" bIns="108000"/>
          <a:lstStyle>
            <a:lvl1pPr marL="0" indent="0">
              <a:buNone/>
              <a:defRPr sz="1349" b="1">
                <a:solidFill>
                  <a:schemeClr val="bg1"/>
                </a:solidFill>
              </a:defRPr>
            </a:lvl1pPr>
            <a:lvl2pPr marL="0" indent="0">
              <a:buFontTx/>
              <a:buNone/>
              <a:defRPr>
                <a:solidFill>
                  <a:schemeClr val="bg1"/>
                </a:solidFill>
              </a:defRPr>
            </a:lvl2pPr>
            <a:lvl3pPr marL="136881" indent="-136881">
              <a:defRPr sz="1349">
                <a:solidFill>
                  <a:schemeClr val="bg1"/>
                </a:solidFill>
              </a:defRPr>
            </a:lvl3pPr>
            <a:lvl4pPr marL="267811" indent="-130930">
              <a:buFont typeface="Arial" panose="020B0604020202020204" pitchFamily="34" charset="0"/>
              <a:buChar char="•"/>
              <a:defRPr sz="1200">
                <a:solidFill>
                  <a:schemeClr val="bg1"/>
                </a:solidFill>
              </a:defRPr>
            </a:lvl4pPr>
            <a:lvl5pPr marL="404691" indent="-136881">
              <a:defRPr>
                <a:solidFill>
                  <a:schemeClr val="bg1"/>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17" name="Text Placeholder 11"/>
          <p:cNvSpPr>
            <a:spLocks noGrp="1"/>
          </p:cNvSpPr>
          <p:nvPr>
            <p:ph type="body" sz="quarter" idx="14" hasCustomPrompt="1"/>
          </p:nvPr>
        </p:nvSpPr>
        <p:spPr>
          <a:xfrm>
            <a:off x="2574696" y="1545432"/>
            <a:ext cx="1997305" cy="2808685"/>
          </a:xfrm>
          <a:custGeom>
            <a:avLst/>
            <a:gdLst>
              <a:gd name="connsiteX0" fmla="*/ 0 w 2520350"/>
              <a:gd name="connsiteY0" fmla="*/ 0 h 3744913"/>
              <a:gd name="connsiteX1" fmla="*/ 1470204 w 2520350"/>
              <a:gd name="connsiteY1" fmla="*/ 0 h 3744913"/>
              <a:gd name="connsiteX2" fmla="*/ 1470204 w 2520350"/>
              <a:gd name="connsiteY2" fmla="*/ 0 h 3744913"/>
              <a:gd name="connsiteX3" fmla="*/ 2100292 w 2520350"/>
              <a:gd name="connsiteY3" fmla="*/ 0 h 3744913"/>
              <a:gd name="connsiteX4" fmla="*/ 2520350 w 2520350"/>
              <a:gd name="connsiteY4" fmla="*/ 0 h 3744913"/>
              <a:gd name="connsiteX5" fmla="*/ 2520350 w 2520350"/>
              <a:gd name="connsiteY5" fmla="*/ 624152 h 3744913"/>
              <a:gd name="connsiteX6" fmla="*/ 2655340 w 2520350"/>
              <a:gd name="connsiteY6" fmla="*/ 1070820 h 3744913"/>
              <a:gd name="connsiteX7" fmla="*/ 2520350 w 2520350"/>
              <a:gd name="connsiteY7" fmla="*/ 1560380 h 3744913"/>
              <a:gd name="connsiteX8" fmla="*/ 2520350 w 2520350"/>
              <a:gd name="connsiteY8" fmla="*/ 3744913 h 3744913"/>
              <a:gd name="connsiteX9" fmla="*/ 2100292 w 2520350"/>
              <a:gd name="connsiteY9" fmla="*/ 3744913 h 3744913"/>
              <a:gd name="connsiteX10" fmla="*/ 1470204 w 2520350"/>
              <a:gd name="connsiteY10" fmla="*/ 3744913 h 3744913"/>
              <a:gd name="connsiteX11" fmla="*/ 1470204 w 2520350"/>
              <a:gd name="connsiteY11" fmla="*/ 3744913 h 3744913"/>
              <a:gd name="connsiteX12" fmla="*/ 0 w 2520350"/>
              <a:gd name="connsiteY12" fmla="*/ 3744913 h 3744913"/>
              <a:gd name="connsiteX13" fmla="*/ 0 w 2520350"/>
              <a:gd name="connsiteY13" fmla="*/ 1560380 h 3744913"/>
              <a:gd name="connsiteX14" fmla="*/ 0 w 2520350"/>
              <a:gd name="connsiteY14" fmla="*/ 624152 h 3744913"/>
              <a:gd name="connsiteX15" fmla="*/ 0 w 2520350"/>
              <a:gd name="connsiteY15" fmla="*/ 624152 h 3744913"/>
              <a:gd name="connsiteX16" fmla="*/ 0 w 2520350"/>
              <a:gd name="connsiteY16" fmla="*/ 0 h 3744913"/>
              <a:gd name="connsiteX0" fmla="*/ 0 w 2655340"/>
              <a:gd name="connsiteY0" fmla="*/ 0 h 3744913"/>
              <a:gd name="connsiteX1" fmla="*/ 1470204 w 2655340"/>
              <a:gd name="connsiteY1" fmla="*/ 0 h 3744913"/>
              <a:gd name="connsiteX2" fmla="*/ 1470204 w 2655340"/>
              <a:gd name="connsiteY2" fmla="*/ 0 h 3744913"/>
              <a:gd name="connsiteX3" fmla="*/ 2100292 w 2655340"/>
              <a:gd name="connsiteY3" fmla="*/ 0 h 3744913"/>
              <a:gd name="connsiteX4" fmla="*/ 2520350 w 2655340"/>
              <a:gd name="connsiteY4" fmla="*/ 0 h 3744913"/>
              <a:gd name="connsiteX5" fmla="*/ 2520350 w 2655340"/>
              <a:gd name="connsiteY5" fmla="*/ 624152 h 3744913"/>
              <a:gd name="connsiteX6" fmla="*/ 2655340 w 2655340"/>
              <a:gd name="connsiteY6" fmla="*/ 1070820 h 3744913"/>
              <a:gd name="connsiteX7" fmla="*/ 2520350 w 2655340"/>
              <a:gd name="connsiteY7" fmla="*/ 2007046 h 3744913"/>
              <a:gd name="connsiteX8" fmla="*/ 2520350 w 2655340"/>
              <a:gd name="connsiteY8" fmla="*/ 3744913 h 3744913"/>
              <a:gd name="connsiteX9" fmla="*/ 2100292 w 2655340"/>
              <a:gd name="connsiteY9" fmla="*/ 3744913 h 3744913"/>
              <a:gd name="connsiteX10" fmla="*/ 1470204 w 2655340"/>
              <a:gd name="connsiteY10" fmla="*/ 3744913 h 3744913"/>
              <a:gd name="connsiteX11" fmla="*/ 1470204 w 2655340"/>
              <a:gd name="connsiteY11" fmla="*/ 3744913 h 3744913"/>
              <a:gd name="connsiteX12" fmla="*/ 0 w 2655340"/>
              <a:gd name="connsiteY12" fmla="*/ 3744913 h 3744913"/>
              <a:gd name="connsiteX13" fmla="*/ 0 w 2655340"/>
              <a:gd name="connsiteY13" fmla="*/ 1560380 h 3744913"/>
              <a:gd name="connsiteX14" fmla="*/ 0 w 2655340"/>
              <a:gd name="connsiteY14" fmla="*/ 624152 h 3744913"/>
              <a:gd name="connsiteX15" fmla="*/ 0 w 2655340"/>
              <a:gd name="connsiteY15" fmla="*/ 624152 h 3744913"/>
              <a:gd name="connsiteX16" fmla="*/ 0 w 2655340"/>
              <a:gd name="connsiteY16" fmla="*/ 0 h 3744913"/>
              <a:gd name="connsiteX0" fmla="*/ 0 w 2655340"/>
              <a:gd name="connsiteY0" fmla="*/ 0 h 3744913"/>
              <a:gd name="connsiteX1" fmla="*/ 1470204 w 2655340"/>
              <a:gd name="connsiteY1" fmla="*/ 0 h 3744913"/>
              <a:gd name="connsiteX2" fmla="*/ 1470204 w 2655340"/>
              <a:gd name="connsiteY2" fmla="*/ 0 h 3744913"/>
              <a:gd name="connsiteX3" fmla="*/ 2100292 w 2655340"/>
              <a:gd name="connsiteY3" fmla="*/ 0 h 3744913"/>
              <a:gd name="connsiteX4" fmla="*/ 2520350 w 2655340"/>
              <a:gd name="connsiteY4" fmla="*/ 0 h 3744913"/>
              <a:gd name="connsiteX5" fmla="*/ 2511923 w 2655340"/>
              <a:gd name="connsiteY5" fmla="*/ 1715533 h 3744913"/>
              <a:gd name="connsiteX6" fmla="*/ 2655340 w 2655340"/>
              <a:gd name="connsiteY6" fmla="*/ 1070820 h 3744913"/>
              <a:gd name="connsiteX7" fmla="*/ 2520350 w 2655340"/>
              <a:gd name="connsiteY7" fmla="*/ 2007046 h 3744913"/>
              <a:gd name="connsiteX8" fmla="*/ 2520350 w 2655340"/>
              <a:gd name="connsiteY8" fmla="*/ 3744913 h 3744913"/>
              <a:gd name="connsiteX9" fmla="*/ 2100292 w 2655340"/>
              <a:gd name="connsiteY9" fmla="*/ 3744913 h 3744913"/>
              <a:gd name="connsiteX10" fmla="*/ 1470204 w 2655340"/>
              <a:gd name="connsiteY10" fmla="*/ 3744913 h 3744913"/>
              <a:gd name="connsiteX11" fmla="*/ 1470204 w 2655340"/>
              <a:gd name="connsiteY11" fmla="*/ 3744913 h 3744913"/>
              <a:gd name="connsiteX12" fmla="*/ 0 w 2655340"/>
              <a:gd name="connsiteY12" fmla="*/ 3744913 h 3744913"/>
              <a:gd name="connsiteX13" fmla="*/ 0 w 2655340"/>
              <a:gd name="connsiteY13" fmla="*/ 1560380 h 3744913"/>
              <a:gd name="connsiteX14" fmla="*/ 0 w 2655340"/>
              <a:gd name="connsiteY14" fmla="*/ 624152 h 3744913"/>
              <a:gd name="connsiteX15" fmla="*/ 0 w 2655340"/>
              <a:gd name="connsiteY15" fmla="*/ 624152 h 3744913"/>
              <a:gd name="connsiteX16" fmla="*/ 0 w 2655340"/>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5533 h 3744913"/>
              <a:gd name="connsiteX6" fmla="*/ 2663767 w 2663767"/>
              <a:gd name="connsiteY6" fmla="*/ 1867233 h 3744913"/>
              <a:gd name="connsiteX7" fmla="*/ 2520350 w 2663767"/>
              <a:gd name="connsiteY7" fmla="*/ 2007046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9747 h 3744913"/>
              <a:gd name="connsiteX6" fmla="*/ 2663767 w 2663767"/>
              <a:gd name="connsiteY6" fmla="*/ 1867233 h 3744913"/>
              <a:gd name="connsiteX7" fmla="*/ 2520350 w 2663767"/>
              <a:gd name="connsiteY7" fmla="*/ 2007046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9747 h 3744913"/>
              <a:gd name="connsiteX6" fmla="*/ 2663767 w 2663767"/>
              <a:gd name="connsiteY6" fmla="*/ 1867233 h 3744913"/>
              <a:gd name="connsiteX7" fmla="*/ 2520350 w 2663767"/>
              <a:gd name="connsiteY7" fmla="*/ 2016440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5054 w 2663767"/>
              <a:gd name="connsiteY5" fmla="*/ 1722879 h 3744913"/>
              <a:gd name="connsiteX6" fmla="*/ 2663767 w 2663767"/>
              <a:gd name="connsiteY6" fmla="*/ 1867233 h 3744913"/>
              <a:gd name="connsiteX7" fmla="*/ 2520350 w 2663767"/>
              <a:gd name="connsiteY7" fmla="*/ 2016440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63767" h="3744913">
                <a:moveTo>
                  <a:pt x="0" y="0"/>
                </a:moveTo>
                <a:lnTo>
                  <a:pt x="1470204" y="0"/>
                </a:lnTo>
                <a:lnTo>
                  <a:pt x="1470204" y="0"/>
                </a:lnTo>
                <a:lnTo>
                  <a:pt x="2100292" y="0"/>
                </a:lnTo>
                <a:lnTo>
                  <a:pt x="2520350" y="0"/>
                </a:lnTo>
                <a:cubicBezTo>
                  <a:pt x="2518585" y="574293"/>
                  <a:pt x="2516819" y="1148586"/>
                  <a:pt x="2515054" y="1722879"/>
                </a:cubicBezTo>
                <a:lnTo>
                  <a:pt x="2663767" y="1867233"/>
                </a:lnTo>
                <a:lnTo>
                  <a:pt x="2520350" y="2016440"/>
                </a:lnTo>
                <a:lnTo>
                  <a:pt x="2520350" y="3744913"/>
                </a:lnTo>
                <a:lnTo>
                  <a:pt x="2100292" y="3744913"/>
                </a:lnTo>
                <a:lnTo>
                  <a:pt x="1470204" y="3744913"/>
                </a:lnTo>
                <a:lnTo>
                  <a:pt x="1470204" y="3744913"/>
                </a:lnTo>
                <a:lnTo>
                  <a:pt x="0" y="3744913"/>
                </a:lnTo>
                <a:lnTo>
                  <a:pt x="0" y="1560380"/>
                </a:lnTo>
                <a:lnTo>
                  <a:pt x="0" y="624152"/>
                </a:lnTo>
                <a:lnTo>
                  <a:pt x="0" y="624152"/>
                </a:lnTo>
                <a:lnTo>
                  <a:pt x="0" y="0"/>
                </a:lnTo>
                <a:close/>
              </a:path>
            </a:pathLst>
          </a:custGeom>
          <a:solidFill>
            <a:schemeClr val="accent2"/>
          </a:solidFill>
        </p:spPr>
        <p:txBody>
          <a:bodyPr lIns="144000" tIns="108000" rIns="288000" bIns="108000"/>
          <a:lstStyle>
            <a:lvl1pPr marL="0" indent="0">
              <a:buNone/>
              <a:defRPr sz="1349" b="1">
                <a:solidFill>
                  <a:schemeClr val="bg1"/>
                </a:solidFill>
              </a:defRPr>
            </a:lvl1pPr>
            <a:lvl2pPr marL="0" indent="0">
              <a:buFontTx/>
              <a:buNone/>
              <a:defRPr>
                <a:solidFill>
                  <a:schemeClr val="bg1"/>
                </a:solidFill>
              </a:defRPr>
            </a:lvl2pPr>
            <a:lvl3pPr marL="136881" indent="-136881">
              <a:defRPr sz="1349">
                <a:solidFill>
                  <a:schemeClr val="bg1"/>
                </a:solidFill>
              </a:defRPr>
            </a:lvl3pPr>
            <a:lvl4pPr marL="267811" indent="-130930">
              <a:buFont typeface="Arial" panose="020B0604020202020204" pitchFamily="34" charset="0"/>
              <a:buChar char="•"/>
              <a:defRPr sz="1200">
                <a:solidFill>
                  <a:schemeClr val="bg1"/>
                </a:solidFill>
              </a:defRPr>
            </a:lvl4pPr>
            <a:lvl5pPr marL="404691" indent="-136881">
              <a:defRPr>
                <a:solidFill>
                  <a:schemeClr val="bg1"/>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18" name="Text Placeholder 11"/>
          <p:cNvSpPr>
            <a:spLocks noGrp="1"/>
          </p:cNvSpPr>
          <p:nvPr>
            <p:ph type="body" sz="quarter" idx="15" hasCustomPrompt="1"/>
          </p:nvPr>
        </p:nvSpPr>
        <p:spPr>
          <a:xfrm>
            <a:off x="4625994" y="1545432"/>
            <a:ext cx="1997305" cy="2808685"/>
          </a:xfrm>
          <a:custGeom>
            <a:avLst/>
            <a:gdLst>
              <a:gd name="connsiteX0" fmla="*/ 0 w 2520350"/>
              <a:gd name="connsiteY0" fmla="*/ 0 h 3744913"/>
              <a:gd name="connsiteX1" fmla="*/ 1470204 w 2520350"/>
              <a:gd name="connsiteY1" fmla="*/ 0 h 3744913"/>
              <a:gd name="connsiteX2" fmla="*/ 1470204 w 2520350"/>
              <a:gd name="connsiteY2" fmla="*/ 0 h 3744913"/>
              <a:gd name="connsiteX3" fmla="*/ 2100292 w 2520350"/>
              <a:gd name="connsiteY3" fmla="*/ 0 h 3744913"/>
              <a:gd name="connsiteX4" fmla="*/ 2520350 w 2520350"/>
              <a:gd name="connsiteY4" fmla="*/ 0 h 3744913"/>
              <a:gd name="connsiteX5" fmla="*/ 2520350 w 2520350"/>
              <a:gd name="connsiteY5" fmla="*/ 624152 h 3744913"/>
              <a:gd name="connsiteX6" fmla="*/ 2655340 w 2520350"/>
              <a:gd name="connsiteY6" fmla="*/ 1070820 h 3744913"/>
              <a:gd name="connsiteX7" fmla="*/ 2520350 w 2520350"/>
              <a:gd name="connsiteY7" fmla="*/ 1560380 h 3744913"/>
              <a:gd name="connsiteX8" fmla="*/ 2520350 w 2520350"/>
              <a:gd name="connsiteY8" fmla="*/ 3744913 h 3744913"/>
              <a:gd name="connsiteX9" fmla="*/ 2100292 w 2520350"/>
              <a:gd name="connsiteY9" fmla="*/ 3744913 h 3744913"/>
              <a:gd name="connsiteX10" fmla="*/ 1470204 w 2520350"/>
              <a:gd name="connsiteY10" fmla="*/ 3744913 h 3744913"/>
              <a:gd name="connsiteX11" fmla="*/ 1470204 w 2520350"/>
              <a:gd name="connsiteY11" fmla="*/ 3744913 h 3744913"/>
              <a:gd name="connsiteX12" fmla="*/ 0 w 2520350"/>
              <a:gd name="connsiteY12" fmla="*/ 3744913 h 3744913"/>
              <a:gd name="connsiteX13" fmla="*/ 0 w 2520350"/>
              <a:gd name="connsiteY13" fmla="*/ 1560380 h 3744913"/>
              <a:gd name="connsiteX14" fmla="*/ 0 w 2520350"/>
              <a:gd name="connsiteY14" fmla="*/ 624152 h 3744913"/>
              <a:gd name="connsiteX15" fmla="*/ 0 w 2520350"/>
              <a:gd name="connsiteY15" fmla="*/ 624152 h 3744913"/>
              <a:gd name="connsiteX16" fmla="*/ 0 w 2520350"/>
              <a:gd name="connsiteY16" fmla="*/ 0 h 3744913"/>
              <a:gd name="connsiteX0" fmla="*/ 0 w 2655340"/>
              <a:gd name="connsiteY0" fmla="*/ 0 h 3744913"/>
              <a:gd name="connsiteX1" fmla="*/ 1470204 w 2655340"/>
              <a:gd name="connsiteY1" fmla="*/ 0 h 3744913"/>
              <a:gd name="connsiteX2" fmla="*/ 1470204 w 2655340"/>
              <a:gd name="connsiteY2" fmla="*/ 0 h 3744913"/>
              <a:gd name="connsiteX3" fmla="*/ 2100292 w 2655340"/>
              <a:gd name="connsiteY3" fmla="*/ 0 h 3744913"/>
              <a:gd name="connsiteX4" fmla="*/ 2520350 w 2655340"/>
              <a:gd name="connsiteY4" fmla="*/ 0 h 3744913"/>
              <a:gd name="connsiteX5" fmla="*/ 2520350 w 2655340"/>
              <a:gd name="connsiteY5" fmla="*/ 624152 h 3744913"/>
              <a:gd name="connsiteX6" fmla="*/ 2655340 w 2655340"/>
              <a:gd name="connsiteY6" fmla="*/ 1070820 h 3744913"/>
              <a:gd name="connsiteX7" fmla="*/ 2520350 w 2655340"/>
              <a:gd name="connsiteY7" fmla="*/ 2007046 h 3744913"/>
              <a:gd name="connsiteX8" fmla="*/ 2520350 w 2655340"/>
              <a:gd name="connsiteY8" fmla="*/ 3744913 h 3744913"/>
              <a:gd name="connsiteX9" fmla="*/ 2100292 w 2655340"/>
              <a:gd name="connsiteY9" fmla="*/ 3744913 h 3744913"/>
              <a:gd name="connsiteX10" fmla="*/ 1470204 w 2655340"/>
              <a:gd name="connsiteY10" fmla="*/ 3744913 h 3744913"/>
              <a:gd name="connsiteX11" fmla="*/ 1470204 w 2655340"/>
              <a:gd name="connsiteY11" fmla="*/ 3744913 h 3744913"/>
              <a:gd name="connsiteX12" fmla="*/ 0 w 2655340"/>
              <a:gd name="connsiteY12" fmla="*/ 3744913 h 3744913"/>
              <a:gd name="connsiteX13" fmla="*/ 0 w 2655340"/>
              <a:gd name="connsiteY13" fmla="*/ 1560380 h 3744913"/>
              <a:gd name="connsiteX14" fmla="*/ 0 w 2655340"/>
              <a:gd name="connsiteY14" fmla="*/ 624152 h 3744913"/>
              <a:gd name="connsiteX15" fmla="*/ 0 w 2655340"/>
              <a:gd name="connsiteY15" fmla="*/ 624152 h 3744913"/>
              <a:gd name="connsiteX16" fmla="*/ 0 w 2655340"/>
              <a:gd name="connsiteY16" fmla="*/ 0 h 3744913"/>
              <a:gd name="connsiteX0" fmla="*/ 0 w 2655340"/>
              <a:gd name="connsiteY0" fmla="*/ 0 h 3744913"/>
              <a:gd name="connsiteX1" fmla="*/ 1470204 w 2655340"/>
              <a:gd name="connsiteY1" fmla="*/ 0 h 3744913"/>
              <a:gd name="connsiteX2" fmla="*/ 1470204 w 2655340"/>
              <a:gd name="connsiteY2" fmla="*/ 0 h 3744913"/>
              <a:gd name="connsiteX3" fmla="*/ 2100292 w 2655340"/>
              <a:gd name="connsiteY3" fmla="*/ 0 h 3744913"/>
              <a:gd name="connsiteX4" fmla="*/ 2520350 w 2655340"/>
              <a:gd name="connsiteY4" fmla="*/ 0 h 3744913"/>
              <a:gd name="connsiteX5" fmla="*/ 2511923 w 2655340"/>
              <a:gd name="connsiteY5" fmla="*/ 1715533 h 3744913"/>
              <a:gd name="connsiteX6" fmla="*/ 2655340 w 2655340"/>
              <a:gd name="connsiteY6" fmla="*/ 1070820 h 3744913"/>
              <a:gd name="connsiteX7" fmla="*/ 2520350 w 2655340"/>
              <a:gd name="connsiteY7" fmla="*/ 2007046 h 3744913"/>
              <a:gd name="connsiteX8" fmla="*/ 2520350 w 2655340"/>
              <a:gd name="connsiteY8" fmla="*/ 3744913 h 3744913"/>
              <a:gd name="connsiteX9" fmla="*/ 2100292 w 2655340"/>
              <a:gd name="connsiteY9" fmla="*/ 3744913 h 3744913"/>
              <a:gd name="connsiteX10" fmla="*/ 1470204 w 2655340"/>
              <a:gd name="connsiteY10" fmla="*/ 3744913 h 3744913"/>
              <a:gd name="connsiteX11" fmla="*/ 1470204 w 2655340"/>
              <a:gd name="connsiteY11" fmla="*/ 3744913 h 3744913"/>
              <a:gd name="connsiteX12" fmla="*/ 0 w 2655340"/>
              <a:gd name="connsiteY12" fmla="*/ 3744913 h 3744913"/>
              <a:gd name="connsiteX13" fmla="*/ 0 w 2655340"/>
              <a:gd name="connsiteY13" fmla="*/ 1560380 h 3744913"/>
              <a:gd name="connsiteX14" fmla="*/ 0 w 2655340"/>
              <a:gd name="connsiteY14" fmla="*/ 624152 h 3744913"/>
              <a:gd name="connsiteX15" fmla="*/ 0 w 2655340"/>
              <a:gd name="connsiteY15" fmla="*/ 624152 h 3744913"/>
              <a:gd name="connsiteX16" fmla="*/ 0 w 2655340"/>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5533 h 3744913"/>
              <a:gd name="connsiteX6" fmla="*/ 2663767 w 2663767"/>
              <a:gd name="connsiteY6" fmla="*/ 1867233 h 3744913"/>
              <a:gd name="connsiteX7" fmla="*/ 2520350 w 2663767"/>
              <a:gd name="connsiteY7" fmla="*/ 2007046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9747 h 3744913"/>
              <a:gd name="connsiteX6" fmla="*/ 2663767 w 2663767"/>
              <a:gd name="connsiteY6" fmla="*/ 1867233 h 3744913"/>
              <a:gd name="connsiteX7" fmla="*/ 2520350 w 2663767"/>
              <a:gd name="connsiteY7" fmla="*/ 2007046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9747 h 3744913"/>
              <a:gd name="connsiteX6" fmla="*/ 2663767 w 2663767"/>
              <a:gd name="connsiteY6" fmla="*/ 1867233 h 3744913"/>
              <a:gd name="connsiteX7" fmla="*/ 2520350 w 2663767"/>
              <a:gd name="connsiteY7" fmla="*/ 2016440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5054 w 2663767"/>
              <a:gd name="connsiteY5" fmla="*/ 1722879 h 3744913"/>
              <a:gd name="connsiteX6" fmla="*/ 2663767 w 2663767"/>
              <a:gd name="connsiteY6" fmla="*/ 1867233 h 3744913"/>
              <a:gd name="connsiteX7" fmla="*/ 2520350 w 2663767"/>
              <a:gd name="connsiteY7" fmla="*/ 2016440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63767" h="3744913">
                <a:moveTo>
                  <a:pt x="0" y="0"/>
                </a:moveTo>
                <a:lnTo>
                  <a:pt x="1470204" y="0"/>
                </a:lnTo>
                <a:lnTo>
                  <a:pt x="1470204" y="0"/>
                </a:lnTo>
                <a:lnTo>
                  <a:pt x="2100292" y="0"/>
                </a:lnTo>
                <a:lnTo>
                  <a:pt x="2520350" y="0"/>
                </a:lnTo>
                <a:cubicBezTo>
                  <a:pt x="2518585" y="574293"/>
                  <a:pt x="2516819" y="1148586"/>
                  <a:pt x="2515054" y="1722879"/>
                </a:cubicBezTo>
                <a:lnTo>
                  <a:pt x="2663767" y="1867233"/>
                </a:lnTo>
                <a:lnTo>
                  <a:pt x="2520350" y="2016440"/>
                </a:lnTo>
                <a:lnTo>
                  <a:pt x="2520350" y="3744913"/>
                </a:lnTo>
                <a:lnTo>
                  <a:pt x="2100292" y="3744913"/>
                </a:lnTo>
                <a:lnTo>
                  <a:pt x="1470204" y="3744913"/>
                </a:lnTo>
                <a:lnTo>
                  <a:pt x="1470204" y="3744913"/>
                </a:lnTo>
                <a:lnTo>
                  <a:pt x="0" y="3744913"/>
                </a:lnTo>
                <a:lnTo>
                  <a:pt x="0" y="1560380"/>
                </a:lnTo>
                <a:lnTo>
                  <a:pt x="0" y="624152"/>
                </a:lnTo>
                <a:lnTo>
                  <a:pt x="0" y="624152"/>
                </a:lnTo>
                <a:lnTo>
                  <a:pt x="0" y="0"/>
                </a:lnTo>
                <a:close/>
              </a:path>
            </a:pathLst>
          </a:custGeom>
          <a:solidFill>
            <a:schemeClr val="accent2"/>
          </a:solidFill>
        </p:spPr>
        <p:txBody>
          <a:bodyPr lIns="144000" tIns="108000" rIns="288000" bIns="108000"/>
          <a:lstStyle>
            <a:lvl1pPr marL="0" indent="0">
              <a:buNone/>
              <a:defRPr sz="1349" b="1">
                <a:solidFill>
                  <a:schemeClr val="bg1"/>
                </a:solidFill>
              </a:defRPr>
            </a:lvl1pPr>
            <a:lvl2pPr marL="0" indent="0">
              <a:buFontTx/>
              <a:buNone/>
              <a:defRPr>
                <a:solidFill>
                  <a:schemeClr val="bg1"/>
                </a:solidFill>
              </a:defRPr>
            </a:lvl2pPr>
            <a:lvl3pPr marL="136881" indent="-136881">
              <a:defRPr sz="1349">
                <a:solidFill>
                  <a:schemeClr val="bg1"/>
                </a:solidFill>
              </a:defRPr>
            </a:lvl3pPr>
            <a:lvl4pPr marL="267811" indent="-130930">
              <a:buFont typeface="Arial" panose="020B0604020202020204" pitchFamily="34" charset="0"/>
              <a:buChar char="•"/>
              <a:defRPr sz="1200">
                <a:solidFill>
                  <a:schemeClr val="bg1"/>
                </a:solidFill>
              </a:defRPr>
            </a:lvl4pPr>
            <a:lvl5pPr marL="404691" indent="-136881">
              <a:defRPr>
                <a:solidFill>
                  <a:schemeClr val="bg1"/>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
        <p:nvSpPr>
          <p:cNvPr id="19" name="Text Placeholder 11"/>
          <p:cNvSpPr>
            <a:spLocks noGrp="1"/>
          </p:cNvSpPr>
          <p:nvPr>
            <p:ph type="body" sz="quarter" idx="16" hasCustomPrompt="1"/>
          </p:nvPr>
        </p:nvSpPr>
        <p:spPr>
          <a:xfrm>
            <a:off x="6678197" y="1545432"/>
            <a:ext cx="1997305" cy="2808685"/>
          </a:xfrm>
          <a:custGeom>
            <a:avLst/>
            <a:gdLst>
              <a:gd name="connsiteX0" fmla="*/ 0 w 2520350"/>
              <a:gd name="connsiteY0" fmla="*/ 0 h 3744913"/>
              <a:gd name="connsiteX1" fmla="*/ 1470204 w 2520350"/>
              <a:gd name="connsiteY1" fmla="*/ 0 h 3744913"/>
              <a:gd name="connsiteX2" fmla="*/ 1470204 w 2520350"/>
              <a:gd name="connsiteY2" fmla="*/ 0 h 3744913"/>
              <a:gd name="connsiteX3" fmla="*/ 2100292 w 2520350"/>
              <a:gd name="connsiteY3" fmla="*/ 0 h 3744913"/>
              <a:gd name="connsiteX4" fmla="*/ 2520350 w 2520350"/>
              <a:gd name="connsiteY4" fmla="*/ 0 h 3744913"/>
              <a:gd name="connsiteX5" fmla="*/ 2520350 w 2520350"/>
              <a:gd name="connsiteY5" fmla="*/ 624152 h 3744913"/>
              <a:gd name="connsiteX6" fmla="*/ 2655340 w 2520350"/>
              <a:gd name="connsiteY6" fmla="*/ 1070820 h 3744913"/>
              <a:gd name="connsiteX7" fmla="*/ 2520350 w 2520350"/>
              <a:gd name="connsiteY7" fmla="*/ 1560380 h 3744913"/>
              <a:gd name="connsiteX8" fmla="*/ 2520350 w 2520350"/>
              <a:gd name="connsiteY8" fmla="*/ 3744913 h 3744913"/>
              <a:gd name="connsiteX9" fmla="*/ 2100292 w 2520350"/>
              <a:gd name="connsiteY9" fmla="*/ 3744913 h 3744913"/>
              <a:gd name="connsiteX10" fmla="*/ 1470204 w 2520350"/>
              <a:gd name="connsiteY10" fmla="*/ 3744913 h 3744913"/>
              <a:gd name="connsiteX11" fmla="*/ 1470204 w 2520350"/>
              <a:gd name="connsiteY11" fmla="*/ 3744913 h 3744913"/>
              <a:gd name="connsiteX12" fmla="*/ 0 w 2520350"/>
              <a:gd name="connsiteY12" fmla="*/ 3744913 h 3744913"/>
              <a:gd name="connsiteX13" fmla="*/ 0 w 2520350"/>
              <a:gd name="connsiteY13" fmla="*/ 1560380 h 3744913"/>
              <a:gd name="connsiteX14" fmla="*/ 0 w 2520350"/>
              <a:gd name="connsiteY14" fmla="*/ 624152 h 3744913"/>
              <a:gd name="connsiteX15" fmla="*/ 0 w 2520350"/>
              <a:gd name="connsiteY15" fmla="*/ 624152 h 3744913"/>
              <a:gd name="connsiteX16" fmla="*/ 0 w 2520350"/>
              <a:gd name="connsiteY16" fmla="*/ 0 h 3744913"/>
              <a:gd name="connsiteX0" fmla="*/ 0 w 2655340"/>
              <a:gd name="connsiteY0" fmla="*/ 0 h 3744913"/>
              <a:gd name="connsiteX1" fmla="*/ 1470204 w 2655340"/>
              <a:gd name="connsiteY1" fmla="*/ 0 h 3744913"/>
              <a:gd name="connsiteX2" fmla="*/ 1470204 w 2655340"/>
              <a:gd name="connsiteY2" fmla="*/ 0 h 3744913"/>
              <a:gd name="connsiteX3" fmla="*/ 2100292 w 2655340"/>
              <a:gd name="connsiteY3" fmla="*/ 0 h 3744913"/>
              <a:gd name="connsiteX4" fmla="*/ 2520350 w 2655340"/>
              <a:gd name="connsiteY4" fmla="*/ 0 h 3744913"/>
              <a:gd name="connsiteX5" fmla="*/ 2520350 w 2655340"/>
              <a:gd name="connsiteY5" fmla="*/ 624152 h 3744913"/>
              <a:gd name="connsiteX6" fmla="*/ 2655340 w 2655340"/>
              <a:gd name="connsiteY6" fmla="*/ 1070820 h 3744913"/>
              <a:gd name="connsiteX7" fmla="*/ 2520350 w 2655340"/>
              <a:gd name="connsiteY7" fmla="*/ 2007046 h 3744913"/>
              <a:gd name="connsiteX8" fmla="*/ 2520350 w 2655340"/>
              <a:gd name="connsiteY8" fmla="*/ 3744913 h 3744913"/>
              <a:gd name="connsiteX9" fmla="*/ 2100292 w 2655340"/>
              <a:gd name="connsiteY9" fmla="*/ 3744913 h 3744913"/>
              <a:gd name="connsiteX10" fmla="*/ 1470204 w 2655340"/>
              <a:gd name="connsiteY10" fmla="*/ 3744913 h 3744913"/>
              <a:gd name="connsiteX11" fmla="*/ 1470204 w 2655340"/>
              <a:gd name="connsiteY11" fmla="*/ 3744913 h 3744913"/>
              <a:gd name="connsiteX12" fmla="*/ 0 w 2655340"/>
              <a:gd name="connsiteY12" fmla="*/ 3744913 h 3744913"/>
              <a:gd name="connsiteX13" fmla="*/ 0 w 2655340"/>
              <a:gd name="connsiteY13" fmla="*/ 1560380 h 3744913"/>
              <a:gd name="connsiteX14" fmla="*/ 0 w 2655340"/>
              <a:gd name="connsiteY14" fmla="*/ 624152 h 3744913"/>
              <a:gd name="connsiteX15" fmla="*/ 0 w 2655340"/>
              <a:gd name="connsiteY15" fmla="*/ 624152 h 3744913"/>
              <a:gd name="connsiteX16" fmla="*/ 0 w 2655340"/>
              <a:gd name="connsiteY16" fmla="*/ 0 h 3744913"/>
              <a:gd name="connsiteX0" fmla="*/ 0 w 2655340"/>
              <a:gd name="connsiteY0" fmla="*/ 0 h 3744913"/>
              <a:gd name="connsiteX1" fmla="*/ 1470204 w 2655340"/>
              <a:gd name="connsiteY1" fmla="*/ 0 h 3744913"/>
              <a:gd name="connsiteX2" fmla="*/ 1470204 w 2655340"/>
              <a:gd name="connsiteY2" fmla="*/ 0 h 3744913"/>
              <a:gd name="connsiteX3" fmla="*/ 2100292 w 2655340"/>
              <a:gd name="connsiteY3" fmla="*/ 0 h 3744913"/>
              <a:gd name="connsiteX4" fmla="*/ 2520350 w 2655340"/>
              <a:gd name="connsiteY4" fmla="*/ 0 h 3744913"/>
              <a:gd name="connsiteX5" fmla="*/ 2511923 w 2655340"/>
              <a:gd name="connsiteY5" fmla="*/ 1715533 h 3744913"/>
              <a:gd name="connsiteX6" fmla="*/ 2655340 w 2655340"/>
              <a:gd name="connsiteY6" fmla="*/ 1070820 h 3744913"/>
              <a:gd name="connsiteX7" fmla="*/ 2520350 w 2655340"/>
              <a:gd name="connsiteY7" fmla="*/ 2007046 h 3744913"/>
              <a:gd name="connsiteX8" fmla="*/ 2520350 w 2655340"/>
              <a:gd name="connsiteY8" fmla="*/ 3744913 h 3744913"/>
              <a:gd name="connsiteX9" fmla="*/ 2100292 w 2655340"/>
              <a:gd name="connsiteY9" fmla="*/ 3744913 h 3744913"/>
              <a:gd name="connsiteX10" fmla="*/ 1470204 w 2655340"/>
              <a:gd name="connsiteY10" fmla="*/ 3744913 h 3744913"/>
              <a:gd name="connsiteX11" fmla="*/ 1470204 w 2655340"/>
              <a:gd name="connsiteY11" fmla="*/ 3744913 h 3744913"/>
              <a:gd name="connsiteX12" fmla="*/ 0 w 2655340"/>
              <a:gd name="connsiteY12" fmla="*/ 3744913 h 3744913"/>
              <a:gd name="connsiteX13" fmla="*/ 0 w 2655340"/>
              <a:gd name="connsiteY13" fmla="*/ 1560380 h 3744913"/>
              <a:gd name="connsiteX14" fmla="*/ 0 w 2655340"/>
              <a:gd name="connsiteY14" fmla="*/ 624152 h 3744913"/>
              <a:gd name="connsiteX15" fmla="*/ 0 w 2655340"/>
              <a:gd name="connsiteY15" fmla="*/ 624152 h 3744913"/>
              <a:gd name="connsiteX16" fmla="*/ 0 w 2655340"/>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5533 h 3744913"/>
              <a:gd name="connsiteX6" fmla="*/ 2663767 w 2663767"/>
              <a:gd name="connsiteY6" fmla="*/ 1867233 h 3744913"/>
              <a:gd name="connsiteX7" fmla="*/ 2520350 w 2663767"/>
              <a:gd name="connsiteY7" fmla="*/ 2007046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9747 h 3744913"/>
              <a:gd name="connsiteX6" fmla="*/ 2663767 w 2663767"/>
              <a:gd name="connsiteY6" fmla="*/ 1867233 h 3744913"/>
              <a:gd name="connsiteX7" fmla="*/ 2520350 w 2663767"/>
              <a:gd name="connsiteY7" fmla="*/ 2007046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1923 w 2663767"/>
              <a:gd name="connsiteY5" fmla="*/ 1719747 h 3744913"/>
              <a:gd name="connsiteX6" fmla="*/ 2663767 w 2663767"/>
              <a:gd name="connsiteY6" fmla="*/ 1867233 h 3744913"/>
              <a:gd name="connsiteX7" fmla="*/ 2520350 w 2663767"/>
              <a:gd name="connsiteY7" fmla="*/ 2016440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 name="connsiteX0" fmla="*/ 0 w 2663767"/>
              <a:gd name="connsiteY0" fmla="*/ 0 h 3744913"/>
              <a:gd name="connsiteX1" fmla="*/ 1470204 w 2663767"/>
              <a:gd name="connsiteY1" fmla="*/ 0 h 3744913"/>
              <a:gd name="connsiteX2" fmla="*/ 1470204 w 2663767"/>
              <a:gd name="connsiteY2" fmla="*/ 0 h 3744913"/>
              <a:gd name="connsiteX3" fmla="*/ 2100292 w 2663767"/>
              <a:gd name="connsiteY3" fmla="*/ 0 h 3744913"/>
              <a:gd name="connsiteX4" fmla="*/ 2520350 w 2663767"/>
              <a:gd name="connsiteY4" fmla="*/ 0 h 3744913"/>
              <a:gd name="connsiteX5" fmla="*/ 2515054 w 2663767"/>
              <a:gd name="connsiteY5" fmla="*/ 1722879 h 3744913"/>
              <a:gd name="connsiteX6" fmla="*/ 2663767 w 2663767"/>
              <a:gd name="connsiteY6" fmla="*/ 1867233 h 3744913"/>
              <a:gd name="connsiteX7" fmla="*/ 2520350 w 2663767"/>
              <a:gd name="connsiteY7" fmla="*/ 2016440 h 3744913"/>
              <a:gd name="connsiteX8" fmla="*/ 2520350 w 2663767"/>
              <a:gd name="connsiteY8" fmla="*/ 3744913 h 3744913"/>
              <a:gd name="connsiteX9" fmla="*/ 2100292 w 2663767"/>
              <a:gd name="connsiteY9" fmla="*/ 3744913 h 3744913"/>
              <a:gd name="connsiteX10" fmla="*/ 1470204 w 2663767"/>
              <a:gd name="connsiteY10" fmla="*/ 3744913 h 3744913"/>
              <a:gd name="connsiteX11" fmla="*/ 1470204 w 2663767"/>
              <a:gd name="connsiteY11" fmla="*/ 3744913 h 3744913"/>
              <a:gd name="connsiteX12" fmla="*/ 0 w 2663767"/>
              <a:gd name="connsiteY12" fmla="*/ 3744913 h 3744913"/>
              <a:gd name="connsiteX13" fmla="*/ 0 w 2663767"/>
              <a:gd name="connsiteY13" fmla="*/ 1560380 h 3744913"/>
              <a:gd name="connsiteX14" fmla="*/ 0 w 2663767"/>
              <a:gd name="connsiteY14" fmla="*/ 624152 h 3744913"/>
              <a:gd name="connsiteX15" fmla="*/ 0 w 2663767"/>
              <a:gd name="connsiteY15" fmla="*/ 624152 h 3744913"/>
              <a:gd name="connsiteX16" fmla="*/ 0 w 2663767"/>
              <a:gd name="connsiteY16" fmla="*/ 0 h 3744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63767" h="3744913">
                <a:moveTo>
                  <a:pt x="0" y="0"/>
                </a:moveTo>
                <a:lnTo>
                  <a:pt x="1470204" y="0"/>
                </a:lnTo>
                <a:lnTo>
                  <a:pt x="1470204" y="0"/>
                </a:lnTo>
                <a:lnTo>
                  <a:pt x="2100292" y="0"/>
                </a:lnTo>
                <a:lnTo>
                  <a:pt x="2520350" y="0"/>
                </a:lnTo>
                <a:cubicBezTo>
                  <a:pt x="2518585" y="574293"/>
                  <a:pt x="2516819" y="1148586"/>
                  <a:pt x="2515054" y="1722879"/>
                </a:cubicBezTo>
                <a:lnTo>
                  <a:pt x="2663767" y="1867233"/>
                </a:lnTo>
                <a:lnTo>
                  <a:pt x="2520350" y="2016440"/>
                </a:lnTo>
                <a:lnTo>
                  <a:pt x="2520350" y="3744913"/>
                </a:lnTo>
                <a:lnTo>
                  <a:pt x="2100292" y="3744913"/>
                </a:lnTo>
                <a:lnTo>
                  <a:pt x="1470204" y="3744913"/>
                </a:lnTo>
                <a:lnTo>
                  <a:pt x="1470204" y="3744913"/>
                </a:lnTo>
                <a:lnTo>
                  <a:pt x="0" y="3744913"/>
                </a:lnTo>
                <a:lnTo>
                  <a:pt x="0" y="1560380"/>
                </a:lnTo>
                <a:lnTo>
                  <a:pt x="0" y="624152"/>
                </a:lnTo>
                <a:lnTo>
                  <a:pt x="0" y="624152"/>
                </a:lnTo>
                <a:lnTo>
                  <a:pt x="0" y="0"/>
                </a:lnTo>
                <a:close/>
              </a:path>
            </a:pathLst>
          </a:custGeom>
          <a:solidFill>
            <a:schemeClr val="accent2"/>
          </a:solidFill>
        </p:spPr>
        <p:txBody>
          <a:bodyPr lIns="144000" tIns="108000" rIns="288000" bIns="108000"/>
          <a:lstStyle>
            <a:lvl1pPr marL="0" indent="0">
              <a:buNone/>
              <a:defRPr sz="1349" b="1">
                <a:solidFill>
                  <a:schemeClr val="bg1"/>
                </a:solidFill>
              </a:defRPr>
            </a:lvl1pPr>
            <a:lvl2pPr marL="0" indent="0">
              <a:buFontTx/>
              <a:buNone/>
              <a:defRPr>
                <a:solidFill>
                  <a:schemeClr val="bg1"/>
                </a:solidFill>
              </a:defRPr>
            </a:lvl2pPr>
            <a:lvl3pPr marL="136881" indent="-136881">
              <a:defRPr sz="1349">
                <a:solidFill>
                  <a:schemeClr val="bg1"/>
                </a:solidFill>
              </a:defRPr>
            </a:lvl3pPr>
            <a:lvl4pPr marL="267811" indent="-130930">
              <a:buFont typeface="Arial" panose="020B0604020202020204" pitchFamily="34" charset="0"/>
              <a:buChar char="•"/>
              <a:defRPr sz="1200">
                <a:solidFill>
                  <a:schemeClr val="bg1"/>
                </a:solidFill>
              </a:defRPr>
            </a:lvl4pPr>
            <a:lvl5pPr marL="404691" indent="-136881">
              <a:defRPr>
                <a:solidFill>
                  <a:schemeClr val="bg1"/>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fi-FI" dirty="0"/>
          </a:p>
        </p:txBody>
      </p:sp>
    </p:spTree>
    <p:extLst>
      <p:ext uri="{BB962C8B-B14F-4D97-AF65-F5344CB8AC3E}">
        <p14:creationId xmlns:p14="http://schemas.microsoft.com/office/powerpoint/2010/main" val="2337396031"/>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Map">
    <p:spTree>
      <p:nvGrpSpPr>
        <p:cNvPr id="1" name=""/>
        <p:cNvGrpSpPr/>
        <p:nvPr/>
      </p:nvGrpSpPr>
      <p:grpSpPr>
        <a:xfrm>
          <a:off x="0" y="0"/>
          <a:ext cx="0" cy="0"/>
          <a:chOff x="0" y="0"/>
          <a:chExt cx="0" cy="0"/>
        </a:xfrm>
      </p:grpSpPr>
      <p:sp>
        <p:nvSpPr>
          <p:cNvPr id="9" name="Freeform 6"/>
          <p:cNvSpPr>
            <a:spLocks noEditPoints="1"/>
          </p:cNvSpPr>
          <p:nvPr userDrawn="1"/>
        </p:nvSpPr>
        <p:spPr bwMode="auto">
          <a:xfrm>
            <a:off x="900447" y="789502"/>
            <a:ext cx="7343106" cy="3897404"/>
          </a:xfrm>
          <a:custGeom>
            <a:avLst/>
            <a:gdLst>
              <a:gd name="T0" fmla="*/ 5457 w 6532"/>
              <a:gd name="T1" fmla="*/ 2143 h 3466"/>
              <a:gd name="T2" fmla="*/ 5174 w 6532"/>
              <a:gd name="T3" fmla="*/ 2900 h 3466"/>
              <a:gd name="T4" fmla="*/ 5719 w 6532"/>
              <a:gd name="T5" fmla="*/ 3005 h 3466"/>
              <a:gd name="T6" fmla="*/ 5580 w 6532"/>
              <a:gd name="T7" fmla="*/ 2474 h 3466"/>
              <a:gd name="T8" fmla="*/ 5149 w 6532"/>
              <a:gd name="T9" fmla="*/ 2615 h 3466"/>
              <a:gd name="T10" fmla="*/ 6127 w 6532"/>
              <a:gd name="T11" fmla="*/ 3171 h 3466"/>
              <a:gd name="T12" fmla="*/ 6271 w 6532"/>
              <a:gd name="T13" fmla="*/ 3002 h 3466"/>
              <a:gd name="T14" fmla="*/ 5156 w 6532"/>
              <a:gd name="T15" fmla="*/ 2268 h 3466"/>
              <a:gd name="T16" fmla="*/ 4931 w 6532"/>
              <a:gd name="T17" fmla="*/ 2174 h 3466"/>
              <a:gd name="T18" fmla="*/ 5219 w 6532"/>
              <a:gd name="T19" fmla="*/ 1897 h 3466"/>
              <a:gd name="T20" fmla="*/ 1676 w 6532"/>
              <a:gd name="T21" fmla="*/ 1643 h 3466"/>
              <a:gd name="T22" fmla="*/ 5516 w 6532"/>
              <a:gd name="T23" fmla="*/ 1301 h 3466"/>
              <a:gd name="T24" fmla="*/ 5655 w 6532"/>
              <a:gd name="T25" fmla="*/ 839 h 3466"/>
              <a:gd name="T26" fmla="*/ 3083 w 6532"/>
              <a:gd name="T27" fmla="*/ 842 h 3466"/>
              <a:gd name="T28" fmla="*/ 2705 w 6532"/>
              <a:gd name="T29" fmla="*/ 478 h 3466"/>
              <a:gd name="T30" fmla="*/ 2383 w 6532"/>
              <a:gd name="T31" fmla="*/ 2356 h 3466"/>
              <a:gd name="T32" fmla="*/ 1925 w 6532"/>
              <a:gd name="T33" fmla="*/ 1878 h 3466"/>
              <a:gd name="T34" fmla="*/ 1375 w 6532"/>
              <a:gd name="T35" fmla="*/ 1671 h 3466"/>
              <a:gd name="T36" fmla="*/ 1593 w 6532"/>
              <a:gd name="T37" fmla="*/ 1514 h 3466"/>
              <a:gd name="T38" fmla="*/ 1838 w 6532"/>
              <a:gd name="T39" fmla="*/ 1020 h 3466"/>
              <a:gd name="T40" fmla="*/ 1936 w 6532"/>
              <a:gd name="T41" fmla="*/ 877 h 3466"/>
              <a:gd name="T42" fmla="*/ 1790 w 6532"/>
              <a:gd name="T43" fmla="*/ 562 h 3466"/>
              <a:gd name="T44" fmla="*/ 1334 w 6532"/>
              <a:gd name="T45" fmla="*/ 617 h 3466"/>
              <a:gd name="T46" fmla="*/ 1472 w 6532"/>
              <a:gd name="T47" fmla="*/ 375 h 3466"/>
              <a:gd name="T48" fmla="*/ 1166 w 6532"/>
              <a:gd name="T49" fmla="*/ 344 h 3466"/>
              <a:gd name="T50" fmla="*/ 671 w 6532"/>
              <a:gd name="T51" fmla="*/ 272 h 3466"/>
              <a:gd name="T52" fmla="*/ 107 w 6532"/>
              <a:gd name="T53" fmla="*/ 380 h 3466"/>
              <a:gd name="T54" fmla="*/ 160 w 6532"/>
              <a:gd name="T55" fmla="*/ 693 h 3466"/>
              <a:gd name="T56" fmla="*/ 467 w 6532"/>
              <a:gd name="T57" fmla="*/ 589 h 3466"/>
              <a:gd name="T58" fmla="*/ 733 w 6532"/>
              <a:gd name="T59" fmla="*/ 828 h 3466"/>
              <a:gd name="T60" fmla="*/ 1013 w 6532"/>
              <a:gd name="T61" fmla="*/ 1495 h 3466"/>
              <a:gd name="T62" fmla="*/ 1427 w 6532"/>
              <a:gd name="T63" fmla="*/ 1791 h 3466"/>
              <a:gd name="T64" fmla="*/ 1681 w 6532"/>
              <a:gd name="T65" fmla="*/ 2415 h 3466"/>
              <a:gd name="T66" fmla="*/ 1706 w 6532"/>
              <a:gd name="T67" fmla="*/ 3322 h 3466"/>
              <a:gd name="T68" fmla="*/ 1836 w 6532"/>
              <a:gd name="T69" fmla="*/ 3450 h 3466"/>
              <a:gd name="T70" fmla="*/ 1998 w 6532"/>
              <a:gd name="T71" fmla="*/ 2861 h 3466"/>
              <a:gd name="T72" fmla="*/ 3210 w 6532"/>
              <a:gd name="T73" fmla="*/ 1064 h 3466"/>
              <a:gd name="T74" fmla="*/ 3459 w 6532"/>
              <a:gd name="T75" fmla="*/ 1211 h 3466"/>
              <a:gd name="T76" fmla="*/ 3626 w 6532"/>
              <a:gd name="T77" fmla="*/ 1370 h 3466"/>
              <a:gd name="T78" fmla="*/ 2824 w 6532"/>
              <a:gd name="T79" fmla="*/ 1477 h 3466"/>
              <a:gd name="T80" fmla="*/ 3231 w 6532"/>
              <a:gd name="T81" fmla="*/ 2006 h 3466"/>
              <a:gd name="T82" fmla="*/ 3617 w 6532"/>
              <a:gd name="T83" fmla="*/ 2815 h 3466"/>
              <a:gd name="T84" fmla="*/ 3937 w 6532"/>
              <a:gd name="T85" fmla="*/ 1836 h 3466"/>
              <a:gd name="T86" fmla="*/ 3941 w 6532"/>
              <a:gd name="T87" fmla="*/ 1781 h 3466"/>
              <a:gd name="T88" fmla="*/ 4194 w 6532"/>
              <a:gd name="T89" fmla="*/ 1523 h 3466"/>
              <a:gd name="T90" fmla="*/ 4700 w 6532"/>
              <a:gd name="T91" fmla="*/ 1613 h 3466"/>
              <a:gd name="T92" fmla="*/ 4982 w 6532"/>
              <a:gd name="T93" fmla="*/ 1900 h 3466"/>
              <a:gd name="T94" fmla="*/ 5263 w 6532"/>
              <a:gd name="T95" fmla="*/ 1326 h 3466"/>
              <a:gd name="T96" fmla="*/ 5442 w 6532"/>
              <a:gd name="T97" fmla="*/ 1098 h 3466"/>
              <a:gd name="T98" fmla="*/ 5788 w 6532"/>
              <a:gd name="T99" fmla="*/ 631 h 3466"/>
              <a:gd name="T100" fmla="*/ 5959 w 6532"/>
              <a:gd name="T101" fmla="*/ 847 h 3466"/>
              <a:gd name="T102" fmla="*/ 6395 w 6532"/>
              <a:gd name="T103" fmla="*/ 431 h 3466"/>
              <a:gd name="T104" fmla="*/ 5970 w 6532"/>
              <a:gd name="T105" fmla="*/ 252 h 3466"/>
              <a:gd name="T106" fmla="*/ 5456 w 6532"/>
              <a:gd name="T107" fmla="*/ 251 h 3466"/>
              <a:gd name="T108" fmla="*/ 5023 w 6532"/>
              <a:gd name="T109" fmla="*/ 173 h 3466"/>
              <a:gd name="T110" fmla="*/ 4575 w 6532"/>
              <a:gd name="T111" fmla="*/ 206 h 3466"/>
              <a:gd name="T112" fmla="*/ 4436 w 6532"/>
              <a:gd name="T113" fmla="*/ 341 h 3466"/>
              <a:gd name="T114" fmla="*/ 4078 w 6532"/>
              <a:gd name="T115" fmla="*/ 343 h 3466"/>
              <a:gd name="T116" fmla="*/ 3819 w 6532"/>
              <a:gd name="T117" fmla="*/ 368 h 3466"/>
              <a:gd name="T118" fmla="*/ 3402 w 6532"/>
              <a:gd name="T119" fmla="*/ 304 h 3466"/>
              <a:gd name="T120" fmla="*/ 3175 w 6532"/>
              <a:gd name="T121" fmla="*/ 652 h 3466"/>
              <a:gd name="T122" fmla="*/ 3496 w 6532"/>
              <a:gd name="T123" fmla="*/ 577 h 3466"/>
              <a:gd name="T124" fmla="*/ 3255 w 6532"/>
              <a:gd name="T125" fmla="*/ 669 h 3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532" h="3466">
                <a:moveTo>
                  <a:pt x="5155" y="2007"/>
                </a:moveTo>
                <a:lnTo>
                  <a:pt x="5152" y="2005"/>
                </a:lnTo>
                <a:lnTo>
                  <a:pt x="5150" y="2005"/>
                </a:lnTo>
                <a:lnTo>
                  <a:pt x="5147" y="2010"/>
                </a:lnTo>
                <a:lnTo>
                  <a:pt x="5141" y="2021"/>
                </a:lnTo>
                <a:lnTo>
                  <a:pt x="5136" y="2031"/>
                </a:lnTo>
                <a:lnTo>
                  <a:pt x="5133" y="2036"/>
                </a:lnTo>
                <a:lnTo>
                  <a:pt x="5132" y="2036"/>
                </a:lnTo>
                <a:lnTo>
                  <a:pt x="5130" y="2037"/>
                </a:lnTo>
                <a:lnTo>
                  <a:pt x="5125" y="2036"/>
                </a:lnTo>
                <a:lnTo>
                  <a:pt x="5121" y="2036"/>
                </a:lnTo>
                <a:lnTo>
                  <a:pt x="5117" y="2036"/>
                </a:lnTo>
                <a:lnTo>
                  <a:pt x="5113" y="2037"/>
                </a:lnTo>
                <a:lnTo>
                  <a:pt x="5110" y="2038"/>
                </a:lnTo>
                <a:lnTo>
                  <a:pt x="5107" y="2039"/>
                </a:lnTo>
                <a:lnTo>
                  <a:pt x="5105" y="2041"/>
                </a:lnTo>
                <a:lnTo>
                  <a:pt x="5102" y="2045"/>
                </a:lnTo>
                <a:lnTo>
                  <a:pt x="5100" y="2050"/>
                </a:lnTo>
                <a:lnTo>
                  <a:pt x="5099" y="2055"/>
                </a:lnTo>
                <a:lnTo>
                  <a:pt x="5098" y="2060"/>
                </a:lnTo>
                <a:lnTo>
                  <a:pt x="5098" y="2065"/>
                </a:lnTo>
                <a:lnTo>
                  <a:pt x="5097" y="2069"/>
                </a:lnTo>
                <a:lnTo>
                  <a:pt x="5083" y="2062"/>
                </a:lnTo>
                <a:lnTo>
                  <a:pt x="5069" y="2055"/>
                </a:lnTo>
                <a:lnTo>
                  <a:pt x="5058" y="2073"/>
                </a:lnTo>
                <a:lnTo>
                  <a:pt x="5055" y="2079"/>
                </a:lnTo>
                <a:lnTo>
                  <a:pt x="5054" y="2081"/>
                </a:lnTo>
                <a:lnTo>
                  <a:pt x="5053" y="2084"/>
                </a:lnTo>
                <a:lnTo>
                  <a:pt x="5053" y="2086"/>
                </a:lnTo>
                <a:lnTo>
                  <a:pt x="5054" y="2089"/>
                </a:lnTo>
                <a:lnTo>
                  <a:pt x="5055" y="2096"/>
                </a:lnTo>
                <a:lnTo>
                  <a:pt x="5060" y="2120"/>
                </a:lnTo>
                <a:lnTo>
                  <a:pt x="5062" y="2121"/>
                </a:lnTo>
                <a:lnTo>
                  <a:pt x="5063" y="2121"/>
                </a:lnTo>
                <a:lnTo>
                  <a:pt x="5063" y="2123"/>
                </a:lnTo>
                <a:lnTo>
                  <a:pt x="5063" y="2124"/>
                </a:lnTo>
                <a:lnTo>
                  <a:pt x="5062" y="2127"/>
                </a:lnTo>
                <a:lnTo>
                  <a:pt x="5060" y="2129"/>
                </a:lnTo>
                <a:lnTo>
                  <a:pt x="5063" y="2128"/>
                </a:lnTo>
                <a:lnTo>
                  <a:pt x="5064" y="2128"/>
                </a:lnTo>
                <a:lnTo>
                  <a:pt x="5067" y="2127"/>
                </a:lnTo>
                <a:lnTo>
                  <a:pt x="5072" y="2123"/>
                </a:lnTo>
                <a:lnTo>
                  <a:pt x="5077" y="2143"/>
                </a:lnTo>
                <a:lnTo>
                  <a:pt x="5083" y="2165"/>
                </a:lnTo>
                <a:lnTo>
                  <a:pt x="5090" y="2166"/>
                </a:lnTo>
                <a:lnTo>
                  <a:pt x="5097" y="2166"/>
                </a:lnTo>
                <a:lnTo>
                  <a:pt x="5103" y="2166"/>
                </a:lnTo>
                <a:lnTo>
                  <a:pt x="5106" y="2166"/>
                </a:lnTo>
                <a:lnTo>
                  <a:pt x="5108" y="2165"/>
                </a:lnTo>
                <a:lnTo>
                  <a:pt x="5111" y="2165"/>
                </a:lnTo>
                <a:lnTo>
                  <a:pt x="5111" y="2174"/>
                </a:lnTo>
                <a:lnTo>
                  <a:pt x="5119" y="2175"/>
                </a:lnTo>
                <a:lnTo>
                  <a:pt x="5125" y="2176"/>
                </a:lnTo>
                <a:lnTo>
                  <a:pt x="5131" y="2171"/>
                </a:lnTo>
                <a:lnTo>
                  <a:pt x="5135" y="2170"/>
                </a:lnTo>
                <a:lnTo>
                  <a:pt x="5143" y="2170"/>
                </a:lnTo>
                <a:lnTo>
                  <a:pt x="5153" y="2171"/>
                </a:lnTo>
                <a:lnTo>
                  <a:pt x="5162" y="2176"/>
                </a:lnTo>
                <a:lnTo>
                  <a:pt x="5160" y="2177"/>
                </a:lnTo>
                <a:lnTo>
                  <a:pt x="5160" y="2178"/>
                </a:lnTo>
                <a:lnTo>
                  <a:pt x="5161" y="2180"/>
                </a:lnTo>
                <a:lnTo>
                  <a:pt x="5164" y="2182"/>
                </a:lnTo>
                <a:lnTo>
                  <a:pt x="5170" y="2178"/>
                </a:lnTo>
                <a:lnTo>
                  <a:pt x="5173" y="2175"/>
                </a:lnTo>
                <a:lnTo>
                  <a:pt x="5176" y="2174"/>
                </a:lnTo>
                <a:lnTo>
                  <a:pt x="5177" y="2174"/>
                </a:lnTo>
                <a:lnTo>
                  <a:pt x="5180" y="2174"/>
                </a:lnTo>
                <a:lnTo>
                  <a:pt x="5182" y="2174"/>
                </a:lnTo>
                <a:lnTo>
                  <a:pt x="5184" y="2174"/>
                </a:lnTo>
                <a:lnTo>
                  <a:pt x="5185" y="2172"/>
                </a:lnTo>
                <a:lnTo>
                  <a:pt x="5186" y="2171"/>
                </a:lnTo>
                <a:lnTo>
                  <a:pt x="5187" y="2167"/>
                </a:lnTo>
                <a:lnTo>
                  <a:pt x="5188" y="2163"/>
                </a:lnTo>
                <a:lnTo>
                  <a:pt x="5190" y="2160"/>
                </a:lnTo>
                <a:lnTo>
                  <a:pt x="5192" y="2156"/>
                </a:lnTo>
                <a:lnTo>
                  <a:pt x="5195" y="2151"/>
                </a:lnTo>
                <a:lnTo>
                  <a:pt x="5200" y="2151"/>
                </a:lnTo>
                <a:lnTo>
                  <a:pt x="5204" y="2151"/>
                </a:lnTo>
                <a:lnTo>
                  <a:pt x="5201" y="2142"/>
                </a:lnTo>
                <a:lnTo>
                  <a:pt x="5198" y="2134"/>
                </a:lnTo>
                <a:lnTo>
                  <a:pt x="5202" y="2131"/>
                </a:lnTo>
                <a:lnTo>
                  <a:pt x="5204" y="2129"/>
                </a:lnTo>
                <a:lnTo>
                  <a:pt x="5209" y="2126"/>
                </a:lnTo>
                <a:lnTo>
                  <a:pt x="5210" y="2120"/>
                </a:lnTo>
                <a:lnTo>
                  <a:pt x="5210" y="2109"/>
                </a:lnTo>
                <a:lnTo>
                  <a:pt x="5209" y="2099"/>
                </a:lnTo>
                <a:lnTo>
                  <a:pt x="5209" y="2092"/>
                </a:lnTo>
                <a:lnTo>
                  <a:pt x="5212" y="2090"/>
                </a:lnTo>
                <a:lnTo>
                  <a:pt x="5215" y="2087"/>
                </a:lnTo>
                <a:lnTo>
                  <a:pt x="5218" y="2085"/>
                </a:lnTo>
                <a:lnTo>
                  <a:pt x="5221" y="2084"/>
                </a:lnTo>
                <a:lnTo>
                  <a:pt x="5223" y="2083"/>
                </a:lnTo>
                <a:lnTo>
                  <a:pt x="5226" y="2084"/>
                </a:lnTo>
                <a:lnTo>
                  <a:pt x="5229" y="2084"/>
                </a:lnTo>
                <a:lnTo>
                  <a:pt x="5232" y="2084"/>
                </a:lnTo>
                <a:lnTo>
                  <a:pt x="5231" y="2083"/>
                </a:lnTo>
                <a:lnTo>
                  <a:pt x="5231" y="2082"/>
                </a:lnTo>
                <a:lnTo>
                  <a:pt x="5231" y="2079"/>
                </a:lnTo>
                <a:lnTo>
                  <a:pt x="5230" y="2077"/>
                </a:lnTo>
                <a:lnTo>
                  <a:pt x="5230" y="2076"/>
                </a:lnTo>
                <a:lnTo>
                  <a:pt x="5229" y="2075"/>
                </a:lnTo>
                <a:lnTo>
                  <a:pt x="5225" y="2073"/>
                </a:lnTo>
                <a:lnTo>
                  <a:pt x="5221" y="2072"/>
                </a:lnTo>
                <a:lnTo>
                  <a:pt x="5219" y="2071"/>
                </a:lnTo>
                <a:lnTo>
                  <a:pt x="5217" y="2070"/>
                </a:lnTo>
                <a:lnTo>
                  <a:pt x="5216" y="2068"/>
                </a:lnTo>
                <a:lnTo>
                  <a:pt x="5215" y="2067"/>
                </a:lnTo>
                <a:lnTo>
                  <a:pt x="5214" y="2064"/>
                </a:lnTo>
                <a:lnTo>
                  <a:pt x="5214" y="2061"/>
                </a:lnTo>
                <a:lnTo>
                  <a:pt x="5214" y="2056"/>
                </a:lnTo>
                <a:lnTo>
                  <a:pt x="5215" y="2050"/>
                </a:lnTo>
                <a:lnTo>
                  <a:pt x="5215" y="2047"/>
                </a:lnTo>
                <a:lnTo>
                  <a:pt x="5215" y="2044"/>
                </a:lnTo>
                <a:lnTo>
                  <a:pt x="5213" y="2041"/>
                </a:lnTo>
                <a:lnTo>
                  <a:pt x="5211" y="2038"/>
                </a:lnTo>
                <a:lnTo>
                  <a:pt x="5208" y="2035"/>
                </a:lnTo>
                <a:lnTo>
                  <a:pt x="5207" y="2033"/>
                </a:lnTo>
                <a:lnTo>
                  <a:pt x="5206" y="2030"/>
                </a:lnTo>
                <a:lnTo>
                  <a:pt x="5207" y="2027"/>
                </a:lnTo>
                <a:lnTo>
                  <a:pt x="5208" y="2024"/>
                </a:lnTo>
                <a:lnTo>
                  <a:pt x="5209" y="2024"/>
                </a:lnTo>
                <a:lnTo>
                  <a:pt x="5210" y="2024"/>
                </a:lnTo>
                <a:lnTo>
                  <a:pt x="5210" y="2023"/>
                </a:lnTo>
                <a:lnTo>
                  <a:pt x="5209" y="2022"/>
                </a:lnTo>
                <a:lnTo>
                  <a:pt x="5209" y="2021"/>
                </a:lnTo>
                <a:lnTo>
                  <a:pt x="5210" y="2021"/>
                </a:lnTo>
                <a:lnTo>
                  <a:pt x="5212" y="2022"/>
                </a:lnTo>
                <a:lnTo>
                  <a:pt x="5209" y="2015"/>
                </a:lnTo>
                <a:lnTo>
                  <a:pt x="5207" y="2010"/>
                </a:lnTo>
                <a:lnTo>
                  <a:pt x="5214" y="2010"/>
                </a:lnTo>
                <a:lnTo>
                  <a:pt x="5218" y="2009"/>
                </a:lnTo>
                <a:lnTo>
                  <a:pt x="5221" y="2008"/>
                </a:lnTo>
                <a:lnTo>
                  <a:pt x="5222" y="2006"/>
                </a:lnTo>
                <a:lnTo>
                  <a:pt x="5223" y="2005"/>
                </a:lnTo>
                <a:lnTo>
                  <a:pt x="5225" y="2002"/>
                </a:lnTo>
                <a:lnTo>
                  <a:pt x="5225" y="2000"/>
                </a:lnTo>
                <a:lnTo>
                  <a:pt x="5225" y="1997"/>
                </a:lnTo>
                <a:lnTo>
                  <a:pt x="5223" y="1993"/>
                </a:lnTo>
                <a:lnTo>
                  <a:pt x="5223" y="1992"/>
                </a:lnTo>
                <a:lnTo>
                  <a:pt x="5223" y="1991"/>
                </a:lnTo>
                <a:lnTo>
                  <a:pt x="5225" y="1991"/>
                </a:lnTo>
                <a:lnTo>
                  <a:pt x="5227" y="1992"/>
                </a:lnTo>
                <a:lnTo>
                  <a:pt x="5229" y="1993"/>
                </a:lnTo>
                <a:lnTo>
                  <a:pt x="5230" y="1994"/>
                </a:lnTo>
                <a:lnTo>
                  <a:pt x="5232" y="1994"/>
                </a:lnTo>
                <a:lnTo>
                  <a:pt x="5237" y="1988"/>
                </a:lnTo>
                <a:lnTo>
                  <a:pt x="5240" y="1988"/>
                </a:lnTo>
                <a:lnTo>
                  <a:pt x="5238" y="1985"/>
                </a:lnTo>
                <a:lnTo>
                  <a:pt x="5236" y="1981"/>
                </a:lnTo>
                <a:lnTo>
                  <a:pt x="5234" y="1977"/>
                </a:lnTo>
                <a:lnTo>
                  <a:pt x="5232" y="1974"/>
                </a:lnTo>
                <a:lnTo>
                  <a:pt x="5228" y="1972"/>
                </a:lnTo>
                <a:lnTo>
                  <a:pt x="5224" y="1971"/>
                </a:lnTo>
                <a:lnTo>
                  <a:pt x="5221" y="1970"/>
                </a:lnTo>
                <a:lnTo>
                  <a:pt x="5219" y="1969"/>
                </a:lnTo>
                <a:lnTo>
                  <a:pt x="5218" y="1968"/>
                </a:lnTo>
                <a:lnTo>
                  <a:pt x="5217" y="1967"/>
                </a:lnTo>
                <a:lnTo>
                  <a:pt x="5217" y="1966"/>
                </a:lnTo>
                <a:lnTo>
                  <a:pt x="5217" y="1964"/>
                </a:lnTo>
                <a:lnTo>
                  <a:pt x="5218" y="1963"/>
                </a:lnTo>
                <a:lnTo>
                  <a:pt x="5221" y="1960"/>
                </a:lnTo>
                <a:lnTo>
                  <a:pt x="5214" y="1954"/>
                </a:lnTo>
                <a:lnTo>
                  <a:pt x="5209" y="1951"/>
                </a:lnTo>
                <a:lnTo>
                  <a:pt x="5207" y="1949"/>
                </a:lnTo>
                <a:lnTo>
                  <a:pt x="5204" y="1948"/>
                </a:lnTo>
                <a:lnTo>
                  <a:pt x="5195" y="1946"/>
                </a:lnTo>
                <a:lnTo>
                  <a:pt x="5195" y="1948"/>
                </a:lnTo>
                <a:lnTo>
                  <a:pt x="5195" y="1951"/>
                </a:lnTo>
                <a:lnTo>
                  <a:pt x="5196" y="1954"/>
                </a:lnTo>
                <a:lnTo>
                  <a:pt x="5195" y="1957"/>
                </a:lnTo>
                <a:lnTo>
                  <a:pt x="5190" y="1960"/>
                </a:lnTo>
                <a:lnTo>
                  <a:pt x="5183" y="1969"/>
                </a:lnTo>
                <a:lnTo>
                  <a:pt x="5179" y="1976"/>
                </a:lnTo>
                <a:lnTo>
                  <a:pt x="5178" y="1980"/>
                </a:lnTo>
                <a:lnTo>
                  <a:pt x="5178" y="1984"/>
                </a:lnTo>
                <a:lnTo>
                  <a:pt x="5178" y="1988"/>
                </a:lnTo>
                <a:lnTo>
                  <a:pt x="5178" y="1994"/>
                </a:lnTo>
                <a:lnTo>
                  <a:pt x="5175" y="1995"/>
                </a:lnTo>
                <a:lnTo>
                  <a:pt x="5171" y="1995"/>
                </a:lnTo>
                <a:lnTo>
                  <a:pt x="5168" y="1995"/>
                </a:lnTo>
                <a:lnTo>
                  <a:pt x="5164" y="1996"/>
                </a:lnTo>
                <a:lnTo>
                  <a:pt x="5164" y="1997"/>
                </a:lnTo>
                <a:lnTo>
                  <a:pt x="5163" y="1998"/>
                </a:lnTo>
                <a:lnTo>
                  <a:pt x="5163" y="2001"/>
                </a:lnTo>
                <a:lnTo>
                  <a:pt x="5162" y="2003"/>
                </a:lnTo>
                <a:lnTo>
                  <a:pt x="5162" y="2005"/>
                </a:lnTo>
                <a:lnTo>
                  <a:pt x="5161" y="2005"/>
                </a:lnTo>
                <a:lnTo>
                  <a:pt x="5160" y="2005"/>
                </a:lnTo>
                <a:lnTo>
                  <a:pt x="5159" y="2005"/>
                </a:lnTo>
                <a:lnTo>
                  <a:pt x="5157" y="2004"/>
                </a:lnTo>
                <a:lnTo>
                  <a:pt x="5157" y="2005"/>
                </a:lnTo>
                <a:lnTo>
                  <a:pt x="5156" y="2005"/>
                </a:lnTo>
                <a:lnTo>
                  <a:pt x="5155" y="2007"/>
                </a:lnTo>
                <a:close/>
                <a:moveTo>
                  <a:pt x="5628" y="2167"/>
                </a:moveTo>
                <a:lnTo>
                  <a:pt x="5627" y="2166"/>
                </a:lnTo>
                <a:lnTo>
                  <a:pt x="5627" y="2164"/>
                </a:lnTo>
                <a:lnTo>
                  <a:pt x="5627" y="2163"/>
                </a:lnTo>
                <a:lnTo>
                  <a:pt x="5626" y="2162"/>
                </a:lnTo>
                <a:lnTo>
                  <a:pt x="5623" y="2162"/>
                </a:lnTo>
                <a:lnTo>
                  <a:pt x="5621" y="2162"/>
                </a:lnTo>
                <a:lnTo>
                  <a:pt x="5616" y="2162"/>
                </a:lnTo>
                <a:lnTo>
                  <a:pt x="5611" y="2163"/>
                </a:lnTo>
                <a:lnTo>
                  <a:pt x="5608" y="2163"/>
                </a:lnTo>
                <a:lnTo>
                  <a:pt x="5606" y="2162"/>
                </a:lnTo>
                <a:lnTo>
                  <a:pt x="5602" y="2161"/>
                </a:lnTo>
                <a:lnTo>
                  <a:pt x="5598" y="2158"/>
                </a:lnTo>
                <a:lnTo>
                  <a:pt x="5590" y="2151"/>
                </a:lnTo>
                <a:lnTo>
                  <a:pt x="5585" y="2148"/>
                </a:lnTo>
                <a:lnTo>
                  <a:pt x="5580" y="2146"/>
                </a:lnTo>
                <a:lnTo>
                  <a:pt x="5575" y="2145"/>
                </a:lnTo>
                <a:lnTo>
                  <a:pt x="5572" y="2145"/>
                </a:lnTo>
                <a:lnTo>
                  <a:pt x="5569" y="2145"/>
                </a:lnTo>
                <a:lnTo>
                  <a:pt x="5568" y="2146"/>
                </a:lnTo>
                <a:lnTo>
                  <a:pt x="5567" y="2147"/>
                </a:lnTo>
                <a:lnTo>
                  <a:pt x="5566" y="2151"/>
                </a:lnTo>
                <a:lnTo>
                  <a:pt x="5565" y="2154"/>
                </a:lnTo>
                <a:lnTo>
                  <a:pt x="5564" y="2157"/>
                </a:lnTo>
                <a:lnTo>
                  <a:pt x="5562" y="2158"/>
                </a:lnTo>
                <a:lnTo>
                  <a:pt x="5560" y="2159"/>
                </a:lnTo>
                <a:lnTo>
                  <a:pt x="5556" y="2159"/>
                </a:lnTo>
                <a:lnTo>
                  <a:pt x="5553" y="2160"/>
                </a:lnTo>
                <a:lnTo>
                  <a:pt x="5551" y="2161"/>
                </a:lnTo>
                <a:lnTo>
                  <a:pt x="5550" y="2162"/>
                </a:lnTo>
                <a:lnTo>
                  <a:pt x="5548" y="2165"/>
                </a:lnTo>
                <a:lnTo>
                  <a:pt x="5547" y="2170"/>
                </a:lnTo>
                <a:lnTo>
                  <a:pt x="5546" y="2174"/>
                </a:lnTo>
                <a:lnTo>
                  <a:pt x="5544" y="2176"/>
                </a:lnTo>
                <a:lnTo>
                  <a:pt x="5542" y="2177"/>
                </a:lnTo>
                <a:lnTo>
                  <a:pt x="5540" y="2178"/>
                </a:lnTo>
                <a:lnTo>
                  <a:pt x="5536" y="2178"/>
                </a:lnTo>
                <a:lnTo>
                  <a:pt x="5532" y="2178"/>
                </a:lnTo>
                <a:lnTo>
                  <a:pt x="5530" y="2178"/>
                </a:lnTo>
                <a:lnTo>
                  <a:pt x="5527" y="2179"/>
                </a:lnTo>
                <a:lnTo>
                  <a:pt x="5525" y="2175"/>
                </a:lnTo>
                <a:lnTo>
                  <a:pt x="5524" y="2171"/>
                </a:lnTo>
                <a:lnTo>
                  <a:pt x="5522" y="2162"/>
                </a:lnTo>
                <a:lnTo>
                  <a:pt x="5518" y="2165"/>
                </a:lnTo>
                <a:lnTo>
                  <a:pt x="5515" y="2166"/>
                </a:lnTo>
                <a:lnTo>
                  <a:pt x="5514" y="2166"/>
                </a:lnTo>
                <a:lnTo>
                  <a:pt x="5513" y="2165"/>
                </a:lnTo>
                <a:lnTo>
                  <a:pt x="5512" y="2161"/>
                </a:lnTo>
                <a:lnTo>
                  <a:pt x="5512" y="2156"/>
                </a:lnTo>
                <a:lnTo>
                  <a:pt x="5512" y="2151"/>
                </a:lnTo>
                <a:lnTo>
                  <a:pt x="5512" y="2146"/>
                </a:lnTo>
                <a:lnTo>
                  <a:pt x="5513" y="2135"/>
                </a:lnTo>
                <a:lnTo>
                  <a:pt x="5513" y="2126"/>
                </a:lnTo>
                <a:lnTo>
                  <a:pt x="5507" y="2123"/>
                </a:lnTo>
                <a:lnTo>
                  <a:pt x="5502" y="2120"/>
                </a:lnTo>
                <a:lnTo>
                  <a:pt x="5497" y="2122"/>
                </a:lnTo>
                <a:lnTo>
                  <a:pt x="5493" y="2123"/>
                </a:lnTo>
                <a:lnTo>
                  <a:pt x="5490" y="2122"/>
                </a:lnTo>
                <a:lnTo>
                  <a:pt x="5486" y="2119"/>
                </a:lnTo>
                <a:lnTo>
                  <a:pt x="5484" y="2118"/>
                </a:lnTo>
                <a:lnTo>
                  <a:pt x="5482" y="2118"/>
                </a:lnTo>
                <a:lnTo>
                  <a:pt x="5479" y="2117"/>
                </a:lnTo>
                <a:lnTo>
                  <a:pt x="5477" y="2117"/>
                </a:lnTo>
                <a:lnTo>
                  <a:pt x="5476" y="2118"/>
                </a:lnTo>
                <a:lnTo>
                  <a:pt x="5475" y="2119"/>
                </a:lnTo>
                <a:lnTo>
                  <a:pt x="5473" y="2122"/>
                </a:lnTo>
                <a:lnTo>
                  <a:pt x="5471" y="2126"/>
                </a:lnTo>
                <a:lnTo>
                  <a:pt x="5468" y="2126"/>
                </a:lnTo>
                <a:lnTo>
                  <a:pt x="5464" y="2126"/>
                </a:lnTo>
                <a:lnTo>
                  <a:pt x="5460" y="2125"/>
                </a:lnTo>
                <a:lnTo>
                  <a:pt x="5458" y="2125"/>
                </a:lnTo>
                <a:lnTo>
                  <a:pt x="5457" y="2126"/>
                </a:lnTo>
                <a:lnTo>
                  <a:pt x="5457" y="2137"/>
                </a:lnTo>
                <a:lnTo>
                  <a:pt x="5457" y="2143"/>
                </a:lnTo>
                <a:lnTo>
                  <a:pt x="5464" y="2142"/>
                </a:lnTo>
                <a:lnTo>
                  <a:pt x="5468" y="2142"/>
                </a:lnTo>
                <a:lnTo>
                  <a:pt x="5470" y="2142"/>
                </a:lnTo>
                <a:lnTo>
                  <a:pt x="5471" y="2143"/>
                </a:lnTo>
                <a:lnTo>
                  <a:pt x="5472" y="2144"/>
                </a:lnTo>
                <a:lnTo>
                  <a:pt x="5473" y="2145"/>
                </a:lnTo>
                <a:lnTo>
                  <a:pt x="5473" y="2147"/>
                </a:lnTo>
                <a:lnTo>
                  <a:pt x="5473" y="2150"/>
                </a:lnTo>
                <a:lnTo>
                  <a:pt x="5474" y="2154"/>
                </a:lnTo>
                <a:lnTo>
                  <a:pt x="5482" y="2154"/>
                </a:lnTo>
                <a:lnTo>
                  <a:pt x="5491" y="2154"/>
                </a:lnTo>
                <a:lnTo>
                  <a:pt x="5498" y="2154"/>
                </a:lnTo>
                <a:lnTo>
                  <a:pt x="5502" y="2154"/>
                </a:lnTo>
                <a:lnTo>
                  <a:pt x="5504" y="2155"/>
                </a:lnTo>
                <a:lnTo>
                  <a:pt x="5504" y="2156"/>
                </a:lnTo>
                <a:lnTo>
                  <a:pt x="5504" y="2157"/>
                </a:lnTo>
                <a:lnTo>
                  <a:pt x="5504" y="2159"/>
                </a:lnTo>
                <a:lnTo>
                  <a:pt x="5503" y="2160"/>
                </a:lnTo>
                <a:lnTo>
                  <a:pt x="5503" y="2161"/>
                </a:lnTo>
                <a:lnTo>
                  <a:pt x="5502" y="2162"/>
                </a:lnTo>
                <a:lnTo>
                  <a:pt x="5487" y="2164"/>
                </a:lnTo>
                <a:lnTo>
                  <a:pt x="5471" y="2165"/>
                </a:lnTo>
                <a:lnTo>
                  <a:pt x="5480" y="2166"/>
                </a:lnTo>
                <a:lnTo>
                  <a:pt x="5487" y="2167"/>
                </a:lnTo>
                <a:lnTo>
                  <a:pt x="5491" y="2168"/>
                </a:lnTo>
                <a:lnTo>
                  <a:pt x="5493" y="2168"/>
                </a:lnTo>
                <a:lnTo>
                  <a:pt x="5493" y="2169"/>
                </a:lnTo>
                <a:lnTo>
                  <a:pt x="5492" y="2169"/>
                </a:lnTo>
                <a:lnTo>
                  <a:pt x="5487" y="2170"/>
                </a:lnTo>
                <a:lnTo>
                  <a:pt x="5480" y="2171"/>
                </a:lnTo>
                <a:lnTo>
                  <a:pt x="5475" y="2170"/>
                </a:lnTo>
                <a:lnTo>
                  <a:pt x="5474" y="2170"/>
                </a:lnTo>
                <a:lnTo>
                  <a:pt x="5475" y="2169"/>
                </a:lnTo>
                <a:lnTo>
                  <a:pt x="5479" y="2168"/>
                </a:lnTo>
                <a:lnTo>
                  <a:pt x="5483" y="2174"/>
                </a:lnTo>
                <a:lnTo>
                  <a:pt x="5486" y="2180"/>
                </a:lnTo>
                <a:lnTo>
                  <a:pt x="5493" y="2190"/>
                </a:lnTo>
                <a:lnTo>
                  <a:pt x="5495" y="2185"/>
                </a:lnTo>
                <a:lnTo>
                  <a:pt x="5497" y="2183"/>
                </a:lnTo>
                <a:lnTo>
                  <a:pt x="5499" y="2182"/>
                </a:lnTo>
                <a:lnTo>
                  <a:pt x="5498" y="2181"/>
                </a:lnTo>
                <a:lnTo>
                  <a:pt x="5500" y="2181"/>
                </a:lnTo>
                <a:lnTo>
                  <a:pt x="5502" y="2181"/>
                </a:lnTo>
                <a:lnTo>
                  <a:pt x="5504" y="2182"/>
                </a:lnTo>
                <a:lnTo>
                  <a:pt x="5505" y="2183"/>
                </a:lnTo>
                <a:lnTo>
                  <a:pt x="5506" y="2184"/>
                </a:lnTo>
                <a:lnTo>
                  <a:pt x="5505" y="2185"/>
                </a:lnTo>
                <a:lnTo>
                  <a:pt x="5508" y="2186"/>
                </a:lnTo>
                <a:lnTo>
                  <a:pt x="5512" y="2187"/>
                </a:lnTo>
                <a:lnTo>
                  <a:pt x="5516" y="2189"/>
                </a:lnTo>
                <a:lnTo>
                  <a:pt x="5519" y="2190"/>
                </a:lnTo>
                <a:lnTo>
                  <a:pt x="5519" y="2191"/>
                </a:lnTo>
                <a:lnTo>
                  <a:pt x="5520" y="2192"/>
                </a:lnTo>
                <a:lnTo>
                  <a:pt x="5520" y="2193"/>
                </a:lnTo>
                <a:lnTo>
                  <a:pt x="5520" y="2196"/>
                </a:lnTo>
                <a:lnTo>
                  <a:pt x="5520" y="2199"/>
                </a:lnTo>
                <a:lnTo>
                  <a:pt x="5520" y="2201"/>
                </a:lnTo>
                <a:lnTo>
                  <a:pt x="5522" y="2202"/>
                </a:lnTo>
                <a:lnTo>
                  <a:pt x="5526" y="2204"/>
                </a:lnTo>
                <a:lnTo>
                  <a:pt x="5531" y="2205"/>
                </a:lnTo>
                <a:lnTo>
                  <a:pt x="5540" y="2206"/>
                </a:lnTo>
                <a:lnTo>
                  <a:pt x="5545" y="2206"/>
                </a:lnTo>
                <a:lnTo>
                  <a:pt x="5550" y="2207"/>
                </a:lnTo>
                <a:lnTo>
                  <a:pt x="5554" y="2208"/>
                </a:lnTo>
                <a:lnTo>
                  <a:pt x="5558" y="2210"/>
                </a:lnTo>
                <a:lnTo>
                  <a:pt x="5559" y="2211"/>
                </a:lnTo>
                <a:lnTo>
                  <a:pt x="5559" y="2212"/>
                </a:lnTo>
                <a:lnTo>
                  <a:pt x="5559" y="2216"/>
                </a:lnTo>
                <a:lnTo>
                  <a:pt x="5560" y="2219"/>
                </a:lnTo>
                <a:lnTo>
                  <a:pt x="5561" y="2221"/>
                </a:lnTo>
                <a:lnTo>
                  <a:pt x="5562" y="2222"/>
                </a:lnTo>
                <a:lnTo>
                  <a:pt x="5563" y="2222"/>
                </a:lnTo>
                <a:lnTo>
                  <a:pt x="5563" y="2221"/>
                </a:lnTo>
                <a:lnTo>
                  <a:pt x="5564" y="2219"/>
                </a:lnTo>
                <a:lnTo>
                  <a:pt x="5565" y="2219"/>
                </a:lnTo>
                <a:lnTo>
                  <a:pt x="5567" y="2219"/>
                </a:lnTo>
                <a:lnTo>
                  <a:pt x="5572" y="2221"/>
                </a:lnTo>
                <a:lnTo>
                  <a:pt x="5577" y="2223"/>
                </a:lnTo>
                <a:lnTo>
                  <a:pt x="5581" y="2224"/>
                </a:lnTo>
                <a:lnTo>
                  <a:pt x="5584" y="2239"/>
                </a:lnTo>
                <a:lnTo>
                  <a:pt x="5589" y="2254"/>
                </a:lnTo>
                <a:lnTo>
                  <a:pt x="5592" y="2269"/>
                </a:lnTo>
                <a:lnTo>
                  <a:pt x="5595" y="2283"/>
                </a:lnTo>
                <a:lnTo>
                  <a:pt x="5592" y="2284"/>
                </a:lnTo>
                <a:lnTo>
                  <a:pt x="5589" y="2283"/>
                </a:lnTo>
                <a:lnTo>
                  <a:pt x="5586" y="2283"/>
                </a:lnTo>
                <a:lnTo>
                  <a:pt x="5583" y="2283"/>
                </a:lnTo>
                <a:lnTo>
                  <a:pt x="5582" y="2284"/>
                </a:lnTo>
                <a:lnTo>
                  <a:pt x="5581" y="2286"/>
                </a:lnTo>
                <a:lnTo>
                  <a:pt x="5578" y="2290"/>
                </a:lnTo>
                <a:lnTo>
                  <a:pt x="5572" y="2297"/>
                </a:lnTo>
                <a:lnTo>
                  <a:pt x="5577" y="2296"/>
                </a:lnTo>
                <a:lnTo>
                  <a:pt x="5581" y="2296"/>
                </a:lnTo>
                <a:lnTo>
                  <a:pt x="5592" y="2295"/>
                </a:lnTo>
                <a:lnTo>
                  <a:pt x="5592" y="2289"/>
                </a:lnTo>
                <a:lnTo>
                  <a:pt x="5598" y="2289"/>
                </a:lnTo>
                <a:lnTo>
                  <a:pt x="5605" y="2290"/>
                </a:lnTo>
                <a:lnTo>
                  <a:pt x="5612" y="2291"/>
                </a:lnTo>
                <a:lnTo>
                  <a:pt x="5617" y="2292"/>
                </a:lnTo>
                <a:lnTo>
                  <a:pt x="5623" y="2304"/>
                </a:lnTo>
                <a:lnTo>
                  <a:pt x="5628" y="2314"/>
                </a:lnTo>
                <a:lnTo>
                  <a:pt x="5643" y="2313"/>
                </a:lnTo>
                <a:lnTo>
                  <a:pt x="5659" y="2312"/>
                </a:lnTo>
                <a:lnTo>
                  <a:pt x="5666" y="2311"/>
                </a:lnTo>
                <a:lnTo>
                  <a:pt x="5669" y="2310"/>
                </a:lnTo>
                <a:lnTo>
                  <a:pt x="5672" y="2309"/>
                </a:lnTo>
                <a:lnTo>
                  <a:pt x="5674" y="2307"/>
                </a:lnTo>
                <a:lnTo>
                  <a:pt x="5676" y="2305"/>
                </a:lnTo>
                <a:lnTo>
                  <a:pt x="5678" y="2303"/>
                </a:lnTo>
                <a:lnTo>
                  <a:pt x="5679" y="2300"/>
                </a:lnTo>
                <a:lnTo>
                  <a:pt x="5679" y="2298"/>
                </a:lnTo>
                <a:lnTo>
                  <a:pt x="5679" y="2297"/>
                </a:lnTo>
                <a:lnTo>
                  <a:pt x="5679" y="2293"/>
                </a:lnTo>
                <a:lnTo>
                  <a:pt x="5679" y="2290"/>
                </a:lnTo>
                <a:lnTo>
                  <a:pt x="5679" y="2288"/>
                </a:lnTo>
                <a:lnTo>
                  <a:pt x="5679" y="2286"/>
                </a:lnTo>
                <a:lnTo>
                  <a:pt x="5691" y="2287"/>
                </a:lnTo>
                <a:lnTo>
                  <a:pt x="5698" y="2288"/>
                </a:lnTo>
                <a:lnTo>
                  <a:pt x="5706" y="2289"/>
                </a:lnTo>
                <a:lnTo>
                  <a:pt x="5713" y="2290"/>
                </a:lnTo>
                <a:lnTo>
                  <a:pt x="5721" y="2293"/>
                </a:lnTo>
                <a:lnTo>
                  <a:pt x="5726" y="2296"/>
                </a:lnTo>
                <a:lnTo>
                  <a:pt x="5729" y="2298"/>
                </a:lnTo>
                <a:lnTo>
                  <a:pt x="5731" y="2300"/>
                </a:lnTo>
                <a:lnTo>
                  <a:pt x="5731" y="2301"/>
                </a:lnTo>
                <a:lnTo>
                  <a:pt x="5732" y="2302"/>
                </a:lnTo>
                <a:lnTo>
                  <a:pt x="5732" y="2304"/>
                </a:lnTo>
                <a:lnTo>
                  <a:pt x="5733" y="2309"/>
                </a:lnTo>
                <a:lnTo>
                  <a:pt x="5734" y="2314"/>
                </a:lnTo>
                <a:lnTo>
                  <a:pt x="5735" y="2316"/>
                </a:lnTo>
                <a:lnTo>
                  <a:pt x="5736" y="2317"/>
                </a:lnTo>
                <a:lnTo>
                  <a:pt x="5737" y="2318"/>
                </a:lnTo>
                <a:lnTo>
                  <a:pt x="5739" y="2318"/>
                </a:lnTo>
                <a:lnTo>
                  <a:pt x="5742" y="2318"/>
                </a:lnTo>
                <a:lnTo>
                  <a:pt x="5745" y="2319"/>
                </a:lnTo>
                <a:lnTo>
                  <a:pt x="5748" y="2320"/>
                </a:lnTo>
                <a:lnTo>
                  <a:pt x="5756" y="2337"/>
                </a:lnTo>
                <a:lnTo>
                  <a:pt x="5761" y="2339"/>
                </a:lnTo>
                <a:lnTo>
                  <a:pt x="5766" y="2341"/>
                </a:lnTo>
                <a:lnTo>
                  <a:pt x="5779" y="2343"/>
                </a:lnTo>
                <a:lnTo>
                  <a:pt x="5792" y="2345"/>
                </a:lnTo>
                <a:lnTo>
                  <a:pt x="5799" y="2347"/>
                </a:lnTo>
                <a:lnTo>
                  <a:pt x="5804" y="2348"/>
                </a:lnTo>
                <a:lnTo>
                  <a:pt x="5804" y="2344"/>
                </a:lnTo>
                <a:lnTo>
                  <a:pt x="5804" y="2340"/>
                </a:lnTo>
                <a:lnTo>
                  <a:pt x="5800" y="2338"/>
                </a:lnTo>
                <a:lnTo>
                  <a:pt x="5798" y="2337"/>
                </a:lnTo>
                <a:lnTo>
                  <a:pt x="5795" y="2336"/>
                </a:lnTo>
                <a:lnTo>
                  <a:pt x="5793" y="2334"/>
                </a:lnTo>
                <a:lnTo>
                  <a:pt x="5795" y="2331"/>
                </a:lnTo>
                <a:lnTo>
                  <a:pt x="5796" y="2330"/>
                </a:lnTo>
                <a:lnTo>
                  <a:pt x="5796" y="2329"/>
                </a:lnTo>
                <a:lnTo>
                  <a:pt x="5795" y="2328"/>
                </a:lnTo>
                <a:lnTo>
                  <a:pt x="5794" y="2327"/>
                </a:lnTo>
                <a:lnTo>
                  <a:pt x="5792" y="2327"/>
                </a:lnTo>
                <a:lnTo>
                  <a:pt x="5789" y="2327"/>
                </a:lnTo>
                <a:lnTo>
                  <a:pt x="5785" y="2327"/>
                </a:lnTo>
                <a:lnTo>
                  <a:pt x="5783" y="2326"/>
                </a:lnTo>
                <a:lnTo>
                  <a:pt x="5781" y="2326"/>
                </a:lnTo>
                <a:lnTo>
                  <a:pt x="5780" y="2324"/>
                </a:lnTo>
                <a:lnTo>
                  <a:pt x="5780" y="2323"/>
                </a:lnTo>
                <a:lnTo>
                  <a:pt x="5780" y="2321"/>
                </a:lnTo>
                <a:lnTo>
                  <a:pt x="5780" y="2319"/>
                </a:lnTo>
                <a:lnTo>
                  <a:pt x="5781" y="2316"/>
                </a:lnTo>
                <a:lnTo>
                  <a:pt x="5781" y="2314"/>
                </a:lnTo>
                <a:lnTo>
                  <a:pt x="5780" y="2314"/>
                </a:lnTo>
                <a:lnTo>
                  <a:pt x="5779" y="2313"/>
                </a:lnTo>
                <a:lnTo>
                  <a:pt x="5776" y="2313"/>
                </a:lnTo>
                <a:lnTo>
                  <a:pt x="5773" y="2313"/>
                </a:lnTo>
                <a:lnTo>
                  <a:pt x="5770" y="2311"/>
                </a:lnTo>
                <a:lnTo>
                  <a:pt x="5769" y="2311"/>
                </a:lnTo>
                <a:lnTo>
                  <a:pt x="5768" y="2310"/>
                </a:lnTo>
                <a:lnTo>
                  <a:pt x="5768" y="2307"/>
                </a:lnTo>
                <a:lnTo>
                  <a:pt x="5767" y="2305"/>
                </a:lnTo>
                <a:lnTo>
                  <a:pt x="5767" y="2302"/>
                </a:lnTo>
                <a:lnTo>
                  <a:pt x="5766" y="2297"/>
                </a:lnTo>
                <a:lnTo>
                  <a:pt x="5766" y="2294"/>
                </a:lnTo>
                <a:lnTo>
                  <a:pt x="5764" y="2292"/>
                </a:lnTo>
                <a:lnTo>
                  <a:pt x="5764" y="2291"/>
                </a:lnTo>
                <a:lnTo>
                  <a:pt x="5762" y="2291"/>
                </a:lnTo>
                <a:lnTo>
                  <a:pt x="5759" y="2290"/>
                </a:lnTo>
                <a:lnTo>
                  <a:pt x="5756" y="2290"/>
                </a:lnTo>
                <a:lnTo>
                  <a:pt x="5753" y="2289"/>
                </a:lnTo>
                <a:lnTo>
                  <a:pt x="5751" y="2287"/>
                </a:lnTo>
                <a:lnTo>
                  <a:pt x="5750" y="2284"/>
                </a:lnTo>
                <a:lnTo>
                  <a:pt x="5749" y="2281"/>
                </a:lnTo>
                <a:lnTo>
                  <a:pt x="5748" y="2277"/>
                </a:lnTo>
                <a:lnTo>
                  <a:pt x="5745" y="2264"/>
                </a:lnTo>
                <a:lnTo>
                  <a:pt x="5751" y="2261"/>
                </a:lnTo>
                <a:lnTo>
                  <a:pt x="5759" y="2258"/>
                </a:lnTo>
                <a:lnTo>
                  <a:pt x="5756" y="2241"/>
                </a:lnTo>
                <a:lnTo>
                  <a:pt x="5754" y="2241"/>
                </a:lnTo>
                <a:lnTo>
                  <a:pt x="5752" y="2241"/>
                </a:lnTo>
                <a:lnTo>
                  <a:pt x="5749" y="2241"/>
                </a:lnTo>
                <a:lnTo>
                  <a:pt x="5745" y="2242"/>
                </a:lnTo>
                <a:lnTo>
                  <a:pt x="5744" y="2242"/>
                </a:lnTo>
                <a:lnTo>
                  <a:pt x="5742" y="2241"/>
                </a:lnTo>
                <a:lnTo>
                  <a:pt x="5741" y="2240"/>
                </a:lnTo>
                <a:lnTo>
                  <a:pt x="5740" y="2239"/>
                </a:lnTo>
                <a:lnTo>
                  <a:pt x="5739" y="2236"/>
                </a:lnTo>
                <a:lnTo>
                  <a:pt x="5738" y="2232"/>
                </a:lnTo>
                <a:lnTo>
                  <a:pt x="5736" y="2230"/>
                </a:lnTo>
                <a:lnTo>
                  <a:pt x="5734" y="2229"/>
                </a:lnTo>
                <a:lnTo>
                  <a:pt x="5732" y="2229"/>
                </a:lnTo>
                <a:lnTo>
                  <a:pt x="5728" y="2229"/>
                </a:lnTo>
                <a:lnTo>
                  <a:pt x="5723" y="2229"/>
                </a:lnTo>
                <a:lnTo>
                  <a:pt x="5721" y="2228"/>
                </a:lnTo>
                <a:lnTo>
                  <a:pt x="5719" y="2227"/>
                </a:lnTo>
                <a:lnTo>
                  <a:pt x="5719" y="2225"/>
                </a:lnTo>
                <a:lnTo>
                  <a:pt x="5719" y="2222"/>
                </a:lnTo>
                <a:lnTo>
                  <a:pt x="5719" y="2218"/>
                </a:lnTo>
                <a:lnTo>
                  <a:pt x="5719" y="2216"/>
                </a:lnTo>
                <a:lnTo>
                  <a:pt x="5713" y="2209"/>
                </a:lnTo>
                <a:lnTo>
                  <a:pt x="5707" y="2202"/>
                </a:lnTo>
                <a:lnTo>
                  <a:pt x="5705" y="2201"/>
                </a:lnTo>
                <a:lnTo>
                  <a:pt x="5703" y="2201"/>
                </a:lnTo>
                <a:lnTo>
                  <a:pt x="5701" y="2202"/>
                </a:lnTo>
                <a:lnTo>
                  <a:pt x="5699" y="2202"/>
                </a:lnTo>
                <a:lnTo>
                  <a:pt x="5697" y="2200"/>
                </a:lnTo>
                <a:lnTo>
                  <a:pt x="5694" y="2196"/>
                </a:lnTo>
                <a:lnTo>
                  <a:pt x="5692" y="2193"/>
                </a:lnTo>
                <a:lnTo>
                  <a:pt x="5690" y="2190"/>
                </a:lnTo>
                <a:lnTo>
                  <a:pt x="5686" y="2188"/>
                </a:lnTo>
                <a:lnTo>
                  <a:pt x="5680" y="2186"/>
                </a:lnTo>
                <a:lnTo>
                  <a:pt x="5668" y="2183"/>
                </a:lnTo>
                <a:lnTo>
                  <a:pt x="5656" y="2180"/>
                </a:lnTo>
                <a:lnTo>
                  <a:pt x="5650" y="2178"/>
                </a:lnTo>
                <a:lnTo>
                  <a:pt x="5645" y="2176"/>
                </a:lnTo>
                <a:lnTo>
                  <a:pt x="5639" y="2173"/>
                </a:lnTo>
                <a:lnTo>
                  <a:pt x="5628" y="2167"/>
                </a:lnTo>
                <a:close/>
                <a:moveTo>
                  <a:pt x="5162" y="2760"/>
                </a:moveTo>
                <a:lnTo>
                  <a:pt x="5162" y="2761"/>
                </a:lnTo>
                <a:lnTo>
                  <a:pt x="5162" y="2763"/>
                </a:lnTo>
                <a:lnTo>
                  <a:pt x="5160" y="2765"/>
                </a:lnTo>
                <a:lnTo>
                  <a:pt x="5159" y="2767"/>
                </a:lnTo>
                <a:lnTo>
                  <a:pt x="5158" y="2767"/>
                </a:lnTo>
                <a:lnTo>
                  <a:pt x="5159" y="2768"/>
                </a:lnTo>
                <a:lnTo>
                  <a:pt x="5161" y="2770"/>
                </a:lnTo>
                <a:lnTo>
                  <a:pt x="5162" y="2772"/>
                </a:lnTo>
                <a:lnTo>
                  <a:pt x="5164" y="2777"/>
                </a:lnTo>
                <a:lnTo>
                  <a:pt x="5165" y="2779"/>
                </a:lnTo>
                <a:lnTo>
                  <a:pt x="5165" y="2781"/>
                </a:lnTo>
                <a:lnTo>
                  <a:pt x="5166" y="2786"/>
                </a:lnTo>
                <a:lnTo>
                  <a:pt x="5166" y="2797"/>
                </a:lnTo>
                <a:lnTo>
                  <a:pt x="5166" y="2803"/>
                </a:lnTo>
                <a:lnTo>
                  <a:pt x="5167" y="2810"/>
                </a:lnTo>
                <a:lnTo>
                  <a:pt x="5173" y="2813"/>
                </a:lnTo>
                <a:lnTo>
                  <a:pt x="5174" y="2816"/>
                </a:lnTo>
                <a:lnTo>
                  <a:pt x="5174" y="2819"/>
                </a:lnTo>
                <a:lnTo>
                  <a:pt x="5175" y="2826"/>
                </a:lnTo>
                <a:lnTo>
                  <a:pt x="5175" y="2833"/>
                </a:lnTo>
                <a:lnTo>
                  <a:pt x="5176" y="2839"/>
                </a:lnTo>
                <a:lnTo>
                  <a:pt x="5178" y="2839"/>
                </a:lnTo>
                <a:lnTo>
                  <a:pt x="5179" y="2844"/>
                </a:lnTo>
                <a:lnTo>
                  <a:pt x="5179" y="2849"/>
                </a:lnTo>
                <a:lnTo>
                  <a:pt x="5179" y="2854"/>
                </a:lnTo>
                <a:lnTo>
                  <a:pt x="5178" y="2860"/>
                </a:lnTo>
                <a:lnTo>
                  <a:pt x="5177" y="2872"/>
                </a:lnTo>
                <a:lnTo>
                  <a:pt x="5176" y="2886"/>
                </a:lnTo>
                <a:lnTo>
                  <a:pt x="5167" y="2886"/>
                </a:lnTo>
                <a:lnTo>
                  <a:pt x="5162" y="2886"/>
                </a:lnTo>
                <a:lnTo>
                  <a:pt x="5164" y="2892"/>
                </a:lnTo>
                <a:lnTo>
                  <a:pt x="5166" y="2895"/>
                </a:lnTo>
                <a:lnTo>
                  <a:pt x="5167" y="2898"/>
                </a:lnTo>
                <a:lnTo>
                  <a:pt x="5169" y="2899"/>
                </a:lnTo>
                <a:lnTo>
                  <a:pt x="5170" y="2899"/>
                </a:lnTo>
                <a:lnTo>
                  <a:pt x="5174" y="2900"/>
                </a:lnTo>
                <a:lnTo>
                  <a:pt x="5178" y="2901"/>
                </a:lnTo>
                <a:lnTo>
                  <a:pt x="5181" y="2903"/>
                </a:lnTo>
                <a:lnTo>
                  <a:pt x="5182" y="2904"/>
                </a:lnTo>
                <a:lnTo>
                  <a:pt x="5182" y="2905"/>
                </a:lnTo>
                <a:lnTo>
                  <a:pt x="5182" y="2908"/>
                </a:lnTo>
                <a:lnTo>
                  <a:pt x="5183" y="2910"/>
                </a:lnTo>
                <a:lnTo>
                  <a:pt x="5183" y="2911"/>
                </a:lnTo>
                <a:lnTo>
                  <a:pt x="5184" y="2912"/>
                </a:lnTo>
                <a:lnTo>
                  <a:pt x="5187" y="2913"/>
                </a:lnTo>
                <a:lnTo>
                  <a:pt x="5189" y="2913"/>
                </a:lnTo>
                <a:lnTo>
                  <a:pt x="5192" y="2913"/>
                </a:lnTo>
                <a:lnTo>
                  <a:pt x="5194" y="2913"/>
                </a:lnTo>
                <a:lnTo>
                  <a:pt x="5197" y="2912"/>
                </a:lnTo>
                <a:lnTo>
                  <a:pt x="5199" y="2912"/>
                </a:lnTo>
                <a:lnTo>
                  <a:pt x="5201" y="2912"/>
                </a:lnTo>
                <a:lnTo>
                  <a:pt x="5209" y="2917"/>
                </a:lnTo>
                <a:lnTo>
                  <a:pt x="5212" y="2917"/>
                </a:lnTo>
                <a:lnTo>
                  <a:pt x="5214" y="2917"/>
                </a:lnTo>
                <a:lnTo>
                  <a:pt x="5218" y="2916"/>
                </a:lnTo>
                <a:lnTo>
                  <a:pt x="5220" y="2915"/>
                </a:lnTo>
                <a:lnTo>
                  <a:pt x="5221" y="2914"/>
                </a:lnTo>
                <a:lnTo>
                  <a:pt x="5224" y="2911"/>
                </a:lnTo>
                <a:lnTo>
                  <a:pt x="5228" y="2904"/>
                </a:lnTo>
                <a:lnTo>
                  <a:pt x="5232" y="2898"/>
                </a:lnTo>
                <a:lnTo>
                  <a:pt x="5234" y="2900"/>
                </a:lnTo>
                <a:lnTo>
                  <a:pt x="5236" y="2903"/>
                </a:lnTo>
                <a:lnTo>
                  <a:pt x="5238" y="2904"/>
                </a:lnTo>
                <a:lnTo>
                  <a:pt x="5239" y="2905"/>
                </a:lnTo>
                <a:lnTo>
                  <a:pt x="5241" y="2906"/>
                </a:lnTo>
                <a:lnTo>
                  <a:pt x="5243" y="2906"/>
                </a:lnTo>
                <a:lnTo>
                  <a:pt x="5244" y="2905"/>
                </a:lnTo>
                <a:lnTo>
                  <a:pt x="5245" y="2904"/>
                </a:lnTo>
                <a:lnTo>
                  <a:pt x="5245" y="2901"/>
                </a:lnTo>
                <a:lnTo>
                  <a:pt x="5244" y="2899"/>
                </a:lnTo>
                <a:lnTo>
                  <a:pt x="5243" y="2894"/>
                </a:lnTo>
                <a:lnTo>
                  <a:pt x="5243" y="2892"/>
                </a:lnTo>
                <a:lnTo>
                  <a:pt x="5244" y="2892"/>
                </a:lnTo>
                <a:lnTo>
                  <a:pt x="5247" y="2893"/>
                </a:lnTo>
                <a:lnTo>
                  <a:pt x="5251" y="2894"/>
                </a:lnTo>
                <a:lnTo>
                  <a:pt x="5253" y="2895"/>
                </a:lnTo>
                <a:lnTo>
                  <a:pt x="5254" y="2895"/>
                </a:lnTo>
                <a:lnTo>
                  <a:pt x="5257" y="2894"/>
                </a:lnTo>
                <a:lnTo>
                  <a:pt x="5261" y="2893"/>
                </a:lnTo>
                <a:lnTo>
                  <a:pt x="5271" y="2890"/>
                </a:lnTo>
                <a:lnTo>
                  <a:pt x="5280" y="2888"/>
                </a:lnTo>
                <a:lnTo>
                  <a:pt x="5285" y="2887"/>
                </a:lnTo>
                <a:lnTo>
                  <a:pt x="5288" y="2886"/>
                </a:lnTo>
                <a:lnTo>
                  <a:pt x="5289" y="2887"/>
                </a:lnTo>
                <a:lnTo>
                  <a:pt x="5290" y="2887"/>
                </a:lnTo>
                <a:lnTo>
                  <a:pt x="5292" y="2889"/>
                </a:lnTo>
                <a:lnTo>
                  <a:pt x="5293" y="2891"/>
                </a:lnTo>
                <a:lnTo>
                  <a:pt x="5294" y="2892"/>
                </a:lnTo>
                <a:lnTo>
                  <a:pt x="5296" y="2891"/>
                </a:lnTo>
                <a:lnTo>
                  <a:pt x="5300" y="2889"/>
                </a:lnTo>
                <a:lnTo>
                  <a:pt x="5305" y="2886"/>
                </a:lnTo>
                <a:lnTo>
                  <a:pt x="5307" y="2886"/>
                </a:lnTo>
                <a:lnTo>
                  <a:pt x="5309" y="2887"/>
                </a:lnTo>
                <a:lnTo>
                  <a:pt x="5312" y="2889"/>
                </a:lnTo>
                <a:lnTo>
                  <a:pt x="5315" y="2890"/>
                </a:lnTo>
                <a:lnTo>
                  <a:pt x="5317" y="2890"/>
                </a:lnTo>
                <a:lnTo>
                  <a:pt x="5319" y="2889"/>
                </a:lnTo>
                <a:lnTo>
                  <a:pt x="5320" y="2889"/>
                </a:lnTo>
                <a:lnTo>
                  <a:pt x="5321" y="2888"/>
                </a:lnTo>
                <a:lnTo>
                  <a:pt x="5322" y="2887"/>
                </a:lnTo>
                <a:lnTo>
                  <a:pt x="5323" y="2886"/>
                </a:lnTo>
                <a:lnTo>
                  <a:pt x="5324" y="2883"/>
                </a:lnTo>
                <a:lnTo>
                  <a:pt x="5325" y="2880"/>
                </a:lnTo>
                <a:lnTo>
                  <a:pt x="5327" y="2874"/>
                </a:lnTo>
                <a:lnTo>
                  <a:pt x="5329" y="2871"/>
                </a:lnTo>
                <a:lnTo>
                  <a:pt x="5330" y="2869"/>
                </a:lnTo>
                <a:lnTo>
                  <a:pt x="5333" y="2868"/>
                </a:lnTo>
                <a:lnTo>
                  <a:pt x="5335" y="2868"/>
                </a:lnTo>
                <a:lnTo>
                  <a:pt x="5336" y="2868"/>
                </a:lnTo>
                <a:lnTo>
                  <a:pt x="5337" y="2868"/>
                </a:lnTo>
                <a:lnTo>
                  <a:pt x="5340" y="2870"/>
                </a:lnTo>
                <a:lnTo>
                  <a:pt x="5342" y="2870"/>
                </a:lnTo>
                <a:lnTo>
                  <a:pt x="5344" y="2869"/>
                </a:lnTo>
                <a:lnTo>
                  <a:pt x="5344" y="2864"/>
                </a:lnTo>
                <a:lnTo>
                  <a:pt x="5345" y="2863"/>
                </a:lnTo>
                <a:lnTo>
                  <a:pt x="5346" y="2862"/>
                </a:lnTo>
                <a:lnTo>
                  <a:pt x="5349" y="2862"/>
                </a:lnTo>
                <a:lnTo>
                  <a:pt x="5353" y="2862"/>
                </a:lnTo>
                <a:lnTo>
                  <a:pt x="5354" y="2862"/>
                </a:lnTo>
                <a:lnTo>
                  <a:pt x="5356" y="2861"/>
                </a:lnTo>
                <a:lnTo>
                  <a:pt x="5356" y="2860"/>
                </a:lnTo>
                <a:lnTo>
                  <a:pt x="5357" y="2857"/>
                </a:lnTo>
                <a:lnTo>
                  <a:pt x="5357" y="2854"/>
                </a:lnTo>
                <a:lnTo>
                  <a:pt x="5358" y="2853"/>
                </a:lnTo>
                <a:lnTo>
                  <a:pt x="5361" y="2853"/>
                </a:lnTo>
                <a:lnTo>
                  <a:pt x="5361" y="2850"/>
                </a:lnTo>
                <a:lnTo>
                  <a:pt x="5363" y="2849"/>
                </a:lnTo>
                <a:lnTo>
                  <a:pt x="5365" y="2850"/>
                </a:lnTo>
                <a:lnTo>
                  <a:pt x="5369" y="2851"/>
                </a:lnTo>
                <a:lnTo>
                  <a:pt x="5373" y="2852"/>
                </a:lnTo>
                <a:lnTo>
                  <a:pt x="5376" y="2853"/>
                </a:lnTo>
                <a:lnTo>
                  <a:pt x="5378" y="2853"/>
                </a:lnTo>
                <a:lnTo>
                  <a:pt x="5382" y="2852"/>
                </a:lnTo>
                <a:lnTo>
                  <a:pt x="5386" y="2851"/>
                </a:lnTo>
                <a:lnTo>
                  <a:pt x="5396" y="2848"/>
                </a:lnTo>
                <a:lnTo>
                  <a:pt x="5419" y="2840"/>
                </a:lnTo>
                <a:lnTo>
                  <a:pt x="5431" y="2837"/>
                </a:lnTo>
                <a:lnTo>
                  <a:pt x="5443" y="2834"/>
                </a:lnTo>
                <a:lnTo>
                  <a:pt x="5454" y="2832"/>
                </a:lnTo>
                <a:lnTo>
                  <a:pt x="5458" y="2832"/>
                </a:lnTo>
                <a:lnTo>
                  <a:pt x="5462" y="2833"/>
                </a:lnTo>
                <a:lnTo>
                  <a:pt x="5465" y="2834"/>
                </a:lnTo>
                <a:lnTo>
                  <a:pt x="5466" y="2836"/>
                </a:lnTo>
                <a:lnTo>
                  <a:pt x="5469" y="2840"/>
                </a:lnTo>
                <a:lnTo>
                  <a:pt x="5471" y="2844"/>
                </a:lnTo>
                <a:lnTo>
                  <a:pt x="5472" y="2846"/>
                </a:lnTo>
                <a:lnTo>
                  <a:pt x="5474" y="2847"/>
                </a:lnTo>
                <a:lnTo>
                  <a:pt x="5477" y="2848"/>
                </a:lnTo>
                <a:lnTo>
                  <a:pt x="5480" y="2847"/>
                </a:lnTo>
                <a:lnTo>
                  <a:pt x="5487" y="2846"/>
                </a:lnTo>
                <a:lnTo>
                  <a:pt x="5494" y="2845"/>
                </a:lnTo>
                <a:lnTo>
                  <a:pt x="5498" y="2846"/>
                </a:lnTo>
                <a:lnTo>
                  <a:pt x="5502" y="2847"/>
                </a:lnTo>
                <a:lnTo>
                  <a:pt x="5502" y="2850"/>
                </a:lnTo>
                <a:lnTo>
                  <a:pt x="5504" y="2852"/>
                </a:lnTo>
                <a:lnTo>
                  <a:pt x="5505" y="2854"/>
                </a:lnTo>
                <a:lnTo>
                  <a:pt x="5504" y="2856"/>
                </a:lnTo>
                <a:lnTo>
                  <a:pt x="5502" y="2858"/>
                </a:lnTo>
                <a:lnTo>
                  <a:pt x="5507" y="2859"/>
                </a:lnTo>
                <a:lnTo>
                  <a:pt x="5511" y="2859"/>
                </a:lnTo>
                <a:lnTo>
                  <a:pt x="5513" y="2860"/>
                </a:lnTo>
                <a:lnTo>
                  <a:pt x="5512" y="2862"/>
                </a:lnTo>
                <a:lnTo>
                  <a:pt x="5510" y="2864"/>
                </a:lnTo>
                <a:lnTo>
                  <a:pt x="5510" y="2865"/>
                </a:lnTo>
                <a:lnTo>
                  <a:pt x="5510" y="2866"/>
                </a:lnTo>
                <a:lnTo>
                  <a:pt x="5510" y="2867"/>
                </a:lnTo>
                <a:lnTo>
                  <a:pt x="5511" y="2867"/>
                </a:lnTo>
                <a:lnTo>
                  <a:pt x="5510" y="2867"/>
                </a:lnTo>
                <a:lnTo>
                  <a:pt x="5507" y="2867"/>
                </a:lnTo>
                <a:lnTo>
                  <a:pt x="5509" y="2869"/>
                </a:lnTo>
                <a:lnTo>
                  <a:pt x="5510" y="2871"/>
                </a:lnTo>
                <a:lnTo>
                  <a:pt x="5511" y="2872"/>
                </a:lnTo>
                <a:lnTo>
                  <a:pt x="5510" y="2872"/>
                </a:lnTo>
                <a:lnTo>
                  <a:pt x="5518" y="2874"/>
                </a:lnTo>
                <a:lnTo>
                  <a:pt x="5524" y="2875"/>
                </a:lnTo>
                <a:lnTo>
                  <a:pt x="5525" y="2883"/>
                </a:lnTo>
                <a:lnTo>
                  <a:pt x="5525" y="2889"/>
                </a:lnTo>
                <a:lnTo>
                  <a:pt x="5526" y="2891"/>
                </a:lnTo>
                <a:lnTo>
                  <a:pt x="5527" y="2895"/>
                </a:lnTo>
                <a:lnTo>
                  <a:pt x="5528" y="2899"/>
                </a:lnTo>
                <a:lnTo>
                  <a:pt x="5530" y="2903"/>
                </a:lnTo>
                <a:lnTo>
                  <a:pt x="5531" y="2903"/>
                </a:lnTo>
                <a:lnTo>
                  <a:pt x="5534" y="2904"/>
                </a:lnTo>
                <a:lnTo>
                  <a:pt x="5538" y="2906"/>
                </a:lnTo>
                <a:lnTo>
                  <a:pt x="5555" y="2884"/>
                </a:lnTo>
                <a:lnTo>
                  <a:pt x="5557" y="2883"/>
                </a:lnTo>
                <a:lnTo>
                  <a:pt x="5560" y="2884"/>
                </a:lnTo>
                <a:lnTo>
                  <a:pt x="5562" y="2884"/>
                </a:lnTo>
                <a:lnTo>
                  <a:pt x="5563" y="2884"/>
                </a:lnTo>
                <a:lnTo>
                  <a:pt x="5564" y="2884"/>
                </a:lnTo>
                <a:lnTo>
                  <a:pt x="5566" y="2881"/>
                </a:lnTo>
                <a:lnTo>
                  <a:pt x="5568" y="2876"/>
                </a:lnTo>
                <a:lnTo>
                  <a:pt x="5570" y="2872"/>
                </a:lnTo>
                <a:lnTo>
                  <a:pt x="5572" y="2869"/>
                </a:lnTo>
                <a:lnTo>
                  <a:pt x="5574" y="2869"/>
                </a:lnTo>
                <a:lnTo>
                  <a:pt x="5576" y="2870"/>
                </a:lnTo>
                <a:lnTo>
                  <a:pt x="5576" y="2871"/>
                </a:lnTo>
                <a:lnTo>
                  <a:pt x="5577" y="2873"/>
                </a:lnTo>
                <a:lnTo>
                  <a:pt x="5576" y="2878"/>
                </a:lnTo>
                <a:lnTo>
                  <a:pt x="5574" y="2883"/>
                </a:lnTo>
                <a:lnTo>
                  <a:pt x="5569" y="2895"/>
                </a:lnTo>
                <a:lnTo>
                  <a:pt x="5567" y="2900"/>
                </a:lnTo>
                <a:lnTo>
                  <a:pt x="5567" y="2902"/>
                </a:lnTo>
                <a:lnTo>
                  <a:pt x="5567" y="2904"/>
                </a:lnTo>
                <a:lnTo>
                  <a:pt x="5568" y="2909"/>
                </a:lnTo>
                <a:lnTo>
                  <a:pt x="5570" y="2912"/>
                </a:lnTo>
                <a:lnTo>
                  <a:pt x="5570" y="2914"/>
                </a:lnTo>
                <a:lnTo>
                  <a:pt x="5569" y="2915"/>
                </a:lnTo>
                <a:lnTo>
                  <a:pt x="5567" y="2916"/>
                </a:lnTo>
                <a:lnTo>
                  <a:pt x="5564" y="2916"/>
                </a:lnTo>
                <a:lnTo>
                  <a:pt x="5561" y="2916"/>
                </a:lnTo>
                <a:lnTo>
                  <a:pt x="5558" y="2917"/>
                </a:lnTo>
                <a:lnTo>
                  <a:pt x="5558" y="2923"/>
                </a:lnTo>
                <a:lnTo>
                  <a:pt x="5560" y="2922"/>
                </a:lnTo>
                <a:lnTo>
                  <a:pt x="5562" y="2921"/>
                </a:lnTo>
                <a:lnTo>
                  <a:pt x="5564" y="2920"/>
                </a:lnTo>
                <a:lnTo>
                  <a:pt x="5571" y="2917"/>
                </a:lnTo>
                <a:lnTo>
                  <a:pt x="5573" y="2916"/>
                </a:lnTo>
                <a:lnTo>
                  <a:pt x="5574" y="2914"/>
                </a:lnTo>
                <a:lnTo>
                  <a:pt x="5574" y="2912"/>
                </a:lnTo>
                <a:lnTo>
                  <a:pt x="5574" y="2909"/>
                </a:lnTo>
                <a:lnTo>
                  <a:pt x="5575" y="2900"/>
                </a:lnTo>
                <a:lnTo>
                  <a:pt x="5579" y="2901"/>
                </a:lnTo>
                <a:lnTo>
                  <a:pt x="5583" y="2900"/>
                </a:lnTo>
                <a:lnTo>
                  <a:pt x="5583" y="2901"/>
                </a:lnTo>
                <a:lnTo>
                  <a:pt x="5583" y="2902"/>
                </a:lnTo>
                <a:lnTo>
                  <a:pt x="5581" y="2904"/>
                </a:lnTo>
                <a:lnTo>
                  <a:pt x="5580" y="2905"/>
                </a:lnTo>
                <a:lnTo>
                  <a:pt x="5580" y="2906"/>
                </a:lnTo>
                <a:lnTo>
                  <a:pt x="5581" y="2906"/>
                </a:lnTo>
                <a:lnTo>
                  <a:pt x="5582" y="2908"/>
                </a:lnTo>
                <a:lnTo>
                  <a:pt x="5584" y="2910"/>
                </a:lnTo>
                <a:lnTo>
                  <a:pt x="5587" y="2916"/>
                </a:lnTo>
                <a:lnTo>
                  <a:pt x="5588" y="2919"/>
                </a:lnTo>
                <a:lnTo>
                  <a:pt x="5589" y="2922"/>
                </a:lnTo>
                <a:lnTo>
                  <a:pt x="5589" y="2926"/>
                </a:lnTo>
                <a:lnTo>
                  <a:pt x="5589" y="2929"/>
                </a:lnTo>
                <a:lnTo>
                  <a:pt x="5586" y="2937"/>
                </a:lnTo>
                <a:lnTo>
                  <a:pt x="5595" y="2935"/>
                </a:lnTo>
                <a:lnTo>
                  <a:pt x="5603" y="2931"/>
                </a:lnTo>
                <a:lnTo>
                  <a:pt x="5607" y="2944"/>
                </a:lnTo>
                <a:lnTo>
                  <a:pt x="5610" y="2957"/>
                </a:lnTo>
                <a:lnTo>
                  <a:pt x="5611" y="2970"/>
                </a:lnTo>
                <a:lnTo>
                  <a:pt x="5612" y="2976"/>
                </a:lnTo>
                <a:lnTo>
                  <a:pt x="5612" y="2982"/>
                </a:lnTo>
                <a:lnTo>
                  <a:pt x="5617" y="2984"/>
                </a:lnTo>
                <a:lnTo>
                  <a:pt x="5620" y="2986"/>
                </a:lnTo>
                <a:lnTo>
                  <a:pt x="5623" y="2988"/>
                </a:lnTo>
                <a:lnTo>
                  <a:pt x="5624" y="2989"/>
                </a:lnTo>
                <a:lnTo>
                  <a:pt x="5624" y="2990"/>
                </a:lnTo>
                <a:lnTo>
                  <a:pt x="5625" y="2993"/>
                </a:lnTo>
                <a:lnTo>
                  <a:pt x="5626" y="2996"/>
                </a:lnTo>
                <a:lnTo>
                  <a:pt x="5627" y="2998"/>
                </a:lnTo>
                <a:lnTo>
                  <a:pt x="5628" y="2999"/>
                </a:lnTo>
                <a:lnTo>
                  <a:pt x="5632" y="3001"/>
                </a:lnTo>
                <a:lnTo>
                  <a:pt x="5637" y="3003"/>
                </a:lnTo>
                <a:lnTo>
                  <a:pt x="5645" y="3007"/>
                </a:lnTo>
                <a:lnTo>
                  <a:pt x="5646" y="3007"/>
                </a:lnTo>
                <a:lnTo>
                  <a:pt x="5646" y="3006"/>
                </a:lnTo>
                <a:lnTo>
                  <a:pt x="5647" y="3003"/>
                </a:lnTo>
                <a:lnTo>
                  <a:pt x="5649" y="3002"/>
                </a:lnTo>
                <a:lnTo>
                  <a:pt x="5650" y="3001"/>
                </a:lnTo>
                <a:lnTo>
                  <a:pt x="5651" y="3002"/>
                </a:lnTo>
                <a:lnTo>
                  <a:pt x="5653" y="3003"/>
                </a:lnTo>
                <a:lnTo>
                  <a:pt x="5655" y="3005"/>
                </a:lnTo>
                <a:lnTo>
                  <a:pt x="5657" y="3008"/>
                </a:lnTo>
                <a:lnTo>
                  <a:pt x="5659" y="3013"/>
                </a:lnTo>
                <a:lnTo>
                  <a:pt x="5661" y="3014"/>
                </a:lnTo>
                <a:lnTo>
                  <a:pt x="5662" y="3016"/>
                </a:lnTo>
                <a:lnTo>
                  <a:pt x="5666" y="3018"/>
                </a:lnTo>
                <a:lnTo>
                  <a:pt x="5670" y="3020"/>
                </a:lnTo>
                <a:lnTo>
                  <a:pt x="5673" y="3021"/>
                </a:lnTo>
                <a:lnTo>
                  <a:pt x="5676" y="3021"/>
                </a:lnTo>
                <a:lnTo>
                  <a:pt x="5679" y="3021"/>
                </a:lnTo>
                <a:lnTo>
                  <a:pt x="5681" y="3020"/>
                </a:lnTo>
                <a:lnTo>
                  <a:pt x="5684" y="3017"/>
                </a:lnTo>
                <a:lnTo>
                  <a:pt x="5686" y="3013"/>
                </a:lnTo>
                <a:lnTo>
                  <a:pt x="5689" y="3010"/>
                </a:lnTo>
                <a:lnTo>
                  <a:pt x="5691" y="3006"/>
                </a:lnTo>
                <a:lnTo>
                  <a:pt x="5692" y="3005"/>
                </a:lnTo>
                <a:lnTo>
                  <a:pt x="5693" y="3005"/>
                </a:lnTo>
                <a:lnTo>
                  <a:pt x="5699" y="3005"/>
                </a:lnTo>
                <a:lnTo>
                  <a:pt x="5697" y="3002"/>
                </a:lnTo>
                <a:lnTo>
                  <a:pt x="5696" y="3000"/>
                </a:lnTo>
                <a:lnTo>
                  <a:pt x="5696" y="2999"/>
                </a:lnTo>
                <a:lnTo>
                  <a:pt x="5698" y="2997"/>
                </a:lnTo>
                <a:lnTo>
                  <a:pt x="5702" y="2995"/>
                </a:lnTo>
                <a:lnTo>
                  <a:pt x="5705" y="2993"/>
                </a:lnTo>
                <a:lnTo>
                  <a:pt x="5707" y="2990"/>
                </a:lnTo>
                <a:lnTo>
                  <a:pt x="5707" y="2992"/>
                </a:lnTo>
                <a:lnTo>
                  <a:pt x="5707" y="2994"/>
                </a:lnTo>
                <a:lnTo>
                  <a:pt x="5707" y="2995"/>
                </a:lnTo>
                <a:lnTo>
                  <a:pt x="5709" y="2997"/>
                </a:lnTo>
                <a:lnTo>
                  <a:pt x="5710" y="2999"/>
                </a:lnTo>
                <a:lnTo>
                  <a:pt x="5705" y="3002"/>
                </a:lnTo>
                <a:lnTo>
                  <a:pt x="5703" y="3004"/>
                </a:lnTo>
                <a:lnTo>
                  <a:pt x="5702" y="3006"/>
                </a:lnTo>
                <a:lnTo>
                  <a:pt x="5702" y="3007"/>
                </a:lnTo>
                <a:lnTo>
                  <a:pt x="5709" y="3005"/>
                </a:lnTo>
                <a:lnTo>
                  <a:pt x="5717" y="3004"/>
                </a:lnTo>
                <a:lnTo>
                  <a:pt x="5719" y="3004"/>
                </a:lnTo>
                <a:lnTo>
                  <a:pt x="5720" y="3004"/>
                </a:lnTo>
                <a:lnTo>
                  <a:pt x="5719" y="3005"/>
                </a:lnTo>
                <a:lnTo>
                  <a:pt x="5718" y="3006"/>
                </a:lnTo>
                <a:lnTo>
                  <a:pt x="5717" y="3008"/>
                </a:lnTo>
                <a:lnTo>
                  <a:pt x="5710" y="3013"/>
                </a:lnTo>
                <a:lnTo>
                  <a:pt x="5714" y="3015"/>
                </a:lnTo>
                <a:lnTo>
                  <a:pt x="5719" y="3017"/>
                </a:lnTo>
                <a:lnTo>
                  <a:pt x="5724" y="3019"/>
                </a:lnTo>
                <a:lnTo>
                  <a:pt x="5728" y="3021"/>
                </a:lnTo>
                <a:lnTo>
                  <a:pt x="5728" y="3022"/>
                </a:lnTo>
                <a:lnTo>
                  <a:pt x="5729" y="3023"/>
                </a:lnTo>
                <a:lnTo>
                  <a:pt x="5729" y="3026"/>
                </a:lnTo>
                <a:lnTo>
                  <a:pt x="5730" y="3028"/>
                </a:lnTo>
                <a:lnTo>
                  <a:pt x="5731" y="3030"/>
                </a:lnTo>
                <a:lnTo>
                  <a:pt x="5731" y="3029"/>
                </a:lnTo>
                <a:lnTo>
                  <a:pt x="5732" y="3028"/>
                </a:lnTo>
                <a:lnTo>
                  <a:pt x="5732" y="3025"/>
                </a:lnTo>
                <a:lnTo>
                  <a:pt x="5733" y="3023"/>
                </a:lnTo>
                <a:lnTo>
                  <a:pt x="5734" y="3021"/>
                </a:lnTo>
                <a:lnTo>
                  <a:pt x="5735" y="3021"/>
                </a:lnTo>
                <a:lnTo>
                  <a:pt x="5737" y="3021"/>
                </a:lnTo>
                <a:lnTo>
                  <a:pt x="5740" y="3022"/>
                </a:lnTo>
                <a:lnTo>
                  <a:pt x="5742" y="3021"/>
                </a:lnTo>
                <a:lnTo>
                  <a:pt x="5745" y="3019"/>
                </a:lnTo>
                <a:lnTo>
                  <a:pt x="5748" y="3016"/>
                </a:lnTo>
                <a:lnTo>
                  <a:pt x="5750" y="3012"/>
                </a:lnTo>
                <a:lnTo>
                  <a:pt x="5752" y="3008"/>
                </a:lnTo>
                <a:lnTo>
                  <a:pt x="5755" y="2999"/>
                </a:lnTo>
                <a:lnTo>
                  <a:pt x="5756" y="2993"/>
                </a:lnTo>
                <a:lnTo>
                  <a:pt x="5766" y="2993"/>
                </a:lnTo>
                <a:lnTo>
                  <a:pt x="5775" y="2994"/>
                </a:lnTo>
                <a:lnTo>
                  <a:pt x="5784" y="2994"/>
                </a:lnTo>
                <a:lnTo>
                  <a:pt x="5787" y="2994"/>
                </a:lnTo>
                <a:lnTo>
                  <a:pt x="5790" y="2993"/>
                </a:lnTo>
                <a:lnTo>
                  <a:pt x="5790" y="2992"/>
                </a:lnTo>
                <a:lnTo>
                  <a:pt x="5791" y="2991"/>
                </a:lnTo>
                <a:lnTo>
                  <a:pt x="5792" y="2989"/>
                </a:lnTo>
                <a:lnTo>
                  <a:pt x="5794" y="2988"/>
                </a:lnTo>
                <a:lnTo>
                  <a:pt x="5795" y="2988"/>
                </a:lnTo>
                <a:lnTo>
                  <a:pt x="5795" y="2984"/>
                </a:lnTo>
                <a:lnTo>
                  <a:pt x="5796" y="2981"/>
                </a:lnTo>
                <a:lnTo>
                  <a:pt x="5798" y="2979"/>
                </a:lnTo>
                <a:lnTo>
                  <a:pt x="5798" y="2976"/>
                </a:lnTo>
                <a:lnTo>
                  <a:pt x="5798" y="2975"/>
                </a:lnTo>
                <a:lnTo>
                  <a:pt x="5796" y="2974"/>
                </a:lnTo>
                <a:lnTo>
                  <a:pt x="5793" y="2972"/>
                </a:lnTo>
                <a:lnTo>
                  <a:pt x="5792" y="2971"/>
                </a:lnTo>
                <a:lnTo>
                  <a:pt x="5791" y="2971"/>
                </a:lnTo>
                <a:lnTo>
                  <a:pt x="5790" y="2970"/>
                </a:lnTo>
                <a:lnTo>
                  <a:pt x="5790" y="2968"/>
                </a:lnTo>
                <a:lnTo>
                  <a:pt x="5790" y="2965"/>
                </a:lnTo>
                <a:lnTo>
                  <a:pt x="5791" y="2964"/>
                </a:lnTo>
                <a:lnTo>
                  <a:pt x="5794" y="2962"/>
                </a:lnTo>
                <a:lnTo>
                  <a:pt x="5798" y="2960"/>
                </a:lnTo>
                <a:lnTo>
                  <a:pt x="5799" y="2957"/>
                </a:lnTo>
                <a:lnTo>
                  <a:pt x="5800" y="2954"/>
                </a:lnTo>
                <a:lnTo>
                  <a:pt x="5800" y="2948"/>
                </a:lnTo>
                <a:lnTo>
                  <a:pt x="5800" y="2941"/>
                </a:lnTo>
                <a:lnTo>
                  <a:pt x="5800" y="2938"/>
                </a:lnTo>
                <a:lnTo>
                  <a:pt x="5801" y="2934"/>
                </a:lnTo>
                <a:lnTo>
                  <a:pt x="5802" y="2931"/>
                </a:lnTo>
                <a:lnTo>
                  <a:pt x="5804" y="2928"/>
                </a:lnTo>
                <a:lnTo>
                  <a:pt x="5808" y="2921"/>
                </a:lnTo>
                <a:lnTo>
                  <a:pt x="5812" y="2913"/>
                </a:lnTo>
                <a:lnTo>
                  <a:pt x="5814" y="2910"/>
                </a:lnTo>
                <a:lnTo>
                  <a:pt x="5815" y="2906"/>
                </a:lnTo>
                <a:lnTo>
                  <a:pt x="5816" y="2902"/>
                </a:lnTo>
                <a:lnTo>
                  <a:pt x="5816" y="2899"/>
                </a:lnTo>
                <a:lnTo>
                  <a:pt x="5815" y="2895"/>
                </a:lnTo>
                <a:lnTo>
                  <a:pt x="5815" y="2892"/>
                </a:lnTo>
                <a:lnTo>
                  <a:pt x="5814" y="2886"/>
                </a:lnTo>
                <a:lnTo>
                  <a:pt x="5814" y="2883"/>
                </a:lnTo>
                <a:lnTo>
                  <a:pt x="5815" y="2881"/>
                </a:lnTo>
                <a:lnTo>
                  <a:pt x="5819" y="2881"/>
                </a:lnTo>
                <a:lnTo>
                  <a:pt x="5824" y="2881"/>
                </a:lnTo>
                <a:lnTo>
                  <a:pt x="5824" y="2879"/>
                </a:lnTo>
                <a:lnTo>
                  <a:pt x="5824" y="2877"/>
                </a:lnTo>
                <a:lnTo>
                  <a:pt x="5823" y="2874"/>
                </a:lnTo>
                <a:lnTo>
                  <a:pt x="5824" y="2872"/>
                </a:lnTo>
                <a:lnTo>
                  <a:pt x="5825" y="2871"/>
                </a:lnTo>
                <a:lnTo>
                  <a:pt x="5827" y="2869"/>
                </a:lnTo>
                <a:lnTo>
                  <a:pt x="5832" y="2866"/>
                </a:lnTo>
                <a:lnTo>
                  <a:pt x="5843" y="2861"/>
                </a:lnTo>
                <a:lnTo>
                  <a:pt x="5843" y="2855"/>
                </a:lnTo>
                <a:lnTo>
                  <a:pt x="5843" y="2856"/>
                </a:lnTo>
                <a:lnTo>
                  <a:pt x="5842" y="2856"/>
                </a:lnTo>
                <a:lnTo>
                  <a:pt x="5842" y="2853"/>
                </a:lnTo>
                <a:lnTo>
                  <a:pt x="5842" y="2850"/>
                </a:lnTo>
                <a:lnTo>
                  <a:pt x="5843" y="2847"/>
                </a:lnTo>
                <a:lnTo>
                  <a:pt x="5849" y="2847"/>
                </a:lnTo>
                <a:lnTo>
                  <a:pt x="5849" y="2844"/>
                </a:lnTo>
                <a:lnTo>
                  <a:pt x="5850" y="2842"/>
                </a:lnTo>
                <a:lnTo>
                  <a:pt x="5852" y="2839"/>
                </a:lnTo>
                <a:lnTo>
                  <a:pt x="5852" y="2836"/>
                </a:lnTo>
                <a:lnTo>
                  <a:pt x="5852" y="2833"/>
                </a:lnTo>
                <a:lnTo>
                  <a:pt x="5852" y="2827"/>
                </a:lnTo>
                <a:lnTo>
                  <a:pt x="5852" y="2822"/>
                </a:lnTo>
                <a:lnTo>
                  <a:pt x="5852" y="2816"/>
                </a:lnTo>
                <a:lnTo>
                  <a:pt x="5852" y="2813"/>
                </a:lnTo>
                <a:lnTo>
                  <a:pt x="5852" y="2810"/>
                </a:lnTo>
                <a:lnTo>
                  <a:pt x="5852" y="2801"/>
                </a:lnTo>
                <a:lnTo>
                  <a:pt x="5851" y="2793"/>
                </a:lnTo>
                <a:lnTo>
                  <a:pt x="5852" y="2785"/>
                </a:lnTo>
                <a:lnTo>
                  <a:pt x="5857" y="2785"/>
                </a:lnTo>
                <a:lnTo>
                  <a:pt x="5859" y="2778"/>
                </a:lnTo>
                <a:lnTo>
                  <a:pt x="5860" y="2774"/>
                </a:lnTo>
                <a:lnTo>
                  <a:pt x="5860" y="2769"/>
                </a:lnTo>
                <a:lnTo>
                  <a:pt x="5859" y="2763"/>
                </a:lnTo>
                <a:lnTo>
                  <a:pt x="5857" y="2757"/>
                </a:lnTo>
                <a:lnTo>
                  <a:pt x="5853" y="2747"/>
                </a:lnTo>
                <a:lnTo>
                  <a:pt x="5850" y="2742"/>
                </a:lnTo>
                <a:lnTo>
                  <a:pt x="5849" y="2737"/>
                </a:lnTo>
                <a:lnTo>
                  <a:pt x="5849" y="2733"/>
                </a:lnTo>
                <a:lnTo>
                  <a:pt x="5849" y="2727"/>
                </a:lnTo>
                <a:lnTo>
                  <a:pt x="5851" y="2715"/>
                </a:lnTo>
                <a:lnTo>
                  <a:pt x="5851" y="2708"/>
                </a:lnTo>
                <a:lnTo>
                  <a:pt x="5852" y="2701"/>
                </a:lnTo>
                <a:lnTo>
                  <a:pt x="5851" y="2698"/>
                </a:lnTo>
                <a:lnTo>
                  <a:pt x="5851" y="2695"/>
                </a:lnTo>
                <a:lnTo>
                  <a:pt x="5850" y="2692"/>
                </a:lnTo>
                <a:lnTo>
                  <a:pt x="5849" y="2689"/>
                </a:lnTo>
                <a:lnTo>
                  <a:pt x="5832" y="2678"/>
                </a:lnTo>
                <a:lnTo>
                  <a:pt x="5832" y="2677"/>
                </a:lnTo>
                <a:lnTo>
                  <a:pt x="5831" y="2676"/>
                </a:lnTo>
                <a:lnTo>
                  <a:pt x="5832" y="2673"/>
                </a:lnTo>
                <a:lnTo>
                  <a:pt x="5832" y="2670"/>
                </a:lnTo>
                <a:lnTo>
                  <a:pt x="5832" y="2667"/>
                </a:lnTo>
                <a:lnTo>
                  <a:pt x="5829" y="2664"/>
                </a:lnTo>
                <a:lnTo>
                  <a:pt x="5823" y="2661"/>
                </a:lnTo>
                <a:lnTo>
                  <a:pt x="5815" y="2656"/>
                </a:lnTo>
                <a:lnTo>
                  <a:pt x="5814" y="2653"/>
                </a:lnTo>
                <a:lnTo>
                  <a:pt x="5813" y="2650"/>
                </a:lnTo>
                <a:lnTo>
                  <a:pt x="5813" y="2646"/>
                </a:lnTo>
                <a:lnTo>
                  <a:pt x="5812" y="2643"/>
                </a:lnTo>
                <a:lnTo>
                  <a:pt x="5812" y="2635"/>
                </a:lnTo>
                <a:lnTo>
                  <a:pt x="5812" y="2628"/>
                </a:lnTo>
                <a:lnTo>
                  <a:pt x="5806" y="2625"/>
                </a:lnTo>
                <a:lnTo>
                  <a:pt x="5801" y="2621"/>
                </a:lnTo>
                <a:lnTo>
                  <a:pt x="5799" y="2620"/>
                </a:lnTo>
                <a:lnTo>
                  <a:pt x="5796" y="2619"/>
                </a:lnTo>
                <a:lnTo>
                  <a:pt x="5793" y="2617"/>
                </a:lnTo>
                <a:lnTo>
                  <a:pt x="5790" y="2616"/>
                </a:lnTo>
                <a:lnTo>
                  <a:pt x="5790" y="2606"/>
                </a:lnTo>
                <a:lnTo>
                  <a:pt x="5790" y="2595"/>
                </a:lnTo>
                <a:lnTo>
                  <a:pt x="5789" y="2591"/>
                </a:lnTo>
                <a:lnTo>
                  <a:pt x="5788" y="2587"/>
                </a:lnTo>
                <a:lnTo>
                  <a:pt x="5787" y="2585"/>
                </a:lnTo>
                <a:lnTo>
                  <a:pt x="5785" y="2584"/>
                </a:lnTo>
                <a:lnTo>
                  <a:pt x="5783" y="2582"/>
                </a:lnTo>
                <a:lnTo>
                  <a:pt x="5781" y="2582"/>
                </a:lnTo>
                <a:lnTo>
                  <a:pt x="5776" y="2582"/>
                </a:lnTo>
                <a:lnTo>
                  <a:pt x="5777" y="2578"/>
                </a:lnTo>
                <a:lnTo>
                  <a:pt x="5779" y="2576"/>
                </a:lnTo>
                <a:lnTo>
                  <a:pt x="5780" y="2574"/>
                </a:lnTo>
                <a:lnTo>
                  <a:pt x="5781" y="2573"/>
                </a:lnTo>
                <a:lnTo>
                  <a:pt x="5781" y="2572"/>
                </a:lnTo>
                <a:lnTo>
                  <a:pt x="5781" y="2571"/>
                </a:lnTo>
                <a:lnTo>
                  <a:pt x="5780" y="2570"/>
                </a:lnTo>
                <a:lnTo>
                  <a:pt x="5779" y="2569"/>
                </a:lnTo>
                <a:lnTo>
                  <a:pt x="5779" y="2568"/>
                </a:lnTo>
                <a:lnTo>
                  <a:pt x="5779" y="2565"/>
                </a:lnTo>
                <a:lnTo>
                  <a:pt x="5774" y="2562"/>
                </a:lnTo>
                <a:lnTo>
                  <a:pt x="5769" y="2559"/>
                </a:lnTo>
                <a:lnTo>
                  <a:pt x="5754" y="2552"/>
                </a:lnTo>
                <a:lnTo>
                  <a:pt x="5747" y="2548"/>
                </a:lnTo>
                <a:lnTo>
                  <a:pt x="5741" y="2545"/>
                </a:lnTo>
                <a:lnTo>
                  <a:pt x="5736" y="2542"/>
                </a:lnTo>
                <a:lnTo>
                  <a:pt x="5734" y="2541"/>
                </a:lnTo>
                <a:lnTo>
                  <a:pt x="5734" y="2539"/>
                </a:lnTo>
                <a:lnTo>
                  <a:pt x="5732" y="2535"/>
                </a:lnTo>
                <a:lnTo>
                  <a:pt x="5731" y="2533"/>
                </a:lnTo>
                <a:lnTo>
                  <a:pt x="5731" y="2530"/>
                </a:lnTo>
                <a:lnTo>
                  <a:pt x="5731" y="2520"/>
                </a:lnTo>
                <a:lnTo>
                  <a:pt x="5732" y="2510"/>
                </a:lnTo>
                <a:lnTo>
                  <a:pt x="5731" y="2505"/>
                </a:lnTo>
                <a:lnTo>
                  <a:pt x="5731" y="2500"/>
                </a:lnTo>
                <a:lnTo>
                  <a:pt x="5730" y="2497"/>
                </a:lnTo>
                <a:lnTo>
                  <a:pt x="5728" y="2494"/>
                </a:lnTo>
                <a:lnTo>
                  <a:pt x="5724" y="2488"/>
                </a:lnTo>
                <a:lnTo>
                  <a:pt x="5719" y="2483"/>
                </a:lnTo>
                <a:lnTo>
                  <a:pt x="5718" y="2480"/>
                </a:lnTo>
                <a:lnTo>
                  <a:pt x="5717" y="2477"/>
                </a:lnTo>
                <a:lnTo>
                  <a:pt x="5716" y="2473"/>
                </a:lnTo>
                <a:lnTo>
                  <a:pt x="5716" y="2469"/>
                </a:lnTo>
                <a:lnTo>
                  <a:pt x="5717" y="2460"/>
                </a:lnTo>
                <a:lnTo>
                  <a:pt x="5718" y="2452"/>
                </a:lnTo>
                <a:lnTo>
                  <a:pt x="5718" y="2448"/>
                </a:lnTo>
                <a:lnTo>
                  <a:pt x="5717" y="2444"/>
                </a:lnTo>
                <a:lnTo>
                  <a:pt x="5707" y="2444"/>
                </a:lnTo>
                <a:lnTo>
                  <a:pt x="5704" y="2438"/>
                </a:lnTo>
                <a:lnTo>
                  <a:pt x="5702" y="2438"/>
                </a:lnTo>
                <a:lnTo>
                  <a:pt x="5702" y="2434"/>
                </a:lnTo>
                <a:lnTo>
                  <a:pt x="5702" y="2430"/>
                </a:lnTo>
                <a:lnTo>
                  <a:pt x="5699" y="2431"/>
                </a:lnTo>
                <a:lnTo>
                  <a:pt x="5698" y="2431"/>
                </a:lnTo>
                <a:lnTo>
                  <a:pt x="5693" y="2432"/>
                </a:lnTo>
                <a:lnTo>
                  <a:pt x="5693" y="2438"/>
                </a:lnTo>
                <a:lnTo>
                  <a:pt x="5691" y="2438"/>
                </a:lnTo>
                <a:lnTo>
                  <a:pt x="5689" y="2438"/>
                </a:lnTo>
                <a:lnTo>
                  <a:pt x="5688" y="2438"/>
                </a:lnTo>
                <a:lnTo>
                  <a:pt x="5688" y="2437"/>
                </a:lnTo>
                <a:lnTo>
                  <a:pt x="5687" y="2435"/>
                </a:lnTo>
                <a:lnTo>
                  <a:pt x="5686" y="2435"/>
                </a:lnTo>
                <a:lnTo>
                  <a:pt x="5685" y="2435"/>
                </a:lnTo>
                <a:lnTo>
                  <a:pt x="5684" y="2422"/>
                </a:lnTo>
                <a:lnTo>
                  <a:pt x="5683" y="2411"/>
                </a:lnTo>
                <a:lnTo>
                  <a:pt x="5681" y="2401"/>
                </a:lnTo>
                <a:lnTo>
                  <a:pt x="5678" y="2392"/>
                </a:lnTo>
                <a:lnTo>
                  <a:pt x="5675" y="2384"/>
                </a:lnTo>
                <a:lnTo>
                  <a:pt x="5671" y="2376"/>
                </a:lnTo>
                <a:lnTo>
                  <a:pt x="5662" y="2359"/>
                </a:lnTo>
                <a:lnTo>
                  <a:pt x="5658" y="2359"/>
                </a:lnTo>
                <a:lnTo>
                  <a:pt x="5654" y="2359"/>
                </a:lnTo>
                <a:lnTo>
                  <a:pt x="5652" y="2375"/>
                </a:lnTo>
                <a:lnTo>
                  <a:pt x="5651" y="2388"/>
                </a:lnTo>
                <a:lnTo>
                  <a:pt x="5650" y="2400"/>
                </a:lnTo>
                <a:lnTo>
                  <a:pt x="5651" y="2413"/>
                </a:lnTo>
                <a:lnTo>
                  <a:pt x="5645" y="2416"/>
                </a:lnTo>
                <a:lnTo>
                  <a:pt x="5645" y="2424"/>
                </a:lnTo>
                <a:lnTo>
                  <a:pt x="5645" y="2431"/>
                </a:lnTo>
                <a:lnTo>
                  <a:pt x="5646" y="2438"/>
                </a:lnTo>
                <a:lnTo>
                  <a:pt x="5646" y="2445"/>
                </a:lnTo>
                <a:lnTo>
                  <a:pt x="5647" y="2452"/>
                </a:lnTo>
                <a:lnTo>
                  <a:pt x="5647" y="2459"/>
                </a:lnTo>
                <a:lnTo>
                  <a:pt x="5647" y="2467"/>
                </a:lnTo>
                <a:lnTo>
                  <a:pt x="5645" y="2475"/>
                </a:lnTo>
                <a:lnTo>
                  <a:pt x="5642" y="2476"/>
                </a:lnTo>
                <a:lnTo>
                  <a:pt x="5641" y="2477"/>
                </a:lnTo>
                <a:lnTo>
                  <a:pt x="5640" y="2477"/>
                </a:lnTo>
                <a:lnTo>
                  <a:pt x="5639" y="2479"/>
                </a:lnTo>
                <a:lnTo>
                  <a:pt x="5639" y="2481"/>
                </a:lnTo>
                <a:lnTo>
                  <a:pt x="5639" y="2484"/>
                </a:lnTo>
                <a:lnTo>
                  <a:pt x="5640" y="2488"/>
                </a:lnTo>
                <a:lnTo>
                  <a:pt x="5640" y="2492"/>
                </a:lnTo>
                <a:lnTo>
                  <a:pt x="5634" y="2497"/>
                </a:lnTo>
                <a:lnTo>
                  <a:pt x="5634" y="2500"/>
                </a:lnTo>
                <a:lnTo>
                  <a:pt x="5634" y="2503"/>
                </a:lnTo>
                <a:lnTo>
                  <a:pt x="5634" y="2506"/>
                </a:lnTo>
                <a:lnTo>
                  <a:pt x="5634" y="2507"/>
                </a:lnTo>
                <a:lnTo>
                  <a:pt x="5634" y="2508"/>
                </a:lnTo>
                <a:lnTo>
                  <a:pt x="5633" y="2509"/>
                </a:lnTo>
                <a:lnTo>
                  <a:pt x="5631" y="2509"/>
                </a:lnTo>
                <a:lnTo>
                  <a:pt x="5630" y="2509"/>
                </a:lnTo>
                <a:lnTo>
                  <a:pt x="5628" y="2511"/>
                </a:lnTo>
                <a:lnTo>
                  <a:pt x="5627" y="2511"/>
                </a:lnTo>
                <a:lnTo>
                  <a:pt x="5625" y="2511"/>
                </a:lnTo>
                <a:lnTo>
                  <a:pt x="5621" y="2511"/>
                </a:lnTo>
                <a:lnTo>
                  <a:pt x="5618" y="2512"/>
                </a:lnTo>
                <a:lnTo>
                  <a:pt x="5616" y="2512"/>
                </a:lnTo>
                <a:lnTo>
                  <a:pt x="5614" y="2511"/>
                </a:lnTo>
                <a:lnTo>
                  <a:pt x="5613" y="2510"/>
                </a:lnTo>
                <a:lnTo>
                  <a:pt x="5611" y="2508"/>
                </a:lnTo>
                <a:lnTo>
                  <a:pt x="5609" y="2503"/>
                </a:lnTo>
                <a:lnTo>
                  <a:pt x="5608" y="2498"/>
                </a:lnTo>
                <a:lnTo>
                  <a:pt x="5607" y="2496"/>
                </a:lnTo>
                <a:lnTo>
                  <a:pt x="5607" y="2495"/>
                </a:lnTo>
                <a:lnTo>
                  <a:pt x="5606" y="2494"/>
                </a:lnTo>
                <a:lnTo>
                  <a:pt x="5604" y="2494"/>
                </a:lnTo>
                <a:lnTo>
                  <a:pt x="5602" y="2494"/>
                </a:lnTo>
                <a:lnTo>
                  <a:pt x="5599" y="2494"/>
                </a:lnTo>
                <a:lnTo>
                  <a:pt x="5597" y="2494"/>
                </a:lnTo>
                <a:lnTo>
                  <a:pt x="5596" y="2494"/>
                </a:lnTo>
                <a:lnTo>
                  <a:pt x="5595" y="2493"/>
                </a:lnTo>
                <a:lnTo>
                  <a:pt x="5592" y="2490"/>
                </a:lnTo>
                <a:lnTo>
                  <a:pt x="5590" y="2487"/>
                </a:lnTo>
                <a:lnTo>
                  <a:pt x="5587" y="2483"/>
                </a:lnTo>
                <a:lnTo>
                  <a:pt x="5585" y="2480"/>
                </a:lnTo>
                <a:lnTo>
                  <a:pt x="5583" y="2477"/>
                </a:lnTo>
                <a:lnTo>
                  <a:pt x="5580" y="2474"/>
                </a:lnTo>
                <a:lnTo>
                  <a:pt x="5578" y="2472"/>
                </a:lnTo>
                <a:lnTo>
                  <a:pt x="5575" y="2470"/>
                </a:lnTo>
                <a:lnTo>
                  <a:pt x="5572" y="2470"/>
                </a:lnTo>
                <a:lnTo>
                  <a:pt x="5567" y="2469"/>
                </a:lnTo>
                <a:lnTo>
                  <a:pt x="5561" y="2468"/>
                </a:lnTo>
                <a:lnTo>
                  <a:pt x="5558" y="2468"/>
                </a:lnTo>
                <a:lnTo>
                  <a:pt x="5555" y="2466"/>
                </a:lnTo>
                <a:lnTo>
                  <a:pt x="5555" y="2461"/>
                </a:lnTo>
                <a:lnTo>
                  <a:pt x="5547" y="2456"/>
                </a:lnTo>
                <a:lnTo>
                  <a:pt x="5543" y="2455"/>
                </a:lnTo>
                <a:lnTo>
                  <a:pt x="5538" y="2452"/>
                </a:lnTo>
                <a:lnTo>
                  <a:pt x="5539" y="2447"/>
                </a:lnTo>
                <a:lnTo>
                  <a:pt x="5539" y="2442"/>
                </a:lnTo>
                <a:lnTo>
                  <a:pt x="5538" y="2432"/>
                </a:lnTo>
                <a:lnTo>
                  <a:pt x="5544" y="2430"/>
                </a:lnTo>
                <a:lnTo>
                  <a:pt x="5545" y="2424"/>
                </a:lnTo>
                <a:lnTo>
                  <a:pt x="5545" y="2419"/>
                </a:lnTo>
                <a:lnTo>
                  <a:pt x="5545" y="2417"/>
                </a:lnTo>
                <a:lnTo>
                  <a:pt x="5544" y="2415"/>
                </a:lnTo>
                <a:lnTo>
                  <a:pt x="5543" y="2414"/>
                </a:lnTo>
                <a:lnTo>
                  <a:pt x="5541" y="2413"/>
                </a:lnTo>
                <a:lnTo>
                  <a:pt x="5545" y="2412"/>
                </a:lnTo>
                <a:lnTo>
                  <a:pt x="5548" y="2412"/>
                </a:lnTo>
                <a:lnTo>
                  <a:pt x="5555" y="2413"/>
                </a:lnTo>
                <a:lnTo>
                  <a:pt x="5555" y="2408"/>
                </a:lnTo>
                <a:lnTo>
                  <a:pt x="5555" y="2404"/>
                </a:lnTo>
                <a:lnTo>
                  <a:pt x="5554" y="2403"/>
                </a:lnTo>
                <a:lnTo>
                  <a:pt x="5553" y="2403"/>
                </a:lnTo>
                <a:lnTo>
                  <a:pt x="5552" y="2402"/>
                </a:lnTo>
                <a:lnTo>
                  <a:pt x="5552" y="2400"/>
                </a:lnTo>
                <a:lnTo>
                  <a:pt x="5552" y="2399"/>
                </a:lnTo>
                <a:lnTo>
                  <a:pt x="5554" y="2398"/>
                </a:lnTo>
                <a:lnTo>
                  <a:pt x="5556" y="2397"/>
                </a:lnTo>
                <a:lnTo>
                  <a:pt x="5559" y="2395"/>
                </a:lnTo>
                <a:lnTo>
                  <a:pt x="5560" y="2394"/>
                </a:lnTo>
                <a:lnTo>
                  <a:pt x="5561" y="2393"/>
                </a:lnTo>
                <a:lnTo>
                  <a:pt x="5561" y="2391"/>
                </a:lnTo>
                <a:lnTo>
                  <a:pt x="5560" y="2388"/>
                </a:lnTo>
                <a:lnTo>
                  <a:pt x="5558" y="2382"/>
                </a:lnTo>
                <a:lnTo>
                  <a:pt x="5555" y="2383"/>
                </a:lnTo>
                <a:lnTo>
                  <a:pt x="5548" y="2386"/>
                </a:lnTo>
                <a:lnTo>
                  <a:pt x="5544" y="2387"/>
                </a:lnTo>
                <a:lnTo>
                  <a:pt x="5541" y="2382"/>
                </a:lnTo>
                <a:lnTo>
                  <a:pt x="5534" y="2382"/>
                </a:lnTo>
                <a:lnTo>
                  <a:pt x="5527" y="2382"/>
                </a:lnTo>
                <a:lnTo>
                  <a:pt x="5520" y="2381"/>
                </a:lnTo>
                <a:lnTo>
                  <a:pt x="5510" y="2379"/>
                </a:lnTo>
                <a:lnTo>
                  <a:pt x="5512" y="2379"/>
                </a:lnTo>
                <a:lnTo>
                  <a:pt x="5509" y="2378"/>
                </a:lnTo>
                <a:lnTo>
                  <a:pt x="5506" y="2378"/>
                </a:lnTo>
                <a:lnTo>
                  <a:pt x="5507" y="2379"/>
                </a:lnTo>
                <a:lnTo>
                  <a:pt x="5504" y="2377"/>
                </a:lnTo>
                <a:lnTo>
                  <a:pt x="5502" y="2375"/>
                </a:lnTo>
                <a:lnTo>
                  <a:pt x="5501" y="2373"/>
                </a:lnTo>
                <a:lnTo>
                  <a:pt x="5499" y="2371"/>
                </a:lnTo>
                <a:lnTo>
                  <a:pt x="5495" y="2373"/>
                </a:lnTo>
                <a:lnTo>
                  <a:pt x="5493" y="2375"/>
                </a:lnTo>
                <a:lnTo>
                  <a:pt x="5493" y="2376"/>
                </a:lnTo>
                <a:lnTo>
                  <a:pt x="5489" y="2375"/>
                </a:lnTo>
                <a:lnTo>
                  <a:pt x="5487" y="2374"/>
                </a:lnTo>
                <a:lnTo>
                  <a:pt x="5488" y="2373"/>
                </a:lnTo>
                <a:lnTo>
                  <a:pt x="5485" y="2372"/>
                </a:lnTo>
                <a:lnTo>
                  <a:pt x="5482" y="2369"/>
                </a:lnTo>
                <a:lnTo>
                  <a:pt x="5479" y="2366"/>
                </a:lnTo>
                <a:lnTo>
                  <a:pt x="5477" y="2365"/>
                </a:lnTo>
                <a:lnTo>
                  <a:pt x="5473" y="2364"/>
                </a:lnTo>
                <a:lnTo>
                  <a:pt x="5470" y="2364"/>
                </a:lnTo>
                <a:lnTo>
                  <a:pt x="5469" y="2364"/>
                </a:lnTo>
                <a:lnTo>
                  <a:pt x="5469" y="2365"/>
                </a:lnTo>
                <a:lnTo>
                  <a:pt x="5469" y="2366"/>
                </a:lnTo>
                <a:lnTo>
                  <a:pt x="5470" y="2368"/>
                </a:lnTo>
                <a:lnTo>
                  <a:pt x="5474" y="2371"/>
                </a:lnTo>
                <a:lnTo>
                  <a:pt x="5485" y="2378"/>
                </a:lnTo>
                <a:lnTo>
                  <a:pt x="5491" y="2382"/>
                </a:lnTo>
                <a:lnTo>
                  <a:pt x="5490" y="2384"/>
                </a:lnTo>
                <a:lnTo>
                  <a:pt x="5490" y="2387"/>
                </a:lnTo>
                <a:lnTo>
                  <a:pt x="5489" y="2388"/>
                </a:lnTo>
                <a:lnTo>
                  <a:pt x="5488" y="2389"/>
                </a:lnTo>
                <a:lnTo>
                  <a:pt x="5487" y="2389"/>
                </a:lnTo>
                <a:lnTo>
                  <a:pt x="5485" y="2387"/>
                </a:lnTo>
                <a:lnTo>
                  <a:pt x="5485" y="2393"/>
                </a:lnTo>
                <a:lnTo>
                  <a:pt x="5482" y="2393"/>
                </a:lnTo>
                <a:lnTo>
                  <a:pt x="5479" y="2392"/>
                </a:lnTo>
                <a:lnTo>
                  <a:pt x="5472" y="2389"/>
                </a:lnTo>
                <a:lnTo>
                  <a:pt x="5464" y="2386"/>
                </a:lnTo>
                <a:lnTo>
                  <a:pt x="5460" y="2385"/>
                </a:lnTo>
                <a:lnTo>
                  <a:pt x="5457" y="2385"/>
                </a:lnTo>
                <a:lnTo>
                  <a:pt x="5456" y="2386"/>
                </a:lnTo>
                <a:lnTo>
                  <a:pt x="5455" y="2389"/>
                </a:lnTo>
                <a:lnTo>
                  <a:pt x="5454" y="2393"/>
                </a:lnTo>
                <a:lnTo>
                  <a:pt x="5453" y="2393"/>
                </a:lnTo>
                <a:lnTo>
                  <a:pt x="5452" y="2393"/>
                </a:lnTo>
                <a:lnTo>
                  <a:pt x="5449" y="2391"/>
                </a:lnTo>
                <a:lnTo>
                  <a:pt x="5446" y="2387"/>
                </a:lnTo>
                <a:lnTo>
                  <a:pt x="5444" y="2395"/>
                </a:lnTo>
                <a:lnTo>
                  <a:pt x="5443" y="2398"/>
                </a:lnTo>
                <a:lnTo>
                  <a:pt x="5442" y="2402"/>
                </a:lnTo>
                <a:lnTo>
                  <a:pt x="5442" y="2405"/>
                </a:lnTo>
                <a:lnTo>
                  <a:pt x="5442" y="2408"/>
                </a:lnTo>
                <a:lnTo>
                  <a:pt x="5443" y="2411"/>
                </a:lnTo>
                <a:lnTo>
                  <a:pt x="5446" y="2413"/>
                </a:lnTo>
                <a:lnTo>
                  <a:pt x="5445" y="2413"/>
                </a:lnTo>
                <a:lnTo>
                  <a:pt x="5443" y="2413"/>
                </a:lnTo>
                <a:lnTo>
                  <a:pt x="5440" y="2413"/>
                </a:lnTo>
                <a:lnTo>
                  <a:pt x="5437" y="2412"/>
                </a:lnTo>
                <a:lnTo>
                  <a:pt x="5436" y="2412"/>
                </a:lnTo>
                <a:lnTo>
                  <a:pt x="5434" y="2413"/>
                </a:lnTo>
                <a:lnTo>
                  <a:pt x="5434" y="2415"/>
                </a:lnTo>
                <a:lnTo>
                  <a:pt x="5434" y="2419"/>
                </a:lnTo>
                <a:lnTo>
                  <a:pt x="5434" y="2427"/>
                </a:lnTo>
                <a:lnTo>
                  <a:pt x="5428" y="2429"/>
                </a:lnTo>
                <a:lnTo>
                  <a:pt x="5426" y="2430"/>
                </a:lnTo>
                <a:lnTo>
                  <a:pt x="5423" y="2432"/>
                </a:lnTo>
                <a:lnTo>
                  <a:pt x="5425" y="2436"/>
                </a:lnTo>
                <a:lnTo>
                  <a:pt x="5427" y="2439"/>
                </a:lnTo>
                <a:lnTo>
                  <a:pt x="5431" y="2444"/>
                </a:lnTo>
                <a:lnTo>
                  <a:pt x="5431" y="2445"/>
                </a:lnTo>
                <a:lnTo>
                  <a:pt x="5431" y="2446"/>
                </a:lnTo>
                <a:lnTo>
                  <a:pt x="5430" y="2446"/>
                </a:lnTo>
                <a:lnTo>
                  <a:pt x="5430" y="2447"/>
                </a:lnTo>
                <a:lnTo>
                  <a:pt x="5426" y="2448"/>
                </a:lnTo>
                <a:lnTo>
                  <a:pt x="5420" y="2449"/>
                </a:lnTo>
                <a:lnTo>
                  <a:pt x="5421" y="2449"/>
                </a:lnTo>
                <a:lnTo>
                  <a:pt x="5419" y="2448"/>
                </a:lnTo>
                <a:lnTo>
                  <a:pt x="5415" y="2446"/>
                </a:lnTo>
                <a:lnTo>
                  <a:pt x="5416" y="2445"/>
                </a:lnTo>
                <a:lnTo>
                  <a:pt x="5415" y="2444"/>
                </a:lnTo>
                <a:lnTo>
                  <a:pt x="5414" y="2444"/>
                </a:lnTo>
                <a:lnTo>
                  <a:pt x="5412" y="2444"/>
                </a:lnTo>
                <a:lnTo>
                  <a:pt x="5406" y="2444"/>
                </a:lnTo>
                <a:lnTo>
                  <a:pt x="5406" y="2446"/>
                </a:lnTo>
                <a:lnTo>
                  <a:pt x="5406" y="2449"/>
                </a:lnTo>
                <a:lnTo>
                  <a:pt x="5406" y="2455"/>
                </a:lnTo>
                <a:lnTo>
                  <a:pt x="5398" y="2458"/>
                </a:lnTo>
                <a:lnTo>
                  <a:pt x="5400" y="2448"/>
                </a:lnTo>
                <a:lnTo>
                  <a:pt x="5401" y="2445"/>
                </a:lnTo>
                <a:lnTo>
                  <a:pt x="5401" y="2442"/>
                </a:lnTo>
                <a:lnTo>
                  <a:pt x="5401" y="2440"/>
                </a:lnTo>
                <a:lnTo>
                  <a:pt x="5400" y="2439"/>
                </a:lnTo>
                <a:lnTo>
                  <a:pt x="5399" y="2436"/>
                </a:lnTo>
                <a:lnTo>
                  <a:pt x="5396" y="2433"/>
                </a:lnTo>
                <a:lnTo>
                  <a:pt x="5392" y="2430"/>
                </a:lnTo>
                <a:lnTo>
                  <a:pt x="5389" y="2421"/>
                </a:lnTo>
                <a:lnTo>
                  <a:pt x="5382" y="2423"/>
                </a:lnTo>
                <a:lnTo>
                  <a:pt x="5377" y="2424"/>
                </a:lnTo>
                <a:lnTo>
                  <a:pt x="5373" y="2424"/>
                </a:lnTo>
                <a:lnTo>
                  <a:pt x="5371" y="2424"/>
                </a:lnTo>
                <a:lnTo>
                  <a:pt x="5370" y="2426"/>
                </a:lnTo>
                <a:lnTo>
                  <a:pt x="5369" y="2428"/>
                </a:lnTo>
                <a:lnTo>
                  <a:pt x="5367" y="2438"/>
                </a:lnTo>
                <a:lnTo>
                  <a:pt x="5365" y="2437"/>
                </a:lnTo>
                <a:lnTo>
                  <a:pt x="5364" y="2435"/>
                </a:lnTo>
                <a:lnTo>
                  <a:pt x="5364" y="2432"/>
                </a:lnTo>
                <a:lnTo>
                  <a:pt x="5358" y="2432"/>
                </a:lnTo>
                <a:lnTo>
                  <a:pt x="5361" y="2438"/>
                </a:lnTo>
                <a:lnTo>
                  <a:pt x="5356" y="2438"/>
                </a:lnTo>
                <a:lnTo>
                  <a:pt x="5358" y="2444"/>
                </a:lnTo>
                <a:lnTo>
                  <a:pt x="5358" y="2448"/>
                </a:lnTo>
                <a:lnTo>
                  <a:pt x="5358" y="2449"/>
                </a:lnTo>
                <a:lnTo>
                  <a:pt x="5356" y="2449"/>
                </a:lnTo>
                <a:lnTo>
                  <a:pt x="5354" y="2449"/>
                </a:lnTo>
                <a:lnTo>
                  <a:pt x="5352" y="2449"/>
                </a:lnTo>
                <a:lnTo>
                  <a:pt x="5350" y="2449"/>
                </a:lnTo>
                <a:lnTo>
                  <a:pt x="5352" y="2453"/>
                </a:lnTo>
                <a:lnTo>
                  <a:pt x="5354" y="2456"/>
                </a:lnTo>
                <a:lnTo>
                  <a:pt x="5353" y="2457"/>
                </a:lnTo>
                <a:lnTo>
                  <a:pt x="5353" y="2458"/>
                </a:lnTo>
                <a:lnTo>
                  <a:pt x="5352" y="2458"/>
                </a:lnTo>
                <a:lnTo>
                  <a:pt x="5351" y="2457"/>
                </a:lnTo>
                <a:lnTo>
                  <a:pt x="5348" y="2455"/>
                </a:lnTo>
                <a:lnTo>
                  <a:pt x="5344" y="2452"/>
                </a:lnTo>
                <a:lnTo>
                  <a:pt x="5344" y="2453"/>
                </a:lnTo>
                <a:lnTo>
                  <a:pt x="5343" y="2454"/>
                </a:lnTo>
                <a:lnTo>
                  <a:pt x="5341" y="2456"/>
                </a:lnTo>
                <a:lnTo>
                  <a:pt x="5340" y="2457"/>
                </a:lnTo>
                <a:lnTo>
                  <a:pt x="5339" y="2458"/>
                </a:lnTo>
                <a:lnTo>
                  <a:pt x="5338" y="2461"/>
                </a:lnTo>
                <a:lnTo>
                  <a:pt x="5338" y="2465"/>
                </a:lnTo>
                <a:lnTo>
                  <a:pt x="5339" y="2469"/>
                </a:lnTo>
                <a:lnTo>
                  <a:pt x="5339" y="2475"/>
                </a:lnTo>
                <a:lnTo>
                  <a:pt x="5336" y="2472"/>
                </a:lnTo>
                <a:lnTo>
                  <a:pt x="5327" y="2468"/>
                </a:lnTo>
                <a:lnTo>
                  <a:pt x="5325" y="2469"/>
                </a:lnTo>
                <a:lnTo>
                  <a:pt x="5323" y="2470"/>
                </a:lnTo>
                <a:lnTo>
                  <a:pt x="5322" y="2472"/>
                </a:lnTo>
                <a:lnTo>
                  <a:pt x="5322" y="2489"/>
                </a:lnTo>
                <a:lnTo>
                  <a:pt x="5325" y="2488"/>
                </a:lnTo>
                <a:lnTo>
                  <a:pt x="5326" y="2489"/>
                </a:lnTo>
                <a:lnTo>
                  <a:pt x="5326" y="2490"/>
                </a:lnTo>
                <a:lnTo>
                  <a:pt x="5325" y="2493"/>
                </a:lnTo>
                <a:lnTo>
                  <a:pt x="5323" y="2498"/>
                </a:lnTo>
                <a:lnTo>
                  <a:pt x="5322" y="2500"/>
                </a:lnTo>
                <a:lnTo>
                  <a:pt x="5318" y="2496"/>
                </a:lnTo>
                <a:lnTo>
                  <a:pt x="5315" y="2493"/>
                </a:lnTo>
                <a:lnTo>
                  <a:pt x="5313" y="2492"/>
                </a:lnTo>
                <a:lnTo>
                  <a:pt x="5311" y="2485"/>
                </a:lnTo>
                <a:lnTo>
                  <a:pt x="5310" y="2482"/>
                </a:lnTo>
                <a:lnTo>
                  <a:pt x="5310" y="2480"/>
                </a:lnTo>
                <a:lnTo>
                  <a:pt x="5310" y="2481"/>
                </a:lnTo>
                <a:lnTo>
                  <a:pt x="5308" y="2483"/>
                </a:lnTo>
                <a:lnTo>
                  <a:pt x="5305" y="2486"/>
                </a:lnTo>
                <a:lnTo>
                  <a:pt x="5299" y="2489"/>
                </a:lnTo>
                <a:lnTo>
                  <a:pt x="5298" y="2498"/>
                </a:lnTo>
                <a:lnTo>
                  <a:pt x="5296" y="2508"/>
                </a:lnTo>
                <a:lnTo>
                  <a:pt x="5296" y="2513"/>
                </a:lnTo>
                <a:lnTo>
                  <a:pt x="5296" y="2516"/>
                </a:lnTo>
                <a:lnTo>
                  <a:pt x="5297" y="2519"/>
                </a:lnTo>
                <a:lnTo>
                  <a:pt x="5298" y="2519"/>
                </a:lnTo>
                <a:lnTo>
                  <a:pt x="5299" y="2520"/>
                </a:lnTo>
                <a:lnTo>
                  <a:pt x="5295" y="2523"/>
                </a:lnTo>
                <a:lnTo>
                  <a:pt x="5290" y="2526"/>
                </a:lnTo>
                <a:lnTo>
                  <a:pt x="5286" y="2530"/>
                </a:lnTo>
                <a:lnTo>
                  <a:pt x="5282" y="2534"/>
                </a:lnTo>
                <a:lnTo>
                  <a:pt x="5282" y="2535"/>
                </a:lnTo>
                <a:lnTo>
                  <a:pt x="5282" y="2536"/>
                </a:lnTo>
                <a:lnTo>
                  <a:pt x="5281" y="2540"/>
                </a:lnTo>
                <a:lnTo>
                  <a:pt x="5281" y="2543"/>
                </a:lnTo>
                <a:lnTo>
                  <a:pt x="5280" y="2544"/>
                </a:lnTo>
                <a:lnTo>
                  <a:pt x="5280" y="2545"/>
                </a:lnTo>
                <a:lnTo>
                  <a:pt x="5276" y="2547"/>
                </a:lnTo>
                <a:lnTo>
                  <a:pt x="5273" y="2549"/>
                </a:lnTo>
                <a:lnTo>
                  <a:pt x="5269" y="2550"/>
                </a:lnTo>
                <a:lnTo>
                  <a:pt x="5265" y="2550"/>
                </a:lnTo>
                <a:lnTo>
                  <a:pt x="5257" y="2551"/>
                </a:lnTo>
                <a:lnTo>
                  <a:pt x="5253" y="2552"/>
                </a:lnTo>
                <a:lnTo>
                  <a:pt x="5249" y="2553"/>
                </a:lnTo>
                <a:lnTo>
                  <a:pt x="5246" y="2559"/>
                </a:lnTo>
                <a:lnTo>
                  <a:pt x="5242" y="2559"/>
                </a:lnTo>
                <a:lnTo>
                  <a:pt x="5241" y="2558"/>
                </a:lnTo>
                <a:lnTo>
                  <a:pt x="5241" y="2557"/>
                </a:lnTo>
                <a:lnTo>
                  <a:pt x="5239" y="2556"/>
                </a:lnTo>
                <a:lnTo>
                  <a:pt x="5237" y="2556"/>
                </a:lnTo>
                <a:lnTo>
                  <a:pt x="5236" y="2557"/>
                </a:lnTo>
                <a:lnTo>
                  <a:pt x="5235" y="2559"/>
                </a:lnTo>
                <a:lnTo>
                  <a:pt x="5233" y="2563"/>
                </a:lnTo>
                <a:lnTo>
                  <a:pt x="5231" y="2568"/>
                </a:lnTo>
                <a:lnTo>
                  <a:pt x="5230" y="2569"/>
                </a:lnTo>
                <a:lnTo>
                  <a:pt x="5229" y="2570"/>
                </a:lnTo>
                <a:lnTo>
                  <a:pt x="5228" y="2571"/>
                </a:lnTo>
                <a:lnTo>
                  <a:pt x="5226" y="2571"/>
                </a:lnTo>
                <a:lnTo>
                  <a:pt x="5223" y="2570"/>
                </a:lnTo>
                <a:lnTo>
                  <a:pt x="5220" y="2570"/>
                </a:lnTo>
                <a:lnTo>
                  <a:pt x="5218" y="2570"/>
                </a:lnTo>
                <a:lnTo>
                  <a:pt x="5215" y="2576"/>
                </a:lnTo>
                <a:lnTo>
                  <a:pt x="5210" y="2576"/>
                </a:lnTo>
                <a:lnTo>
                  <a:pt x="5205" y="2575"/>
                </a:lnTo>
                <a:lnTo>
                  <a:pt x="5201" y="2573"/>
                </a:lnTo>
                <a:lnTo>
                  <a:pt x="5199" y="2573"/>
                </a:lnTo>
                <a:lnTo>
                  <a:pt x="5198" y="2573"/>
                </a:lnTo>
                <a:lnTo>
                  <a:pt x="5197" y="2575"/>
                </a:lnTo>
                <a:lnTo>
                  <a:pt x="5196" y="2577"/>
                </a:lnTo>
                <a:lnTo>
                  <a:pt x="5196" y="2580"/>
                </a:lnTo>
                <a:lnTo>
                  <a:pt x="5195" y="2582"/>
                </a:lnTo>
                <a:lnTo>
                  <a:pt x="5193" y="2582"/>
                </a:lnTo>
                <a:lnTo>
                  <a:pt x="5190" y="2582"/>
                </a:lnTo>
                <a:lnTo>
                  <a:pt x="5187" y="2581"/>
                </a:lnTo>
                <a:lnTo>
                  <a:pt x="5184" y="2582"/>
                </a:lnTo>
                <a:lnTo>
                  <a:pt x="5184" y="2584"/>
                </a:lnTo>
                <a:lnTo>
                  <a:pt x="5180" y="2586"/>
                </a:lnTo>
                <a:lnTo>
                  <a:pt x="5177" y="2589"/>
                </a:lnTo>
                <a:lnTo>
                  <a:pt x="5171" y="2595"/>
                </a:lnTo>
                <a:lnTo>
                  <a:pt x="5165" y="2602"/>
                </a:lnTo>
                <a:lnTo>
                  <a:pt x="5162" y="2605"/>
                </a:lnTo>
                <a:lnTo>
                  <a:pt x="5159" y="2608"/>
                </a:lnTo>
                <a:lnTo>
                  <a:pt x="5150" y="2613"/>
                </a:lnTo>
                <a:lnTo>
                  <a:pt x="5151" y="2614"/>
                </a:lnTo>
                <a:lnTo>
                  <a:pt x="5149" y="2615"/>
                </a:lnTo>
                <a:lnTo>
                  <a:pt x="5145" y="2616"/>
                </a:lnTo>
                <a:lnTo>
                  <a:pt x="5147" y="2608"/>
                </a:lnTo>
                <a:lnTo>
                  <a:pt x="5145" y="2610"/>
                </a:lnTo>
                <a:lnTo>
                  <a:pt x="5143" y="2611"/>
                </a:lnTo>
                <a:lnTo>
                  <a:pt x="5142" y="2611"/>
                </a:lnTo>
                <a:lnTo>
                  <a:pt x="5143" y="2611"/>
                </a:lnTo>
                <a:lnTo>
                  <a:pt x="5143" y="2612"/>
                </a:lnTo>
                <a:lnTo>
                  <a:pt x="5142" y="2615"/>
                </a:lnTo>
                <a:lnTo>
                  <a:pt x="5139" y="2619"/>
                </a:lnTo>
                <a:lnTo>
                  <a:pt x="5139" y="2622"/>
                </a:lnTo>
                <a:lnTo>
                  <a:pt x="5140" y="2625"/>
                </a:lnTo>
                <a:lnTo>
                  <a:pt x="5141" y="2632"/>
                </a:lnTo>
                <a:lnTo>
                  <a:pt x="5143" y="2640"/>
                </a:lnTo>
                <a:lnTo>
                  <a:pt x="5143" y="2643"/>
                </a:lnTo>
                <a:lnTo>
                  <a:pt x="5142" y="2647"/>
                </a:lnTo>
                <a:lnTo>
                  <a:pt x="5141" y="2648"/>
                </a:lnTo>
                <a:lnTo>
                  <a:pt x="5140" y="2649"/>
                </a:lnTo>
                <a:lnTo>
                  <a:pt x="5136" y="2652"/>
                </a:lnTo>
                <a:lnTo>
                  <a:pt x="5133" y="2654"/>
                </a:lnTo>
                <a:lnTo>
                  <a:pt x="5131" y="2655"/>
                </a:lnTo>
                <a:lnTo>
                  <a:pt x="5131" y="2656"/>
                </a:lnTo>
                <a:lnTo>
                  <a:pt x="5131" y="2658"/>
                </a:lnTo>
                <a:lnTo>
                  <a:pt x="5132" y="2662"/>
                </a:lnTo>
                <a:lnTo>
                  <a:pt x="5134" y="2664"/>
                </a:lnTo>
                <a:lnTo>
                  <a:pt x="5135" y="2665"/>
                </a:lnTo>
                <a:lnTo>
                  <a:pt x="5136" y="2664"/>
                </a:lnTo>
                <a:lnTo>
                  <a:pt x="5136" y="2667"/>
                </a:lnTo>
                <a:lnTo>
                  <a:pt x="5139" y="2669"/>
                </a:lnTo>
                <a:lnTo>
                  <a:pt x="5141" y="2671"/>
                </a:lnTo>
                <a:lnTo>
                  <a:pt x="5144" y="2678"/>
                </a:lnTo>
                <a:lnTo>
                  <a:pt x="5146" y="2686"/>
                </a:lnTo>
                <a:lnTo>
                  <a:pt x="5147" y="2692"/>
                </a:lnTo>
                <a:lnTo>
                  <a:pt x="5147" y="2699"/>
                </a:lnTo>
                <a:lnTo>
                  <a:pt x="5147" y="2706"/>
                </a:lnTo>
                <a:lnTo>
                  <a:pt x="5145" y="2705"/>
                </a:lnTo>
                <a:lnTo>
                  <a:pt x="5144" y="2704"/>
                </a:lnTo>
                <a:lnTo>
                  <a:pt x="5139" y="2704"/>
                </a:lnTo>
                <a:lnTo>
                  <a:pt x="5139" y="2699"/>
                </a:lnTo>
                <a:lnTo>
                  <a:pt x="5139" y="2695"/>
                </a:lnTo>
                <a:lnTo>
                  <a:pt x="5138" y="2695"/>
                </a:lnTo>
                <a:lnTo>
                  <a:pt x="5137" y="2695"/>
                </a:lnTo>
                <a:lnTo>
                  <a:pt x="5136" y="2696"/>
                </a:lnTo>
                <a:lnTo>
                  <a:pt x="5136" y="2698"/>
                </a:lnTo>
                <a:lnTo>
                  <a:pt x="5136" y="2704"/>
                </a:lnTo>
                <a:lnTo>
                  <a:pt x="5145" y="2711"/>
                </a:lnTo>
                <a:lnTo>
                  <a:pt x="5147" y="2713"/>
                </a:lnTo>
                <a:lnTo>
                  <a:pt x="5148" y="2715"/>
                </a:lnTo>
                <a:lnTo>
                  <a:pt x="5149" y="2716"/>
                </a:lnTo>
                <a:lnTo>
                  <a:pt x="5149" y="2717"/>
                </a:lnTo>
                <a:lnTo>
                  <a:pt x="5146" y="2717"/>
                </a:lnTo>
                <a:lnTo>
                  <a:pt x="5138" y="2714"/>
                </a:lnTo>
                <a:lnTo>
                  <a:pt x="5133" y="2712"/>
                </a:lnTo>
                <a:lnTo>
                  <a:pt x="5133" y="2718"/>
                </a:lnTo>
                <a:lnTo>
                  <a:pt x="5135" y="2719"/>
                </a:lnTo>
                <a:lnTo>
                  <a:pt x="5137" y="2721"/>
                </a:lnTo>
                <a:lnTo>
                  <a:pt x="5143" y="2725"/>
                </a:lnTo>
                <a:lnTo>
                  <a:pt x="5147" y="2730"/>
                </a:lnTo>
                <a:lnTo>
                  <a:pt x="5149" y="2732"/>
                </a:lnTo>
                <a:lnTo>
                  <a:pt x="5150" y="2734"/>
                </a:lnTo>
                <a:lnTo>
                  <a:pt x="5151" y="2736"/>
                </a:lnTo>
                <a:lnTo>
                  <a:pt x="5151" y="2738"/>
                </a:lnTo>
                <a:lnTo>
                  <a:pt x="5150" y="2743"/>
                </a:lnTo>
                <a:lnTo>
                  <a:pt x="5150" y="2747"/>
                </a:lnTo>
                <a:lnTo>
                  <a:pt x="5150" y="2751"/>
                </a:lnTo>
                <a:lnTo>
                  <a:pt x="5151" y="2752"/>
                </a:lnTo>
                <a:lnTo>
                  <a:pt x="5152" y="2754"/>
                </a:lnTo>
                <a:lnTo>
                  <a:pt x="5156" y="2756"/>
                </a:lnTo>
                <a:lnTo>
                  <a:pt x="5159" y="2758"/>
                </a:lnTo>
                <a:lnTo>
                  <a:pt x="5162" y="2760"/>
                </a:lnTo>
                <a:close/>
                <a:moveTo>
                  <a:pt x="2939" y="755"/>
                </a:moveTo>
                <a:lnTo>
                  <a:pt x="2940" y="753"/>
                </a:lnTo>
                <a:lnTo>
                  <a:pt x="2942" y="751"/>
                </a:lnTo>
                <a:lnTo>
                  <a:pt x="2943" y="748"/>
                </a:lnTo>
                <a:lnTo>
                  <a:pt x="2944" y="746"/>
                </a:lnTo>
                <a:lnTo>
                  <a:pt x="2944" y="743"/>
                </a:lnTo>
                <a:lnTo>
                  <a:pt x="2944" y="741"/>
                </a:lnTo>
                <a:lnTo>
                  <a:pt x="2943" y="740"/>
                </a:lnTo>
                <a:lnTo>
                  <a:pt x="2942" y="739"/>
                </a:lnTo>
                <a:lnTo>
                  <a:pt x="2940" y="738"/>
                </a:lnTo>
                <a:lnTo>
                  <a:pt x="2939" y="738"/>
                </a:lnTo>
                <a:lnTo>
                  <a:pt x="2933" y="746"/>
                </a:lnTo>
                <a:lnTo>
                  <a:pt x="2934" y="745"/>
                </a:lnTo>
                <a:lnTo>
                  <a:pt x="2933" y="745"/>
                </a:lnTo>
                <a:lnTo>
                  <a:pt x="2932" y="744"/>
                </a:lnTo>
                <a:lnTo>
                  <a:pt x="2929" y="744"/>
                </a:lnTo>
                <a:lnTo>
                  <a:pt x="2924" y="743"/>
                </a:lnTo>
                <a:lnTo>
                  <a:pt x="2922" y="743"/>
                </a:lnTo>
                <a:lnTo>
                  <a:pt x="2922" y="748"/>
                </a:lnTo>
                <a:lnTo>
                  <a:pt x="2922" y="752"/>
                </a:lnTo>
                <a:lnTo>
                  <a:pt x="2919" y="753"/>
                </a:lnTo>
                <a:lnTo>
                  <a:pt x="2917" y="754"/>
                </a:lnTo>
                <a:lnTo>
                  <a:pt x="2916" y="754"/>
                </a:lnTo>
                <a:lnTo>
                  <a:pt x="2917" y="754"/>
                </a:lnTo>
                <a:lnTo>
                  <a:pt x="2922" y="755"/>
                </a:lnTo>
                <a:lnTo>
                  <a:pt x="2922" y="760"/>
                </a:lnTo>
                <a:lnTo>
                  <a:pt x="2916" y="760"/>
                </a:lnTo>
                <a:lnTo>
                  <a:pt x="2915" y="761"/>
                </a:lnTo>
                <a:lnTo>
                  <a:pt x="2914" y="763"/>
                </a:lnTo>
                <a:lnTo>
                  <a:pt x="2914" y="765"/>
                </a:lnTo>
                <a:lnTo>
                  <a:pt x="2912" y="767"/>
                </a:lnTo>
                <a:lnTo>
                  <a:pt x="2911" y="770"/>
                </a:lnTo>
                <a:lnTo>
                  <a:pt x="2908" y="771"/>
                </a:lnTo>
                <a:lnTo>
                  <a:pt x="2906" y="772"/>
                </a:lnTo>
                <a:lnTo>
                  <a:pt x="2904" y="772"/>
                </a:lnTo>
                <a:lnTo>
                  <a:pt x="2902" y="772"/>
                </a:lnTo>
                <a:lnTo>
                  <a:pt x="2899" y="772"/>
                </a:lnTo>
                <a:lnTo>
                  <a:pt x="2897" y="769"/>
                </a:lnTo>
                <a:lnTo>
                  <a:pt x="2895" y="767"/>
                </a:lnTo>
                <a:lnTo>
                  <a:pt x="2894" y="766"/>
                </a:lnTo>
                <a:lnTo>
                  <a:pt x="2894" y="768"/>
                </a:lnTo>
                <a:lnTo>
                  <a:pt x="2894" y="771"/>
                </a:lnTo>
                <a:lnTo>
                  <a:pt x="2894" y="777"/>
                </a:lnTo>
                <a:lnTo>
                  <a:pt x="2896" y="776"/>
                </a:lnTo>
                <a:lnTo>
                  <a:pt x="2898" y="777"/>
                </a:lnTo>
                <a:lnTo>
                  <a:pt x="2899" y="778"/>
                </a:lnTo>
                <a:lnTo>
                  <a:pt x="2899" y="779"/>
                </a:lnTo>
                <a:lnTo>
                  <a:pt x="2898" y="783"/>
                </a:lnTo>
                <a:lnTo>
                  <a:pt x="2898" y="784"/>
                </a:lnTo>
                <a:lnTo>
                  <a:pt x="2899" y="785"/>
                </a:lnTo>
                <a:lnTo>
                  <a:pt x="2899" y="786"/>
                </a:lnTo>
                <a:lnTo>
                  <a:pt x="2893" y="785"/>
                </a:lnTo>
                <a:lnTo>
                  <a:pt x="2890" y="785"/>
                </a:lnTo>
                <a:lnTo>
                  <a:pt x="2888" y="786"/>
                </a:lnTo>
                <a:lnTo>
                  <a:pt x="2888" y="788"/>
                </a:lnTo>
                <a:lnTo>
                  <a:pt x="2888" y="789"/>
                </a:lnTo>
                <a:lnTo>
                  <a:pt x="2887" y="790"/>
                </a:lnTo>
                <a:lnTo>
                  <a:pt x="2885" y="791"/>
                </a:lnTo>
                <a:lnTo>
                  <a:pt x="2887" y="795"/>
                </a:lnTo>
                <a:lnTo>
                  <a:pt x="2889" y="798"/>
                </a:lnTo>
                <a:lnTo>
                  <a:pt x="2891" y="800"/>
                </a:lnTo>
                <a:lnTo>
                  <a:pt x="2896" y="800"/>
                </a:lnTo>
                <a:lnTo>
                  <a:pt x="2905" y="800"/>
                </a:lnTo>
                <a:lnTo>
                  <a:pt x="2897" y="816"/>
                </a:lnTo>
                <a:lnTo>
                  <a:pt x="2894" y="824"/>
                </a:lnTo>
                <a:lnTo>
                  <a:pt x="2891" y="833"/>
                </a:lnTo>
                <a:lnTo>
                  <a:pt x="2888" y="834"/>
                </a:lnTo>
                <a:lnTo>
                  <a:pt x="2886" y="833"/>
                </a:lnTo>
                <a:lnTo>
                  <a:pt x="2883" y="833"/>
                </a:lnTo>
                <a:lnTo>
                  <a:pt x="2883" y="834"/>
                </a:lnTo>
                <a:lnTo>
                  <a:pt x="2885" y="839"/>
                </a:lnTo>
                <a:lnTo>
                  <a:pt x="2887" y="843"/>
                </a:lnTo>
                <a:lnTo>
                  <a:pt x="2887" y="844"/>
                </a:lnTo>
                <a:lnTo>
                  <a:pt x="2889" y="844"/>
                </a:lnTo>
                <a:lnTo>
                  <a:pt x="2894" y="845"/>
                </a:lnTo>
                <a:lnTo>
                  <a:pt x="2892" y="848"/>
                </a:lnTo>
                <a:lnTo>
                  <a:pt x="2891" y="849"/>
                </a:lnTo>
                <a:lnTo>
                  <a:pt x="2891" y="850"/>
                </a:lnTo>
                <a:lnTo>
                  <a:pt x="2896" y="850"/>
                </a:lnTo>
                <a:lnTo>
                  <a:pt x="2896" y="847"/>
                </a:lnTo>
                <a:lnTo>
                  <a:pt x="2898" y="848"/>
                </a:lnTo>
                <a:lnTo>
                  <a:pt x="2899" y="847"/>
                </a:lnTo>
                <a:lnTo>
                  <a:pt x="2900" y="846"/>
                </a:lnTo>
                <a:lnTo>
                  <a:pt x="2900" y="845"/>
                </a:lnTo>
                <a:lnTo>
                  <a:pt x="2901" y="844"/>
                </a:lnTo>
                <a:lnTo>
                  <a:pt x="2902" y="844"/>
                </a:lnTo>
                <a:lnTo>
                  <a:pt x="2905" y="845"/>
                </a:lnTo>
                <a:lnTo>
                  <a:pt x="2906" y="846"/>
                </a:lnTo>
                <a:lnTo>
                  <a:pt x="2906" y="849"/>
                </a:lnTo>
                <a:lnTo>
                  <a:pt x="2907" y="850"/>
                </a:lnTo>
                <a:lnTo>
                  <a:pt x="2908" y="851"/>
                </a:lnTo>
                <a:lnTo>
                  <a:pt x="2910" y="851"/>
                </a:lnTo>
                <a:lnTo>
                  <a:pt x="2913" y="850"/>
                </a:lnTo>
                <a:lnTo>
                  <a:pt x="2913" y="847"/>
                </a:lnTo>
                <a:lnTo>
                  <a:pt x="2915" y="846"/>
                </a:lnTo>
                <a:lnTo>
                  <a:pt x="2918" y="843"/>
                </a:lnTo>
                <a:lnTo>
                  <a:pt x="2922" y="839"/>
                </a:lnTo>
                <a:lnTo>
                  <a:pt x="2924" y="839"/>
                </a:lnTo>
                <a:lnTo>
                  <a:pt x="2927" y="839"/>
                </a:lnTo>
                <a:lnTo>
                  <a:pt x="2930" y="840"/>
                </a:lnTo>
                <a:lnTo>
                  <a:pt x="2932" y="839"/>
                </a:lnTo>
                <a:lnTo>
                  <a:pt x="2933" y="839"/>
                </a:lnTo>
                <a:lnTo>
                  <a:pt x="2933" y="835"/>
                </a:lnTo>
                <a:lnTo>
                  <a:pt x="2933" y="831"/>
                </a:lnTo>
                <a:lnTo>
                  <a:pt x="2935" y="830"/>
                </a:lnTo>
                <a:lnTo>
                  <a:pt x="2937" y="830"/>
                </a:lnTo>
                <a:lnTo>
                  <a:pt x="2941" y="831"/>
                </a:lnTo>
                <a:lnTo>
                  <a:pt x="2941" y="825"/>
                </a:lnTo>
                <a:lnTo>
                  <a:pt x="2942" y="825"/>
                </a:lnTo>
                <a:lnTo>
                  <a:pt x="2943" y="826"/>
                </a:lnTo>
                <a:lnTo>
                  <a:pt x="2945" y="827"/>
                </a:lnTo>
                <a:lnTo>
                  <a:pt x="2946" y="828"/>
                </a:lnTo>
                <a:lnTo>
                  <a:pt x="2947" y="829"/>
                </a:lnTo>
                <a:lnTo>
                  <a:pt x="2948" y="829"/>
                </a:lnTo>
                <a:lnTo>
                  <a:pt x="2950" y="828"/>
                </a:lnTo>
                <a:lnTo>
                  <a:pt x="2951" y="827"/>
                </a:lnTo>
                <a:lnTo>
                  <a:pt x="2950" y="826"/>
                </a:lnTo>
                <a:lnTo>
                  <a:pt x="2948" y="825"/>
                </a:lnTo>
                <a:lnTo>
                  <a:pt x="2946" y="824"/>
                </a:lnTo>
                <a:lnTo>
                  <a:pt x="2946" y="823"/>
                </a:lnTo>
                <a:lnTo>
                  <a:pt x="2947" y="822"/>
                </a:lnTo>
                <a:lnTo>
                  <a:pt x="2951" y="819"/>
                </a:lnTo>
                <a:lnTo>
                  <a:pt x="2952" y="818"/>
                </a:lnTo>
                <a:lnTo>
                  <a:pt x="2952" y="816"/>
                </a:lnTo>
                <a:lnTo>
                  <a:pt x="2953" y="814"/>
                </a:lnTo>
                <a:lnTo>
                  <a:pt x="2953" y="813"/>
                </a:lnTo>
                <a:lnTo>
                  <a:pt x="2952" y="809"/>
                </a:lnTo>
                <a:lnTo>
                  <a:pt x="2949" y="803"/>
                </a:lnTo>
                <a:lnTo>
                  <a:pt x="2948" y="800"/>
                </a:lnTo>
                <a:lnTo>
                  <a:pt x="2947" y="797"/>
                </a:lnTo>
                <a:lnTo>
                  <a:pt x="2947" y="794"/>
                </a:lnTo>
                <a:lnTo>
                  <a:pt x="2948" y="790"/>
                </a:lnTo>
                <a:lnTo>
                  <a:pt x="2949" y="785"/>
                </a:lnTo>
                <a:lnTo>
                  <a:pt x="2950" y="780"/>
                </a:lnTo>
                <a:lnTo>
                  <a:pt x="2952" y="778"/>
                </a:lnTo>
                <a:lnTo>
                  <a:pt x="2954" y="776"/>
                </a:lnTo>
                <a:lnTo>
                  <a:pt x="2956" y="773"/>
                </a:lnTo>
                <a:lnTo>
                  <a:pt x="2958" y="772"/>
                </a:lnTo>
                <a:lnTo>
                  <a:pt x="2961" y="771"/>
                </a:lnTo>
                <a:lnTo>
                  <a:pt x="2964" y="772"/>
                </a:lnTo>
                <a:lnTo>
                  <a:pt x="2967" y="772"/>
                </a:lnTo>
                <a:lnTo>
                  <a:pt x="2968" y="772"/>
                </a:lnTo>
                <a:lnTo>
                  <a:pt x="2969" y="772"/>
                </a:lnTo>
                <a:lnTo>
                  <a:pt x="2968" y="769"/>
                </a:lnTo>
                <a:lnTo>
                  <a:pt x="2967" y="769"/>
                </a:lnTo>
                <a:lnTo>
                  <a:pt x="2964" y="769"/>
                </a:lnTo>
                <a:lnTo>
                  <a:pt x="2964" y="763"/>
                </a:lnTo>
                <a:lnTo>
                  <a:pt x="2964" y="757"/>
                </a:lnTo>
                <a:lnTo>
                  <a:pt x="2958" y="757"/>
                </a:lnTo>
                <a:lnTo>
                  <a:pt x="2958" y="756"/>
                </a:lnTo>
                <a:lnTo>
                  <a:pt x="2959" y="754"/>
                </a:lnTo>
                <a:lnTo>
                  <a:pt x="2960" y="752"/>
                </a:lnTo>
                <a:lnTo>
                  <a:pt x="2961" y="750"/>
                </a:lnTo>
                <a:lnTo>
                  <a:pt x="2962" y="748"/>
                </a:lnTo>
                <a:lnTo>
                  <a:pt x="2960" y="747"/>
                </a:lnTo>
                <a:lnTo>
                  <a:pt x="2958" y="746"/>
                </a:lnTo>
                <a:lnTo>
                  <a:pt x="2953" y="746"/>
                </a:lnTo>
                <a:lnTo>
                  <a:pt x="2950" y="747"/>
                </a:lnTo>
                <a:lnTo>
                  <a:pt x="2946" y="750"/>
                </a:lnTo>
                <a:lnTo>
                  <a:pt x="2942" y="753"/>
                </a:lnTo>
                <a:lnTo>
                  <a:pt x="2939" y="755"/>
                </a:lnTo>
                <a:close/>
                <a:moveTo>
                  <a:pt x="6203" y="3069"/>
                </a:moveTo>
                <a:lnTo>
                  <a:pt x="6201" y="3071"/>
                </a:lnTo>
                <a:lnTo>
                  <a:pt x="6199" y="3074"/>
                </a:lnTo>
                <a:lnTo>
                  <a:pt x="6195" y="3078"/>
                </a:lnTo>
                <a:lnTo>
                  <a:pt x="6194" y="3082"/>
                </a:lnTo>
                <a:lnTo>
                  <a:pt x="6195" y="3088"/>
                </a:lnTo>
                <a:lnTo>
                  <a:pt x="6195" y="3093"/>
                </a:lnTo>
                <a:lnTo>
                  <a:pt x="6195" y="3095"/>
                </a:lnTo>
                <a:lnTo>
                  <a:pt x="6195" y="3097"/>
                </a:lnTo>
                <a:lnTo>
                  <a:pt x="6193" y="3099"/>
                </a:lnTo>
                <a:lnTo>
                  <a:pt x="6191" y="3100"/>
                </a:lnTo>
                <a:lnTo>
                  <a:pt x="6188" y="3102"/>
                </a:lnTo>
                <a:lnTo>
                  <a:pt x="6186" y="3103"/>
                </a:lnTo>
                <a:lnTo>
                  <a:pt x="6186" y="3104"/>
                </a:lnTo>
                <a:lnTo>
                  <a:pt x="6186" y="3105"/>
                </a:lnTo>
                <a:lnTo>
                  <a:pt x="6186" y="3107"/>
                </a:lnTo>
                <a:lnTo>
                  <a:pt x="6187" y="3109"/>
                </a:lnTo>
                <a:lnTo>
                  <a:pt x="6186" y="3111"/>
                </a:lnTo>
                <a:lnTo>
                  <a:pt x="6185" y="3112"/>
                </a:lnTo>
                <a:lnTo>
                  <a:pt x="6183" y="3113"/>
                </a:lnTo>
                <a:lnTo>
                  <a:pt x="6182" y="3113"/>
                </a:lnTo>
                <a:lnTo>
                  <a:pt x="6181" y="3114"/>
                </a:lnTo>
                <a:lnTo>
                  <a:pt x="6176" y="3126"/>
                </a:lnTo>
                <a:lnTo>
                  <a:pt x="6171" y="3137"/>
                </a:lnTo>
                <a:lnTo>
                  <a:pt x="6168" y="3142"/>
                </a:lnTo>
                <a:lnTo>
                  <a:pt x="6164" y="3146"/>
                </a:lnTo>
                <a:lnTo>
                  <a:pt x="6160" y="3150"/>
                </a:lnTo>
                <a:lnTo>
                  <a:pt x="6155" y="3154"/>
                </a:lnTo>
                <a:lnTo>
                  <a:pt x="6150" y="3156"/>
                </a:lnTo>
                <a:lnTo>
                  <a:pt x="6143" y="3158"/>
                </a:lnTo>
                <a:lnTo>
                  <a:pt x="6136" y="3160"/>
                </a:lnTo>
                <a:lnTo>
                  <a:pt x="6130" y="3162"/>
                </a:lnTo>
                <a:lnTo>
                  <a:pt x="6129" y="3164"/>
                </a:lnTo>
                <a:lnTo>
                  <a:pt x="6128" y="3166"/>
                </a:lnTo>
                <a:lnTo>
                  <a:pt x="6128" y="3168"/>
                </a:lnTo>
                <a:lnTo>
                  <a:pt x="6128" y="3169"/>
                </a:lnTo>
                <a:lnTo>
                  <a:pt x="6127" y="3171"/>
                </a:lnTo>
                <a:lnTo>
                  <a:pt x="6122" y="3171"/>
                </a:lnTo>
                <a:lnTo>
                  <a:pt x="6122" y="3176"/>
                </a:lnTo>
                <a:lnTo>
                  <a:pt x="6121" y="3177"/>
                </a:lnTo>
                <a:lnTo>
                  <a:pt x="6120" y="3177"/>
                </a:lnTo>
                <a:lnTo>
                  <a:pt x="6117" y="3176"/>
                </a:lnTo>
                <a:lnTo>
                  <a:pt x="6115" y="3176"/>
                </a:lnTo>
                <a:lnTo>
                  <a:pt x="6113" y="3176"/>
                </a:lnTo>
                <a:lnTo>
                  <a:pt x="6112" y="3177"/>
                </a:lnTo>
                <a:lnTo>
                  <a:pt x="6111" y="3178"/>
                </a:lnTo>
                <a:lnTo>
                  <a:pt x="6110" y="3178"/>
                </a:lnTo>
                <a:lnTo>
                  <a:pt x="6108" y="3182"/>
                </a:lnTo>
                <a:lnTo>
                  <a:pt x="6107" y="3186"/>
                </a:lnTo>
                <a:lnTo>
                  <a:pt x="6105" y="3190"/>
                </a:lnTo>
                <a:lnTo>
                  <a:pt x="6099" y="3190"/>
                </a:lnTo>
                <a:lnTo>
                  <a:pt x="6098" y="3199"/>
                </a:lnTo>
                <a:lnTo>
                  <a:pt x="6097" y="3203"/>
                </a:lnTo>
                <a:lnTo>
                  <a:pt x="6096" y="3207"/>
                </a:lnTo>
                <a:lnTo>
                  <a:pt x="6095" y="3207"/>
                </a:lnTo>
                <a:lnTo>
                  <a:pt x="6095" y="3208"/>
                </a:lnTo>
                <a:lnTo>
                  <a:pt x="6094" y="3211"/>
                </a:lnTo>
                <a:lnTo>
                  <a:pt x="6095" y="3215"/>
                </a:lnTo>
                <a:lnTo>
                  <a:pt x="6095" y="3217"/>
                </a:lnTo>
                <a:lnTo>
                  <a:pt x="6096" y="3218"/>
                </a:lnTo>
                <a:lnTo>
                  <a:pt x="6099" y="3220"/>
                </a:lnTo>
                <a:lnTo>
                  <a:pt x="6102" y="3220"/>
                </a:lnTo>
                <a:lnTo>
                  <a:pt x="6107" y="3220"/>
                </a:lnTo>
                <a:lnTo>
                  <a:pt x="6111" y="3218"/>
                </a:lnTo>
                <a:lnTo>
                  <a:pt x="6113" y="3218"/>
                </a:lnTo>
                <a:lnTo>
                  <a:pt x="6116" y="3218"/>
                </a:lnTo>
                <a:lnTo>
                  <a:pt x="6119" y="3227"/>
                </a:lnTo>
                <a:lnTo>
                  <a:pt x="6130" y="3229"/>
                </a:lnTo>
                <a:lnTo>
                  <a:pt x="6135" y="3230"/>
                </a:lnTo>
                <a:lnTo>
                  <a:pt x="6139" y="3230"/>
                </a:lnTo>
                <a:lnTo>
                  <a:pt x="6143" y="3230"/>
                </a:lnTo>
                <a:lnTo>
                  <a:pt x="6147" y="3230"/>
                </a:lnTo>
                <a:lnTo>
                  <a:pt x="6149" y="3229"/>
                </a:lnTo>
                <a:lnTo>
                  <a:pt x="6150" y="3227"/>
                </a:lnTo>
                <a:lnTo>
                  <a:pt x="6155" y="3223"/>
                </a:lnTo>
                <a:lnTo>
                  <a:pt x="6160" y="3217"/>
                </a:lnTo>
                <a:lnTo>
                  <a:pt x="6165" y="3210"/>
                </a:lnTo>
                <a:lnTo>
                  <a:pt x="6173" y="3195"/>
                </a:lnTo>
                <a:lnTo>
                  <a:pt x="6176" y="3189"/>
                </a:lnTo>
                <a:lnTo>
                  <a:pt x="6178" y="3185"/>
                </a:lnTo>
                <a:lnTo>
                  <a:pt x="6178" y="3181"/>
                </a:lnTo>
                <a:lnTo>
                  <a:pt x="6177" y="3177"/>
                </a:lnTo>
                <a:lnTo>
                  <a:pt x="6177" y="3173"/>
                </a:lnTo>
                <a:lnTo>
                  <a:pt x="6177" y="3172"/>
                </a:lnTo>
                <a:lnTo>
                  <a:pt x="6178" y="3171"/>
                </a:lnTo>
                <a:lnTo>
                  <a:pt x="6180" y="3169"/>
                </a:lnTo>
                <a:lnTo>
                  <a:pt x="6183" y="3167"/>
                </a:lnTo>
                <a:lnTo>
                  <a:pt x="6192" y="3164"/>
                </a:lnTo>
                <a:lnTo>
                  <a:pt x="6202" y="3162"/>
                </a:lnTo>
                <a:lnTo>
                  <a:pt x="6209" y="3159"/>
                </a:lnTo>
                <a:lnTo>
                  <a:pt x="6209" y="3155"/>
                </a:lnTo>
                <a:lnTo>
                  <a:pt x="6207" y="3151"/>
                </a:lnTo>
                <a:lnTo>
                  <a:pt x="6206" y="3148"/>
                </a:lnTo>
                <a:lnTo>
                  <a:pt x="6206" y="3146"/>
                </a:lnTo>
                <a:lnTo>
                  <a:pt x="6206" y="3145"/>
                </a:lnTo>
                <a:lnTo>
                  <a:pt x="6221" y="3128"/>
                </a:lnTo>
                <a:lnTo>
                  <a:pt x="6232" y="3116"/>
                </a:lnTo>
                <a:lnTo>
                  <a:pt x="6235" y="3111"/>
                </a:lnTo>
                <a:lnTo>
                  <a:pt x="6237" y="3109"/>
                </a:lnTo>
                <a:lnTo>
                  <a:pt x="6237" y="3104"/>
                </a:lnTo>
                <a:lnTo>
                  <a:pt x="6237" y="3098"/>
                </a:lnTo>
                <a:lnTo>
                  <a:pt x="6237" y="3091"/>
                </a:lnTo>
                <a:lnTo>
                  <a:pt x="6237" y="3083"/>
                </a:lnTo>
                <a:lnTo>
                  <a:pt x="6234" y="3083"/>
                </a:lnTo>
                <a:lnTo>
                  <a:pt x="6234" y="3084"/>
                </a:lnTo>
                <a:lnTo>
                  <a:pt x="6234" y="3085"/>
                </a:lnTo>
                <a:lnTo>
                  <a:pt x="6234" y="3087"/>
                </a:lnTo>
                <a:lnTo>
                  <a:pt x="6234" y="3089"/>
                </a:lnTo>
                <a:lnTo>
                  <a:pt x="6231" y="3087"/>
                </a:lnTo>
                <a:lnTo>
                  <a:pt x="6229" y="3087"/>
                </a:lnTo>
                <a:lnTo>
                  <a:pt x="6228" y="3086"/>
                </a:lnTo>
                <a:lnTo>
                  <a:pt x="6227" y="3083"/>
                </a:lnTo>
                <a:lnTo>
                  <a:pt x="6226" y="3081"/>
                </a:lnTo>
                <a:lnTo>
                  <a:pt x="6223" y="3084"/>
                </a:lnTo>
                <a:lnTo>
                  <a:pt x="6222" y="3087"/>
                </a:lnTo>
                <a:lnTo>
                  <a:pt x="6222" y="3088"/>
                </a:lnTo>
                <a:lnTo>
                  <a:pt x="6223" y="3089"/>
                </a:lnTo>
                <a:lnTo>
                  <a:pt x="6219" y="3089"/>
                </a:lnTo>
                <a:lnTo>
                  <a:pt x="6214" y="3089"/>
                </a:lnTo>
                <a:lnTo>
                  <a:pt x="6213" y="3083"/>
                </a:lnTo>
                <a:lnTo>
                  <a:pt x="6212" y="3077"/>
                </a:lnTo>
                <a:lnTo>
                  <a:pt x="6212" y="3069"/>
                </a:lnTo>
                <a:lnTo>
                  <a:pt x="6207" y="3069"/>
                </a:lnTo>
                <a:lnTo>
                  <a:pt x="6203" y="3069"/>
                </a:lnTo>
                <a:close/>
                <a:moveTo>
                  <a:pt x="5696" y="3066"/>
                </a:moveTo>
                <a:lnTo>
                  <a:pt x="5696" y="3069"/>
                </a:lnTo>
                <a:lnTo>
                  <a:pt x="5695" y="3072"/>
                </a:lnTo>
                <a:lnTo>
                  <a:pt x="5693" y="3075"/>
                </a:lnTo>
                <a:lnTo>
                  <a:pt x="5695" y="3076"/>
                </a:lnTo>
                <a:lnTo>
                  <a:pt x="5696" y="3077"/>
                </a:lnTo>
                <a:lnTo>
                  <a:pt x="5698" y="3080"/>
                </a:lnTo>
                <a:lnTo>
                  <a:pt x="5699" y="3084"/>
                </a:lnTo>
                <a:lnTo>
                  <a:pt x="5701" y="3088"/>
                </a:lnTo>
                <a:lnTo>
                  <a:pt x="5703" y="3097"/>
                </a:lnTo>
                <a:lnTo>
                  <a:pt x="5705" y="3100"/>
                </a:lnTo>
                <a:lnTo>
                  <a:pt x="5706" y="3102"/>
                </a:lnTo>
                <a:lnTo>
                  <a:pt x="5707" y="3103"/>
                </a:lnTo>
                <a:lnTo>
                  <a:pt x="5709" y="3104"/>
                </a:lnTo>
                <a:lnTo>
                  <a:pt x="5711" y="3104"/>
                </a:lnTo>
                <a:lnTo>
                  <a:pt x="5714" y="3105"/>
                </a:lnTo>
                <a:lnTo>
                  <a:pt x="5717" y="3106"/>
                </a:lnTo>
                <a:lnTo>
                  <a:pt x="5713" y="3108"/>
                </a:lnTo>
                <a:lnTo>
                  <a:pt x="5711" y="3110"/>
                </a:lnTo>
                <a:lnTo>
                  <a:pt x="5710" y="3112"/>
                </a:lnTo>
                <a:lnTo>
                  <a:pt x="5710" y="3114"/>
                </a:lnTo>
                <a:lnTo>
                  <a:pt x="5710" y="3118"/>
                </a:lnTo>
                <a:lnTo>
                  <a:pt x="5713" y="3121"/>
                </a:lnTo>
                <a:lnTo>
                  <a:pt x="5720" y="3128"/>
                </a:lnTo>
                <a:lnTo>
                  <a:pt x="5723" y="3131"/>
                </a:lnTo>
                <a:lnTo>
                  <a:pt x="5724" y="3132"/>
                </a:lnTo>
                <a:lnTo>
                  <a:pt x="5725" y="3134"/>
                </a:lnTo>
                <a:lnTo>
                  <a:pt x="5725" y="3140"/>
                </a:lnTo>
                <a:lnTo>
                  <a:pt x="5730" y="3142"/>
                </a:lnTo>
                <a:lnTo>
                  <a:pt x="5733" y="3142"/>
                </a:lnTo>
                <a:lnTo>
                  <a:pt x="5735" y="3142"/>
                </a:lnTo>
                <a:lnTo>
                  <a:pt x="5736" y="3142"/>
                </a:lnTo>
                <a:lnTo>
                  <a:pt x="5738" y="3141"/>
                </a:lnTo>
                <a:lnTo>
                  <a:pt x="5741" y="3139"/>
                </a:lnTo>
                <a:lnTo>
                  <a:pt x="5743" y="3136"/>
                </a:lnTo>
                <a:lnTo>
                  <a:pt x="5744" y="3133"/>
                </a:lnTo>
                <a:lnTo>
                  <a:pt x="5748" y="3126"/>
                </a:lnTo>
                <a:lnTo>
                  <a:pt x="5749" y="3127"/>
                </a:lnTo>
                <a:lnTo>
                  <a:pt x="5751" y="3129"/>
                </a:lnTo>
                <a:lnTo>
                  <a:pt x="5753" y="3131"/>
                </a:lnTo>
                <a:lnTo>
                  <a:pt x="5754" y="3132"/>
                </a:lnTo>
                <a:lnTo>
                  <a:pt x="5755" y="3133"/>
                </a:lnTo>
                <a:lnTo>
                  <a:pt x="5757" y="3132"/>
                </a:lnTo>
                <a:lnTo>
                  <a:pt x="5759" y="3131"/>
                </a:lnTo>
                <a:lnTo>
                  <a:pt x="5759" y="3126"/>
                </a:lnTo>
                <a:lnTo>
                  <a:pt x="5758" y="3125"/>
                </a:lnTo>
                <a:lnTo>
                  <a:pt x="5757" y="3122"/>
                </a:lnTo>
                <a:lnTo>
                  <a:pt x="5756" y="3118"/>
                </a:lnTo>
                <a:lnTo>
                  <a:pt x="5756" y="3114"/>
                </a:lnTo>
                <a:lnTo>
                  <a:pt x="5759" y="3103"/>
                </a:lnTo>
                <a:lnTo>
                  <a:pt x="5764" y="3103"/>
                </a:lnTo>
                <a:lnTo>
                  <a:pt x="5765" y="3099"/>
                </a:lnTo>
                <a:lnTo>
                  <a:pt x="5765" y="3095"/>
                </a:lnTo>
                <a:lnTo>
                  <a:pt x="5765" y="3087"/>
                </a:lnTo>
                <a:lnTo>
                  <a:pt x="5762" y="3072"/>
                </a:lnTo>
                <a:lnTo>
                  <a:pt x="5757" y="3074"/>
                </a:lnTo>
                <a:lnTo>
                  <a:pt x="5752" y="3076"/>
                </a:lnTo>
                <a:lnTo>
                  <a:pt x="5748" y="3077"/>
                </a:lnTo>
                <a:lnTo>
                  <a:pt x="5743" y="3078"/>
                </a:lnTo>
                <a:lnTo>
                  <a:pt x="5740" y="3078"/>
                </a:lnTo>
                <a:lnTo>
                  <a:pt x="5736" y="3078"/>
                </a:lnTo>
                <a:lnTo>
                  <a:pt x="5729" y="3077"/>
                </a:lnTo>
                <a:lnTo>
                  <a:pt x="5722" y="3075"/>
                </a:lnTo>
                <a:lnTo>
                  <a:pt x="5714" y="3073"/>
                </a:lnTo>
                <a:lnTo>
                  <a:pt x="5705" y="3070"/>
                </a:lnTo>
                <a:lnTo>
                  <a:pt x="5696" y="3066"/>
                </a:lnTo>
                <a:close/>
                <a:moveTo>
                  <a:pt x="6209" y="2915"/>
                </a:moveTo>
                <a:lnTo>
                  <a:pt x="6209" y="2916"/>
                </a:lnTo>
                <a:lnTo>
                  <a:pt x="6207" y="2918"/>
                </a:lnTo>
                <a:lnTo>
                  <a:pt x="6206" y="2919"/>
                </a:lnTo>
                <a:lnTo>
                  <a:pt x="6205" y="2920"/>
                </a:lnTo>
                <a:lnTo>
                  <a:pt x="6206" y="2920"/>
                </a:lnTo>
                <a:lnTo>
                  <a:pt x="6210" y="2923"/>
                </a:lnTo>
                <a:lnTo>
                  <a:pt x="6212" y="2926"/>
                </a:lnTo>
                <a:lnTo>
                  <a:pt x="6214" y="2929"/>
                </a:lnTo>
                <a:lnTo>
                  <a:pt x="6216" y="2932"/>
                </a:lnTo>
                <a:lnTo>
                  <a:pt x="6219" y="2940"/>
                </a:lnTo>
                <a:lnTo>
                  <a:pt x="6223" y="2948"/>
                </a:lnTo>
                <a:lnTo>
                  <a:pt x="6226" y="2951"/>
                </a:lnTo>
                <a:lnTo>
                  <a:pt x="6229" y="2955"/>
                </a:lnTo>
                <a:lnTo>
                  <a:pt x="6233" y="2958"/>
                </a:lnTo>
                <a:lnTo>
                  <a:pt x="6234" y="2960"/>
                </a:lnTo>
                <a:lnTo>
                  <a:pt x="6234" y="2962"/>
                </a:lnTo>
                <a:lnTo>
                  <a:pt x="6234" y="2965"/>
                </a:lnTo>
                <a:lnTo>
                  <a:pt x="6240" y="2965"/>
                </a:lnTo>
                <a:lnTo>
                  <a:pt x="6240" y="2968"/>
                </a:lnTo>
                <a:lnTo>
                  <a:pt x="6240" y="2970"/>
                </a:lnTo>
                <a:lnTo>
                  <a:pt x="6240" y="2971"/>
                </a:lnTo>
                <a:lnTo>
                  <a:pt x="6239" y="2972"/>
                </a:lnTo>
                <a:lnTo>
                  <a:pt x="6237" y="2975"/>
                </a:lnTo>
                <a:lnTo>
                  <a:pt x="6237" y="2977"/>
                </a:lnTo>
                <a:lnTo>
                  <a:pt x="6237" y="2979"/>
                </a:lnTo>
                <a:lnTo>
                  <a:pt x="6237" y="2980"/>
                </a:lnTo>
                <a:lnTo>
                  <a:pt x="6238" y="2981"/>
                </a:lnTo>
                <a:lnTo>
                  <a:pt x="6241" y="2983"/>
                </a:lnTo>
                <a:lnTo>
                  <a:pt x="6245" y="2985"/>
                </a:lnTo>
                <a:lnTo>
                  <a:pt x="6246" y="2986"/>
                </a:lnTo>
                <a:lnTo>
                  <a:pt x="6245" y="2988"/>
                </a:lnTo>
                <a:lnTo>
                  <a:pt x="6244" y="2990"/>
                </a:lnTo>
                <a:lnTo>
                  <a:pt x="6243" y="2992"/>
                </a:lnTo>
                <a:lnTo>
                  <a:pt x="6242" y="2993"/>
                </a:lnTo>
                <a:lnTo>
                  <a:pt x="6243" y="2993"/>
                </a:lnTo>
                <a:lnTo>
                  <a:pt x="6244" y="2994"/>
                </a:lnTo>
                <a:lnTo>
                  <a:pt x="6245" y="2996"/>
                </a:lnTo>
                <a:lnTo>
                  <a:pt x="6246" y="3000"/>
                </a:lnTo>
                <a:lnTo>
                  <a:pt x="6246" y="3006"/>
                </a:lnTo>
                <a:lnTo>
                  <a:pt x="6246" y="3012"/>
                </a:lnTo>
                <a:lnTo>
                  <a:pt x="6245" y="3018"/>
                </a:lnTo>
                <a:lnTo>
                  <a:pt x="6243" y="3024"/>
                </a:lnTo>
                <a:lnTo>
                  <a:pt x="6242" y="3029"/>
                </a:lnTo>
                <a:lnTo>
                  <a:pt x="6241" y="3031"/>
                </a:lnTo>
                <a:lnTo>
                  <a:pt x="6240" y="3033"/>
                </a:lnTo>
                <a:lnTo>
                  <a:pt x="6226" y="3041"/>
                </a:lnTo>
                <a:lnTo>
                  <a:pt x="6235" y="3046"/>
                </a:lnTo>
                <a:lnTo>
                  <a:pt x="6240" y="3050"/>
                </a:lnTo>
                <a:lnTo>
                  <a:pt x="6242" y="3051"/>
                </a:lnTo>
                <a:lnTo>
                  <a:pt x="6245" y="3053"/>
                </a:lnTo>
                <a:lnTo>
                  <a:pt x="6249" y="3058"/>
                </a:lnTo>
                <a:lnTo>
                  <a:pt x="6251" y="3060"/>
                </a:lnTo>
                <a:lnTo>
                  <a:pt x="6253" y="3063"/>
                </a:lnTo>
                <a:lnTo>
                  <a:pt x="6254" y="3065"/>
                </a:lnTo>
                <a:lnTo>
                  <a:pt x="6254" y="3068"/>
                </a:lnTo>
                <a:lnTo>
                  <a:pt x="6254" y="3071"/>
                </a:lnTo>
                <a:lnTo>
                  <a:pt x="6254" y="3075"/>
                </a:lnTo>
                <a:lnTo>
                  <a:pt x="6248" y="3081"/>
                </a:lnTo>
                <a:lnTo>
                  <a:pt x="6248" y="3086"/>
                </a:lnTo>
                <a:lnTo>
                  <a:pt x="6248" y="3092"/>
                </a:lnTo>
                <a:lnTo>
                  <a:pt x="6258" y="3094"/>
                </a:lnTo>
                <a:lnTo>
                  <a:pt x="6264" y="3095"/>
                </a:lnTo>
                <a:lnTo>
                  <a:pt x="6266" y="3095"/>
                </a:lnTo>
                <a:lnTo>
                  <a:pt x="6268" y="3094"/>
                </a:lnTo>
                <a:lnTo>
                  <a:pt x="6270" y="3092"/>
                </a:lnTo>
                <a:lnTo>
                  <a:pt x="6272" y="3088"/>
                </a:lnTo>
                <a:lnTo>
                  <a:pt x="6273" y="3083"/>
                </a:lnTo>
                <a:lnTo>
                  <a:pt x="6276" y="3077"/>
                </a:lnTo>
                <a:lnTo>
                  <a:pt x="6279" y="3069"/>
                </a:lnTo>
                <a:lnTo>
                  <a:pt x="6281" y="3067"/>
                </a:lnTo>
                <a:lnTo>
                  <a:pt x="6285" y="3065"/>
                </a:lnTo>
                <a:lnTo>
                  <a:pt x="6287" y="3063"/>
                </a:lnTo>
                <a:lnTo>
                  <a:pt x="6289" y="3061"/>
                </a:lnTo>
                <a:lnTo>
                  <a:pt x="6290" y="3058"/>
                </a:lnTo>
                <a:lnTo>
                  <a:pt x="6290" y="3055"/>
                </a:lnTo>
                <a:lnTo>
                  <a:pt x="6290" y="3052"/>
                </a:lnTo>
                <a:lnTo>
                  <a:pt x="6289" y="3050"/>
                </a:lnTo>
                <a:lnTo>
                  <a:pt x="6288" y="3048"/>
                </a:lnTo>
                <a:lnTo>
                  <a:pt x="6288" y="3047"/>
                </a:lnTo>
                <a:lnTo>
                  <a:pt x="6289" y="3044"/>
                </a:lnTo>
                <a:lnTo>
                  <a:pt x="6292" y="3042"/>
                </a:lnTo>
                <a:lnTo>
                  <a:pt x="6296" y="3041"/>
                </a:lnTo>
                <a:lnTo>
                  <a:pt x="6302" y="3039"/>
                </a:lnTo>
                <a:lnTo>
                  <a:pt x="6307" y="3044"/>
                </a:lnTo>
                <a:lnTo>
                  <a:pt x="6307" y="3040"/>
                </a:lnTo>
                <a:lnTo>
                  <a:pt x="6306" y="3037"/>
                </a:lnTo>
                <a:lnTo>
                  <a:pt x="6305" y="3035"/>
                </a:lnTo>
                <a:lnTo>
                  <a:pt x="6304" y="3034"/>
                </a:lnTo>
                <a:lnTo>
                  <a:pt x="6304" y="3033"/>
                </a:lnTo>
                <a:lnTo>
                  <a:pt x="6305" y="3031"/>
                </a:lnTo>
                <a:lnTo>
                  <a:pt x="6306" y="3029"/>
                </a:lnTo>
                <a:lnTo>
                  <a:pt x="6310" y="3024"/>
                </a:lnTo>
                <a:lnTo>
                  <a:pt x="6314" y="3020"/>
                </a:lnTo>
                <a:lnTo>
                  <a:pt x="6316" y="3016"/>
                </a:lnTo>
                <a:lnTo>
                  <a:pt x="6316" y="3013"/>
                </a:lnTo>
                <a:lnTo>
                  <a:pt x="6316" y="3010"/>
                </a:lnTo>
                <a:lnTo>
                  <a:pt x="6315" y="3007"/>
                </a:lnTo>
                <a:lnTo>
                  <a:pt x="6316" y="3005"/>
                </a:lnTo>
                <a:lnTo>
                  <a:pt x="6313" y="3005"/>
                </a:lnTo>
                <a:lnTo>
                  <a:pt x="6312" y="3005"/>
                </a:lnTo>
                <a:lnTo>
                  <a:pt x="6311" y="3004"/>
                </a:lnTo>
                <a:lnTo>
                  <a:pt x="6310" y="3002"/>
                </a:lnTo>
                <a:lnTo>
                  <a:pt x="6309" y="3002"/>
                </a:lnTo>
                <a:lnTo>
                  <a:pt x="6307" y="3002"/>
                </a:lnTo>
                <a:lnTo>
                  <a:pt x="6305" y="3003"/>
                </a:lnTo>
                <a:lnTo>
                  <a:pt x="6303" y="3006"/>
                </a:lnTo>
                <a:lnTo>
                  <a:pt x="6299" y="3010"/>
                </a:lnTo>
                <a:lnTo>
                  <a:pt x="6295" y="3011"/>
                </a:lnTo>
                <a:lnTo>
                  <a:pt x="6291" y="3011"/>
                </a:lnTo>
                <a:lnTo>
                  <a:pt x="6288" y="3011"/>
                </a:lnTo>
                <a:lnTo>
                  <a:pt x="6284" y="3009"/>
                </a:lnTo>
                <a:lnTo>
                  <a:pt x="6277" y="3005"/>
                </a:lnTo>
                <a:lnTo>
                  <a:pt x="6271" y="3002"/>
                </a:lnTo>
                <a:lnTo>
                  <a:pt x="6271" y="2992"/>
                </a:lnTo>
                <a:lnTo>
                  <a:pt x="6271" y="2982"/>
                </a:lnTo>
                <a:lnTo>
                  <a:pt x="6268" y="2981"/>
                </a:lnTo>
                <a:lnTo>
                  <a:pt x="6266" y="2980"/>
                </a:lnTo>
                <a:lnTo>
                  <a:pt x="6266" y="2979"/>
                </a:lnTo>
                <a:lnTo>
                  <a:pt x="6266" y="2978"/>
                </a:lnTo>
                <a:lnTo>
                  <a:pt x="6267" y="2977"/>
                </a:lnTo>
                <a:lnTo>
                  <a:pt x="6266" y="2975"/>
                </a:lnTo>
                <a:lnTo>
                  <a:pt x="6265" y="2974"/>
                </a:lnTo>
                <a:lnTo>
                  <a:pt x="6261" y="2982"/>
                </a:lnTo>
                <a:lnTo>
                  <a:pt x="6259" y="2984"/>
                </a:lnTo>
                <a:lnTo>
                  <a:pt x="6257" y="2985"/>
                </a:lnTo>
                <a:lnTo>
                  <a:pt x="6254" y="2984"/>
                </a:lnTo>
                <a:lnTo>
                  <a:pt x="6252" y="2983"/>
                </a:lnTo>
                <a:lnTo>
                  <a:pt x="6251" y="2982"/>
                </a:lnTo>
                <a:lnTo>
                  <a:pt x="6250" y="2980"/>
                </a:lnTo>
                <a:lnTo>
                  <a:pt x="6249" y="2978"/>
                </a:lnTo>
                <a:lnTo>
                  <a:pt x="6248" y="2975"/>
                </a:lnTo>
                <a:lnTo>
                  <a:pt x="6248" y="2970"/>
                </a:lnTo>
                <a:lnTo>
                  <a:pt x="6248" y="2956"/>
                </a:lnTo>
                <a:lnTo>
                  <a:pt x="6247" y="2949"/>
                </a:lnTo>
                <a:lnTo>
                  <a:pt x="6246" y="2946"/>
                </a:lnTo>
                <a:lnTo>
                  <a:pt x="6245" y="2943"/>
                </a:lnTo>
                <a:lnTo>
                  <a:pt x="6237" y="2943"/>
                </a:lnTo>
                <a:lnTo>
                  <a:pt x="6237" y="2942"/>
                </a:lnTo>
                <a:lnTo>
                  <a:pt x="6238" y="2940"/>
                </a:lnTo>
                <a:lnTo>
                  <a:pt x="6240" y="2937"/>
                </a:lnTo>
                <a:lnTo>
                  <a:pt x="6233" y="2931"/>
                </a:lnTo>
                <a:lnTo>
                  <a:pt x="6226" y="2926"/>
                </a:lnTo>
                <a:lnTo>
                  <a:pt x="6223" y="2929"/>
                </a:lnTo>
                <a:lnTo>
                  <a:pt x="6222" y="2931"/>
                </a:lnTo>
                <a:lnTo>
                  <a:pt x="6221" y="2931"/>
                </a:lnTo>
                <a:lnTo>
                  <a:pt x="6220" y="2931"/>
                </a:lnTo>
                <a:lnTo>
                  <a:pt x="6218" y="2929"/>
                </a:lnTo>
                <a:lnTo>
                  <a:pt x="6216" y="2926"/>
                </a:lnTo>
                <a:lnTo>
                  <a:pt x="6212" y="2920"/>
                </a:lnTo>
                <a:lnTo>
                  <a:pt x="6214" y="2917"/>
                </a:lnTo>
                <a:lnTo>
                  <a:pt x="6214" y="2916"/>
                </a:lnTo>
                <a:lnTo>
                  <a:pt x="6214" y="2915"/>
                </a:lnTo>
                <a:lnTo>
                  <a:pt x="6209" y="2915"/>
                </a:lnTo>
                <a:close/>
                <a:moveTo>
                  <a:pt x="3957" y="2387"/>
                </a:moveTo>
                <a:lnTo>
                  <a:pt x="3952" y="2404"/>
                </a:lnTo>
                <a:lnTo>
                  <a:pt x="3950" y="2414"/>
                </a:lnTo>
                <a:lnTo>
                  <a:pt x="3948" y="2424"/>
                </a:lnTo>
                <a:lnTo>
                  <a:pt x="3945" y="2424"/>
                </a:lnTo>
                <a:lnTo>
                  <a:pt x="3940" y="2425"/>
                </a:lnTo>
                <a:lnTo>
                  <a:pt x="3936" y="2425"/>
                </a:lnTo>
                <a:lnTo>
                  <a:pt x="3935" y="2426"/>
                </a:lnTo>
                <a:lnTo>
                  <a:pt x="3934" y="2427"/>
                </a:lnTo>
                <a:lnTo>
                  <a:pt x="3934" y="2430"/>
                </a:lnTo>
                <a:lnTo>
                  <a:pt x="3935" y="2429"/>
                </a:lnTo>
                <a:lnTo>
                  <a:pt x="3937" y="2432"/>
                </a:lnTo>
                <a:lnTo>
                  <a:pt x="3938" y="2435"/>
                </a:lnTo>
                <a:lnTo>
                  <a:pt x="3938" y="2437"/>
                </a:lnTo>
                <a:lnTo>
                  <a:pt x="3937" y="2438"/>
                </a:lnTo>
                <a:lnTo>
                  <a:pt x="3931" y="2438"/>
                </a:lnTo>
                <a:lnTo>
                  <a:pt x="3931" y="2440"/>
                </a:lnTo>
                <a:lnTo>
                  <a:pt x="3931" y="2443"/>
                </a:lnTo>
                <a:lnTo>
                  <a:pt x="3930" y="2447"/>
                </a:lnTo>
                <a:lnTo>
                  <a:pt x="3929" y="2452"/>
                </a:lnTo>
                <a:lnTo>
                  <a:pt x="3925" y="2450"/>
                </a:lnTo>
                <a:lnTo>
                  <a:pt x="3925" y="2449"/>
                </a:lnTo>
                <a:lnTo>
                  <a:pt x="3924" y="2448"/>
                </a:lnTo>
                <a:lnTo>
                  <a:pt x="3920" y="2449"/>
                </a:lnTo>
                <a:lnTo>
                  <a:pt x="3921" y="2457"/>
                </a:lnTo>
                <a:lnTo>
                  <a:pt x="3921" y="2461"/>
                </a:lnTo>
                <a:lnTo>
                  <a:pt x="3920" y="2463"/>
                </a:lnTo>
                <a:lnTo>
                  <a:pt x="3919" y="2463"/>
                </a:lnTo>
                <a:lnTo>
                  <a:pt x="3917" y="2462"/>
                </a:lnTo>
                <a:lnTo>
                  <a:pt x="3915" y="2461"/>
                </a:lnTo>
                <a:lnTo>
                  <a:pt x="3913" y="2460"/>
                </a:lnTo>
                <a:lnTo>
                  <a:pt x="3912" y="2461"/>
                </a:lnTo>
                <a:lnTo>
                  <a:pt x="3910" y="2462"/>
                </a:lnTo>
                <a:lnTo>
                  <a:pt x="3909" y="2465"/>
                </a:lnTo>
                <a:lnTo>
                  <a:pt x="3907" y="2468"/>
                </a:lnTo>
                <a:lnTo>
                  <a:pt x="3906" y="2469"/>
                </a:lnTo>
                <a:lnTo>
                  <a:pt x="3904" y="2469"/>
                </a:lnTo>
                <a:lnTo>
                  <a:pt x="3901" y="2469"/>
                </a:lnTo>
                <a:lnTo>
                  <a:pt x="3898" y="2468"/>
                </a:lnTo>
                <a:lnTo>
                  <a:pt x="3895" y="2467"/>
                </a:lnTo>
                <a:lnTo>
                  <a:pt x="3893" y="2466"/>
                </a:lnTo>
                <a:lnTo>
                  <a:pt x="3892" y="2466"/>
                </a:lnTo>
                <a:lnTo>
                  <a:pt x="3892" y="2472"/>
                </a:lnTo>
                <a:lnTo>
                  <a:pt x="3882" y="2477"/>
                </a:lnTo>
                <a:lnTo>
                  <a:pt x="3877" y="2480"/>
                </a:lnTo>
                <a:lnTo>
                  <a:pt x="3872" y="2483"/>
                </a:lnTo>
                <a:lnTo>
                  <a:pt x="3867" y="2486"/>
                </a:lnTo>
                <a:lnTo>
                  <a:pt x="3863" y="2491"/>
                </a:lnTo>
                <a:lnTo>
                  <a:pt x="3860" y="2495"/>
                </a:lnTo>
                <a:lnTo>
                  <a:pt x="3859" y="2497"/>
                </a:lnTo>
                <a:lnTo>
                  <a:pt x="3858" y="2500"/>
                </a:lnTo>
                <a:lnTo>
                  <a:pt x="3858" y="2504"/>
                </a:lnTo>
                <a:lnTo>
                  <a:pt x="3858" y="2508"/>
                </a:lnTo>
                <a:lnTo>
                  <a:pt x="3858" y="2512"/>
                </a:lnTo>
                <a:lnTo>
                  <a:pt x="3859" y="2515"/>
                </a:lnTo>
                <a:lnTo>
                  <a:pt x="3861" y="2523"/>
                </a:lnTo>
                <a:lnTo>
                  <a:pt x="3864" y="2531"/>
                </a:lnTo>
                <a:lnTo>
                  <a:pt x="3867" y="2539"/>
                </a:lnTo>
                <a:lnTo>
                  <a:pt x="3869" y="2546"/>
                </a:lnTo>
                <a:lnTo>
                  <a:pt x="3870" y="2550"/>
                </a:lnTo>
                <a:lnTo>
                  <a:pt x="3870" y="2554"/>
                </a:lnTo>
                <a:lnTo>
                  <a:pt x="3870" y="2562"/>
                </a:lnTo>
                <a:lnTo>
                  <a:pt x="3867" y="2564"/>
                </a:lnTo>
                <a:lnTo>
                  <a:pt x="3862" y="2568"/>
                </a:lnTo>
                <a:lnTo>
                  <a:pt x="3855" y="2573"/>
                </a:lnTo>
                <a:lnTo>
                  <a:pt x="3855" y="2575"/>
                </a:lnTo>
                <a:lnTo>
                  <a:pt x="3855" y="2576"/>
                </a:lnTo>
                <a:lnTo>
                  <a:pt x="3855" y="2580"/>
                </a:lnTo>
                <a:lnTo>
                  <a:pt x="3856" y="2584"/>
                </a:lnTo>
                <a:lnTo>
                  <a:pt x="3855" y="2587"/>
                </a:lnTo>
                <a:lnTo>
                  <a:pt x="3854" y="2588"/>
                </a:lnTo>
                <a:lnTo>
                  <a:pt x="3851" y="2590"/>
                </a:lnTo>
                <a:lnTo>
                  <a:pt x="3849" y="2591"/>
                </a:lnTo>
                <a:lnTo>
                  <a:pt x="3847" y="2593"/>
                </a:lnTo>
                <a:lnTo>
                  <a:pt x="3845" y="2598"/>
                </a:lnTo>
                <a:lnTo>
                  <a:pt x="3844" y="2603"/>
                </a:lnTo>
                <a:lnTo>
                  <a:pt x="3843" y="2607"/>
                </a:lnTo>
                <a:lnTo>
                  <a:pt x="3842" y="2611"/>
                </a:lnTo>
                <a:lnTo>
                  <a:pt x="3842" y="2615"/>
                </a:lnTo>
                <a:lnTo>
                  <a:pt x="3843" y="2619"/>
                </a:lnTo>
                <a:lnTo>
                  <a:pt x="3843" y="2623"/>
                </a:lnTo>
                <a:lnTo>
                  <a:pt x="3844" y="2626"/>
                </a:lnTo>
                <a:lnTo>
                  <a:pt x="3847" y="2633"/>
                </a:lnTo>
                <a:lnTo>
                  <a:pt x="3850" y="2640"/>
                </a:lnTo>
                <a:lnTo>
                  <a:pt x="3855" y="2653"/>
                </a:lnTo>
                <a:lnTo>
                  <a:pt x="3860" y="2667"/>
                </a:lnTo>
                <a:lnTo>
                  <a:pt x="3863" y="2672"/>
                </a:lnTo>
                <a:lnTo>
                  <a:pt x="3865" y="2677"/>
                </a:lnTo>
                <a:lnTo>
                  <a:pt x="3868" y="2681"/>
                </a:lnTo>
                <a:lnTo>
                  <a:pt x="3872" y="2685"/>
                </a:lnTo>
                <a:lnTo>
                  <a:pt x="3875" y="2687"/>
                </a:lnTo>
                <a:lnTo>
                  <a:pt x="3877" y="2689"/>
                </a:lnTo>
                <a:lnTo>
                  <a:pt x="3884" y="2692"/>
                </a:lnTo>
                <a:lnTo>
                  <a:pt x="3888" y="2693"/>
                </a:lnTo>
                <a:lnTo>
                  <a:pt x="3890" y="2693"/>
                </a:lnTo>
                <a:lnTo>
                  <a:pt x="3889" y="2692"/>
                </a:lnTo>
                <a:lnTo>
                  <a:pt x="3897" y="2690"/>
                </a:lnTo>
                <a:lnTo>
                  <a:pt x="3905" y="2687"/>
                </a:lnTo>
                <a:lnTo>
                  <a:pt x="3912" y="2683"/>
                </a:lnTo>
                <a:lnTo>
                  <a:pt x="3915" y="2681"/>
                </a:lnTo>
                <a:lnTo>
                  <a:pt x="3916" y="2680"/>
                </a:lnTo>
                <a:lnTo>
                  <a:pt x="3917" y="2678"/>
                </a:lnTo>
                <a:lnTo>
                  <a:pt x="3919" y="2674"/>
                </a:lnTo>
                <a:lnTo>
                  <a:pt x="3921" y="2670"/>
                </a:lnTo>
                <a:lnTo>
                  <a:pt x="3923" y="2661"/>
                </a:lnTo>
                <a:lnTo>
                  <a:pt x="3924" y="2651"/>
                </a:lnTo>
                <a:lnTo>
                  <a:pt x="3925" y="2646"/>
                </a:lnTo>
                <a:lnTo>
                  <a:pt x="3926" y="2642"/>
                </a:lnTo>
                <a:lnTo>
                  <a:pt x="3928" y="2634"/>
                </a:lnTo>
                <a:lnTo>
                  <a:pt x="3931" y="2627"/>
                </a:lnTo>
                <a:lnTo>
                  <a:pt x="3938" y="2610"/>
                </a:lnTo>
                <a:lnTo>
                  <a:pt x="3941" y="2602"/>
                </a:lnTo>
                <a:lnTo>
                  <a:pt x="3944" y="2592"/>
                </a:lnTo>
                <a:lnTo>
                  <a:pt x="3947" y="2584"/>
                </a:lnTo>
                <a:lnTo>
                  <a:pt x="3948" y="2576"/>
                </a:lnTo>
                <a:lnTo>
                  <a:pt x="3948" y="2573"/>
                </a:lnTo>
                <a:lnTo>
                  <a:pt x="3948" y="2571"/>
                </a:lnTo>
                <a:lnTo>
                  <a:pt x="3947" y="2566"/>
                </a:lnTo>
                <a:lnTo>
                  <a:pt x="3946" y="2562"/>
                </a:lnTo>
                <a:lnTo>
                  <a:pt x="3945" y="2560"/>
                </a:lnTo>
                <a:lnTo>
                  <a:pt x="3945" y="2559"/>
                </a:lnTo>
                <a:lnTo>
                  <a:pt x="3952" y="2548"/>
                </a:lnTo>
                <a:lnTo>
                  <a:pt x="3960" y="2537"/>
                </a:lnTo>
                <a:lnTo>
                  <a:pt x="3963" y="2527"/>
                </a:lnTo>
                <a:lnTo>
                  <a:pt x="3965" y="2520"/>
                </a:lnTo>
                <a:lnTo>
                  <a:pt x="3965" y="2516"/>
                </a:lnTo>
                <a:lnTo>
                  <a:pt x="3964" y="2513"/>
                </a:lnTo>
                <a:lnTo>
                  <a:pt x="3962" y="2508"/>
                </a:lnTo>
                <a:lnTo>
                  <a:pt x="3968" y="2503"/>
                </a:lnTo>
                <a:lnTo>
                  <a:pt x="3968" y="2500"/>
                </a:lnTo>
                <a:lnTo>
                  <a:pt x="3968" y="2498"/>
                </a:lnTo>
                <a:lnTo>
                  <a:pt x="3968" y="2494"/>
                </a:lnTo>
                <a:lnTo>
                  <a:pt x="3969" y="2492"/>
                </a:lnTo>
                <a:lnTo>
                  <a:pt x="3970" y="2491"/>
                </a:lnTo>
                <a:lnTo>
                  <a:pt x="3971" y="2490"/>
                </a:lnTo>
                <a:lnTo>
                  <a:pt x="3974" y="2489"/>
                </a:lnTo>
                <a:lnTo>
                  <a:pt x="3974" y="2483"/>
                </a:lnTo>
                <a:lnTo>
                  <a:pt x="3972" y="2478"/>
                </a:lnTo>
                <a:lnTo>
                  <a:pt x="3970" y="2472"/>
                </a:lnTo>
                <a:lnTo>
                  <a:pt x="3967" y="2466"/>
                </a:lnTo>
                <a:lnTo>
                  <a:pt x="3965" y="2461"/>
                </a:lnTo>
                <a:lnTo>
                  <a:pt x="3967" y="2461"/>
                </a:lnTo>
                <a:lnTo>
                  <a:pt x="3969" y="2461"/>
                </a:lnTo>
                <a:lnTo>
                  <a:pt x="3974" y="2461"/>
                </a:lnTo>
                <a:lnTo>
                  <a:pt x="3973" y="2464"/>
                </a:lnTo>
                <a:lnTo>
                  <a:pt x="3974" y="2469"/>
                </a:lnTo>
                <a:lnTo>
                  <a:pt x="3979" y="2469"/>
                </a:lnTo>
                <a:lnTo>
                  <a:pt x="3979" y="2466"/>
                </a:lnTo>
                <a:lnTo>
                  <a:pt x="3979" y="2463"/>
                </a:lnTo>
                <a:lnTo>
                  <a:pt x="3979" y="2462"/>
                </a:lnTo>
                <a:lnTo>
                  <a:pt x="3979" y="2461"/>
                </a:lnTo>
                <a:lnTo>
                  <a:pt x="3980" y="2461"/>
                </a:lnTo>
                <a:lnTo>
                  <a:pt x="3982" y="2461"/>
                </a:lnTo>
                <a:lnTo>
                  <a:pt x="3981" y="2446"/>
                </a:lnTo>
                <a:lnTo>
                  <a:pt x="3979" y="2430"/>
                </a:lnTo>
                <a:lnTo>
                  <a:pt x="3979" y="2421"/>
                </a:lnTo>
                <a:lnTo>
                  <a:pt x="3977" y="2414"/>
                </a:lnTo>
                <a:lnTo>
                  <a:pt x="3976" y="2407"/>
                </a:lnTo>
                <a:lnTo>
                  <a:pt x="3974" y="2401"/>
                </a:lnTo>
                <a:lnTo>
                  <a:pt x="3973" y="2400"/>
                </a:lnTo>
                <a:lnTo>
                  <a:pt x="3972" y="2399"/>
                </a:lnTo>
                <a:lnTo>
                  <a:pt x="3971" y="2399"/>
                </a:lnTo>
                <a:lnTo>
                  <a:pt x="3970" y="2399"/>
                </a:lnTo>
                <a:lnTo>
                  <a:pt x="3967" y="2401"/>
                </a:lnTo>
                <a:lnTo>
                  <a:pt x="3965" y="2401"/>
                </a:lnTo>
                <a:lnTo>
                  <a:pt x="3961" y="2394"/>
                </a:lnTo>
                <a:lnTo>
                  <a:pt x="3957" y="2387"/>
                </a:lnTo>
                <a:close/>
                <a:moveTo>
                  <a:pt x="5001" y="2227"/>
                </a:moveTo>
                <a:lnTo>
                  <a:pt x="4999" y="2234"/>
                </a:lnTo>
                <a:lnTo>
                  <a:pt x="4996" y="2240"/>
                </a:lnTo>
                <a:lnTo>
                  <a:pt x="4990" y="2252"/>
                </a:lnTo>
                <a:lnTo>
                  <a:pt x="4995" y="2253"/>
                </a:lnTo>
                <a:lnTo>
                  <a:pt x="4999" y="2254"/>
                </a:lnTo>
                <a:lnTo>
                  <a:pt x="5010" y="2255"/>
                </a:lnTo>
                <a:lnTo>
                  <a:pt x="5007" y="2259"/>
                </a:lnTo>
                <a:lnTo>
                  <a:pt x="5006" y="2262"/>
                </a:lnTo>
                <a:lnTo>
                  <a:pt x="5006" y="2263"/>
                </a:lnTo>
                <a:lnTo>
                  <a:pt x="5007" y="2264"/>
                </a:lnTo>
                <a:lnTo>
                  <a:pt x="5011" y="2264"/>
                </a:lnTo>
                <a:lnTo>
                  <a:pt x="5014" y="2264"/>
                </a:lnTo>
                <a:lnTo>
                  <a:pt x="5017" y="2264"/>
                </a:lnTo>
                <a:lnTo>
                  <a:pt x="5020" y="2263"/>
                </a:lnTo>
                <a:lnTo>
                  <a:pt x="5022" y="2262"/>
                </a:lnTo>
                <a:lnTo>
                  <a:pt x="5025" y="2262"/>
                </a:lnTo>
                <a:lnTo>
                  <a:pt x="5028" y="2262"/>
                </a:lnTo>
                <a:lnTo>
                  <a:pt x="5032" y="2264"/>
                </a:lnTo>
                <a:lnTo>
                  <a:pt x="5032" y="2269"/>
                </a:lnTo>
                <a:lnTo>
                  <a:pt x="5037" y="2271"/>
                </a:lnTo>
                <a:lnTo>
                  <a:pt x="5041" y="2272"/>
                </a:lnTo>
                <a:lnTo>
                  <a:pt x="5044" y="2272"/>
                </a:lnTo>
                <a:lnTo>
                  <a:pt x="5048" y="2272"/>
                </a:lnTo>
                <a:lnTo>
                  <a:pt x="5055" y="2271"/>
                </a:lnTo>
                <a:lnTo>
                  <a:pt x="5059" y="2270"/>
                </a:lnTo>
                <a:lnTo>
                  <a:pt x="5063" y="2269"/>
                </a:lnTo>
                <a:lnTo>
                  <a:pt x="5067" y="2269"/>
                </a:lnTo>
                <a:lnTo>
                  <a:pt x="5072" y="2269"/>
                </a:lnTo>
                <a:lnTo>
                  <a:pt x="5074" y="2270"/>
                </a:lnTo>
                <a:lnTo>
                  <a:pt x="5077" y="2271"/>
                </a:lnTo>
                <a:lnTo>
                  <a:pt x="5084" y="2275"/>
                </a:lnTo>
                <a:lnTo>
                  <a:pt x="5091" y="2278"/>
                </a:lnTo>
                <a:lnTo>
                  <a:pt x="5097" y="2280"/>
                </a:lnTo>
                <a:lnTo>
                  <a:pt x="5102" y="2281"/>
                </a:lnTo>
                <a:lnTo>
                  <a:pt x="5107" y="2281"/>
                </a:lnTo>
                <a:lnTo>
                  <a:pt x="5118" y="2281"/>
                </a:lnTo>
                <a:lnTo>
                  <a:pt x="5128" y="2280"/>
                </a:lnTo>
                <a:lnTo>
                  <a:pt x="5133" y="2280"/>
                </a:lnTo>
                <a:lnTo>
                  <a:pt x="5136" y="2280"/>
                </a:lnTo>
                <a:lnTo>
                  <a:pt x="5138" y="2281"/>
                </a:lnTo>
                <a:lnTo>
                  <a:pt x="5139" y="2282"/>
                </a:lnTo>
                <a:lnTo>
                  <a:pt x="5142" y="2286"/>
                </a:lnTo>
                <a:lnTo>
                  <a:pt x="5145" y="2289"/>
                </a:lnTo>
                <a:lnTo>
                  <a:pt x="5146" y="2291"/>
                </a:lnTo>
                <a:lnTo>
                  <a:pt x="5147" y="2292"/>
                </a:lnTo>
                <a:lnTo>
                  <a:pt x="5150" y="2293"/>
                </a:lnTo>
                <a:lnTo>
                  <a:pt x="5152" y="2293"/>
                </a:lnTo>
                <a:lnTo>
                  <a:pt x="5156" y="2293"/>
                </a:lnTo>
                <a:lnTo>
                  <a:pt x="5160" y="2294"/>
                </a:lnTo>
                <a:lnTo>
                  <a:pt x="5164" y="2295"/>
                </a:lnTo>
                <a:lnTo>
                  <a:pt x="5163" y="2292"/>
                </a:lnTo>
                <a:lnTo>
                  <a:pt x="5160" y="2288"/>
                </a:lnTo>
                <a:lnTo>
                  <a:pt x="5156" y="2283"/>
                </a:lnTo>
                <a:lnTo>
                  <a:pt x="5156" y="2280"/>
                </a:lnTo>
                <a:lnTo>
                  <a:pt x="5156" y="2277"/>
                </a:lnTo>
                <a:lnTo>
                  <a:pt x="5158" y="2273"/>
                </a:lnTo>
                <a:lnTo>
                  <a:pt x="5159" y="2269"/>
                </a:lnTo>
                <a:lnTo>
                  <a:pt x="5158" y="2269"/>
                </a:lnTo>
                <a:lnTo>
                  <a:pt x="5156" y="2268"/>
                </a:lnTo>
                <a:lnTo>
                  <a:pt x="5154" y="2266"/>
                </a:lnTo>
                <a:lnTo>
                  <a:pt x="5150" y="2264"/>
                </a:lnTo>
                <a:lnTo>
                  <a:pt x="5128" y="2264"/>
                </a:lnTo>
                <a:lnTo>
                  <a:pt x="5130" y="2258"/>
                </a:lnTo>
                <a:lnTo>
                  <a:pt x="5131" y="2255"/>
                </a:lnTo>
                <a:lnTo>
                  <a:pt x="5131" y="2252"/>
                </a:lnTo>
                <a:lnTo>
                  <a:pt x="5129" y="2249"/>
                </a:lnTo>
                <a:lnTo>
                  <a:pt x="5128" y="2247"/>
                </a:lnTo>
                <a:lnTo>
                  <a:pt x="5128" y="2244"/>
                </a:lnTo>
                <a:lnTo>
                  <a:pt x="5118" y="2243"/>
                </a:lnTo>
                <a:lnTo>
                  <a:pt x="5110" y="2242"/>
                </a:lnTo>
                <a:lnTo>
                  <a:pt x="5103" y="2242"/>
                </a:lnTo>
                <a:lnTo>
                  <a:pt x="5100" y="2242"/>
                </a:lnTo>
                <a:lnTo>
                  <a:pt x="5097" y="2241"/>
                </a:lnTo>
                <a:lnTo>
                  <a:pt x="5096" y="2240"/>
                </a:lnTo>
                <a:lnTo>
                  <a:pt x="5095" y="2238"/>
                </a:lnTo>
                <a:lnTo>
                  <a:pt x="5094" y="2237"/>
                </a:lnTo>
                <a:lnTo>
                  <a:pt x="5093" y="2236"/>
                </a:lnTo>
                <a:lnTo>
                  <a:pt x="5092" y="2236"/>
                </a:lnTo>
                <a:lnTo>
                  <a:pt x="5091" y="2235"/>
                </a:lnTo>
                <a:lnTo>
                  <a:pt x="5086" y="2244"/>
                </a:lnTo>
                <a:lnTo>
                  <a:pt x="5069" y="2244"/>
                </a:lnTo>
                <a:lnTo>
                  <a:pt x="5064" y="2243"/>
                </a:lnTo>
                <a:lnTo>
                  <a:pt x="5060" y="2241"/>
                </a:lnTo>
                <a:lnTo>
                  <a:pt x="5057" y="2238"/>
                </a:lnTo>
                <a:lnTo>
                  <a:pt x="5054" y="2236"/>
                </a:lnTo>
                <a:lnTo>
                  <a:pt x="5047" y="2231"/>
                </a:lnTo>
                <a:lnTo>
                  <a:pt x="5044" y="2228"/>
                </a:lnTo>
                <a:lnTo>
                  <a:pt x="5041" y="2227"/>
                </a:lnTo>
                <a:lnTo>
                  <a:pt x="5038" y="2227"/>
                </a:lnTo>
                <a:lnTo>
                  <a:pt x="5035" y="2227"/>
                </a:lnTo>
                <a:lnTo>
                  <a:pt x="5028" y="2229"/>
                </a:lnTo>
                <a:lnTo>
                  <a:pt x="5018" y="2233"/>
                </a:lnTo>
                <a:lnTo>
                  <a:pt x="5013" y="2232"/>
                </a:lnTo>
                <a:lnTo>
                  <a:pt x="5009" y="2230"/>
                </a:lnTo>
                <a:lnTo>
                  <a:pt x="5005" y="2228"/>
                </a:lnTo>
                <a:lnTo>
                  <a:pt x="5003" y="2228"/>
                </a:lnTo>
                <a:lnTo>
                  <a:pt x="5001" y="2227"/>
                </a:lnTo>
                <a:close/>
                <a:moveTo>
                  <a:pt x="5342" y="2067"/>
                </a:moveTo>
                <a:lnTo>
                  <a:pt x="5339" y="2069"/>
                </a:lnTo>
                <a:lnTo>
                  <a:pt x="5335" y="2075"/>
                </a:lnTo>
                <a:lnTo>
                  <a:pt x="5333" y="2078"/>
                </a:lnTo>
                <a:lnTo>
                  <a:pt x="5330" y="2080"/>
                </a:lnTo>
                <a:lnTo>
                  <a:pt x="5328" y="2082"/>
                </a:lnTo>
                <a:lnTo>
                  <a:pt x="5325" y="2084"/>
                </a:lnTo>
                <a:lnTo>
                  <a:pt x="5319" y="2084"/>
                </a:lnTo>
                <a:lnTo>
                  <a:pt x="5313" y="2085"/>
                </a:lnTo>
                <a:lnTo>
                  <a:pt x="5301" y="2084"/>
                </a:lnTo>
                <a:lnTo>
                  <a:pt x="5280" y="2081"/>
                </a:lnTo>
                <a:lnTo>
                  <a:pt x="5280" y="2075"/>
                </a:lnTo>
                <a:lnTo>
                  <a:pt x="5278" y="2075"/>
                </a:lnTo>
                <a:lnTo>
                  <a:pt x="5275" y="2076"/>
                </a:lnTo>
                <a:lnTo>
                  <a:pt x="5270" y="2079"/>
                </a:lnTo>
                <a:lnTo>
                  <a:pt x="5266" y="2082"/>
                </a:lnTo>
                <a:lnTo>
                  <a:pt x="5263" y="2084"/>
                </a:lnTo>
                <a:lnTo>
                  <a:pt x="5261" y="2084"/>
                </a:lnTo>
                <a:lnTo>
                  <a:pt x="5260" y="2083"/>
                </a:lnTo>
                <a:lnTo>
                  <a:pt x="5260" y="2082"/>
                </a:lnTo>
                <a:lnTo>
                  <a:pt x="5259" y="2080"/>
                </a:lnTo>
                <a:lnTo>
                  <a:pt x="5258" y="2080"/>
                </a:lnTo>
                <a:lnTo>
                  <a:pt x="5257" y="2081"/>
                </a:lnTo>
                <a:lnTo>
                  <a:pt x="5257" y="2086"/>
                </a:lnTo>
                <a:lnTo>
                  <a:pt x="5253" y="2089"/>
                </a:lnTo>
                <a:lnTo>
                  <a:pt x="5249" y="2092"/>
                </a:lnTo>
                <a:lnTo>
                  <a:pt x="5248" y="2096"/>
                </a:lnTo>
                <a:lnTo>
                  <a:pt x="5248" y="2100"/>
                </a:lnTo>
                <a:lnTo>
                  <a:pt x="5248" y="2103"/>
                </a:lnTo>
                <a:lnTo>
                  <a:pt x="5249" y="2106"/>
                </a:lnTo>
                <a:lnTo>
                  <a:pt x="5251" y="2110"/>
                </a:lnTo>
                <a:lnTo>
                  <a:pt x="5252" y="2113"/>
                </a:lnTo>
                <a:lnTo>
                  <a:pt x="5252" y="2115"/>
                </a:lnTo>
                <a:lnTo>
                  <a:pt x="5250" y="2117"/>
                </a:lnTo>
                <a:lnTo>
                  <a:pt x="5247" y="2119"/>
                </a:lnTo>
                <a:lnTo>
                  <a:pt x="5245" y="2121"/>
                </a:lnTo>
                <a:lnTo>
                  <a:pt x="5243" y="2123"/>
                </a:lnTo>
                <a:lnTo>
                  <a:pt x="5243" y="2125"/>
                </a:lnTo>
                <a:lnTo>
                  <a:pt x="5242" y="2128"/>
                </a:lnTo>
                <a:lnTo>
                  <a:pt x="5243" y="2133"/>
                </a:lnTo>
                <a:lnTo>
                  <a:pt x="5243" y="2138"/>
                </a:lnTo>
                <a:lnTo>
                  <a:pt x="5243" y="2143"/>
                </a:lnTo>
                <a:lnTo>
                  <a:pt x="5242" y="2145"/>
                </a:lnTo>
                <a:lnTo>
                  <a:pt x="5241" y="2148"/>
                </a:lnTo>
                <a:lnTo>
                  <a:pt x="5239" y="2154"/>
                </a:lnTo>
                <a:lnTo>
                  <a:pt x="5236" y="2160"/>
                </a:lnTo>
                <a:lnTo>
                  <a:pt x="5235" y="2163"/>
                </a:lnTo>
                <a:lnTo>
                  <a:pt x="5235" y="2165"/>
                </a:lnTo>
                <a:lnTo>
                  <a:pt x="5234" y="2175"/>
                </a:lnTo>
                <a:lnTo>
                  <a:pt x="5234" y="2177"/>
                </a:lnTo>
                <a:lnTo>
                  <a:pt x="5235" y="2177"/>
                </a:lnTo>
                <a:lnTo>
                  <a:pt x="5239" y="2177"/>
                </a:lnTo>
                <a:lnTo>
                  <a:pt x="5240" y="2177"/>
                </a:lnTo>
                <a:lnTo>
                  <a:pt x="5242" y="2177"/>
                </a:lnTo>
                <a:lnTo>
                  <a:pt x="5246" y="2179"/>
                </a:lnTo>
                <a:lnTo>
                  <a:pt x="5243" y="2201"/>
                </a:lnTo>
                <a:lnTo>
                  <a:pt x="5240" y="2224"/>
                </a:lnTo>
                <a:lnTo>
                  <a:pt x="5247" y="2223"/>
                </a:lnTo>
                <a:lnTo>
                  <a:pt x="5252" y="2223"/>
                </a:lnTo>
                <a:lnTo>
                  <a:pt x="5257" y="2222"/>
                </a:lnTo>
                <a:lnTo>
                  <a:pt x="5260" y="2221"/>
                </a:lnTo>
                <a:lnTo>
                  <a:pt x="5262" y="2221"/>
                </a:lnTo>
                <a:lnTo>
                  <a:pt x="5263" y="2220"/>
                </a:lnTo>
                <a:lnTo>
                  <a:pt x="5264" y="2218"/>
                </a:lnTo>
                <a:lnTo>
                  <a:pt x="5265" y="2216"/>
                </a:lnTo>
                <a:lnTo>
                  <a:pt x="5266" y="2211"/>
                </a:lnTo>
                <a:lnTo>
                  <a:pt x="5266" y="2205"/>
                </a:lnTo>
                <a:lnTo>
                  <a:pt x="5260" y="2196"/>
                </a:lnTo>
                <a:lnTo>
                  <a:pt x="5261" y="2193"/>
                </a:lnTo>
                <a:lnTo>
                  <a:pt x="5261" y="2192"/>
                </a:lnTo>
                <a:lnTo>
                  <a:pt x="5262" y="2192"/>
                </a:lnTo>
                <a:lnTo>
                  <a:pt x="5263" y="2193"/>
                </a:lnTo>
                <a:lnTo>
                  <a:pt x="5265" y="2184"/>
                </a:lnTo>
                <a:lnTo>
                  <a:pt x="5266" y="2178"/>
                </a:lnTo>
                <a:lnTo>
                  <a:pt x="5268" y="2174"/>
                </a:lnTo>
                <a:lnTo>
                  <a:pt x="5270" y="2172"/>
                </a:lnTo>
                <a:lnTo>
                  <a:pt x="5271" y="2171"/>
                </a:lnTo>
                <a:lnTo>
                  <a:pt x="5272" y="2171"/>
                </a:lnTo>
                <a:lnTo>
                  <a:pt x="5274" y="2172"/>
                </a:lnTo>
                <a:lnTo>
                  <a:pt x="5276" y="2175"/>
                </a:lnTo>
                <a:lnTo>
                  <a:pt x="5277" y="2178"/>
                </a:lnTo>
                <a:lnTo>
                  <a:pt x="5280" y="2187"/>
                </a:lnTo>
                <a:lnTo>
                  <a:pt x="5283" y="2197"/>
                </a:lnTo>
                <a:lnTo>
                  <a:pt x="5284" y="2206"/>
                </a:lnTo>
                <a:lnTo>
                  <a:pt x="5285" y="2213"/>
                </a:lnTo>
                <a:lnTo>
                  <a:pt x="5288" y="2212"/>
                </a:lnTo>
                <a:lnTo>
                  <a:pt x="5291" y="2213"/>
                </a:lnTo>
                <a:lnTo>
                  <a:pt x="5294" y="2213"/>
                </a:lnTo>
                <a:lnTo>
                  <a:pt x="5295" y="2213"/>
                </a:lnTo>
                <a:lnTo>
                  <a:pt x="5297" y="2213"/>
                </a:lnTo>
                <a:lnTo>
                  <a:pt x="5297" y="2211"/>
                </a:lnTo>
                <a:lnTo>
                  <a:pt x="5297" y="2208"/>
                </a:lnTo>
                <a:lnTo>
                  <a:pt x="5297" y="2202"/>
                </a:lnTo>
                <a:lnTo>
                  <a:pt x="5305" y="2201"/>
                </a:lnTo>
                <a:lnTo>
                  <a:pt x="5308" y="2200"/>
                </a:lnTo>
                <a:lnTo>
                  <a:pt x="5311" y="2199"/>
                </a:lnTo>
                <a:lnTo>
                  <a:pt x="5312" y="2200"/>
                </a:lnTo>
                <a:lnTo>
                  <a:pt x="5313" y="2200"/>
                </a:lnTo>
                <a:lnTo>
                  <a:pt x="5313" y="2199"/>
                </a:lnTo>
                <a:lnTo>
                  <a:pt x="5313" y="2196"/>
                </a:lnTo>
                <a:lnTo>
                  <a:pt x="5310" y="2193"/>
                </a:lnTo>
                <a:lnTo>
                  <a:pt x="5306" y="2191"/>
                </a:lnTo>
                <a:lnTo>
                  <a:pt x="5302" y="2188"/>
                </a:lnTo>
                <a:lnTo>
                  <a:pt x="5300" y="2186"/>
                </a:lnTo>
                <a:lnTo>
                  <a:pt x="5299" y="2185"/>
                </a:lnTo>
                <a:lnTo>
                  <a:pt x="5299" y="2183"/>
                </a:lnTo>
                <a:lnTo>
                  <a:pt x="5299" y="2182"/>
                </a:lnTo>
                <a:lnTo>
                  <a:pt x="5301" y="2179"/>
                </a:lnTo>
                <a:lnTo>
                  <a:pt x="5303" y="2176"/>
                </a:lnTo>
                <a:lnTo>
                  <a:pt x="5303" y="2175"/>
                </a:lnTo>
                <a:lnTo>
                  <a:pt x="5302" y="2174"/>
                </a:lnTo>
                <a:lnTo>
                  <a:pt x="5300" y="2172"/>
                </a:lnTo>
                <a:lnTo>
                  <a:pt x="5296" y="2171"/>
                </a:lnTo>
                <a:lnTo>
                  <a:pt x="5293" y="2170"/>
                </a:lnTo>
                <a:lnTo>
                  <a:pt x="5292" y="2169"/>
                </a:lnTo>
                <a:lnTo>
                  <a:pt x="5291" y="2168"/>
                </a:lnTo>
                <a:lnTo>
                  <a:pt x="5290" y="2166"/>
                </a:lnTo>
                <a:lnTo>
                  <a:pt x="5290" y="2164"/>
                </a:lnTo>
                <a:lnTo>
                  <a:pt x="5289" y="2160"/>
                </a:lnTo>
                <a:lnTo>
                  <a:pt x="5289" y="2157"/>
                </a:lnTo>
                <a:lnTo>
                  <a:pt x="5288" y="2154"/>
                </a:lnTo>
                <a:lnTo>
                  <a:pt x="5277" y="2151"/>
                </a:lnTo>
                <a:lnTo>
                  <a:pt x="5277" y="2145"/>
                </a:lnTo>
                <a:lnTo>
                  <a:pt x="5280" y="2145"/>
                </a:lnTo>
                <a:lnTo>
                  <a:pt x="5284" y="2145"/>
                </a:lnTo>
                <a:lnTo>
                  <a:pt x="5287" y="2146"/>
                </a:lnTo>
                <a:lnTo>
                  <a:pt x="5291" y="2145"/>
                </a:lnTo>
                <a:lnTo>
                  <a:pt x="5293" y="2145"/>
                </a:lnTo>
                <a:lnTo>
                  <a:pt x="5295" y="2143"/>
                </a:lnTo>
                <a:lnTo>
                  <a:pt x="5298" y="2139"/>
                </a:lnTo>
                <a:lnTo>
                  <a:pt x="5301" y="2136"/>
                </a:lnTo>
                <a:lnTo>
                  <a:pt x="5303" y="2135"/>
                </a:lnTo>
                <a:lnTo>
                  <a:pt x="5305" y="2134"/>
                </a:lnTo>
                <a:lnTo>
                  <a:pt x="5305" y="2143"/>
                </a:lnTo>
                <a:lnTo>
                  <a:pt x="5311" y="2140"/>
                </a:lnTo>
                <a:lnTo>
                  <a:pt x="5314" y="2140"/>
                </a:lnTo>
                <a:lnTo>
                  <a:pt x="5316" y="2139"/>
                </a:lnTo>
                <a:lnTo>
                  <a:pt x="5319" y="2140"/>
                </a:lnTo>
                <a:lnTo>
                  <a:pt x="5310" y="2135"/>
                </a:lnTo>
                <a:lnTo>
                  <a:pt x="5308" y="2133"/>
                </a:lnTo>
                <a:lnTo>
                  <a:pt x="5307" y="2133"/>
                </a:lnTo>
                <a:lnTo>
                  <a:pt x="5307" y="2132"/>
                </a:lnTo>
                <a:lnTo>
                  <a:pt x="5308" y="2130"/>
                </a:lnTo>
                <a:lnTo>
                  <a:pt x="5310" y="2128"/>
                </a:lnTo>
                <a:lnTo>
                  <a:pt x="5316" y="2120"/>
                </a:lnTo>
                <a:lnTo>
                  <a:pt x="5306" y="2120"/>
                </a:lnTo>
                <a:lnTo>
                  <a:pt x="5299" y="2119"/>
                </a:lnTo>
                <a:lnTo>
                  <a:pt x="5295" y="2119"/>
                </a:lnTo>
                <a:lnTo>
                  <a:pt x="5291" y="2119"/>
                </a:lnTo>
                <a:lnTo>
                  <a:pt x="5287" y="2119"/>
                </a:lnTo>
                <a:lnTo>
                  <a:pt x="5282" y="2120"/>
                </a:lnTo>
                <a:lnTo>
                  <a:pt x="5281" y="2121"/>
                </a:lnTo>
                <a:lnTo>
                  <a:pt x="5281" y="2122"/>
                </a:lnTo>
                <a:lnTo>
                  <a:pt x="5279" y="2124"/>
                </a:lnTo>
                <a:lnTo>
                  <a:pt x="5278" y="2125"/>
                </a:lnTo>
                <a:lnTo>
                  <a:pt x="5276" y="2126"/>
                </a:lnTo>
                <a:lnTo>
                  <a:pt x="5274" y="2126"/>
                </a:lnTo>
                <a:lnTo>
                  <a:pt x="5271" y="2126"/>
                </a:lnTo>
                <a:lnTo>
                  <a:pt x="5271" y="2120"/>
                </a:lnTo>
                <a:lnTo>
                  <a:pt x="5263" y="2120"/>
                </a:lnTo>
                <a:lnTo>
                  <a:pt x="5264" y="2106"/>
                </a:lnTo>
                <a:lnTo>
                  <a:pt x="5266" y="2095"/>
                </a:lnTo>
                <a:lnTo>
                  <a:pt x="5274" y="2095"/>
                </a:lnTo>
                <a:lnTo>
                  <a:pt x="5284" y="2096"/>
                </a:lnTo>
                <a:lnTo>
                  <a:pt x="5303" y="2098"/>
                </a:lnTo>
                <a:lnTo>
                  <a:pt x="5313" y="2099"/>
                </a:lnTo>
                <a:lnTo>
                  <a:pt x="5321" y="2098"/>
                </a:lnTo>
                <a:lnTo>
                  <a:pt x="5325" y="2098"/>
                </a:lnTo>
                <a:lnTo>
                  <a:pt x="5329" y="2097"/>
                </a:lnTo>
                <a:lnTo>
                  <a:pt x="5333" y="2096"/>
                </a:lnTo>
                <a:lnTo>
                  <a:pt x="5336" y="2095"/>
                </a:lnTo>
                <a:lnTo>
                  <a:pt x="5336" y="2092"/>
                </a:lnTo>
                <a:lnTo>
                  <a:pt x="5340" y="2087"/>
                </a:lnTo>
                <a:lnTo>
                  <a:pt x="5346" y="2077"/>
                </a:lnTo>
                <a:lnTo>
                  <a:pt x="5348" y="2072"/>
                </a:lnTo>
                <a:lnTo>
                  <a:pt x="5349" y="2070"/>
                </a:lnTo>
                <a:lnTo>
                  <a:pt x="5349" y="2068"/>
                </a:lnTo>
                <a:lnTo>
                  <a:pt x="5348" y="2067"/>
                </a:lnTo>
                <a:lnTo>
                  <a:pt x="5347" y="2066"/>
                </a:lnTo>
                <a:lnTo>
                  <a:pt x="5344" y="2066"/>
                </a:lnTo>
                <a:lnTo>
                  <a:pt x="5342" y="2067"/>
                </a:lnTo>
                <a:close/>
                <a:moveTo>
                  <a:pt x="4804" y="1965"/>
                </a:moveTo>
                <a:lnTo>
                  <a:pt x="4804" y="1968"/>
                </a:lnTo>
                <a:lnTo>
                  <a:pt x="4803" y="1971"/>
                </a:lnTo>
                <a:lnTo>
                  <a:pt x="4802" y="1973"/>
                </a:lnTo>
                <a:lnTo>
                  <a:pt x="4801" y="1975"/>
                </a:lnTo>
                <a:lnTo>
                  <a:pt x="4802" y="1979"/>
                </a:lnTo>
                <a:lnTo>
                  <a:pt x="4802" y="1982"/>
                </a:lnTo>
                <a:lnTo>
                  <a:pt x="4803" y="1985"/>
                </a:lnTo>
                <a:lnTo>
                  <a:pt x="4807" y="1990"/>
                </a:lnTo>
                <a:lnTo>
                  <a:pt x="4811" y="1995"/>
                </a:lnTo>
                <a:lnTo>
                  <a:pt x="4816" y="2000"/>
                </a:lnTo>
                <a:lnTo>
                  <a:pt x="4827" y="2008"/>
                </a:lnTo>
                <a:lnTo>
                  <a:pt x="4831" y="2012"/>
                </a:lnTo>
                <a:lnTo>
                  <a:pt x="4835" y="2016"/>
                </a:lnTo>
                <a:lnTo>
                  <a:pt x="4838" y="2020"/>
                </a:lnTo>
                <a:lnTo>
                  <a:pt x="4840" y="2023"/>
                </a:lnTo>
                <a:lnTo>
                  <a:pt x="4844" y="2031"/>
                </a:lnTo>
                <a:lnTo>
                  <a:pt x="4847" y="2039"/>
                </a:lnTo>
                <a:lnTo>
                  <a:pt x="4849" y="2043"/>
                </a:lnTo>
                <a:lnTo>
                  <a:pt x="4852" y="2047"/>
                </a:lnTo>
                <a:lnTo>
                  <a:pt x="4854" y="2048"/>
                </a:lnTo>
                <a:lnTo>
                  <a:pt x="4856" y="2050"/>
                </a:lnTo>
                <a:lnTo>
                  <a:pt x="4862" y="2053"/>
                </a:lnTo>
                <a:lnTo>
                  <a:pt x="4868" y="2056"/>
                </a:lnTo>
                <a:lnTo>
                  <a:pt x="4871" y="2057"/>
                </a:lnTo>
                <a:lnTo>
                  <a:pt x="4872" y="2058"/>
                </a:lnTo>
                <a:lnTo>
                  <a:pt x="4873" y="2062"/>
                </a:lnTo>
                <a:lnTo>
                  <a:pt x="4874" y="2066"/>
                </a:lnTo>
                <a:lnTo>
                  <a:pt x="4874" y="2075"/>
                </a:lnTo>
                <a:lnTo>
                  <a:pt x="4875" y="2084"/>
                </a:lnTo>
                <a:lnTo>
                  <a:pt x="4876" y="2088"/>
                </a:lnTo>
                <a:lnTo>
                  <a:pt x="4877" y="2092"/>
                </a:lnTo>
                <a:lnTo>
                  <a:pt x="4879" y="2095"/>
                </a:lnTo>
                <a:lnTo>
                  <a:pt x="4882" y="2098"/>
                </a:lnTo>
                <a:lnTo>
                  <a:pt x="4888" y="2103"/>
                </a:lnTo>
                <a:lnTo>
                  <a:pt x="4895" y="2109"/>
                </a:lnTo>
                <a:lnTo>
                  <a:pt x="4898" y="2112"/>
                </a:lnTo>
                <a:lnTo>
                  <a:pt x="4900" y="2115"/>
                </a:lnTo>
                <a:lnTo>
                  <a:pt x="4903" y="2120"/>
                </a:lnTo>
                <a:lnTo>
                  <a:pt x="4906" y="2126"/>
                </a:lnTo>
                <a:lnTo>
                  <a:pt x="4910" y="2138"/>
                </a:lnTo>
                <a:lnTo>
                  <a:pt x="4914" y="2150"/>
                </a:lnTo>
                <a:lnTo>
                  <a:pt x="4917" y="2156"/>
                </a:lnTo>
                <a:lnTo>
                  <a:pt x="4920" y="2162"/>
                </a:lnTo>
                <a:lnTo>
                  <a:pt x="4922" y="2165"/>
                </a:lnTo>
                <a:lnTo>
                  <a:pt x="4925" y="2168"/>
                </a:lnTo>
                <a:lnTo>
                  <a:pt x="4929" y="2171"/>
                </a:lnTo>
                <a:lnTo>
                  <a:pt x="4931" y="2174"/>
                </a:lnTo>
                <a:lnTo>
                  <a:pt x="4933" y="2178"/>
                </a:lnTo>
                <a:lnTo>
                  <a:pt x="4934" y="2183"/>
                </a:lnTo>
                <a:lnTo>
                  <a:pt x="4936" y="2192"/>
                </a:lnTo>
                <a:lnTo>
                  <a:pt x="4938" y="2197"/>
                </a:lnTo>
                <a:lnTo>
                  <a:pt x="4939" y="2201"/>
                </a:lnTo>
                <a:lnTo>
                  <a:pt x="4942" y="2204"/>
                </a:lnTo>
                <a:lnTo>
                  <a:pt x="4945" y="2207"/>
                </a:lnTo>
                <a:lnTo>
                  <a:pt x="4947" y="2208"/>
                </a:lnTo>
                <a:lnTo>
                  <a:pt x="4949" y="2209"/>
                </a:lnTo>
                <a:lnTo>
                  <a:pt x="4953" y="2210"/>
                </a:lnTo>
                <a:lnTo>
                  <a:pt x="4958" y="2211"/>
                </a:lnTo>
                <a:lnTo>
                  <a:pt x="4960" y="2212"/>
                </a:lnTo>
                <a:lnTo>
                  <a:pt x="4962" y="2213"/>
                </a:lnTo>
                <a:lnTo>
                  <a:pt x="4962" y="2219"/>
                </a:lnTo>
                <a:lnTo>
                  <a:pt x="4970" y="2224"/>
                </a:lnTo>
                <a:lnTo>
                  <a:pt x="4975" y="2226"/>
                </a:lnTo>
                <a:lnTo>
                  <a:pt x="4977" y="2227"/>
                </a:lnTo>
                <a:lnTo>
                  <a:pt x="4979" y="2227"/>
                </a:lnTo>
                <a:lnTo>
                  <a:pt x="4978" y="2226"/>
                </a:lnTo>
                <a:lnTo>
                  <a:pt x="4977" y="2224"/>
                </a:lnTo>
                <a:lnTo>
                  <a:pt x="4977" y="2222"/>
                </a:lnTo>
                <a:lnTo>
                  <a:pt x="4978" y="2221"/>
                </a:lnTo>
                <a:lnTo>
                  <a:pt x="4979" y="2220"/>
                </a:lnTo>
                <a:lnTo>
                  <a:pt x="4982" y="2219"/>
                </a:lnTo>
                <a:lnTo>
                  <a:pt x="4988" y="2220"/>
                </a:lnTo>
                <a:lnTo>
                  <a:pt x="4994" y="2221"/>
                </a:lnTo>
                <a:lnTo>
                  <a:pt x="4998" y="2221"/>
                </a:lnTo>
                <a:lnTo>
                  <a:pt x="4998" y="2213"/>
                </a:lnTo>
                <a:lnTo>
                  <a:pt x="4998" y="2206"/>
                </a:lnTo>
                <a:lnTo>
                  <a:pt x="4998" y="2203"/>
                </a:lnTo>
                <a:lnTo>
                  <a:pt x="4997" y="2200"/>
                </a:lnTo>
                <a:lnTo>
                  <a:pt x="4995" y="2198"/>
                </a:lnTo>
                <a:lnTo>
                  <a:pt x="4993" y="2196"/>
                </a:lnTo>
                <a:lnTo>
                  <a:pt x="4993" y="2193"/>
                </a:lnTo>
                <a:lnTo>
                  <a:pt x="5001" y="2190"/>
                </a:lnTo>
                <a:lnTo>
                  <a:pt x="5003" y="2181"/>
                </a:lnTo>
                <a:lnTo>
                  <a:pt x="5004" y="2174"/>
                </a:lnTo>
                <a:lnTo>
                  <a:pt x="5000" y="2170"/>
                </a:lnTo>
                <a:lnTo>
                  <a:pt x="4997" y="2167"/>
                </a:lnTo>
                <a:lnTo>
                  <a:pt x="4996" y="2165"/>
                </a:lnTo>
                <a:lnTo>
                  <a:pt x="4995" y="2162"/>
                </a:lnTo>
                <a:lnTo>
                  <a:pt x="4996" y="2159"/>
                </a:lnTo>
                <a:lnTo>
                  <a:pt x="4996" y="2156"/>
                </a:lnTo>
                <a:lnTo>
                  <a:pt x="4996" y="2154"/>
                </a:lnTo>
                <a:lnTo>
                  <a:pt x="4987" y="2155"/>
                </a:lnTo>
                <a:lnTo>
                  <a:pt x="4982" y="2155"/>
                </a:lnTo>
                <a:lnTo>
                  <a:pt x="4980" y="2154"/>
                </a:lnTo>
                <a:lnTo>
                  <a:pt x="4979" y="2154"/>
                </a:lnTo>
                <a:lnTo>
                  <a:pt x="4978" y="2153"/>
                </a:lnTo>
                <a:lnTo>
                  <a:pt x="4977" y="2152"/>
                </a:lnTo>
                <a:lnTo>
                  <a:pt x="4976" y="2148"/>
                </a:lnTo>
                <a:lnTo>
                  <a:pt x="4975" y="2144"/>
                </a:lnTo>
                <a:lnTo>
                  <a:pt x="4975" y="2140"/>
                </a:lnTo>
                <a:lnTo>
                  <a:pt x="4975" y="2132"/>
                </a:lnTo>
                <a:lnTo>
                  <a:pt x="4976" y="2126"/>
                </a:lnTo>
                <a:lnTo>
                  <a:pt x="4965" y="2124"/>
                </a:lnTo>
                <a:lnTo>
                  <a:pt x="4956" y="2123"/>
                </a:lnTo>
                <a:lnTo>
                  <a:pt x="4959" y="2109"/>
                </a:lnTo>
                <a:lnTo>
                  <a:pt x="4958" y="2110"/>
                </a:lnTo>
                <a:lnTo>
                  <a:pt x="4958" y="2111"/>
                </a:lnTo>
                <a:lnTo>
                  <a:pt x="4958" y="2112"/>
                </a:lnTo>
                <a:lnTo>
                  <a:pt x="4959" y="2113"/>
                </a:lnTo>
                <a:lnTo>
                  <a:pt x="4962" y="2115"/>
                </a:lnTo>
                <a:lnTo>
                  <a:pt x="4962" y="2109"/>
                </a:lnTo>
                <a:lnTo>
                  <a:pt x="4962" y="2105"/>
                </a:lnTo>
                <a:lnTo>
                  <a:pt x="4961" y="2100"/>
                </a:lnTo>
                <a:lnTo>
                  <a:pt x="4959" y="2095"/>
                </a:lnTo>
                <a:lnTo>
                  <a:pt x="4957" y="2093"/>
                </a:lnTo>
                <a:lnTo>
                  <a:pt x="4955" y="2092"/>
                </a:lnTo>
                <a:lnTo>
                  <a:pt x="4952" y="2091"/>
                </a:lnTo>
                <a:lnTo>
                  <a:pt x="4951" y="2089"/>
                </a:lnTo>
                <a:lnTo>
                  <a:pt x="4951" y="2084"/>
                </a:lnTo>
                <a:lnTo>
                  <a:pt x="4945" y="2084"/>
                </a:lnTo>
                <a:lnTo>
                  <a:pt x="4945" y="2082"/>
                </a:lnTo>
                <a:lnTo>
                  <a:pt x="4945" y="2081"/>
                </a:lnTo>
                <a:lnTo>
                  <a:pt x="4947" y="2079"/>
                </a:lnTo>
                <a:lnTo>
                  <a:pt x="4948" y="2076"/>
                </a:lnTo>
                <a:lnTo>
                  <a:pt x="4948" y="2075"/>
                </a:lnTo>
                <a:lnTo>
                  <a:pt x="4948" y="2072"/>
                </a:lnTo>
                <a:lnTo>
                  <a:pt x="4941" y="2078"/>
                </a:lnTo>
                <a:lnTo>
                  <a:pt x="4937" y="2081"/>
                </a:lnTo>
                <a:lnTo>
                  <a:pt x="4934" y="2084"/>
                </a:lnTo>
                <a:lnTo>
                  <a:pt x="4933" y="2080"/>
                </a:lnTo>
                <a:lnTo>
                  <a:pt x="4933" y="2075"/>
                </a:lnTo>
                <a:lnTo>
                  <a:pt x="4932" y="2071"/>
                </a:lnTo>
                <a:lnTo>
                  <a:pt x="4931" y="2067"/>
                </a:lnTo>
                <a:lnTo>
                  <a:pt x="4930" y="2066"/>
                </a:lnTo>
                <a:lnTo>
                  <a:pt x="4929" y="2065"/>
                </a:lnTo>
                <a:lnTo>
                  <a:pt x="4925" y="2064"/>
                </a:lnTo>
                <a:lnTo>
                  <a:pt x="4922" y="2063"/>
                </a:lnTo>
                <a:lnTo>
                  <a:pt x="4920" y="2061"/>
                </a:lnTo>
                <a:lnTo>
                  <a:pt x="4918" y="2058"/>
                </a:lnTo>
                <a:lnTo>
                  <a:pt x="4917" y="2054"/>
                </a:lnTo>
                <a:lnTo>
                  <a:pt x="4916" y="2050"/>
                </a:lnTo>
                <a:lnTo>
                  <a:pt x="4915" y="2048"/>
                </a:lnTo>
                <a:lnTo>
                  <a:pt x="4914" y="2047"/>
                </a:lnTo>
                <a:lnTo>
                  <a:pt x="4913" y="2046"/>
                </a:lnTo>
                <a:lnTo>
                  <a:pt x="4912" y="2046"/>
                </a:lnTo>
                <a:lnTo>
                  <a:pt x="4911" y="2047"/>
                </a:lnTo>
                <a:lnTo>
                  <a:pt x="4911" y="2048"/>
                </a:lnTo>
                <a:lnTo>
                  <a:pt x="4911" y="2053"/>
                </a:lnTo>
                <a:lnTo>
                  <a:pt x="4905" y="2049"/>
                </a:lnTo>
                <a:lnTo>
                  <a:pt x="4902" y="2046"/>
                </a:lnTo>
                <a:lnTo>
                  <a:pt x="4900" y="2044"/>
                </a:lnTo>
                <a:lnTo>
                  <a:pt x="4899" y="2043"/>
                </a:lnTo>
                <a:lnTo>
                  <a:pt x="4899" y="2041"/>
                </a:lnTo>
                <a:lnTo>
                  <a:pt x="4900" y="2037"/>
                </a:lnTo>
                <a:lnTo>
                  <a:pt x="4900" y="2034"/>
                </a:lnTo>
                <a:lnTo>
                  <a:pt x="4900" y="2032"/>
                </a:lnTo>
                <a:lnTo>
                  <a:pt x="4900" y="2030"/>
                </a:lnTo>
                <a:lnTo>
                  <a:pt x="4899" y="2030"/>
                </a:lnTo>
                <a:lnTo>
                  <a:pt x="4896" y="2030"/>
                </a:lnTo>
                <a:lnTo>
                  <a:pt x="4892" y="2030"/>
                </a:lnTo>
                <a:lnTo>
                  <a:pt x="4891" y="2026"/>
                </a:lnTo>
                <a:lnTo>
                  <a:pt x="4892" y="2022"/>
                </a:lnTo>
                <a:lnTo>
                  <a:pt x="4884" y="2019"/>
                </a:lnTo>
                <a:lnTo>
                  <a:pt x="4880" y="2018"/>
                </a:lnTo>
                <a:lnTo>
                  <a:pt x="4877" y="2016"/>
                </a:lnTo>
                <a:lnTo>
                  <a:pt x="4877" y="2015"/>
                </a:lnTo>
                <a:lnTo>
                  <a:pt x="4876" y="2014"/>
                </a:lnTo>
                <a:lnTo>
                  <a:pt x="4876" y="2010"/>
                </a:lnTo>
                <a:lnTo>
                  <a:pt x="4876" y="2007"/>
                </a:lnTo>
                <a:lnTo>
                  <a:pt x="4875" y="2005"/>
                </a:lnTo>
                <a:lnTo>
                  <a:pt x="4866" y="1999"/>
                </a:lnTo>
                <a:lnTo>
                  <a:pt x="4858" y="1994"/>
                </a:lnTo>
                <a:lnTo>
                  <a:pt x="4856" y="1990"/>
                </a:lnTo>
                <a:lnTo>
                  <a:pt x="4855" y="1985"/>
                </a:lnTo>
                <a:lnTo>
                  <a:pt x="4854" y="1980"/>
                </a:lnTo>
                <a:lnTo>
                  <a:pt x="4853" y="1978"/>
                </a:lnTo>
                <a:lnTo>
                  <a:pt x="4852" y="1977"/>
                </a:lnTo>
                <a:lnTo>
                  <a:pt x="4849" y="1975"/>
                </a:lnTo>
                <a:lnTo>
                  <a:pt x="4845" y="1975"/>
                </a:lnTo>
                <a:lnTo>
                  <a:pt x="4838" y="1974"/>
                </a:lnTo>
                <a:lnTo>
                  <a:pt x="4829" y="1975"/>
                </a:lnTo>
                <a:lnTo>
                  <a:pt x="4825" y="1975"/>
                </a:lnTo>
                <a:lnTo>
                  <a:pt x="4821" y="1974"/>
                </a:lnTo>
                <a:lnTo>
                  <a:pt x="4820" y="1972"/>
                </a:lnTo>
                <a:lnTo>
                  <a:pt x="4818" y="1970"/>
                </a:lnTo>
                <a:lnTo>
                  <a:pt x="4817" y="1967"/>
                </a:lnTo>
                <a:lnTo>
                  <a:pt x="4816" y="1965"/>
                </a:lnTo>
                <a:lnTo>
                  <a:pt x="4813" y="1965"/>
                </a:lnTo>
                <a:lnTo>
                  <a:pt x="4810" y="1965"/>
                </a:lnTo>
                <a:lnTo>
                  <a:pt x="4807" y="1966"/>
                </a:lnTo>
                <a:lnTo>
                  <a:pt x="4806" y="1966"/>
                </a:lnTo>
                <a:lnTo>
                  <a:pt x="4804" y="1965"/>
                </a:lnTo>
                <a:close/>
                <a:moveTo>
                  <a:pt x="5356" y="1892"/>
                </a:moveTo>
                <a:lnTo>
                  <a:pt x="5355" y="1895"/>
                </a:lnTo>
                <a:lnTo>
                  <a:pt x="5355" y="1899"/>
                </a:lnTo>
                <a:lnTo>
                  <a:pt x="5356" y="1906"/>
                </a:lnTo>
                <a:lnTo>
                  <a:pt x="5353" y="1907"/>
                </a:lnTo>
                <a:lnTo>
                  <a:pt x="5350" y="1906"/>
                </a:lnTo>
                <a:lnTo>
                  <a:pt x="5347" y="1906"/>
                </a:lnTo>
                <a:lnTo>
                  <a:pt x="5346" y="1906"/>
                </a:lnTo>
                <a:lnTo>
                  <a:pt x="5344" y="1906"/>
                </a:lnTo>
                <a:lnTo>
                  <a:pt x="5344" y="1915"/>
                </a:lnTo>
                <a:lnTo>
                  <a:pt x="5339" y="1915"/>
                </a:lnTo>
                <a:lnTo>
                  <a:pt x="5335" y="1915"/>
                </a:lnTo>
                <a:lnTo>
                  <a:pt x="5331" y="1916"/>
                </a:lnTo>
                <a:lnTo>
                  <a:pt x="5325" y="1918"/>
                </a:lnTo>
                <a:lnTo>
                  <a:pt x="5323" y="1918"/>
                </a:lnTo>
                <a:lnTo>
                  <a:pt x="5323" y="1919"/>
                </a:lnTo>
                <a:lnTo>
                  <a:pt x="5325" y="1920"/>
                </a:lnTo>
                <a:lnTo>
                  <a:pt x="5325" y="1921"/>
                </a:lnTo>
                <a:lnTo>
                  <a:pt x="5322" y="1920"/>
                </a:lnTo>
                <a:lnTo>
                  <a:pt x="5322" y="1919"/>
                </a:lnTo>
                <a:lnTo>
                  <a:pt x="5322" y="1917"/>
                </a:lnTo>
                <a:lnTo>
                  <a:pt x="5321" y="1915"/>
                </a:lnTo>
                <a:lnTo>
                  <a:pt x="5320" y="1913"/>
                </a:lnTo>
                <a:lnTo>
                  <a:pt x="5318" y="1912"/>
                </a:lnTo>
                <a:lnTo>
                  <a:pt x="5315" y="1911"/>
                </a:lnTo>
                <a:lnTo>
                  <a:pt x="5313" y="1912"/>
                </a:lnTo>
                <a:lnTo>
                  <a:pt x="5311" y="1912"/>
                </a:lnTo>
                <a:lnTo>
                  <a:pt x="5310" y="1912"/>
                </a:lnTo>
                <a:lnTo>
                  <a:pt x="5309" y="1913"/>
                </a:lnTo>
                <a:lnTo>
                  <a:pt x="5308" y="1915"/>
                </a:lnTo>
                <a:lnTo>
                  <a:pt x="5305" y="1918"/>
                </a:lnTo>
                <a:lnTo>
                  <a:pt x="5303" y="1919"/>
                </a:lnTo>
                <a:lnTo>
                  <a:pt x="5299" y="1920"/>
                </a:lnTo>
                <a:lnTo>
                  <a:pt x="5294" y="1923"/>
                </a:lnTo>
                <a:lnTo>
                  <a:pt x="5293" y="1926"/>
                </a:lnTo>
                <a:lnTo>
                  <a:pt x="5293" y="1930"/>
                </a:lnTo>
                <a:lnTo>
                  <a:pt x="5294" y="1937"/>
                </a:lnTo>
                <a:lnTo>
                  <a:pt x="5291" y="1938"/>
                </a:lnTo>
                <a:lnTo>
                  <a:pt x="5289" y="1939"/>
                </a:lnTo>
                <a:lnTo>
                  <a:pt x="5289" y="1940"/>
                </a:lnTo>
                <a:lnTo>
                  <a:pt x="5289" y="1942"/>
                </a:lnTo>
                <a:lnTo>
                  <a:pt x="5290" y="1944"/>
                </a:lnTo>
                <a:lnTo>
                  <a:pt x="5291" y="1945"/>
                </a:lnTo>
                <a:lnTo>
                  <a:pt x="5292" y="1946"/>
                </a:lnTo>
                <a:lnTo>
                  <a:pt x="5294" y="1946"/>
                </a:lnTo>
                <a:lnTo>
                  <a:pt x="5302" y="1934"/>
                </a:lnTo>
                <a:lnTo>
                  <a:pt x="5301" y="1934"/>
                </a:lnTo>
                <a:lnTo>
                  <a:pt x="5301" y="1933"/>
                </a:lnTo>
                <a:lnTo>
                  <a:pt x="5302" y="1933"/>
                </a:lnTo>
                <a:lnTo>
                  <a:pt x="5304" y="1933"/>
                </a:lnTo>
                <a:lnTo>
                  <a:pt x="5306" y="1933"/>
                </a:lnTo>
                <a:lnTo>
                  <a:pt x="5307" y="1934"/>
                </a:lnTo>
                <a:lnTo>
                  <a:pt x="5307" y="1935"/>
                </a:lnTo>
                <a:lnTo>
                  <a:pt x="5306" y="1936"/>
                </a:lnTo>
                <a:lnTo>
                  <a:pt x="5305" y="1937"/>
                </a:lnTo>
                <a:lnTo>
                  <a:pt x="5313" y="1937"/>
                </a:lnTo>
                <a:lnTo>
                  <a:pt x="5319" y="1937"/>
                </a:lnTo>
                <a:lnTo>
                  <a:pt x="5324" y="1937"/>
                </a:lnTo>
                <a:lnTo>
                  <a:pt x="5330" y="1937"/>
                </a:lnTo>
                <a:lnTo>
                  <a:pt x="5330" y="1943"/>
                </a:lnTo>
                <a:lnTo>
                  <a:pt x="5325" y="1946"/>
                </a:lnTo>
                <a:lnTo>
                  <a:pt x="5326" y="1950"/>
                </a:lnTo>
                <a:lnTo>
                  <a:pt x="5327" y="1953"/>
                </a:lnTo>
                <a:lnTo>
                  <a:pt x="5327" y="1958"/>
                </a:lnTo>
                <a:lnTo>
                  <a:pt x="5328" y="1959"/>
                </a:lnTo>
                <a:lnTo>
                  <a:pt x="5329" y="1961"/>
                </a:lnTo>
                <a:lnTo>
                  <a:pt x="5330" y="1963"/>
                </a:lnTo>
                <a:lnTo>
                  <a:pt x="5333" y="1965"/>
                </a:lnTo>
                <a:lnTo>
                  <a:pt x="5337" y="1968"/>
                </a:lnTo>
                <a:lnTo>
                  <a:pt x="5340" y="1969"/>
                </a:lnTo>
                <a:lnTo>
                  <a:pt x="5350" y="1971"/>
                </a:lnTo>
                <a:lnTo>
                  <a:pt x="5350" y="1979"/>
                </a:lnTo>
                <a:lnTo>
                  <a:pt x="5354" y="1976"/>
                </a:lnTo>
                <a:lnTo>
                  <a:pt x="5355" y="1975"/>
                </a:lnTo>
                <a:lnTo>
                  <a:pt x="5356" y="1975"/>
                </a:lnTo>
                <a:lnTo>
                  <a:pt x="5358" y="1974"/>
                </a:lnTo>
                <a:lnTo>
                  <a:pt x="5357" y="1964"/>
                </a:lnTo>
                <a:lnTo>
                  <a:pt x="5356" y="1954"/>
                </a:lnTo>
                <a:lnTo>
                  <a:pt x="5359" y="1956"/>
                </a:lnTo>
                <a:lnTo>
                  <a:pt x="5361" y="1957"/>
                </a:lnTo>
                <a:lnTo>
                  <a:pt x="5363" y="1958"/>
                </a:lnTo>
                <a:lnTo>
                  <a:pt x="5364" y="1958"/>
                </a:lnTo>
                <a:lnTo>
                  <a:pt x="5364" y="1957"/>
                </a:lnTo>
                <a:lnTo>
                  <a:pt x="5363" y="1956"/>
                </a:lnTo>
                <a:lnTo>
                  <a:pt x="5362" y="1954"/>
                </a:lnTo>
                <a:lnTo>
                  <a:pt x="5359" y="1948"/>
                </a:lnTo>
                <a:lnTo>
                  <a:pt x="5359" y="1945"/>
                </a:lnTo>
                <a:lnTo>
                  <a:pt x="5358" y="1943"/>
                </a:lnTo>
                <a:lnTo>
                  <a:pt x="5364" y="1943"/>
                </a:lnTo>
                <a:lnTo>
                  <a:pt x="5367" y="1937"/>
                </a:lnTo>
                <a:lnTo>
                  <a:pt x="5370" y="1932"/>
                </a:lnTo>
                <a:lnTo>
                  <a:pt x="5371" y="1930"/>
                </a:lnTo>
                <a:lnTo>
                  <a:pt x="5373" y="1928"/>
                </a:lnTo>
                <a:lnTo>
                  <a:pt x="5375" y="1926"/>
                </a:lnTo>
                <a:lnTo>
                  <a:pt x="5376" y="1923"/>
                </a:lnTo>
                <a:lnTo>
                  <a:pt x="5377" y="1921"/>
                </a:lnTo>
                <a:lnTo>
                  <a:pt x="5377" y="1919"/>
                </a:lnTo>
                <a:lnTo>
                  <a:pt x="5375" y="1918"/>
                </a:lnTo>
                <a:lnTo>
                  <a:pt x="5374" y="1917"/>
                </a:lnTo>
                <a:lnTo>
                  <a:pt x="5373" y="1916"/>
                </a:lnTo>
                <a:lnTo>
                  <a:pt x="5371" y="1913"/>
                </a:lnTo>
                <a:lnTo>
                  <a:pt x="5369" y="1910"/>
                </a:lnTo>
                <a:lnTo>
                  <a:pt x="5368" y="1906"/>
                </a:lnTo>
                <a:lnTo>
                  <a:pt x="5367" y="1898"/>
                </a:lnTo>
                <a:lnTo>
                  <a:pt x="5367" y="1892"/>
                </a:lnTo>
                <a:lnTo>
                  <a:pt x="5361" y="1893"/>
                </a:lnTo>
                <a:lnTo>
                  <a:pt x="5358" y="1893"/>
                </a:lnTo>
                <a:lnTo>
                  <a:pt x="5356" y="1892"/>
                </a:lnTo>
                <a:close/>
                <a:moveTo>
                  <a:pt x="5246" y="1847"/>
                </a:moveTo>
                <a:lnTo>
                  <a:pt x="5245" y="1851"/>
                </a:lnTo>
                <a:lnTo>
                  <a:pt x="5246" y="1854"/>
                </a:lnTo>
                <a:lnTo>
                  <a:pt x="5246" y="1856"/>
                </a:lnTo>
                <a:lnTo>
                  <a:pt x="5246" y="1858"/>
                </a:lnTo>
                <a:lnTo>
                  <a:pt x="5240" y="1858"/>
                </a:lnTo>
                <a:lnTo>
                  <a:pt x="5237" y="1868"/>
                </a:lnTo>
                <a:lnTo>
                  <a:pt x="5233" y="1878"/>
                </a:lnTo>
                <a:lnTo>
                  <a:pt x="5231" y="1883"/>
                </a:lnTo>
                <a:lnTo>
                  <a:pt x="5228" y="1888"/>
                </a:lnTo>
                <a:lnTo>
                  <a:pt x="5226" y="1892"/>
                </a:lnTo>
                <a:lnTo>
                  <a:pt x="5223" y="1895"/>
                </a:lnTo>
                <a:lnTo>
                  <a:pt x="5222" y="1896"/>
                </a:lnTo>
                <a:lnTo>
                  <a:pt x="5219" y="1897"/>
                </a:lnTo>
                <a:lnTo>
                  <a:pt x="5215" y="1899"/>
                </a:lnTo>
                <a:lnTo>
                  <a:pt x="5210" y="1901"/>
                </a:lnTo>
                <a:lnTo>
                  <a:pt x="5208" y="1902"/>
                </a:lnTo>
                <a:lnTo>
                  <a:pt x="5207" y="1903"/>
                </a:lnTo>
                <a:lnTo>
                  <a:pt x="5204" y="1908"/>
                </a:lnTo>
                <a:lnTo>
                  <a:pt x="5203" y="1911"/>
                </a:lnTo>
                <a:lnTo>
                  <a:pt x="5204" y="1912"/>
                </a:lnTo>
                <a:lnTo>
                  <a:pt x="5205" y="1912"/>
                </a:lnTo>
                <a:lnTo>
                  <a:pt x="5207" y="1912"/>
                </a:lnTo>
                <a:lnTo>
                  <a:pt x="5218" y="1907"/>
                </a:lnTo>
                <a:lnTo>
                  <a:pt x="5224" y="1904"/>
                </a:lnTo>
                <a:lnTo>
                  <a:pt x="5227" y="1902"/>
                </a:lnTo>
                <a:lnTo>
                  <a:pt x="5229" y="1901"/>
                </a:lnTo>
                <a:lnTo>
                  <a:pt x="5230" y="1899"/>
                </a:lnTo>
                <a:lnTo>
                  <a:pt x="5231" y="1897"/>
                </a:lnTo>
                <a:lnTo>
                  <a:pt x="5232" y="1893"/>
                </a:lnTo>
                <a:lnTo>
                  <a:pt x="5233" y="1888"/>
                </a:lnTo>
                <a:lnTo>
                  <a:pt x="5234" y="1886"/>
                </a:lnTo>
                <a:lnTo>
                  <a:pt x="5235" y="1884"/>
                </a:lnTo>
                <a:lnTo>
                  <a:pt x="5236" y="1882"/>
                </a:lnTo>
                <a:lnTo>
                  <a:pt x="5238" y="1880"/>
                </a:lnTo>
                <a:lnTo>
                  <a:pt x="5244" y="1876"/>
                </a:lnTo>
                <a:lnTo>
                  <a:pt x="5249" y="1872"/>
                </a:lnTo>
                <a:lnTo>
                  <a:pt x="5251" y="1869"/>
                </a:lnTo>
                <a:lnTo>
                  <a:pt x="5252" y="1867"/>
                </a:lnTo>
                <a:lnTo>
                  <a:pt x="5251" y="1863"/>
                </a:lnTo>
                <a:lnTo>
                  <a:pt x="5249" y="1857"/>
                </a:lnTo>
                <a:lnTo>
                  <a:pt x="5247" y="1851"/>
                </a:lnTo>
                <a:lnTo>
                  <a:pt x="5246" y="1847"/>
                </a:lnTo>
                <a:close/>
                <a:moveTo>
                  <a:pt x="5271" y="1678"/>
                </a:moveTo>
                <a:lnTo>
                  <a:pt x="5269" y="1690"/>
                </a:lnTo>
                <a:lnTo>
                  <a:pt x="5269" y="1695"/>
                </a:lnTo>
                <a:lnTo>
                  <a:pt x="5269" y="1700"/>
                </a:lnTo>
                <a:lnTo>
                  <a:pt x="5269" y="1710"/>
                </a:lnTo>
                <a:lnTo>
                  <a:pt x="5268" y="1721"/>
                </a:lnTo>
                <a:lnTo>
                  <a:pt x="5263" y="1723"/>
                </a:lnTo>
                <a:lnTo>
                  <a:pt x="5262" y="1725"/>
                </a:lnTo>
                <a:lnTo>
                  <a:pt x="5262" y="1728"/>
                </a:lnTo>
                <a:lnTo>
                  <a:pt x="5263" y="1732"/>
                </a:lnTo>
                <a:lnTo>
                  <a:pt x="5264" y="1731"/>
                </a:lnTo>
                <a:lnTo>
                  <a:pt x="5265" y="1731"/>
                </a:lnTo>
                <a:lnTo>
                  <a:pt x="5265" y="1732"/>
                </a:lnTo>
                <a:lnTo>
                  <a:pt x="5266" y="1733"/>
                </a:lnTo>
                <a:lnTo>
                  <a:pt x="5266" y="1738"/>
                </a:lnTo>
                <a:lnTo>
                  <a:pt x="5261" y="1738"/>
                </a:lnTo>
                <a:lnTo>
                  <a:pt x="5259" y="1738"/>
                </a:lnTo>
                <a:lnTo>
                  <a:pt x="5260" y="1738"/>
                </a:lnTo>
                <a:lnTo>
                  <a:pt x="5255" y="1736"/>
                </a:lnTo>
                <a:lnTo>
                  <a:pt x="5253" y="1735"/>
                </a:lnTo>
                <a:lnTo>
                  <a:pt x="5254" y="1735"/>
                </a:lnTo>
                <a:lnTo>
                  <a:pt x="5253" y="1736"/>
                </a:lnTo>
                <a:lnTo>
                  <a:pt x="5252" y="1740"/>
                </a:lnTo>
                <a:lnTo>
                  <a:pt x="5252" y="1742"/>
                </a:lnTo>
                <a:lnTo>
                  <a:pt x="5253" y="1744"/>
                </a:lnTo>
                <a:lnTo>
                  <a:pt x="5254" y="1745"/>
                </a:lnTo>
                <a:lnTo>
                  <a:pt x="5256" y="1746"/>
                </a:lnTo>
                <a:lnTo>
                  <a:pt x="5257" y="1746"/>
                </a:lnTo>
                <a:lnTo>
                  <a:pt x="5261" y="1760"/>
                </a:lnTo>
                <a:lnTo>
                  <a:pt x="5263" y="1765"/>
                </a:lnTo>
                <a:lnTo>
                  <a:pt x="5266" y="1771"/>
                </a:lnTo>
                <a:lnTo>
                  <a:pt x="5267" y="1770"/>
                </a:lnTo>
                <a:lnTo>
                  <a:pt x="5267" y="1769"/>
                </a:lnTo>
                <a:lnTo>
                  <a:pt x="5269" y="1767"/>
                </a:lnTo>
                <a:lnTo>
                  <a:pt x="5270" y="1766"/>
                </a:lnTo>
                <a:lnTo>
                  <a:pt x="5272" y="1766"/>
                </a:lnTo>
                <a:lnTo>
                  <a:pt x="5274" y="1766"/>
                </a:lnTo>
                <a:lnTo>
                  <a:pt x="5272" y="1776"/>
                </a:lnTo>
                <a:lnTo>
                  <a:pt x="5271" y="1779"/>
                </a:lnTo>
                <a:lnTo>
                  <a:pt x="5271" y="1782"/>
                </a:lnTo>
                <a:lnTo>
                  <a:pt x="5272" y="1785"/>
                </a:lnTo>
                <a:lnTo>
                  <a:pt x="5273" y="1788"/>
                </a:lnTo>
                <a:lnTo>
                  <a:pt x="5277" y="1797"/>
                </a:lnTo>
                <a:lnTo>
                  <a:pt x="5288" y="1793"/>
                </a:lnTo>
                <a:lnTo>
                  <a:pt x="5291" y="1792"/>
                </a:lnTo>
                <a:lnTo>
                  <a:pt x="5294" y="1792"/>
                </a:lnTo>
                <a:lnTo>
                  <a:pt x="5296" y="1793"/>
                </a:lnTo>
                <a:lnTo>
                  <a:pt x="5299" y="1795"/>
                </a:lnTo>
                <a:lnTo>
                  <a:pt x="5308" y="1802"/>
                </a:lnTo>
                <a:lnTo>
                  <a:pt x="5307" y="1797"/>
                </a:lnTo>
                <a:lnTo>
                  <a:pt x="5305" y="1792"/>
                </a:lnTo>
                <a:lnTo>
                  <a:pt x="5305" y="1790"/>
                </a:lnTo>
                <a:lnTo>
                  <a:pt x="5306" y="1790"/>
                </a:lnTo>
                <a:lnTo>
                  <a:pt x="5308" y="1791"/>
                </a:lnTo>
                <a:lnTo>
                  <a:pt x="5310" y="1793"/>
                </a:lnTo>
                <a:lnTo>
                  <a:pt x="5313" y="1796"/>
                </a:lnTo>
                <a:lnTo>
                  <a:pt x="5317" y="1802"/>
                </a:lnTo>
                <a:lnTo>
                  <a:pt x="5321" y="1808"/>
                </a:lnTo>
                <a:lnTo>
                  <a:pt x="5325" y="1813"/>
                </a:lnTo>
                <a:lnTo>
                  <a:pt x="5326" y="1813"/>
                </a:lnTo>
                <a:lnTo>
                  <a:pt x="5327" y="1814"/>
                </a:lnTo>
                <a:lnTo>
                  <a:pt x="5330" y="1816"/>
                </a:lnTo>
                <a:lnTo>
                  <a:pt x="5331" y="1813"/>
                </a:lnTo>
                <a:lnTo>
                  <a:pt x="5330" y="1811"/>
                </a:lnTo>
                <a:lnTo>
                  <a:pt x="5331" y="1810"/>
                </a:lnTo>
                <a:lnTo>
                  <a:pt x="5333" y="1808"/>
                </a:lnTo>
                <a:lnTo>
                  <a:pt x="5327" y="1795"/>
                </a:lnTo>
                <a:lnTo>
                  <a:pt x="5326" y="1789"/>
                </a:lnTo>
                <a:lnTo>
                  <a:pt x="5325" y="1783"/>
                </a:lnTo>
                <a:lnTo>
                  <a:pt x="5313" y="1785"/>
                </a:lnTo>
                <a:lnTo>
                  <a:pt x="5313" y="1777"/>
                </a:lnTo>
                <a:lnTo>
                  <a:pt x="5306" y="1779"/>
                </a:lnTo>
                <a:lnTo>
                  <a:pt x="5300" y="1780"/>
                </a:lnTo>
                <a:lnTo>
                  <a:pt x="5295" y="1781"/>
                </a:lnTo>
                <a:lnTo>
                  <a:pt x="5288" y="1783"/>
                </a:lnTo>
                <a:lnTo>
                  <a:pt x="5287" y="1775"/>
                </a:lnTo>
                <a:lnTo>
                  <a:pt x="5286" y="1771"/>
                </a:lnTo>
                <a:lnTo>
                  <a:pt x="5286" y="1769"/>
                </a:lnTo>
                <a:lnTo>
                  <a:pt x="5285" y="1768"/>
                </a:lnTo>
                <a:lnTo>
                  <a:pt x="5285" y="1769"/>
                </a:lnTo>
                <a:lnTo>
                  <a:pt x="5284" y="1766"/>
                </a:lnTo>
                <a:lnTo>
                  <a:pt x="5282" y="1760"/>
                </a:lnTo>
                <a:lnTo>
                  <a:pt x="5285" y="1758"/>
                </a:lnTo>
                <a:lnTo>
                  <a:pt x="5286" y="1757"/>
                </a:lnTo>
                <a:lnTo>
                  <a:pt x="5286" y="1755"/>
                </a:lnTo>
                <a:lnTo>
                  <a:pt x="5285" y="1753"/>
                </a:lnTo>
                <a:lnTo>
                  <a:pt x="5283" y="1749"/>
                </a:lnTo>
                <a:lnTo>
                  <a:pt x="5283" y="1747"/>
                </a:lnTo>
                <a:lnTo>
                  <a:pt x="5282" y="1746"/>
                </a:lnTo>
                <a:lnTo>
                  <a:pt x="5285" y="1746"/>
                </a:lnTo>
                <a:lnTo>
                  <a:pt x="5289" y="1738"/>
                </a:lnTo>
                <a:lnTo>
                  <a:pt x="5294" y="1731"/>
                </a:lnTo>
                <a:lnTo>
                  <a:pt x="5299" y="1724"/>
                </a:lnTo>
                <a:lnTo>
                  <a:pt x="5302" y="1721"/>
                </a:lnTo>
                <a:lnTo>
                  <a:pt x="5305" y="1718"/>
                </a:lnTo>
                <a:lnTo>
                  <a:pt x="5305" y="1717"/>
                </a:lnTo>
                <a:lnTo>
                  <a:pt x="5305" y="1715"/>
                </a:lnTo>
                <a:lnTo>
                  <a:pt x="5302" y="1710"/>
                </a:lnTo>
                <a:lnTo>
                  <a:pt x="5297" y="1704"/>
                </a:lnTo>
                <a:lnTo>
                  <a:pt x="5296" y="1696"/>
                </a:lnTo>
                <a:lnTo>
                  <a:pt x="5297" y="1690"/>
                </a:lnTo>
                <a:lnTo>
                  <a:pt x="5298" y="1684"/>
                </a:lnTo>
                <a:lnTo>
                  <a:pt x="5299" y="1678"/>
                </a:lnTo>
                <a:lnTo>
                  <a:pt x="5297" y="1679"/>
                </a:lnTo>
                <a:lnTo>
                  <a:pt x="5296" y="1681"/>
                </a:lnTo>
                <a:lnTo>
                  <a:pt x="5294" y="1684"/>
                </a:lnTo>
                <a:lnTo>
                  <a:pt x="5290" y="1685"/>
                </a:lnTo>
                <a:lnTo>
                  <a:pt x="5287" y="1685"/>
                </a:lnTo>
                <a:lnTo>
                  <a:pt x="5284" y="1684"/>
                </a:lnTo>
                <a:lnTo>
                  <a:pt x="5282" y="1683"/>
                </a:lnTo>
                <a:lnTo>
                  <a:pt x="5277" y="1681"/>
                </a:lnTo>
                <a:lnTo>
                  <a:pt x="5271" y="1678"/>
                </a:lnTo>
                <a:close/>
                <a:moveTo>
                  <a:pt x="1635" y="1673"/>
                </a:moveTo>
                <a:lnTo>
                  <a:pt x="1630" y="1681"/>
                </a:lnTo>
                <a:lnTo>
                  <a:pt x="1635" y="1684"/>
                </a:lnTo>
                <a:lnTo>
                  <a:pt x="1640" y="1685"/>
                </a:lnTo>
                <a:lnTo>
                  <a:pt x="1644" y="1687"/>
                </a:lnTo>
                <a:lnTo>
                  <a:pt x="1649" y="1690"/>
                </a:lnTo>
                <a:lnTo>
                  <a:pt x="1649" y="1692"/>
                </a:lnTo>
                <a:lnTo>
                  <a:pt x="1652" y="1693"/>
                </a:lnTo>
                <a:lnTo>
                  <a:pt x="1655" y="1693"/>
                </a:lnTo>
                <a:lnTo>
                  <a:pt x="1660" y="1692"/>
                </a:lnTo>
                <a:lnTo>
                  <a:pt x="1665" y="1690"/>
                </a:lnTo>
                <a:lnTo>
                  <a:pt x="1669" y="1687"/>
                </a:lnTo>
                <a:lnTo>
                  <a:pt x="1671" y="1685"/>
                </a:lnTo>
                <a:lnTo>
                  <a:pt x="1671" y="1684"/>
                </a:lnTo>
                <a:lnTo>
                  <a:pt x="1671" y="1683"/>
                </a:lnTo>
                <a:lnTo>
                  <a:pt x="1670" y="1682"/>
                </a:lnTo>
                <a:lnTo>
                  <a:pt x="1669" y="1681"/>
                </a:lnTo>
                <a:lnTo>
                  <a:pt x="1663" y="1681"/>
                </a:lnTo>
                <a:lnTo>
                  <a:pt x="1663" y="1676"/>
                </a:lnTo>
                <a:lnTo>
                  <a:pt x="1660" y="1674"/>
                </a:lnTo>
                <a:lnTo>
                  <a:pt x="1657" y="1674"/>
                </a:lnTo>
                <a:lnTo>
                  <a:pt x="1650" y="1673"/>
                </a:lnTo>
                <a:lnTo>
                  <a:pt x="1643" y="1673"/>
                </a:lnTo>
                <a:lnTo>
                  <a:pt x="1639" y="1673"/>
                </a:lnTo>
                <a:lnTo>
                  <a:pt x="1635" y="1673"/>
                </a:lnTo>
                <a:close/>
                <a:moveTo>
                  <a:pt x="5083" y="1647"/>
                </a:moveTo>
                <a:lnTo>
                  <a:pt x="5080" y="1648"/>
                </a:lnTo>
                <a:lnTo>
                  <a:pt x="5075" y="1650"/>
                </a:lnTo>
                <a:lnTo>
                  <a:pt x="5071" y="1653"/>
                </a:lnTo>
                <a:lnTo>
                  <a:pt x="5066" y="1656"/>
                </a:lnTo>
                <a:lnTo>
                  <a:pt x="5056" y="1662"/>
                </a:lnTo>
                <a:lnTo>
                  <a:pt x="5049" y="1667"/>
                </a:lnTo>
                <a:lnTo>
                  <a:pt x="5052" y="1677"/>
                </a:lnTo>
                <a:lnTo>
                  <a:pt x="5054" y="1682"/>
                </a:lnTo>
                <a:lnTo>
                  <a:pt x="5056" y="1686"/>
                </a:lnTo>
                <a:lnTo>
                  <a:pt x="5058" y="1690"/>
                </a:lnTo>
                <a:lnTo>
                  <a:pt x="5060" y="1691"/>
                </a:lnTo>
                <a:lnTo>
                  <a:pt x="5062" y="1692"/>
                </a:lnTo>
                <a:lnTo>
                  <a:pt x="5065" y="1693"/>
                </a:lnTo>
                <a:lnTo>
                  <a:pt x="5067" y="1693"/>
                </a:lnTo>
                <a:lnTo>
                  <a:pt x="5071" y="1693"/>
                </a:lnTo>
                <a:lnTo>
                  <a:pt x="5074" y="1692"/>
                </a:lnTo>
                <a:lnTo>
                  <a:pt x="5077" y="1692"/>
                </a:lnTo>
                <a:lnTo>
                  <a:pt x="5079" y="1691"/>
                </a:lnTo>
                <a:lnTo>
                  <a:pt x="5083" y="1688"/>
                </a:lnTo>
                <a:lnTo>
                  <a:pt x="5086" y="1685"/>
                </a:lnTo>
                <a:lnTo>
                  <a:pt x="5088" y="1680"/>
                </a:lnTo>
                <a:lnTo>
                  <a:pt x="5090" y="1675"/>
                </a:lnTo>
                <a:lnTo>
                  <a:pt x="5091" y="1670"/>
                </a:lnTo>
                <a:lnTo>
                  <a:pt x="5094" y="1659"/>
                </a:lnTo>
                <a:lnTo>
                  <a:pt x="5095" y="1659"/>
                </a:lnTo>
                <a:lnTo>
                  <a:pt x="5096" y="1659"/>
                </a:lnTo>
                <a:lnTo>
                  <a:pt x="5097" y="1659"/>
                </a:lnTo>
                <a:lnTo>
                  <a:pt x="5098" y="1658"/>
                </a:lnTo>
                <a:lnTo>
                  <a:pt x="5100" y="1656"/>
                </a:lnTo>
                <a:lnTo>
                  <a:pt x="5100" y="1654"/>
                </a:lnTo>
                <a:lnTo>
                  <a:pt x="5099" y="1653"/>
                </a:lnTo>
                <a:lnTo>
                  <a:pt x="5098" y="1651"/>
                </a:lnTo>
                <a:lnTo>
                  <a:pt x="5095" y="1649"/>
                </a:lnTo>
                <a:lnTo>
                  <a:pt x="5093" y="1648"/>
                </a:lnTo>
                <a:lnTo>
                  <a:pt x="5090" y="1648"/>
                </a:lnTo>
                <a:lnTo>
                  <a:pt x="5083" y="1647"/>
                </a:lnTo>
                <a:close/>
                <a:moveTo>
                  <a:pt x="1551" y="1566"/>
                </a:moveTo>
                <a:lnTo>
                  <a:pt x="1545" y="1568"/>
                </a:lnTo>
                <a:lnTo>
                  <a:pt x="1542" y="1569"/>
                </a:lnTo>
                <a:lnTo>
                  <a:pt x="1540" y="1571"/>
                </a:lnTo>
                <a:lnTo>
                  <a:pt x="1538" y="1573"/>
                </a:lnTo>
                <a:lnTo>
                  <a:pt x="1536" y="1575"/>
                </a:lnTo>
                <a:lnTo>
                  <a:pt x="1532" y="1579"/>
                </a:lnTo>
                <a:lnTo>
                  <a:pt x="1529" y="1583"/>
                </a:lnTo>
                <a:lnTo>
                  <a:pt x="1526" y="1588"/>
                </a:lnTo>
                <a:lnTo>
                  <a:pt x="1523" y="1597"/>
                </a:lnTo>
                <a:lnTo>
                  <a:pt x="1525" y="1596"/>
                </a:lnTo>
                <a:lnTo>
                  <a:pt x="1526" y="1596"/>
                </a:lnTo>
                <a:lnTo>
                  <a:pt x="1530" y="1596"/>
                </a:lnTo>
                <a:lnTo>
                  <a:pt x="1533" y="1595"/>
                </a:lnTo>
                <a:lnTo>
                  <a:pt x="1535" y="1595"/>
                </a:lnTo>
                <a:lnTo>
                  <a:pt x="1537" y="1594"/>
                </a:lnTo>
                <a:lnTo>
                  <a:pt x="1537" y="1588"/>
                </a:lnTo>
                <a:lnTo>
                  <a:pt x="1542" y="1585"/>
                </a:lnTo>
                <a:lnTo>
                  <a:pt x="1544" y="1583"/>
                </a:lnTo>
                <a:lnTo>
                  <a:pt x="1546" y="1582"/>
                </a:lnTo>
                <a:lnTo>
                  <a:pt x="1554" y="1574"/>
                </a:lnTo>
                <a:lnTo>
                  <a:pt x="1558" y="1575"/>
                </a:lnTo>
                <a:lnTo>
                  <a:pt x="1562" y="1575"/>
                </a:lnTo>
                <a:lnTo>
                  <a:pt x="1566" y="1576"/>
                </a:lnTo>
                <a:lnTo>
                  <a:pt x="1571" y="1577"/>
                </a:lnTo>
                <a:lnTo>
                  <a:pt x="1572" y="1579"/>
                </a:lnTo>
                <a:lnTo>
                  <a:pt x="1573" y="1581"/>
                </a:lnTo>
                <a:lnTo>
                  <a:pt x="1575" y="1584"/>
                </a:lnTo>
                <a:lnTo>
                  <a:pt x="1576" y="1586"/>
                </a:lnTo>
                <a:lnTo>
                  <a:pt x="1579" y="1586"/>
                </a:lnTo>
                <a:lnTo>
                  <a:pt x="1582" y="1586"/>
                </a:lnTo>
                <a:lnTo>
                  <a:pt x="1585" y="1585"/>
                </a:lnTo>
                <a:lnTo>
                  <a:pt x="1587" y="1586"/>
                </a:lnTo>
                <a:lnTo>
                  <a:pt x="1590" y="1591"/>
                </a:lnTo>
                <a:lnTo>
                  <a:pt x="1592" y="1591"/>
                </a:lnTo>
                <a:lnTo>
                  <a:pt x="1595" y="1591"/>
                </a:lnTo>
                <a:lnTo>
                  <a:pt x="1597" y="1591"/>
                </a:lnTo>
                <a:lnTo>
                  <a:pt x="1599" y="1591"/>
                </a:lnTo>
                <a:lnTo>
                  <a:pt x="1601" y="1594"/>
                </a:lnTo>
                <a:lnTo>
                  <a:pt x="1603" y="1598"/>
                </a:lnTo>
                <a:lnTo>
                  <a:pt x="1605" y="1601"/>
                </a:lnTo>
                <a:lnTo>
                  <a:pt x="1607" y="1603"/>
                </a:lnTo>
                <a:lnTo>
                  <a:pt x="1608" y="1604"/>
                </a:lnTo>
                <a:lnTo>
                  <a:pt x="1610" y="1605"/>
                </a:lnTo>
                <a:lnTo>
                  <a:pt x="1615" y="1605"/>
                </a:lnTo>
                <a:lnTo>
                  <a:pt x="1620" y="1605"/>
                </a:lnTo>
                <a:lnTo>
                  <a:pt x="1625" y="1604"/>
                </a:lnTo>
                <a:lnTo>
                  <a:pt x="1628" y="1605"/>
                </a:lnTo>
                <a:lnTo>
                  <a:pt x="1630" y="1605"/>
                </a:lnTo>
                <a:lnTo>
                  <a:pt x="1630" y="1607"/>
                </a:lnTo>
                <a:lnTo>
                  <a:pt x="1630" y="1609"/>
                </a:lnTo>
                <a:lnTo>
                  <a:pt x="1630" y="1612"/>
                </a:lnTo>
                <a:lnTo>
                  <a:pt x="1630" y="1614"/>
                </a:lnTo>
                <a:lnTo>
                  <a:pt x="1631" y="1617"/>
                </a:lnTo>
                <a:lnTo>
                  <a:pt x="1634" y="1620"/>
                </a:lnTo>
                <a:lnTo>
                  <a:pt x="1637" y="1622"/>
                </a:lnTo>
                <a:lnTo>
                  <a:pt x="1640" y="1624"/>
                </a:lnTo>
                <a:lnTo>
                  <a:pt x="1648" y="1628"/>
                </a:lnTo>
                <a:lnTo>
                  <a:pt x="1655" y="1631"/>
                </a:lnTo>
                <a:lnTo>
                  <a:pt x="1653" y="1635"/>
                </a:lnTo>
                <a:lnTo>
                  <a:pt x="1651" y="1639"/>
                </a:lnTo>
                <a:lnTo>
                  <a:pt x="1647" y="1647"/>
                </a:lnTo>
                <a:lnTo>
                  <a:pt x="1661" y="1646"/>
                </a:lnTo>
                <a:lnTo>
                  <a:pt x="1676" y="1643"/>
                </a:lnTo>
                <a:lnTo>
                  <a:pt x="1691" y="1641"/>
                </a:lnTo>
                <a:lnTo>
                  <a:pt x="1706" y="1639"/>
                </a:lnTo>
                <a:lnTo>
                  <a:pt x="1703" y="1628"/>
                </a:lnTo>
                <a:lnTo>
                  <a:pt x="1693" y="1629"/>
                </a:lnTo>
                <a:lnTo>
                  <a:pt x="1687" y="1629"/>
                </a:lnTo>
                <a:lnTo>
                  <a:pt x="1685" y="1628"/>
                </a:lnTo>
                <a:lnTo>
                  <a:pt x="1683" y="1628"/>
                </a:lnTo>
                <a:lnTo>
                  <a:pt x="1680" y="1614"/>
                </a:lnTo>
                <a:lnTo>
                  <a:pt x="1676" y="1613"/>
                </a:lnTo>
                <a:lnTo>
                  <a:pt x="1672" y="1613"/>
                </a:lnTo>
                <a:lnTo>
                  <a:pt x="1663" y="1614"/>
                </a:lnTo>
                <a:lnTo>
                  <a:pt x="1663" y="1611"/>
                </a:lnTo>
                <a:lnTo>
                  <a:pt x="1662" y="1609"/>
                </a:lnTo>
                <a:lnTo>
                  <a:pt x="1662" y="1607"/>
                </a:lnTo>
                <a:lnTo>
                  <a:pt x="1661" y="1605"/>
                </a:lnTo>
                <a:lnTo>
                  <a:pt x="1657" y="1603"/>
                </a:lnTo>
                <a:lnTo>
                  <a:pt x="1653" y="1600"/>
                </a:lnTo>
                <a:lnTo>
                  <a:pt x="1645" y="1595"/>
                </a:lnTo>
                <a:lnTo>
                  <a:pt x="1636" y="1591"/>
                </a:lnTo>
                <a:lnTo>
                  <a:pt x="1631" y="1590"/>
                </a:lnTo>
                <a:lnTo>
                  <a:pt x="1627" y="1588"/>
                </a:lnTo>
                <a:lnTo>
                  <a:pt x="1625" y="1588"/>
                </a:lnTo>
                <a:lnTo>
                  <a:pt x="1623" y="1589"/>
                </a:lnTo>
                <a:lnTo>
                  <a:pt x="1620" y="1589"/>
                </a:lnTo>
                <a:lnTo>
                  <a:pt x="1619" y="1589"/>
                </a:lnTo>
                <a:lnTo>
                  <a:pt x="1618" y="1588"/>
                </a:lnTo>
                <a:lnTo>
                  <a:pt x="1617" y="1587"/>
                </a:lnTo>
                <a:lnTo>
                  <a:pt x="1616" y="1586"/>
                </a:lnTo>
                <a:lnTo>
                  <a:pt x="1614" y="1581"/>
                </a:lnTo>
                <a:lnTo>
                  <a:pt x="1612" y="1577"/>
                </a:lnTo>
                <a:lnTo>
                  <a:pt x="1610" y="1574"/>
                </a:lnTo>
                <a:lnTo>
                  <a:pt x="1606" y="1573"/>
                </a:lnTo>
                <a:lnTo>
                  <a:pt x="1598" y="1572"/>
                </a:lnTo>
                <a:lnTo>
                  <a:pt x="1579" y="1569"/>
                </a:lnTo>
                <a:lnTo>
                  <a:pt x="1560" y="1567"/>
                </a:lnTo>
                <a:lnTo>
                  <a:pt x="1551" y="1566"/>
                </a:lnTo>
                <a:close/>
                <a:moveTo>
                  <a:pt x="5280" y="1524"/>
                </a:moveTo>
                <a:lnTo>
                  <a:pt x="5277" y="1529"/>
                </a:lnTo>
                <a:lnTo>
                  <a:pt x="5274" y="1533"/>
                </a:lnTo>
                <a:lnTo>
                  <a:pt x="5269" y="1543"/>
                </a:lnTo>
                <a:lnTo>
                  <a:pt x="5264" y="1552"/>
                </a:lnTo>
                <a:lnTo>
                  <a:pt x="5262" y="1558"/>
                </a:lnTo>
                <a:lnTo>
                  <a:pt x="5260" y="1563"/>
                </a:lnTo>
                <a:lnTo>
                  <a:pt x="5259" y="1570"/>
                </a:lnTo>
                <a:lnTo>
                  <a:pt x="5258" y="1575"/>
                </a:lnTo>
                <a:lnTo>
                  <a:pt x="5258" y="1579"/>
                </a:lnTo>
                <a:lnTo>
                  <a:pt x="5259" y="1582"/>
                </a:lnTo>
                <a:lnTo>
                  <a:pt x="5260" y="1585"/>
                </a:lnTo>
                <a:lnTo>
                  <a:pt x="5261" y="1589"/>
                </a:lnTo>
                <a:lnTo>
                  <a:pt x="5266" y="1597"/>
                </a:lnTo>
                <a:lnTo>
                  <a:pt x="5271" y="1597"/>
                </a:lnTo>
                <a:lnTo>
                  <a:pt x="5275" y="1588"/>
                </a:lnTo>
                <a:lnTo>
                  <a:pt x="5278" y="1580"/>
                </a:lnTo>
                <a:lnTo>
                  <a:pt x="5281" y="1570"/>
                </a:lnTo>
                <a:lnTo>
                  <a:pt x="5283" y="1561"/>
                </a:lnTo>
                <a:lnTo>
                  <a:pt x="5285" y="1551"/>
                </a:lnTo>
                <a:lnTo>
                  <a:pt x="5287" y="1542"/>
                </a:lnTo>
                <a:lnTo>
                  <a:pt x="5288" y="1524"/>
                </a:lnTo>
                <a:lnTo>
                  <a:pt x="5284" y="1524"/>
                </a:lnTo>
                <a:lnTo>
                  <a:pt x="5280" y="1524"/>
                </a:lnTo>
                <a:close/>
                <a:moveTo>
                  <a:pt x="5448" y="1313"/>
                </a:moveTo>
                <a:lnTo>
                  <a:pt x="5443" y="1324"/>
                </a:lnTo>
                <a:lnTo>
                  <a:pt x="5441" y="1324"/>
                </a:lnTo>
                <a:lnTo>
                  <a:pt x="5440" y="1325"/>
                </a:lnTo>
                <a:lnTo>
                  <a:pt x="5439" y="1324"/>
                </a:lnTo>
                <a:lnTo>
                  <a:pt x="5438" y="1324"/>
                </a:lnTo>
                <a:lnTo>
                  <a:pt x="5436" y="1322"/>
                </a:lnTo>
                <a:lnTo>
                  <a:pt x="5434" y="1321"/>
                </a:lnTo>
                <a:lnTo>
                  <a:pt x="5435" y="1323"/>
                </a:lnTo>
                <a:lnTo>
                  <a:pt x="5434" y="1324"/>
                </a:lnTo>
                <a:lnTo>
                  <a:pt x="5434" y="1326"/>
                </a:lnTo>
                <a:lnTo>
                  <a:pt x="5433" y="1327"/>
                </a:lnTo>
                <a:lnTo>
                  <a:pt x="5431" y="1328"/>
                </a:lnTo>
                <a:lnTo>
                  <a:pt x="5432" y="1330"/>
                </a:lnTo>
                <a:lnTo>
                  <a:pt x="5434" y="1333"/>
                </a:lnTo>
                <a:lnTo>
                  <a:pt x="5436" y="1336"/>
                </a:lnTo>
                <a:lnTo>
                  <a:pt x="5440" y="1344"/>
                </a:lnTo>
                <a:lnTo>
                  <a:pt x="5437" y="1342"/>
                </a:lnTo>
                <a:lnTo>
                  <a:pt x="5436" y="1341"/>
                </a:lnTo>
                <a:lnTo>
                  <a:pt x="5435" y="1342"/>
                </a:lnTo>
                <a:lnTo>
                  <a:pt x="5435" y="1344"/>
                </a:lnTo>
                <a:lnTo>
                  <a:pt x="5436" y="1346"/>
                </a:lnTo>
                <a:lnTo>
                  <a:pt x="5437" y="1349"/>
                </a:lnTo>
                <a:lnTo>
                  <a:pt x="5438" y="1351"/>
                </a:lnTo>
                <a:lnTo>
                  <a:pt x="5440" y="1352"/>
                </a:lnTo>
                <a:lnTo>
                  <a:pt x="5441" y="1352"/>
                </a:lnTo>
                <a:lnTo>
                  <a:pt x="5442" y="1352"/>
                </a:lnTo>
                <a:lnTo>
                  <a:pt x="5443" y="1352"/>
                </a:lnTo>
                <a:lnTo>
                  <a:pt x="5445" y="1351"/>
                </a:lnTo>
                <a:lnTo>
                  <a:pt x="5448" y="1352"/>
                </a:lnTo>
                <a:lnTo>
                  <a:pt x="5448" y="1341"/>
                </a:lnTo>
                <a:lnTo>
                  <a:pt x="5447" y="1341"/>
                </a:lnTo>
                <a:lnTo>
                  <a:pt x="5446" y="1341"/>
                </a:lnTo>
                <a:lnTo>
                  <a:pt x="5445" y="1340"/>
                </a:lnTo>
                <a:lnTo>
                  <a:pt x="5446" y="1339"/>
                </a:lnTo>
                <a:lnTo>
                  <a:pt x="5447" y="1339"/>
                </a:lnTo>
                <a:lnTo>
                  <a:pt x="5448" y="1338"/>
                </a:lnTo>
                <a:lnTo>
                  <a:pt x="5451" y="1338"/>
                </a:lnTo>
                <a:lnTo>
                  <a:pt x="5451" y="1341"/>
                </a:lnTo>
                <a:lnTo>
                  <a:pt x="5451" y="1343"/>
                </a:lnTo>
                <a:lnTo>
                  <a:pt x="5451" y="1344"/>
                </a:lnTo>
                <a:lnTo>
                  <a:pt x="5452" y="1345"/>
                </a:lnTo>
                <a:lnTo>
                  <a:pt x="5454" y="1346"/>
                </a:lnTo>
                <a:lnTo>
                  <a:pt x="5447" y="1355"/>
                </a:lnTo>
                <a:lnTo>
                  <a:pt x="5445" y="1359"/>
                </a:lnTo>
                <a:lnTo>
                  <a:pt x="5444" y="1362"/>
                </a:lnTo>
                <a:lnTo>
                  <a:pt x="5443" y="1369"/>
                </a:lnTo>
                <a:lnTo>
                  <a:pt x="5443" y="1380"/>
                </a:lnTo>
                <a:lnTo>
                  <a:pt x="5445" y="1379"/>
                </a:lnTo>
                <a:lnTo>
                  <a:pt x="5446" y="1378"/>
                </a:lnTo>
                <a:lnTo>
                  <a:pt x="5448" y="1377"/>
                </a:lnTo>
                <a:lnTo>
                  <a:pt x="5450" y="1377"/>
                </a:lnTo>
                <a:lnTo>
                  <a:pt x="5451" y="1377"/>
                </a:lnTo>
                <a:lnTo>
                  <a:pt x="5450" y="1378"/>
                </a:lnTo>
                <a:lnTo>
                  <a:pt x="5449" y="1379"/>
                </a:lnTo>
                <a:lnTo>
                  <a:pt x="5448" y="1380"/>
                </a:lnTo>
                <a:lnTo>
                  <a:pt x="5448" y="1381"/>
                </a:lnTo>
                <a:lnTo>
                  <a:pt x="5449" y="1382"/>
                </a:lnTo>
                <a:lnTo>
                  <a:pt x="5451" y="1384"/>
                </a:lnTo>
                <a:lnTo>
                  <a:pt x="5454" y="1386"/>
                </a:lnTo>
                <a:lnTo>
                  <a:pt x="5456" y="1382"/>
                </a:lnTo>
                <a:lnTo>
                  <a:pt x="5460" y="1378"/>
                </a:lnTo>
                <a:lnTo>
                  <a:pt x="5463" y="1373"/>
                </a:lnTo>
                <a:lnTo>
                  <a:pt x="5464" y="1371"/>
                </a:lnTo>
                <a:lnTo>
                  <a:pt x="5465" y="1369"/>
                </a:lnTo>
                <a:lnTo>
                  <a:pt x="5466" y="1366"/>
                </a:lnTo>
                <a:lnTo>
                  <a:pt x="5466" y="1363"/>
                </a:lnTo>
                <a:lnTo>
                  <a:pt x="5467" y="1357"/>
                </a:lnTo>
                <a:lnTo>
                  <a:pt x="5467" y="1352"/>
                </a:lnTo>
                <a:lnTo>
                  <a:pt x="5467" y="1349"/>
                </a:lnTo>
                <a:lnTo>
                  <a:pt x="5468" y="1346"/>
                </a:lnTo>
                <a:lnTo>
                  <a:pt x="5474" y="1344"/>
                </a:lnTo>
                <a:lnTo>
                  <a:pt x="5474" y="1340"/>
                </a:lnTo>
                <a:lnTo>
                  <a:pt x="5472" y="1338"/>
                </a:lnTo>
                <a:lnTo>
                  <a:pt x="5471" y="1336"/>
                </a:lnTo>
                <a:lnTo>
                  <a:pt x="5471" y="1334"/>
                </a:lnTo>
                <a:lnTo>
                  <a:pt x="5471" y="1332"/>
                </a:lnTo>
                <a:lnTo>
                  <a:pt x="5465" y="1332"/>
                </a:lnTo>
                <a:lnTo>
                  <a:pt x="5466" y="1330"/>
                </a:lnTo>
                <a:lnTo>
                  <a:pt x="5468" y="1328"/>
                </a:lnTo>
                <a:lnTo>
                  <a:pt x="5468" y="1326"/>
                </a:lnTo>
                <a:lnTo>
                  <a:pt x="5469" y="1325"/>
                </a:lnTo>
                <a:lnTo>
                  <a:pt x="5469" y="1323"/>
                </a:lnTo>
                <a:lnTo>
                  <a:pt x="5468" y="1321"/>
                </a:lnTo>
                <a:lnTo>
                  <a:pt x="5464" y="1321"/>
                </a:lnTo>
                <a:lnTo>
                  <a:pt x="5460" y="1321"/>
                </a:lnTo>
                <a:lnTo>
                  <a:pt x="5458" y="1320"/>
                </a:lnTo>
                <a:lnTo>
                  <a:pt x="5457" y="1318"/>
                </a:lnTo>
                <a:lnTo>
                  <a:pt x="5456" y="1315"/>
                </a:lnTo>
                <a:lnTo>
                  <a:pt x="5455" y="1314"/>
                </a:lnTo>
                <a:lnTo>
                  <a:pt x="5454" y="1313"/>
                </a:lnTo>
                <a:lnTo>
                  <a:pt x="5451" y="1313"/>
                </a:lnTo>
                <a:lnTo>
                  <a:pt x="5448" y="1313"/>
                </a:lnTo>
                <a:close/>
                <a:moveTo>
                  <a:pt x="5628" y="1130"/>
                </a:moveTo>
                <a:lnTo>
                  <a:pt x="5628" y="1131"/>
                </a:lnTo>
                <a:lnTo>
                  <a:pt x="5628" y="1132"/>
                </a:lnTo>
                <a:lnTo>
                  <a:pt x="5628" y="1134"/>
                </a:lnTo>
                <a:lnTo>
                  <a:pt x="5629" y="1136"/>
                </a:lnTo>
                <a:lnTo>
                  <a:pt x="5628" y="1138"/>
                </a:lnTo>
                <a:lnTo>
                  <a:pt x="5627" y="1140"/>
                </a:lnTo>
                <a:lnTo>
                  <a:pt x="5625" y="1141"/>
                </a:lnTo>
                <a:lnTo>
                  <a:pt x="5620" y="1144"/>
                </a:lnTo>
                <a:lnTo>
                  <a:pt x="5622" y="1152"/>
                </a:lnTo>
                <a:lnTo>
                  <a:pt x="5623" y="1161"/>
                </a:lnTo>
                <a:lnTo>
                  <a:pt x="5618" y="1163"/>
                </a:lnTo>
                <a:lnTo>
                  <a:pt x="5616" y="1164"/>
                </a:lnTo>
                <a:lnTo>
                  <a:pt x="5614" y="1166"/>
                </a:lnTo>
                <a:lnTo>
                  <a:pt x="5617" y="1167"/>
                </a:lnTo>
                <a:lnTo>
                  <a:pt x="5620" y="1168"/>
                </a:lnTo>
                <a:lnTo>
                  <a:pt x="5622" y="1171"/>
                </a:lnTo>
                <a:lnTo>
                  <a:pt x="5623" y="1172"/>
                </a:lnTo>
                <a:lnTo>
                  <a:pt x="5623" y="1173"/>
                </a:lnTo>
                <a:lnTo>
                  <a:pt x="5623" y="1175"/>
                </a:lnTo>
                <a:lnTo>
                  <a:pt x="5622" y="1177"/>
                </a:lnTo>
                <a:lnTo>
                  <a:pt x="5620" y="1179"/>
                </a:lnTo>
                <a:lnTo>
                  <a:pt x="5618" y="1180"/>
                </a:lnTo>
                <a:lnTo>
                  <a:pt x="5617" y="1180"/>
                </a:lnTo>
                <a:lnTo>
                  <a:pt x="5618" y="1186"/>
                </a:lnTo>
                <a:lnTo>
                  <a:pt x="5617" y="1192"/>
                </a:lnTo>
                <a:lnTo>
                  <a:pt x="5597" y="1220"/>
                </a:lnTo>
                <a:lnTo>
                  <a:pt x="5592" y="1220"/>
                </a:lnTo>
                <a:lnTo>
                  <a:pt x="5591" y="1222"/>
                </a:lnTo>
                <a:lnTo>
                  <a:pt x="5590" y="1224"/>
                </a:lnTo>
                <a:lnTo>
                  <a:pt x="5590" y="1228"/>
                </a:lnTo>
                <a:lnTo>
                  <a:pt x="5590" y="1230"/>
                </a:lnTo>
                <a:lnTo>
                  <a:pt x="5589" y="1231"/>
                </a:lnTo>
                <a:lnTo>
                  <a:pt x="5588" y="1233"/>
                </a:lnTo>
                <a:lnTo>
                  <a:pt x="5586" y="1234"/>
                </a:lnTo>
                <a:lnTo>
                  <a:pt x="5586" y="1237"/>
                </a:lnTo>
                <a:lnTo>
                  <a:pt x="5584" y="1238"/>
                </a:lnTo>
                <a:lnTo>
                  <a:pt x="5583" y="1238"/>
                </a:lnTo>
                <a:lnTo>
                  <a:pt x="5579" y="1238"/>
                </a:lnTo>
                <a:lnTo>
                  <a:pt x="5576" y="1238"/>
                </a:lnTo>
                <a:lnTo>
                  <a:pt x="5572" y="1240"/>
                </a:lnTo>
                <a:lnTo>
                  <a:pt x="5572" y="1245"/>
                </a:lnTo>
                <a:lnTo>
                  <a:pt x="5567" y="1245"/>
                </a:lnTo>
                <a:lnTo>
                  <a:pt x="5561" y="1245"/>
                </a:lnTo>
                <a:lnTo>
                  <a:pt x="5561" y="1243"/>
                </a:lnTo>
                <a:lnTo>
                  <a:pt x="5561" y="1240"/>
                </a:lnTo>
                <a:lnTo>
                  <a:pt x="5561" y="1237"/>
                </a:lnTo>
                <a:lnTo>
                  <a:pt x="5561" y="1234"/>
                </a:lnTo>
                <a:lnTo>
                  <a:pt x="5562" y="1232"/>
                </a:lnTo>
                <a:lnTo>
                  <a:pt x="5565" y="1230"/>
                </a:lnTo>
                <a:lnTo>
                  <a:pt x="5568" y="1228"/>
                </a:lnTo>
                <a:lnTo>
                  <a:pt x="5569" y="1225"/>
                </a:lnTo>
                <a:lnTo>
                  <a:pt x="5566" y="1227"/>
                </a:lnTo>
                <a:lnTo>
                  <a:pt x="5562" y="1229"/>
                </a:lnTo>
                <a:lnTo>
                  <a:pt x="5558" y="1231"/>
                </a:lnTo>
                <a:lnTo>
                  <a:pt x="5556" y="1232"/>
                </a:lnTo>
                <a:lnTo>
                  <a:pt x="5555" y="1234"/>
                </a:lnTo>
                <a:lnTo>
                  <a:pt x="5555" y="1235"/>
                </a:lnTo>
                <a:lnTo>
                  <a:pt x="5555" y="1237"/>
                </a:lnTo>
                <a:lnTo>
                  <a:pt x="5555" y="1241"/>
                </a:lnTo>
                <a:lnTo>
                  <a:pt x="5555" y="1244"/>
                </a:lnTo>
                <a:lnTo>
                  <a:pt x="5555" y="1248"/>
                </a:lnTo>
                <a:lnTo>
                  <a:pt x="5555" y="1250"/>
                </a:lnTo>
                <a:lnTo>
                  <a:pt x="5553" y="1252"/>
                </a:lnTo>
                <a:lnTo>
                  <a:pt x="5550" y="1255"/>
                </a:lnTo>
                <a:lnTo>
                  <a:pt x="5546" y="1259"/>
                </a:lnTo>
                <a:lnTo>
                  <a:pt x="5544" y="1262"/>
                </a:lnTo>
                <a:lnTo>
                  <a:pt x="5544" y="1264"/>
                </a:lnTo>
                <a:lnTo>
                  <a:pt x="5544" y="1266"/>
                </a:lnTo>
                <a:lnTo>
                  <a:pt x="5545" y="1268"/>
                </a:lnTo>
                <a:lnTo>
                  <a:pt x="5547" y="1270"/>
                </a:lnTo>
                <a:lnTo>
                  <a:pt x="5547" y="1271"/>
                </a:lnTo>
                <a:lnTo>
                  <a:pt x="5547" y="1273"/>
                </a:lnTo>
                <a:lnTo>
                  <a:pt x="5547" y="1274"/>
                </a:lnTo>
                <a:lnTo>
                  <a:pt x="5546" y="1275"/>
                </a:lnTo>
                <a:lnTo>
                  <a:pt x="5544" y="1276"/>
                </a:lnTo>
                <a:lnTo>
                  <a:pt x="5543" y="1278"/>
                </a:lnTo>
                <a:lnTo>
                  <a:pt x="5541" y="1282"/>
                </a:lnTo>
                <a:lnTo>
                  <a:pt x="5531" y="1277"/>
                </a:lnTo>
                <a:lnTo>
                  <a:pt x="5527" y="1276"/>
                </a:lnTo>
                <a:lnTo>
                  <a:pt x="5524" y="1275"/>
                </a:lnTo>
                <a:lnTo>
                  <a:pt x="5520" y="1276"/>
                </a:lnTo>
                <a:lnTo>
                  <a:pt x="5518" y="1276"/>
                </a:lnTo>
                <a:lnTo>
                  <a:pt x="5516" y="1277"/>
                </a:lnTo>
                <a:lnTo>
                  <a:pt x="5505" y="1282"/>
                </a:lnTo>
                <a:lnTo>
                  <a:pt x="5505" y="1279"/>
                </a:lnTo>
                <a:lnTo>
                  <a:pt x="5505" y="1277"/>
                </a:lnTo>
                <a:lnTo>
                  <a:pt x="5504" y="1276"/>
                </a:lnTo>
                <a:lnTo>
                  <a:pt x="5502" y="1276"/>
                </a:lnTo>
                <a:lnTo>
                  <a:pt x="5497" y="1278"/>
                </a:lnTo>
                <a:lnTo>
                  <a:pt x="5495" y="1279"/>
                </a:lnTo>
                <a:lnTo>
                  <a:pt x="5493" y="1281"/>
                </a:lnTo>
                <a:lnTo>
                  <a:pt x="5489" y="1285"/>
                </a:lnTo>
                <a:lnTo>
                  <a:pt x="5485" y="1289"/>
                </a:lnTo>
                <a:lnTo>
                  <a:pt x="5477" y="1298"/>
                </a:lnTo>
                <a:lnTo>
                  <a:pt x="5473" y="1301"/>
                </a:lnTo>
                <a:lnTo>
                  <a:pt x="5468" y="1304"/>
                </a:lnTo>
                <a:lnTo>
                  <a:pt x="5466" y="1305"/>
                </a:lnTo>
                <a:lnTo>
                  <a:pt x="5464" y="1305"/>
                </a:lnTo>
                <a:lnTo>
                  <a:pt x="5463" y="1305"/>
                </a:lnTo>
                <a:lnTo>
                  <a:pt x="5462" y="1304"/>
                </a:lnTo>
                <a:lnTo>
                  <a:pt x="5459" y="1302"/>
                </a:lnTo>
                <a:lnTo>
                  <a:pt x="5457" y="1301"/>
                </a:lnTo>
                <a:lnTo>
                  <a:pt x="5457" y="1307"/>
                </a:lnTo>
                <a:lnTo>
                  <a:pt x="5457" y="1313"/>
                </a:lnTo>
                <a:lnTo>
                  <a:pt x="5467" y="1312"/>
                </a:lnTo>
                <a:lnTo>
                  <a:pt x="5474" y="1312"/>
                </a:lnTo>
                <a:lnTo>
                  <a:pt x="5482" y="1313"/>
                </a:lnTo>
                <a:lnTo>
                  <a:pt x="5483" y="1308"/>
                </a:lnTo>
                <a:lnTo>
                  <a:pt x="5484" y="1305"/>
                </a:lnTo>
                <a:lnTo>
                  <a:pt x="5485" y="1304"/>
                </a:lnTo>
                <a:lnTo>
                  <a:pt x="5498" y="1303"/>
                </a:lnTo>
                <a:lnTo>
                  <a:pt x="5508" y="1303"/>
                </a:lnTo>
                <a:lnTo>
                  <a:pt x="5516" y="1301"/>
                </a:lnTo>
                <a:lnTo>
                  <a:pt x="5533" y="1301"/>
                </a:lnTo>
                <a:lnTo>
                  <a:pt x="5532" y="1304"/>
                </a:lnTo>
                <a:lnTo>
                  <a:pt x="5531" y="1305"/>
                </a:lnTo>
                <a:lnTo>
                  <a:pt x="5527" y="1307"/>
                </a:lnTo>
                <a:lnTo>
                  <a:pt x="5528" y="1309"/>
                </a:lnTo>
                <a:lnTo>
                  <a:pt x="5528" y="1313"/>
                </a:lnTo>
                <a:lnTo>
                  <a:pt x="5527" y="1318"/>
                </a:lnTo>
                <a:lnTo>
                  <a:pt x="5530" y="1320"/>
                </a:lnTo>
                <a:lnTo>
                  <a:pt x="5531" y="1321"/>
                </a:lnTo>
                <a:lnTo>
                  <a:pt x="5531" y="1323"/>
                </a:lnTo>
                <a:lnTo>
                  <a:pt x="5533" y="1327"/>
                </a:lnTo>
                <a:lnTo>
                  <a:pt x="5534" y="1326"/>
                </a:lnTo>
                <a:lnTo>
                  <a:pt x="5535" y="1326"/>
                </a:lnTo>
                <a:lnTo>
                  <a:pt x="5538" y="1327"/>
                </a:lnTo>
                <a:lnTo>
                  <a:pt x="5541" y="1327"/>
                </a:lnTo>
                <a:lnTo>
                  <a:pt x="5544" y="1327"/>
                </a:lnTo>
                <a:lnTo>
                  <a:pt x="5545" y="1326"/>
                </a:lnTo>
                <a:lnTo>
                  <a:pt x="5546" y="1325"/>
                </a:lnTo>
                <a:lnTo>
                  <a:pt x="5547" y="1321"/>
                </a:lnTo>
                <a:lnTo>
                  <a:pt x="5548" y="1318"/>
                </a:lnTo>
                <a:lnTo>
                  <a:pt x="5549" y="1317"/>
                </a:lnTo>
                <a:lnTo>
                  <a:pt x="5550" y="1315"/>
                </a:lnTo>
                <a:lnTo>
                  <a:pt x="5552" y="1314"/>
                </a:lnTo>
                <a:lnTo>
                  <a:pt x="5555" y="1313"/>
                </a:lnTo>
                <a:lnTo>
                  <a:pt x="5558" y="1312"/>
                </a:lnTo>
                <a:lnTo>
                  <a:pt x="5561" y="1310"/>
                </a:lnTo>
                <a:lnTo>
                  <a:pt x="5559" y="1304"/>
                </a:lnTo>
                <a:lnTo>
                  <a:pt x="5558" y="1302"/>
                </a:lnTo>
                <a:lnTo>
                  <a:pt x="5558" y="1299"/>
                </a:lnTo>
                <a:lnTo>
                  <a:pt x="5564" y="1299"/>
                </a:lnTo>
                <a:lnTo>
                  <a:pt x="5567" y="1299"/>
                </a:lnTo>
                <a:lnTo>
                  <a:pt x="5570" y="1300"/>
                </a:lnTo>
                <a:lnTo>
                  <a:pt x="5572" y="1301"/>
                </a:lnTo>
                <a:lnTo>
                  <a:pt x="5570" y="1301"/>
                </a:lnTo>
                <a:lnTo>
                  <a:pt x="5569" y="1302"/>
                </a:lnTo>
                <a:lnTo>
                  <a:pt x="5569" y="1303"/>
                </a:lnTo>
                <a:lnTo>
                  <a:pt x="5569" y="1305"/>
                </a:lnTo>
                <a:lnTo>
                  <a:pt x="5569" y="1307"/>
                </a:lnTo>
                <a:lnTo>
                  <a:pt x="5571" y="1307"/>
                </a:lnTo>
                <a:lnTo>
                  <a:pt x="5572" y="1306"/>
                </a:lnTo>
                <a:lnTo>
                  <a:pt x="5573" y="1304"/>
                </a:lnTo>
                <a:lnTo>
                  <a:pt x="5574" y="1302"/>
                </a:lnTo>
                <a:lnTo>
                  <a:pt x="5575" y="1301"/>
                </a:lnTo>
                <a:lnTo>
                  <a:pt x="5578" y="1301"/>
                </a:lnTo>
                <a:lnTo>
                  <a:pt x="5582" y="1302"/>
                </a:lnTo>
                <a:lnTo>
                  <a:pt x="5585" y="1303"/>
                </a:lnTo>
                <a:lnTo>
                  <a:pt x="5589" y="1304"/>
                </a:lnTo>
                <a:lnTo>
                  <a:pt x="5593" y="1298"/>
                </a:lnTo>
                <a:lnTo>
                  <a:pt x="5595" y="1295"/>
                </a:lnTo>
                <a:lnTo>
                  <a:pt x="5597" y="1293"/>
                </a:lnTo>
                <a:lnTo>
                  <a:pt x="5600" y="1298"/>
                </a:lnTo>
                <a:lnTo>
                  <a:pt x="5601" y="1302"/>
                </a:lnTo>
                <a:lnTo>
                  <a:pt x="5601" y="1304"/>
                </a:lnTo>
                <a:lnTo>
                  <a:pt x="5600" y="1304"/>
                </a:lnTo>
                <a:lnTo>
                  <a:pt x="5606" y="1304"/>
                </a:lnTo>
                <a:lnTo>
                  <a:pt x="5607" y="1297"/>
                </a:lnTo>
                <a:lnTo>
                  <a:pt x="5607" y="1294"/>
                </a:lnTo>
                <a:lnTo>
                  <a:pt x="5609" y="1290"/>
                </a:lnTo>
                <a:lnTo>
                  <a:pt x="5617" y="1290"/>
                </a:lnTo>
                <a:lnTo>
                  <a:pt x="5618" y="1288"/>
                </a:lnTo>
                <a:lnTo>
                  <a:pt x="5618" y="1285"/>
                </a:lnTo>
                <a:lnTo>
                  <a:pt x="5618" y="1281"/>
                </a:lnTo>
                <a:lnTo>
                  <a:pt x="5618" y="1277"/>
                </a:lnTo>
                <a:lnTo>
                  <a:pt x="5618" y="1276"/>
                </a:lnTo>
                <a:lnTo>
                  <a:pt x="5619" y="1275"/>
                </a:lnTo>
                <a:lnTo>
                  <a:pt x="5620" y="1273"/>
                </a:lnTo>
                <a:lnTo>
                  <a:pt x="5621" y="1272"/>
                </a:lnTo>
                <a:lnTo>
                  <a:pt x="5622" y="1272"/>
                </a:lnTo>
                <a:lnTo>
                  <a:pt x="5623" y="1273"/>
                </a:lnTo>
                <a:lnTo>
                  <a:pt x="5624" y="1273"/>
                </a:lnTo>
                <a:lnTo>
                  <a:pt x="5625" y="1275"/>
                </a:lnTo>
                <a:lnTo>
                  <a:pt x="5626" y="1276"/>
                </a:lnTo>
                <a:lnTo>
                  <a:pt x="5624" y="1279"/>
                </a:lnTo>
                <a:lnTo>
                  <a:pt x="5620" y="1286"/>
                </a:lnTo>
                <a:lnTo>
                  <a:pt x="5619" y="1290"/>
                </a:lnTo>
                <a:lnTo>
                  <a:pt x="5619" y="1291"/>
                </a:lnTo>
                <a:lnTo>
                  <a:pt x="5619" y="1293"/>
                </a:lnTo>
                <a:lnTo>
                  <a:pt x="5619" y="1294"/>
                </a:lnTo>
                <a:lnTo>
                  <a:pt x="5620" y="1295"/>
                </a:lnTo>
                <a:lnTo>
                  <a:pt x="5621" y="1296"/>
                </a:lnTo>
                <a:lnTo>
                  <a:pt x="5623" y="1296"/>
                </a:lnTo>
                <a:lnTo>
                  <a:pt x="5631" y="1287"/>
                </a:lnTo>
                <a:lnTo>
                  <a:pt x="5635" y="1281"/>
                </a:lnTo>
                <a:lnTo>
                  <a:pt x="5635" y="1278"/>
                </a:lnTo>
                <a:lnTo>
                  <a:pt x="5636" y="1275"/>
                </a:lnTo>
                <a:lnTo>
                  <a:pt x="5635" y="1273"/>
                </a:lnTo>
                <a:lnTo>
                  <a:pt x="5634" y="1271"/>
                </a:lnTo>
                <a:lnTo>
                  <a:pt x="5632" y="1269"/>
                </a:lnTo>
                <a:lnTo>
                  <a:pt x="5628" y="1268"/>
                </a:lnTo>
                <a:lnTo>
                  <a:pt x="5631" y="1266"/>
                </a:lnTo>
                <a:lnTo>
                  <a:pt x="5632" y="1264"/>
                </a:lnTo>
                <a:lnTo>
                  <a:pt x="5632" y="1263"/>
                </a:lnTo>
                <a:lnTo>
                  <a:pt x="5632" y="1261"/>
                </a:lnTo>
                <a:lnTo>
                  <a:pt x="5631" y="1255"/>
                </a:lnTo>
                <a:lnTo>
                  <a:pt x="5631" y="1252"/>
                </a:lnTo>
                <a:lnTo>
                  <a:pt x="5631" y="1250"/>
                </a:lnTo>
                <a:lnTo>
                  <a:pt x="5631" y="1248"/>
                </a:lnTo>
                <a:lnTo>
                  <a:pt x="5637" y="1240"/>
                </a:lnTo>
                <a:lnTo>
                  <a:pt x="5637" y="1235"/>
                </a:lnTo>
                <a:lnTo>
                  <a:pt x="5637" y="1231"/>
                </a:lnTo>
                <a:lnTo>
                  <a:pt x="5637" y="1223"/>
                </a:lnTo>
                <a:lnTo>
                  <a:pt x="5636" y="1214"/>
                </a:lnTo>
                <a:lnTo>
                  <a:pt x="5636" y="1210"/>
                </a:lnTo>
                <a:lnTo>
                  <a:pt x="5637" y="1206"/>
                </a:lnTo>
                <a:lnTo>
                  <a:pt x="5638" y="1204"/>
                </a:lnTo>
                <a:lnTo>
                  <a:pt x="5639" y="1203"/>
                </a:lnTo>
                <a:lnTo>
                  <a:pt x="5642" y="1202"/>
                </a:lnTo>
                <a:lnTo>
                  <a:pt x="5645" y="1202"/>
                </a:lnTo>
                <a:lnTo>
                  <a:pt x="5647" y="1201"/>
                </a:lnTo>
                <a:lnTo>
                  <a:pt x="5648" y="1200"/>
                </a:lnTo>
                <a:lnTo>
                  <a:pt x="5649" y="1199"/>
                </a:lnTo>
                <a:lnTo>
                  <a:pt x="5649" y="1198"/>
                </a:lnTo>
                <a:lnTo>
                  <a:pt x="5647" y="1195"/>
                </a:lnTo>
                <a:lnTo>
                  <a:pt x="5645" y="1193"/>
                </a:lnTo>
                <a:lnTo>
                  <a:pt x="5645" y="1192"/>
                </a:lnTo>
                <a:lnTo>
                  <a:pt x="5651" y="1192"/>
                </a:lnTo>
                <a:lnTo>
                  <a:pt x="5653" y="1185"/>
                </a:lnTo>
                <a:lnTo>
                  <a:pt x="5654" y="1179"/>
                </a:lnTo>
                <a:lnTo>
                  <a:pt x="5655" y="1173"/>
                </a:lnTo>
                <a:lnTo>
                  <a:pt x="5655" y="1168"/>
                </a:lnTo>
                <a:lnTo>
                  <a:pt x="5654" y="1163"/>
                </a:lnTo>
                <a:lnTo>
                  <a:pt x="5653" y="1158"/>
                </a:lnTo>
                <a:lnTo>
                  <a:pt x="5648" y="1147"/>
                </a:lnTo>
                <a:lnTo>
                  <a:pt x="5647" y="1144"/>
                </a:lnTo>
                <a:lnTo>
                  <a:pt x="5647" y="1141"/>
                </a:lnTo>
                <a:lnTo>
                  <a:pt x="5646" y="1137"/>
                </a:lnTo>
                <a:lnTo>
                  <a:pt x="5645" y="1135"/>
                </a:lnTo>
                <a:lnTo>
                  <a:pt x="5628" y="1130"/>
                </a:lnTo>
                <a:close/>
                <a:moveTo>
                  <a:pt x="5651" y="1012"/>
                </a:moveTo>
                <a:lnTo>
                  <a:pt x="5650" y="1012"/>
                </a:lnTo>
                <a:lnTo>
                  <a:pt x="5649" y="1013"/>
                </a:lnTo>
                <a:lnTo>
                  <a:pt x="5648" y="1014"/>
                </a:lnTo>
                <a:lnTo>
                  <a:pt x="5647" y="1015"/>
                </a:lnTo>
                <a:lnTo>
                  <a:pt x="5646" y="1018"/>
                </a:lnTo>
                <a:lnTo>
                  <a:pt x="5645" y="1021"/>
                </a:lnTo>
                <a:lnTo>
                  <a:pt x="5646" y="1024"/>
                </a:lnTo>
                <a:lnTo>
                  <a:pt x="5646" y="1027"/>
                </a:lnTo>
                <a:lnTo>
                  <a:pt x="5647" y="1028"/>
                </a:lnTo>
                <a:lnTo>
                  <a:pt x="5648" y="1028"/>
                </a:lnTo>
                <a:lnTo>
                  <a:pt x="5651" y="1029"/>
                </a:lnTo>
                <a:lnTo>
                  <a:pt x="5651" y="1032"/>
                </a:lnTo>
                <a:lnTo>
                  <a:pt x="5652" y="1037"/>
                </a:lnTo>
                <a:lnTo>
                  <a:pt x="5652" y="1042"/>
                </a:lnTo>
                <a:lnTo>
                  <a:pt x="5652" y="1045"/>
                </a:lnTo>
                <a:lnTo>
                  <a:pt x="5651" y="1048"/>
                </a:lnTo>
                <a:lnTo>
                  <a:pt x="5647" y="1055"/>
                </a:lnTo>
                <a:lnTo>
                  <a:pt x="5644" y="1060"/>
                </a:lnTo>
                <a:lnTo>
                  <a:pt x="5642" y="1062"/>
                </a:lnTo>
                <a:lnTo>
                  <a:pt x="5643" y="1066"/>
                </a:lnTo>
                <a:lnTo>
                  <a:pt x="5644" y="1068"/>
                </a:lnTo>
                <a:lnTo>
                  <a:pt x="5645" y="1070"/>
                </a:lnTo>
                <a:lnTo>
                  <a:pt x="5645" y="1071"/>
                </a:lnTo>
                <a:lnTo>
                  <a:pt x="5645" y="1074"/>
                </a:lnTo>
                <a:lnTo>
                  <a:pt x="5643" y="1074"/>
                </a:lnTo>
                <a:lnTo>
                  <a:pt x="5642" y="1076"/>
                </a:lnTo>
                <a:lnTo>
                  <a:pt x="5641" y="1077"/>
                </a:lnTo>
                <a:lnTo>
                  <a:pt x="5640" y="1079"/>
                </a:lnTo>
                <a:lnTo>
                  <a:pt x="5636" y="1077"/>
                </a:lnTo>
                <a:lnTo>
                  <a:pt x="5634" y="1075"/>
                </a:lnTo>
                <a:lnTo>
                  <a:pt x="5633" y="1074"/>
                </a:lnTo>
                <a:lnTo>
                  <a:pt x="5634" y="1074"/>
                </a:lnTo>
                <a:lnTo>
                  <a:pt x="5627" y="1073"/>
                </a:lnTo>
                <a:lnTo>
                  <a:pt x="5623" y="1074"/>
                </a:lnTo>
                <a:lnTo>
                  <a:pt x="5624" y="1076"/>
                </a:lnTo>
                <a:lnTo>
                  <a:pt x="5624" y="1078"/>
                </a:lnTo>
                <a:lnTo>
                  <a:pt x="5626" y="1082"/>
                </a:lnTo>
                <a:lnTo>
                  <a:pt x="5623" y="1084"/>
                </a:lnTo>
                <a:lnTo>
                  <a:pt x="5620" y="1085"/>
                </a:lnTo>
                <a:lnTo>
                  <a:pt x="5614" y="1088"/>
                </a:lnTo>
                <a:lnTo>
                  <a:pt x="5619" y="1095"/>
                </a:lnTo>
                <a:lnTo>
                  <a:pt x="5622" y="1099"/>
                </a:lnTo>
                <a:lnTo>
                  <a:pt x="5623" y="1102"/>
                </a:lnTo>
                <a:lnTo>
                  <a:pt x="5623" y="1104"/>
                </a:lnTo>
                <a:lnTo>
                  <a:pt x="5623" y="1105"/>
                </a:lnTo>
                <a:lnTo>
                  <a:pt x="5623" y="1107"/>
                </a:lnTo>
                <a:lnTo>
                  <a:pt x="5622" y="1109"/>
                </a:lnTo>
                <a:lnTo>
                  <a:pt x="5621" y="1111"/>
                </a:lnTo>
                <a:lnTo>
                  <a:pt x="5620" y="1113"/>
                </a:lnTo>
                <a:lnTo>
                  <a:pt x="5620" y="1114"/>
                </a:lnTo>
                <a:lnTo>
                  <a:pt x="5621" y="1115"/>
                </a:lnTo>
                <a:lnTo>
                  <a:pt x="5625" y="1114"/>
                </a:lnTo>
                <a:lnTo>
                  <a:pt x="5631" y="1113"/>
                </a:lnTo>
                <a:lnTo>
                  <a:pt x="5640" y="1110"/>
                </a:lnTo>
                <a:lnTo>
                  <a:pt x="5641" y="1110"/>
                </a:lnTo>
                <a:lnTo>
                  <a:pt x="5642" y="1109"/>
                </a:lnTo>
                <a:lnTo>
                  <a:pt x="5642" y="1108"/>
                </a:lnTo>
                <a:lnTo>
                  <a:pt x="5641" y="1106"/>
                </a:lnTo>
                <a:lnTo>
                  <a:pt x="5639" y="1105"/>
                </a:lnTo>
                <a:lnTo>
                  <a:pt x="5633" y="1103"/>
                </a:lnTo>
                <a:lnTo>
                  <a:pt x="5628" y="1102"/>
                </a:lnTo>
                <a:lnTo>
                  <a:pt x="5628" y="1101"/>
                </a:lnTo>
                <a:lnTo>
                  <a:pt x="5628" y="1100"/>
                </a:lnTo>
                <a:lnTo>
                  <a:pt x="5628" y="1097"/>
                </a:lnTo>
                <a:lnTo>
                  <a:pt x="5629" y="1095"/>
                </a:lnTo>
                <a:lnTo>
                  <a:pt x="5628" y="1093"/>
                </a:lnTo>
                <a:lnTo>
                  <a:pt x="5634" y="1092"/>
                </a:lnTo>
                <a:lnTo>
                  <a:pt x="5640" y="1090"/>
                </a:lnTo>
                <a:lnTo>
                  <a:pt x="5643" y="1090"/>
                </a:lnTo>
                <a:lnTo>
                  <a:pt x="5647" y="1089"/>
                </a:lnTo>
                <a:lnTo>
                  <a:pt x="5650" y="1089"/>
                </a:lnTo>
                <a:lnTo>
                  <a:pt x="5654" y="1090"/>
                </a:lnTo>
                <a:lnTo>
                  <a:pt x="5659" y="1102"/>
                </a:lnTo>
                <a:lnTo>
                  <a:pt x="5669" y="1101"/>
                </a:lnTo>
                <a:lnTo>
                  <a:pt x="5674" y="1101"/>
                </a:lnTo>
                <a:lnTo>
                  <a:pt x="5679" y="1102"/>
                </a:lnTo>
                <a:lnTo>
                  <a:pt x="5681" y="1096"/>
                </a:lnTo>
                <a:lnTo>
                  <a:pt x="5682" y="1092"/>
                </a:lnTo>
                <a:lnTo>
                  <a:pt x="5684" y="1088"/>
                </a:lnTo>
                <a:lnTo>
                  <a:pt x="5685" y="1087"/>
                </a:lnTo>
                <a:lnTo>
                  <a:pt x="5687" y="1085"/>
                </a:lnTo>
                <a:lnTo>
                  <a:pt x="5691" y="1083"/>
                </a:lnTo>
                <a:lnTo>
                  <a:pt x="5695" y="1081"/>
                </a:lnTo>
                <a:lnTo>
                  <a:pt x="5702" y="1080"/>
                </a:lnTo>
                <a:lnTo>
                  <a:pt x="5711" y="1078"/>
                </a:lnTo>
                <a:lnTo>
                  <a:pt x="5717" y="1078"/>
                </a:lnTo>
                <a:lnTo>
                  <a:pt x="5722" y="1076"/>
                </a:lnTo>
                <a:lnTo>
                  <a:pt x="5720" y="1073"/>
                </a:lnTo>
                <a:lnTo>
                  <a:pt x="5719" y="1071"/>
                </a:lnTo>
                <a:lnTo>
                  <a:pt x="5713" y="1068"/>
                </a:lnTo>
                <a:lnTo>
                  <a:pt x="5714" y="1065"/>
                </a:lnTo>
                <a:lnTo>
                  <a:pt x="5716" y="1062"/>
                </a:lnTo>
                <a:lnTo>
                  <a:pt x="5717" y="1060"/>
                </a:lnTo>
                <a:lnTo>
                  <a:pt x="5717" y="1057"/>
                </a:lnTo>
                <a:lnTo>
                  <a:pt x="5714" y="1057"/>
                </a:lnTo>
                <a:lnTo>
                  <a:pt x="5713" y="1057"/>
                </a:lnTo>
                <a:lnTo>
                  <a:pt x="5710" y="1059"/>
                </a:lnTo>
                <a:lnTo>
                  <a:pt x="5706" y="1060"/>
                </a:lnTo>
                <a:lnTo>
                  <a:pt x="5704" y="1060"/>
                </a:lnTo>
                <a:lnTo>
                  <a:pt x="5702" y="1059"/>
                </a:lnTo>
                <a:lnTo>
                  <a:pt x="5700" y="1058"/>
                </a:lnTo>
                <a:lnTo>
                  <a:pt x="5700" y="1056"/>
                </a:lnTo>
                <a:lnTo>
                  <a:pt x="5699" y="1054"/>
                </a:lnTo>
                <a:lnTo>
                  <a:pt x="5699" y="1051"/>
                </a:lnTo>
                <a:lnTo>
                  <a:pt x="5692" y="1051"/>
                </a:lnTo>
                <a:lnTo>
                  <a:pt x="5686" y="1051"/>
                </a:lnTo>
                <a:lnTo>
                  <a:pt x="5681" y="1050"/>
                </a:lnTo>
                <a:lnTo>
                  <a:pt x="5679" y="1049"/>
                </a:lnTo>
                <a:lnTo>
                  <a:pt x="5676" y="1048"/>
                </a:lnTo>
                <a:lnTo>
                  <a:pt x="5675" y="1047"/>
                </a:lnTo>
                <a:lnTo>
                  <a:pt x="5673" y="1045"/>
                </a:lnTo>
                <a:lnTo>
                  <a:pt x="5671" y="1039"/>
                </a:lnTo>
                <a:lnTo>
                  <a:pt x="5670" y="1033"/>
                </a:lnTo>
                <a:lnTo>
                  <a:pt x="5668" y="1029"/>
                </a:lnTo>
                <a:lnTo>
                  <a:pt x="5664" y="1024"/>
                </a:lnTo>
                <a:lnTo>
                  <a:pt x="5660" y="1020"/>
                </a:lnTo>
                <a:lnTo>
                  <a:pt x="5655" y="1016"/>
                </a:lnTo>
                <a:lnTo>
                  <a:pt x="5651" y="1012"/>
                </a:lnTo>
                <a:close/>
                <a:moveTo>
                  <a:pt x="5673" y="777"/>
                </a:moveTo>
                <a:lnTo>
                  <a:pt x="5671" y="781"/>
                </a:lnTo>
                <a:lnTo>
                  <a:pt x="5670" y="783"/>
                </a:lnTo>
                <a:lnTo>
                  <a:pt x="5668" y="783"/>
                </a:lnTo>
                <a:lnTo>
                  <a:pt x="5665" y="786"/>
                </a:lnTo>
                <a:lnTo>
                  <a:pt x="5667" y="790"/>
                </a:lnTo>
                <a:lnTo>
                  <a:pt x="5669" y="796"/>
                </a:lnTo>
                <a:lnTo>
                  <a:pt x="5670" y="798"/>
                </a:lnTo>
                <a:lnTo>
                  <a:pt x="5671" y="801"/>
                </a:lnTo>
                <a:lnTo>
                  <a:pt x="5671" y="805"/>
                </a:lnTo>
                <a:lnTo>
                  <a:pt x="5671" y="808"/>
                </a:lnTo>
                <a:lnTo>
                  <a:pt x="5669" y="809"/>
                </a:lnTo>
                <a:lnTo>
                  <a:pt x="5664" y="813"/>
                </a:lnTo>
                <a:lnTo>
                  <a:pt x="5662" y="815"/>
                </a:lnTo>
                <a:lnTo>
                  <a:pt x="5660" y="817"/>
                </a:lnTo>
                <a:lnTo>
                  <a:pt x="5658" y="820"/>
                </a:lnTo>
                <a:lnTo>
                  <a:pt x="5657" y="822"/>
                </a:lnTo>
                <a:lnTo>
                  <a:pt x="5655" y="828"/>
                </a:lnTo>
                <a:lnTo>
                  <a:pt x="5655" y="834"/>
                </a:lnTo>
                <a:lnTo>
                  <a:pt x="5655" y="839"/>
                </a:lnTo>
                <a:lnTo>
                  <a:pt x="5655" y="844"/>
                </a:lnTo>
                <a:lnTo>
                  <a:pt x="5656" y="849"/>
                </a:lnTo>
                <a:lnTo>
                  <a:pt x="5658" y="853"/>
                </a:lnTo>
                <a:lnTo>
                  <a:pt x="5659" y="857"/>
                </a:lnTo>
                <a:lnTo>
                  <a:pt x="5659" y="862"/>
                </a:lnTo>
                <a:lnTo>
                  <a:pt x="5660" y="870"/>
                </a:lnTo>
                <a:lnTo>
                  <a:pt x="5660" y="878"/>
                </a:lnTo>
                <a:lnTo>
                  <a:pt x="5659" y="894"/>
                </a:lnTo>
                <a:lnTo>
                  <a:pt x="5658" y="909"/>
                </a:lnTo>
                <a:lnTo>
                  <a:pt x="5657" y="922"/>
                </a:lnTo>
                <a:lnTo>
                  <a:pt x="5658" y="921"/>
                </a:lnTo>
                <a:lnTo>
                  <a:pt x="5659" y="922"/>
                </a:lnTo>
                <a:lnTo>
                  <a:pt x="5659" y="924"/>
                </a:lnTo>
                <a:lnTo>
                  <a:pt x="5660" y="925"/>
                </a:lnTo>
                <a:lnTo>
                  <a:pt x="5659" y="930"/>
                </a:lnTo>
                <a:lnTo>
                  <a:pt x="5659" y="933"/>
                </a:lnTo>
                <a:lnTo>
                  <a:pt x="5658" y="934"/>
                </a:lnTo>
                <a:lnTo>
                  <a:pt x="5657" y="936"/>
                </a:lnTo>
                <a:lnTo>
                  <a:pt x="5657" y="939"/>
                </a:lnTo>
                <a:lnTo>
                  <a:pt x="5662" y="950"/>
                </a:lnTo>
                <a:lnTo>
                  <a:pt x="5662" y="955"/>
                </a:lnTo>
                <a:lnTo>
                  <a:pt x="5661" y="962"/>
                </a:lnTo>
                <a:lnTo>
                  <a:pt x="5659" y="975"/>
                </a:lnTo>
                <a:lnTo>
                  <a:pt x="5656" y="990"/>
                </a:lnTo>
                <a:lnTo>
                  <a:pt x="5654" y="1003"/>
                </a:lnTo>
                <a:lnTo>
                  <a:pt x="5657" y="997"/>
                </a:lnTo>
                <a:lnTo>
                  <a:pt x="5660" y="992"/>
                </a:lnTo>
                <a:lnTo>
                  <a:pt x="5662" y="989"/>
                </a:lnTo>
                <a:lnTo>
                  <a:pt x="5663" y="989"/>
                </a:lnTo>
                <a:lnTo>
                  <a:pt x="5663" y="988"/>
                </a:lnTo>
                <a:lnTo>
                  <a:pt x="5664" y="988"/>
                </a:lnTo>
                <a:lnTo>
                  <a:pt x="5666" y="989"/>
                </a:lnTo>
                <a:lnTo>
                  <a:pt x="5668" y="991"/>
                </a:lnTo>
                <a:lnTo>
                  <a:pt x="5676" y="998"/>
                </a:lnTo>
                <a:lnTo>
                  <a:pt x="5677" y="999"/>
                </a:lnTo>
                <a:lnTo>
                  <a:pt x="5679" y="1002"/>
                </a:lnTo>
                <a:lnTo>
                  <a:pt x="5682" y="1006"/>
                </a:lnTo>
                <a:lnTo>
                  <a:pt x="5681" y="1002"/>
                </a:lnTo>
                <a:lnTo>
                  <a:pt x="5682" y="999"/>
                </a:lnTo>
                <a:lnTo>
                  <a:pt x="5682" y="996"/>
                </a:lnTo>
                <a:lnTo>
                  <a:pt x="5682" y="992"/>
                </a:lnTo>
                <a:lnTo>
                  <a:pt x="5679" y="987"/>
                </a:lnTo>
                <a:lnTo>
                  <a:pt x="5675" y="980"/>
                </a:lnTo>
                <a:lnTo>
                  <a:pt x="5670" y="973"/>
                </a:lnTo>
                <a:lnTo>
                  <a:pt x="5669" y="970"/>
                </a:lnTo>
                <a:lnTo>
                  <a:pt x="5668" y="967"/>
                </a:lnTo>
                <a:lnTo>
                  <a:pt x="5667" y="960"/>
                </a:lnTo>
                <a:lnTo>
                  <a:pt x="5668" y="954"/>
                </a:lnTo>
                <a:lnTo>
                  <a:pt x="5669" y="947"/>
                </a:lnTo>
                <a:lnTo>
                  <a:pt x="5670" y="941"/>
                </a:lnTo>
                <a:lnTo>
                  <a:pt x="5673" y="929"/>
                </a:lnTo>
                <a:lnTo>
                  <a:pt x="5675" y="923"/>
                </a:lnTo>
                <a:lnTo>
                  <a:pt x="5676" y="916"/>
                </a:lnTo>
                <a:lnTo>
                  <a:pt x="5679" y="915"/>
                </a:lnTo>
                <a:lnTo>
                  <a:pt x="5679" y="913"/>
                </a:lnTo>
                <a:lnTo>
                  <a:pt x="5679" y="910"/>
                </a:lnTo>
                <a:lnTo>
                  <a:pt x="5682" y="911"/>
                </a:lnTo>
                <a:lnTo>
                  <a:pt x="5686" y="910"/>
                </a:lnTo>
                <a:lnTo>
                  <a:pt x="5690" y="910"/>
                </a:lnTo>
                <a:lnTo>
                  <a:pt x="5692" y="910"/>
                </a:lnTo>
                <a:lnTo>
                  <a:pt x="5693" y="910"/>
                </a:lnTo>
                <a:lnTo>
                  <a:pt x="5695" y="912"/>
                </a:lnTo>
                <a:lnTo>
                  <a:pt x="5699" y="915"/>
                </a:lnTo>
                <a:lnTo>
                  <a:pt x="5704" y="922"/>
                </a:lnTo>
                <a:lnTo>
                  <a:pt x="5701" y="915"/>
                </a:lnTo>
                <a:lnTo>
                  <a:pt x="5697" y="906"/>
                </a:lnTo>
                <a:lnTo>
                  <a:pt x="5695" y="902"/>
                </a:lnTo>
                <a:lnTo>
                  <a:pt x="5693" y="898"/>
                </a:lnTo>
                <a:lnTo>
                  <a:pt x="5690" y="895"/>
                </a:lnTo>
                <a:lnTo>
                  <a:pt x="5687" y="893"/>
                </a:lnTo>
                <a:lnTo>
                  <a:pt x="5685" y="893"/>
                </a:lnTo>
                <a:lnTo>
                  <a:pt x="5684" y="889"/>
                </a:lnTo>
                <a:lnTo>
                  <a:pt x="5684" y="882"/>
                </a:lnTo>
                <a:lnTo>
                  <a:pt x="5685" y="864"/>
                </a:lnTo>
                <a:lnTo>
                  <a:pt x="5685" y="848"/>
                </a:lnTo>
                <a:lnTo>
                  <a:pt x="5684" y="843"/>
                </a:lnTo>
                <a:lnTo>
                  <a:pt x="5683" y="840"/>
                </a:lnTo>
                <a:lnTo>
                  <a:pt x="5682" y="839"/>
                </a:lnTo>
                <a:lnTo>
                  <a:pt x="5683" y="836"/>
                </a:lnTo>
                <a:lnTo>
                  <a:pt x="5685" y="833"/>
                </a:lnTo>
                <a:lnTo>
                  <a:pt x="5687" y="829"/>
                </a:lnTo>
                <a:lnTo>
                  <a:pt x="5687" y="827"/>
                </a:lnTo>
                <a:lnTo>
                  <a:pt x="5687" y="825"/>
                </a:lnTo>
                <a:lnTo>
                  <a:pt x="5687" y="823"/>
                </a:lnTo>
                <a:lnTo>
                  <a:pt x="5686" y="821"/>
                </a:lnTo>
                <a:lnTo>
                  <a:pt x="5682" y="815"/>
                </a:lnTo>
                <a:lnTo>
                  <a:pt x="5678" y="810"/>
                </a:lnTo>
                <a:lnTo>
                  <a:pt x="5677" y="807"/>
                </a:lnTo>
                <a:lnTo>
                  <a:pt x="5676" y="805"/>
                </a:lnTo>
                <a:lnTo>
                  <a:pt x="5676" y="803"/>
                </a:lnTo>
                <a:lnTo>
                  <a:pt x="5677" y="801"/>
                </a:lnTo>
                <a:lnTo>
                  <a:pt x="5679" y="797"/>
                </a:lnTo>
                <a:lnTo>
                  <a:pt x="5681" y="793"/>
                </a:lnTo>
                <a:lnTo>
                  <a:pt x="5682" y="788"/>
                </a:lnTo>
                <a:lnTo>
                  <a:pt x="5681" y="787"/>
                </a:lnTo>
                <a:lnTo>
                  <a:pt x="5681" y="786"/>
                </a:lnTo>
                <a:lnTo>
                  <a:pt x="5678" y="783"/>
                </a:lnTo>
                <a:lnTo>
                  <a:pt x="5675" y="780"/>
                </a:lnTo>
                <a:lnTo>
                  <a:pt x="5673" y="777"/>
                </a:lnTo>
                <a:close/>
                <a:moveTo>
                  <a:pt x="2998" y="634"/>
                </a:moveTo>
                <a:lnTo>
                  <a:pt x="2994" y="638"/>
                </a:lnTo>
                <a:lnTo>
                  <a:pt x="2991" y="641"/>
                </a:lnTo>
                <a:lnTo>
                  <a:pt x="2989" y="642"/>
                </a:lnTo>
                <a:lnTo>
                  <a:pt x="2981" y="636"/>
                </a:lnTo>
                <a:lnTo>
                  <a:pt x="2980" y="639"/>
                </a:lnTo>
                <a:lnTo>
                  <a:pt x="2981" y="642"/>
                </a:lnTo>
                <a:lnTo>
                  <a:pt x="2981" y="645"/>
                </a:lnTo>
                <a:lnTo>
                  <a:pt x="2981" y="648"/>
                </a:lnTo>
                <a:lnTo>
                  <a:pt x="2975" y="651"/>
                </a:lnTo>
                <a:lnTo>
                  <a:pt x="2974" y="653"/>
                </a:lnTo>
                <a:lnTo>
                  <a:pt x="2973" y="655"/>
                </a:lnTo>
                <a:lnTo>
                  <a:pt x="2974" y="657"/>
                </a:lnTo>
                <a:lnTo>
                  <a:pt x="2974" y="658"/>
                </a:lnTo>
                <a:lnTo>
                  <a:pt x="2976" y="661"/>
                </a:lnTo>
                <a:lnTo>
                  <a:pt x="2976" y="662"/>
                </a:lnTo>
                <a:lnTo>
                  <a:pt x="2975" y="665"/>
                </a:lnTo>
                <a:lnTo>
                  <a:pt x="2967" y="665"/>
                </a:lnTo>
                <a:lnTo>
                  <a:pt x="2967" y="669"/>
                </a:lnTo>
                <a:lnTo>
                  <a:pt x="2967" y="673"/>
                </a:lnTo>
                <a:lnTo>
                  <a:pt x="2964" y="673"/>
                </a:lnTo>
                <a:lnTo>
                  <a:pt x="2965" y="674"/>
                </a:lnTo>
                <a:lnTo>
                  <a:pt x="2966" y="676"/>
                </a:lnTo>
                <a:lnTo>
                  <a:pt x="2967" y="681"/>
                </a:lnTo>
                <a:lnTo>
                  <a:pt x="2971" y="681"/>
                </a:lnTo>
                <a:lnTo>
                  <a:pt x="2968" y="681"/>
                </a:lnTo>
                <a:lnTo>
                  <a:pt x="2967" y="682"/>
                </a:lnTo>
                <a:lnTo>
                  <a:pt x="2969" y="684"/>
                </a:lnTo>
                <a:lnTo>
                  <a:pt x="2966" y="685"/>
                </a:lnTo>
                <a:lnTo>
                  <a:pt x="2964" y="685"/>
                </a:lnTo>
                <a:lnTo>
                  <a:pt x="2964" y="686"/>
                </a:lnTo>
                <a:lnTo>
                  <a:pt x="2964" y="687"/>
                </a:lnTo>
                <a:lnTo>
                  <a:pt x="2964" y="688"/>
                </a:lnTo>
                <a:lnTo>
                  <a:pt x="2965" y="690"/>
                </a:lnTo>
                <a:lnTo>
                  <a:pt x="2967" y="691"/>
                </a:lnTo>
                <a:lnTo>
                  <a:pt x="2969" y="693"/>
                </a:lnTo>
                <a:lnTo>
                  <a:pt x="2964" y="696"/>
                </a:lnTo>
                <a:lnTo>
                  <a:pt x="2964" y="700"/>
                </a:lnTo>
                <a:lnTo>
                  <a:pt x="2964" y="707"/>
                </a:lnTo>
                <a:lnTo>
                  <a:pt x="2969" y="707"/>
                </a:lnTo>
                <a:lnTo>
                  <a:pt x="2974" y="706"/>
                </a:lnTo>
                <a:lnTo>
                  <a:pt x="2975" y="706"/>
                </a:lnTo>
                <a:lnTo>
                  <a:pt x="2974" y="707"/>
                </a:lnTo>
                <a:lnTo>
                  <a:pt x="2972" y="710"/>
                </a:lnTo>
                <a:lnTo>
                  <a:pt x="2969" y="711"/>
                </a:lnTo>
                <a:lnTo>
                  <a:pt x="2967" y="712"/>
                </a:lnTo>
                <a:lnTo>
                  <a:pt x="2967" y="715"/>
                </a:lnTo>
                <a:lnTo>
                  <a:pt x="2967" y="718"/>
                </a:lnTo>
                <a:lnTo>
                  <a:pt x="2968" y="721"/>
                </a:lnTo>
                <a:lnTo>
                  <a:pt x="2967" y="724"/>
                </a:lnTo>
                <a:lnTo>
                  <a:pt x="2967" y="726"/>
                </a:lnTo>
                <a:lnTo>
                  <a:pt x="2969" y="725"/>
                </a:lnTo>
                <a:lnTo>
                  <a:pt x="2970" y="723"/>
                </a:lnTo>
                <a:lnTo>
                  <a:pt x="2972" y="718"/>
                </a:lnTo>
                <a:lnTo>
                  <a:pt x="2975" y="719"/>
                </a:lnTo>
                <a:lnTo>
                  <a:pt x="2977" y="718"/>
                </a:lnTo>
                <a:lnTo>
                  <a:pt x="2979" y="718"/>
                </a:lnTo>
                <a:lnTo>
                  <a:pt x="2981" y="718"/>
                </a:lnTo>
                <a:lnTo>
                  <a:pt x="2981" y="724"/>
                </a:lnTo>
                <a:lnTo>
                  <a:pt x="2980" y="727"/>
                </a:lnTo>
                <a:lnTo>
                  <a:pt x="2979" y="735"/>
                </a:lnTo>
                <a:lnTo>
                  <a:pt x="2977" y="746"/>
                </a:lnTo>
                <a:lnTo>
                  <a:pt x="2975" y="755"/>
                </a:lnTo>
                <a:lnTo>
                  <a:pt x="2991" y="753"/>
                </a:lnTo>
                <a:lnTo>
                  <a:pt x="3012" y="752"/>
                </a:lnTo>
                <a:lnTo>
                  <a:pt x="3008" y="759"/>
                </a:lnTo>
                <a:lnTo>
                  <a:pt x="3003" y="766"/>
                </a:lnTo>
                <a:lnTo>
                  <a:pt x="3007" y="767"/>
                </a:lnTo>
                <a:lnTo>
                  <a:pt x="3011" y="767"/>
                </a:lnTo>
                <a:lnTo>
                  <a:pt x="3020" y="769"/>
                </a:lnTo>
                <a:lnTo>
                  <a:pt x="3017" y="783"/>
                </a:lnTo>
                <a:lnTo>
                  <a:pt x="3015" y="788"/>
                </a:lnTo>
                <a:lnTo>
                  <a:pt x="3014" y="789"/>
                </a:lnTo>
                <a:lnTo>
                  <a:pt x="3012" y="791"/>
                </a:lnTo>
                <a:lnTo>
                  <a:pt x="3011" y="792"/>
                </a:lnTo>
                <a:lnTo>
                  <a:pt x="3009" y="792"/>
                </a:lnTo>
                <a:lnTo>
                  <a:pt x="3003" y="792"/>
                </a:lnTo>
                <a:lnTo>
                  <a:pt x="2996" y="791"/>
                </a:lnTo>
                <a:lnTo>
                  <a:pt x="2986" y="788"/>
                </a:lnTo>
                <a:lnTo>
                  <a:pt x="2987" y="792"/>
                </a:lnTo>
                <a:lnTo>
                  <a:pt x="2986" y="797"/>
                </a:lnTo>
                <a:lnTo>
                  <a:pt x="2988" y="796"/>
                </a:lnTo>
                <a:lnTo>
                  <a:pt x="2989" y="796"/>
                </a:lnTo>
                <a:lnTo>
                  <a:pt x="2990" y="796"/>
                </a:lnTo>
                <a:lnTo>
                  <a:pt x="2991" y="797"/>
                </a:lnTo>
                <a:lnTo>
                  <a:pt x="2992" y="800"/>
                </a:lnTo>
                <a:lnTo>
                  <a:pt x="2989" y="803"/>
                </a:lnTo>
                <a:lnTo>
                  <a:pt x="2986" y="806"/>
                </a:lnTo>
                <a:lnTo>
                  <a:pt x="2981" y="814"/>
                </a:lnTo>
                <a:lnTo>
                  <a:pt x="2986" y="812"/>
                </a:lnTo>
                <a:lnTo>
                  <a:pt x="2988" y="811"/>
                </a:lnTo>
                <a:lnTo>
                  <a:pt x="2992" y="811"/>
                </a:lnTo>
                <a:lnTo>
                  <a:pt x="2992" y="817"/>
                </a:lnTo>
                <a:lnTo>
                  <a:pt x="2992" y="822"/>
                </a:lnTo>
                <a:lnTo>
                  <a:pt x="2987" y="825"/>
                </a:lnTo>
                <a:lnTo>
                  <a:pt x="2982" y="828"/>
                </a:lnTo>
                <a:lnTo>
                  <a:pt x="2978" y="830"/>
                </a:lnTo>
                <a:lnTo>
                  <a:pt x="2972" y="833"/>
                </a:lnTo>
                <a:lnTo>
                  <a:pt x="2974" y="842"/>
                </a:lnTo>
                <a:lnTo>
                  <a:pt x="2975" y="844"/>
                </a:lnTo>
                <a:lnTo>
                  <a:pt x="2977" y="845"/>
                </a:lnTo>
                <a:lnTo>
                  <a:pt x="2978" y="845"/>
                </a:lnTo>
                <a:lnTo>
                  <a:pt x="2981" y="844"/>
                </a:lnTo>
                <a:lnTo>
                  <a:pt x="2989" y="839"/>
                </a:lnTo>
                <a:lnTo>
                  <a:pt x="2989" y="847"/>
                </a:lnTo>
                <a:lnTo>
                  <a:pt x="2995" y="846"/>
                </a:lnTo>
                <a:lnTo>
                  <a:pt x="2999" y="845"/>
                </a:lnTo>
                <a:lnTo>
                  <a:pt x="3006" y="845"/>
                </a:lnTo>
                <a:lnTo>
                  <a:pt x="3009" y="844"/>
                </a:lnTo>
                <a:lnTo>
                  <a:pt x="3012" y="843"/>
                </a:lnTo>
                <a:lnTo>
                  <a:pt x="3023" y="843"/>
                </a:lnTo>
                <a:lnTo>
                  <a:pt x="3021" y="843"/>
                </a:lnTo>
                <a:lnTo>
                  <a:pt x="3020" y="844"/>
                </a:lnTo>
                <a:lnTo>
                  <a:pt x="3019" y="847"/>
                </a:lnTo>
                <a:lnTo>
                  <a:pt x="3017" y="853"/>
                </a:lnTo>
                <a:lnTo>
                  <a:pt x="2986" y="853"/>
                </a:lnTo>
                <a:lnTo>
                  <a:pt x="2981" y="863"/>
                </a:lnTo>
                <a:lnTo>
                  <a:pt x="2978" y="869"/>
                </a:lnTo>
                <a:lnTo>
                  <a:pt x="2974" y="873"/>
                </a:lnTo>
                <a:lnTo>
                  <a:pt x="2971" y="877"/>
                </a:lnTo>
                <a:lnTo>
                  <a:pt x="2967" y="881"/>
                </a:lnTo>
                <a:lnTo>
                  <a:pt x="2963" y="885"/>
                </a:lnTo>
                <a:lnTo>
                  <a:pt x="2958" y="888"/>
                </a:lnTo>
                <a:lnTo>
                  <a:pt x="2961" y="888"/>
                </a:lnTo>
                <a:lnTo>
                  <a:pt x="2963" y="888"/>
                </a:lnTo>
                <a:lnTo>
                  <a:pt x="2967" y="890"/>
                </a:lnTo>
                <a:lnTo>
                  <a:pt x="2970" y="891"/>
                </a:lnTo>
                <a:lnTo>
                  <a:pt x="2973" y="891"/>
                </a:lnTo>
                <a:lnTo>
                  <a:pt x="2975" y="891"/>
                </a:lnTo>
                <a:lnTo>
                  <a:pt x="2975" y="882"/>
                </a:lnTo>
                <a:lnTo>
                  <a:pt x="2981" y="879"/>
                </a:lnTo>
                <a:lnTo>
                  <a:pt x="2986" y="877"/>
                </a:lnTo>
                <a:lnTo>
                  <a:pt x="2989" y="876"/>
                </a:lnTo>
                <a:lnTo>
                  <a:pt x="2992" y="877"/>
                </a:lnTo>
                <a:lnTo>
                  <a:pt x="2994" y="877"/>
                </a:lnTo>
                <a:lnTo>
                  <a:pt x="2996" y="878"/>
                </a:lnTo>
                <a:lnTo>
                  <a:pt x="2999" y="879"/>
                </a:lnTo>
                <a:lnTo>
                  <a:pt x="3001" y="880"/>
                </a:lnTo>
                <a:lnTo>
                  <a:pt x="3003" y="879"/>
                </a:lnTo>
                <a:lnTo>
                  <a:pt x="3006" y="875"/>
                </a:lnTo>
                <a:lnTo>
                  <a:pt x="3009" y="871"/>
                </a:lnTo>
                <a:lnTo>
                  <a:pt x="3012" y="871"/>
                </a:lnTo>
                <a:lnTo>
                  <a:pt x="3015" y="871"/>
                </a:lnTo>
                <a:lnTo>
                  <a:pt x="3021" y="872"/>
                </a:lnTo>
                <a:lnTo>
                  <a:pt x="3027" y="874"/>
                </a:lnTo>
                <a:lnTo>
                  <a:pt x="3029" y="874"/>
                </a:lnTo>
                <a:lnTo>
                  <a:pt x="3031" y="874"/>
                </a:lnTo>
                <a:lnTo>
                  <a:pt x="3033" y="872"/>
                </a:lnTo>
                <a:lnTo>
                  <a:pt x="3034" y="870"/>
                </a:lnTo>
                <a:lnTo>
                  <a:pt x="3036" y="867"/>
                </a:lnTo>
                <a:lnTo>
                  <a:pt x="3037" y="864"/>
                </a:lnTo>
                <a:lnTo>
                  <a:pt x="3041" y="864"/>
                </a:lnTo>
                <a:lnTo>
                  <a:pt x="3046" y="864"/>
                </a:lnTo>
                <a:lnTo>
                  <a:pt x="3057" y="865"/>
                </a:lnTo>
                <a:lnTo>
                  <a:pt x="3067" y="868"/>
                </a:lnTo>
                <a:lnTo>
                  <a:pt x="3072" y="868"/>
                </a:lnTo>
                <a:lnTo>
                  <a:pt x="3076" y="868"/>
                </a:lnTo>
                <a:lnTo>
                  <a:pt x="3080" y="867"/>
                </a:lnTo>
                <a:lnTo>
                  <a:pt x="3084" y="864"/>
                </a:lnTo>
                <a:lnTo>
                  <a:pt x="3089" y="861"/>
                </a:lnTo>
                <a:lnTo>
                  <a:pt x="3093" y="859"/>
                </a:lnTo>
                <a:lnTo>
                  <a:pt x="3093" y="853"/>
                </a:lnTo>
                <a:lnTo>
                  <a:pt x="3090" y="853"/>
                </a:lnTo>
                <a:lnTo>
                  <a:pt x="3086" y="853"/>
                </a:lnTo>
                <a:lnTo>
                  <a:pt x="3079" y="853"/>
                </a:lnTo>
                <a:lnTo>
                  <a:pt x="3081" y="850"/>
                </a:lnTo>
                <a:lnTo>
                  <a:pt x="3082" y="846"/>
                </a:lnTo>
                <a:lnTo>
                  <a:pt x="3083" y="842"/>
                </a:lnTo>
                <a:lnTo>
                  <a:pt x="3084" y="840"/>
                </a:lnTo>
                <a:lnTo>
                  <a:pt x="3085" y="839"/>
                </a:lnTo>
                <a:lnTo>
                  <a:pt x="3087" y="838"/>
                </a:lnTo>
                <a:lnTo>
                  <a:pt x="3089" y="838"/>
                </a:lnTo>
                <a:lnTo>
                  <a:pt x="3093" y="838"/>
                </a:lnTo>
                <a:lnTo>
                  <a:pt x="3096" y="838"/>
                </a:lnTo>
                <a:lnTo>
                  <a:pt x="3098" y="837"/>
                </a:lnTo>
                <a:lnTo>
                  <a:pt x="3099" y="836"/>
                </a:lnTo>
                <a:lnTo>
                  <a:pt x="3100" y="834"/>
                </a:lnTo>
                <a:lnTo>
                  <a:pt x="3101" y="832"/>
                </a:lnTo>
                <a:lnTo>
                  <a:pt x="3102" y="827"/>
                </a:lnTo>
                <a:lnTo>
                  <a:pt x="3103" y="821"/>
                </a:lnTo>
                <a:lnTo>
                  <a:pt x="3104" y="817"/>
                </a:lnTo>
                <a:lnTo>
                  <a:pt x="3103" y="816"/>
                </a:lnTo>
                <a:lnTo>
                  <a:pt x="3102" y="814"/>
                </a:lnTo>
                <a:lnTo>
                  <a:pt x="3101" y="812"/>
                </a:lnTo>
                <a:lnTo>
                  <a:pt x="3101" y="810"/>
                </a:lnTo>
                <a:lnTo>
                  <a:pt x="3099" y="808"/>
                </a:lnTo>
                <a:lnTo>
                  <a:pt x="3095" y="807"/>
                </a:lnTo>
                <a:lnTo>
                  <a:pt x="3092" y="806"/>
                </a:lnTo>
                <a:lnTo>
                  <a:pt x="3088" y="806"/>
                </a:lnTo>
                <a:lnTo>
                  <a:pt x="3087" y="806"/>
                </a:lnTo>
                <a:lnTo>
                  <a:pt x="3085" y="805"/>
                </a:lnTo>
                <a:lnTo>
                  <a:pt x="3082" y="814"/>
                </a:lnTo>
                <a:lnTo>
                  <a:pt x="3081" y="814"/>
                </a:lnTo>
                <a:lnTo>
                  <a:pt x="3080" y="814"/>
                </a:lnTo>
                <a:lnTo>
                  <a:pt x="3078" y="812"/>
                </a:lnTo>
                <a:lnTo>
                  <a:pt x="3078" y="811"/>
                </a:lnTo>
                <a:lnTo>
                  <a:pt x="3077" y="810"/>
                </a:lnTo>
                <a:lnTo>
                  <a:pt x="3076" y="810"/>
                </a:lnTo>
                <a:lnTo>
                  <a:pt x="3074" y="811"/>
                </a:lnTo>
                <a:lnTo>
                  <a:pt x="3075" y="804"/>
                </a:lnTo>
                <a:lnTo>
                  <a:pt x="3076" y="794"/>
                </a:lnTo>
                <a:lnTo>
                  <a:pt x="3073" y="793"/>
                </a:lnTo>
                <a:lnTo>
                  <a:pt x="3072" y="793"/>
                </a:lnTo>
                <a:lnTo>
                  <a:pt x="3072" y="792"/>
                </a:lnTo>
                <a:lnTo>
                  <a:pt x="3071" y="788"/>
                </a:lnTo>
                <a:lnTo>
                  <a:pt x="3073" y="788"/>
                </a:lnTo>
                <a:lnTo>
                  <a:pt x="3076" y="788"/>
                </a:lnTo>
                <a:lnTo>
                  <a:pt x="3077" y="787"/>
                </a:lnTo>
                <a:lnTo>
                  <a:pt x="3077" y="786"/>
                </a:lnTo>
                <a:lnTo>
                  <a:pt x="3077" y="785"/>
                </a:lnTo>
                <a:lnTo>
                  <a:pt x="3076" y="783"/>
                </a:lnTo>
                <a:lnTo>
                  <a:pt x="3071" y="783"/>
                </a:lnTo>
                <a:lnTo>
                  <a:pt x="3068" y="779"/>
                </a:lnTo>
                <a:lnTo>
                  <a:pt x="3062" y="772"/>
                </a:lnTo>
                <a:lnTo>
                  <a:pt x="3057" y="764"/>
                </a:lnTo>
                <a:lnTo>
                  <a:pt x="3054" y="760"/>
                </a:lnTo>
                <a:lnTo>
                  <a:pt x="3051" y="759"/>
                </a:lnTo>
                <a:lnTo>
                  <a:pt x="3049" y="759"/>
                </a:lnTo>
                <a:lnTo>
                  <a:pt x="3047" y="759"/>
                </a:lnTo>
                <a:lnTo>
                  <a:pt x="3045" y="757"/>
                </a:lnTo>
                <a:lnTo>
                  <a:pt x="3044" y="754"/>
                </a:lnTo>
                <a:lnTo>
                  <a:pt x="3042" y="751"/>
                </a:lnTo>
                <a:lnTo>
                  <a:pt x="3040" y="743"/>
                </a:lnTo>
                <a:lnTo>
                  <a:pt x="3039" y="739"/>
                </a:lnTo>
                <a:lnTo>
                  <a:pt x="3038" y="735"/>
                </a:lnTo>
                <a:lnTo>
                  <a:pt x="3036" y="732"/>
                </a:lnTo>
                <a:lnTo>
                  <a:pt x="3034" y="729"/>
                </a:lnTo>
                <a:lnTo>
                  <a:pt x="3032" y="728"/>
                </a:lnTo>
                <a:lnTo>
                  <a:pt x="3030" y="728"/>
                </a:lnTo>
                <a:lnTo>
                  <a:pt x="3027" y="728"/>
                </a:lnTo>
                <a:lnTo>
                  <a:pt x="3026" y="726"/>
                </a:lnTo>
                <a:lnTo>
                  <a:pt x="3026" y="721"/>
                </a:lnTo>
                <a:lnTo>
                  <a:pt x="3024" y="720"/>
                </a:lnTo>
                <a:lnTo>
                  <a:pt x="3022" y="720"/>
                </a:lnTo>
                <a:lnTo>
                  <a:pt x="3020" y="721"/>
                </a:lnTo>
                <a:lnTo>
                  <a:pt x="3019" y="721"/>
                </a:lnTo>
                <a:lnTo>
                  <a:pt x="3018" y="721"/>
                </a:lnTo>
                <a:lnTo>
                  <a:pt x="3016" y="721"/>
                </a:lnTo>
                <a:lnTo>
                  <a:pt x="3014" y="721"/>
                </a:lnTo>
                <a:lnTo>
                  <a:pt x="3017" y="717"/>
                </a:lnTo>
                <a:lnTo>
                  <a:pt x="3020" y="714"/>
                </a:lnTo>
                <a:lnTo>
                  <a:pt x="3021" y="711"/>
                </a:lnTo>
                <a:lnTo>
                  <a:pt x="3023" y="708"/>
                </a:lnTo>
                <a:lnTo>
                  <a:pt x="3023" y="705"/>
                </a:lnTo>
                <a:lnTo>
                  <a:pt x="3022" y="704"/>
                </a:lnTo>
                <a:lnTo>
                  <a:pt x="3021" y="703"/>
                </a:lnTo>
                <a:lnTo>
                  <a:pt x="3017" y="701"/>
                </a:lnTo>
                <a:lnTo>
                  <a:pt x="3024" y="696"/>
                </a:lnTo>
                <a:lnTo>
                  <a:pt x="3029" y="692"/>
                </a:lnTo>
                <a:lnTo>
                  <a:pt x="3031" y="690"/>
                </a:lnTo>
                <a:lnTo>
                  <a:pt x="3033" y="684"/>
                </a:lnTo>
                <a:lnTo>
                  <a:pt x="3035" y="679"/>
                </a:lnTo>
                <a:lnTo>
                  <a:pt x="3035" y="675"/>
                </a:lnTo>
                <a:lnTo>
                  <a:pt x="3034" y="673"/>
                </a:lnTo>
                <a:lnTo>
                  <a:pt x="3034" y="672"/>
                </a:lnTo>
                <a:lnTo>
                  <a:pt x="3032" y="670"/>
                </a:lnTo>
                <a:lnTo>
                  <a:pt x="3030" y="668"/>
                </a:lnTo>
                <a:lnTo>
                  <a:pt x="3028" y="668"/>
                </a:lnTo>
                <a:lnTo>
                  <a:pt x="3025" y="667"/>
                </a:lnTo>
                <a:lnTo>
                  <a:pt x="3021" y="668"/>
                </a:lnTo>
                <a:lnTo>
                  <a:pt x="3018" y="668"/>
                </a:lnTo>
                <a:lnTo>
                  <a:pt x="3010" y="670"/>
                </a:lnTo>
                <a:lnTo>
                  <a:pt x="3003" y="672"/>
                </a:lnTo>
                <a:lnTo>
                  <a:pt x="3000" y="673"/>
                </a:lnTo>
                <a:lnTo>
                  <a:pt x="2998" y="673"/>
                </a:lnTo>
                <a:lnTo>
                  <a:pt x="2996" y="673"/>
                </a:lnTo>
                <a:lnTo>
                  <a:pt x="2995" y="673"/>
                </a:lnTo>
                <a:lnTo>
                  <a:pt x="2995" y="671"/>
                </a:lnTo>
                <a:lnTo>
                  <a:pt x="2995" y="670"/>
                </a:lnTo>
                <a:lnTo>
                  <a:pt x="2992" y="670"/>
                </a:lnTo>
                <a:lnTo>
                  <a:pt x="2993" y="668"/>
                </a:lnTo>
                <a:lnTo>
                  <a:pt x="2993" y="665"/>
                </a:lnTo>
                <a:lnTo>
                  <a:pt x="2994" y="661"/>
                </a:lnTo>
                <a:lnTo>
                  <a:pt x="2995" y="659"/>
                </a:lnTo>
                <a:lnTo>
                  <a:pt x="2997" y="657"/>
                </a:lnTo>
                <a:lnTo>
                  <a:pt x="2999" y="656"/>
                </a:lnTo>
                <a:lnTo>
                  <a:pt x="3000" y="657"/>
                </a:lnTo>
                <a:lnTo>
                  <a:pt x="3001" y="657"/>
                </a:lnTo>
                <a:lnTo>
                  <a:pt x="3002" y="656"/>
                </a:lnTo>
                <a:lnTo>
                  <a:pt x="3006" y="648"/>
                </a:lnTo>
                <a:lnTo>
                  <a:pt x="3012" y="648"/>
                </a:lnTo>
                <a:lnTo>
                  <a:pt x="3011" y="640"/>
                </a:lnTo>
                <a:lnTo>
                  <a:pt x="3010" y="636"/>
                </a:lnTo>
                <a:lnTo>
                  <a:pt x="3009" y="636"/>
                </a:lnTo>
                <a:lnTo>
                  <a:pt x="3007" y="636"/>
                </a:lnTo>
                <a:lnTo>
                  <a:pt x="3004" y="635"/>
                </a:lnTo>
                <a:lnTo>
                  <a:pt x="3000" y="634"/>
                </a:lnTo>
                <a:lnTo>
                  <a:pt x="2998" y="634"/>
                </a:lnTo>
                <a:close/>
                <a:moveTo>
                  <a:pt x="2773" y="392"/>
                </a:moveTo>
                <a:lnTo>
                  <a:pt x="2773" y="403"/>
                </a:lnTo>
                <a:lnTo>
                  <a:pt x="2767" y="402"/>
                </a:lnTo>
                <a:lnTo>
                  <a:pt x="2763" y="401"/>
                </a:lnTo>
                <a:lnTo>
                  <a:pt x="2760" y="400"/>
                </a:lnTo>
                <a:lnTo>
                  <a:pt x="2756" y="400"/>
                </a:lnTo>
                <a:lnTo>
                  <a:pt x="2756" y="406"/>
                </a:lnTo>
                <a:lnTo>
                  <a:pt x="2749" y="408"/>
                </a:lnTo>
                <a:lnTo>
                  <a:pt x="2744" y="409"/>
                </a:lnTo>
                <a:lnTo>
                  <a:pt x="2744" y="408"/>
                </a:lnTo>
                <a:lnTo>
                  <a:pt x="2743" y="408"/>
                </a:lnTo>
                <a:lnTo>
                  <a:pt x="2742" y="406"/>
                </a:lnTo>
                <a:lnTo>
                  <a:pt x="2739" y="404"/>
                </a:lnTo>
                <a:lnTo>
                  <a:pt x="2736" y="403"/>
                </a:lnTo>
                <a:lnTo>
                  <a:pt x="2738" y="409"/>
                </a:lnTo>
                <a:lnTo>
                  <a:pt x="2739" y="413"/>
                </a:lnTo>
                <a:lnTo>
                  <a:pt x="2739" y="414"/>
                </a:lnTo>
                <a:lnTo>
                  <a:pt x="2735" y="413"/>
                </a:lnTo>
                <a:lnTo>
                  <a:pt x="2732" y="412"/>
                </a:lnTo>
                <a:lnTo>
                  <a:pt x="2731" y="412"/>
                </a:lnTo>
                <a:lnTo>
                  <a:pt x="2730" y="411"/>
                </a:lnTo>
                <a:lnTo>
                  <a:pt x="2729" y="404"/>
                </a:lnTo>
                <a:lnTo>
                  <a:pt x="2728" y="397"/>
                </a:lnTo>
                <a:lnTo>
                  <a:pt x="2726" y="400"/>
                </a:lnTo>
                <a:lnTo>
                  <a:pt x="2725" y="402"/>
                </a:lnTo>
                <a:lnTo>
                  <a:pt x="2724" y="402"/>
                </a:lnTo>
                <a:lnTo>
                  <a:pt x="2725" y="403"/>
                </a:lnTo>
                <a:lnTo>
                  <a:pt x="2723" y="403"/>
                </a:lnTo>
                <a:lnTo>
                  <a:pt x="2721" y="403"/>
                </a:lnTo>
                <a:lnTo>
                  <a:pt x="2718" y="403"/>
                </a:lnTo>
                <a:lnTo>
                  <a:pt x="2716" y="403"/>
                </a:lnTo>
                <a:lnTo>
                  <a:pt x="2716" y="406"/>
                </a:lnTo>
                <a:lnTo>
                  <a:pt x="2714" y="407"/>
                </a:lnTo>
                <a:lnTo>
                  <a:pt x="2714" y="408"/>
                </a:lnTo>
                <a:lnTo>
                  <a:pt x="2714" y="409"/>
                </a:lnTo>
                <a:lnTo>
                  <a:pt x="2714" y="414"/>
                </a:lnTo>
                <a:lnTo>
                  <a:pt x="2708" y="414"/>
                </a:lnTo>
                <a:lnTo>
                  <a:pt x="2707" y="411"/>
                </a:lnTo>
                <a:lnTo>
                  <a:pt x="2706" y="409"/>
                </a:lnTo>
                <a:lnTo>
                  <a:pt x="2706" y="406"/>
                </a:lnTo>
                <a:lnTo>
                  <a:pt x="2705" y="403"/>
                </a:lnTo>
                <a:lnTo>
                  <a:pt x="2699" y="403"/>
                </a:lnTo>
                <a:lnTo>
                  <a:pt x="2700" y="413"/>
                </a:lnTo>
                <a:lnTo>
                  <a:pt x="2700" y="419"/>
                </a:lnTo>
                <a:lnTo>
                  <a:pt x="2700" y="421"/>
                </a:lnTo>
                <a:lnTo>
                  <a:pt x="2699" y="423"/>
                </a:lnTo>
                <a:lnTo>
                  <a:pt x="2688" y="423"/>
                </a:lnTo>
                <a:lnTo>
                  <a:pt x="2689" y="423"/>
                </a:lnTo>
                <a:lnTo>
                  <a:pt x="2689" y="425"/>
                </a:lnTo>
                <a:lnTo>
                  <a:pt x="2689" y="426"/>
                </a:lnTo>
                <a:lnTo>
                  <a:pt x="2687" y="427"/>
                </a:lnTo>
                <a:lnTo>
                  <a:pt x="2684" y="430"/>
                </a:lnTo>
                <a:lnTo>
                  <a:pt x="2683" y="431"/>
                </a:lnTo>
                <a:lnTo>
                  <a:pt x="2681" y="424"/>
                </a:lnTo>
                <a:lnTo>
                  <a:pt x="2680" y="422"/>
                </a:lnTo>
                <a:lnTo>
                  <a:pt x="2680" y="420"/>
                </a:lnTo>
                <a:lnTo>
                  <a:pt x="2681" y="420"/>
                </a:lnTo>
                <a:lnTo>
                  <a:pt x="2681" y="419"/>
                </a:lnTo>
                <a:lnTo>
                  <a:pt x="2683" y="420"/>
                </a:lnTo>
                <a:lnTo>
                  <a:pt x="2682" y="417"/>
                </a:lnTo>
                <a:lnTo>
                  <a:pt x="2682" y="413"/>
                </a:lnTo>
                <a:lnTo>
                  <a:pt x="2683" y="409"/>
                </a:lnTo>
                <a:lnTo>
                  <a:pt x="2677" y="409"/>
                </a:lnTo>
                <a:lnTo>
                  <a:pt x="2674" y="404"/>
                </a:lnTo>
                <a:lnTo>
                  <a:pt x="2671" y="400"/>
                </a:lnTo>
                <a:lnTo>
                  <a:pt x="2668" y="400"/>
                </a:lnTo>
                <a:lnTo>
                  <a:pt x="2660" y="400"/>
                </a:lnTo>
                <a:lnTo>
                  <a:pt x="2662" y="403"/>
                </a:lnTo>
                <a:lnTo>
                  <a:pt x="2667" y="407"/>
                </a:lnTo>
                <a:lnTo>
                  <a:pt x="2668" y="410"/>
                </a:lnTo>
                <a:lnTo>
                  <a:pt x="2669" y="412"/>
                </a:lnTo>
                <a:lnTo>
                  <a:pt x="2669" y="413"/>
                </a:lnTo>
                <a:lnTo>
                  <a:pt x="2668" y="414"/>
                </a:lnTo>
                <a:lnTo>
                  <a:pt x="2667" y="414"/>
                </a:lnTo>
                <a:lnTo>
                  <a:pt x="2666" y="414"/>
                </a:lnTo>
                <a:lnTo>
                  <a:pt x="2657" y="409"/>
                </a:lnTo>
                <a:lnTo>
                  <a:pt x="2655" y="409"/>
                </a:lnTo>
                <a:lnTo>
                  <a:pt x="2651" y="410"/>
                </a:lnTo>
                <a:lnTo>
                  <a:pt x="2649" y="411"/>
                </a:lnTo>
                <a:lnTo>
                  <a:pt x="2648" y="411"/>
                </a:lnTo>
                <a:lnTo>
                  <a:pt x="2649" y="411"/>
                </a:lnTo>
                <a:lnTo>
                  <a:pt x="2647" y="411"/>
                </a:lnTo>
                <a:lnTo>
                  <a:pt x="2646" y="411"/>
                </a:lnTo>
                <a:lnTo>
                  <a:pt x="2646" y="412"/>
                </a:lnTo>
                <a:lnTo>
                  <a:pt x="2647" y="413"/>
                </a:lnTo>
                <a:lnTo>
                  <a:pt x="2649" y="417"/>
                </a:lnTo>
                <a:lnTo>
                  <a:pt x="2648" y="418"/>
                </a:lnTo>
                <a:lnTo>
                  <a:pt x="2647" y="419"/>
                </a:lnTo>
                <a:lnTo>
                  <a:pt x="2644" y="420"/>
                </a:lnTo>
                <a:lnTo>
                  <a:pt x="2640" y="421"/>
                </a:lnTo>
                <a:lnTo>
                  <a:pt x="2639" y="422"/>
                </a:lnTo>
                <a:lnTo>
                  <a:pt x="2638" y="423"/>
                </a:lnTo>
                <a:lnTo>
                  <a:pt x="2637" y="424"/>
                </a:lnTo>
                <a:lnTo>
                  <a:pt x="2634" y="426"/>
                </a:lnTo>
                <a:lnTo>
                  <a:pt x="2629" y="428"/>
                </a:lnTo>
                <a:lnTo>
                  <a:pt x="2636" y="431"/>
                </a:lnTo>
                <a:lnTo>
                  <a:pt x="2640" y="431"/>
                </a:lnTo>
                <a:lnTo>
                  <a:pt x="2643" y="431"/>
                </a:lnTo>
                <a:lnTo>
                  <a:pt x="2646" y="429"/>
                </a:lnTo>
                <a:lnTo>
                  <a:pt x="2651" y="425"/>
                </a:lnTo>
                <a:lnTo>
                  <a:pt x="2656" y="422"/>
                </a:lnTo>
                <a:lnTo>
                  <a:pt x="2658" y="420"/>
                </a:lnTo>
                <a:lnTo>
                  <a:pt x="2660" y="420"/>
                </a:lnTo>
                <a:lnTo>
                  <a:pt x="2665" y="420"/>
                </a:lnTo>
                <a:lnTo>
                  <a:pt x="2666" y="420"/>
                </a:lnTo>
                <a:lnTo>
                  <a:pt x="2666" y="421"/>
                </a:lnTo>
                <a:lnTo>
                  <a:pt x="2665" y="423"/>
                </a:lnTo>
                <a:lnTo>
                  <a:pt x="2663" y="425"/>
                </a:lnTo>
                <a:lnTo>
                  <a:pt x="2661" y="428"/>
                </a:lnTo>
                <a:lnTo>
                  <a:pt x="2661" y="431"/>
                </a:lnTo>
                <a:lnTo>
                  <a:pt x="2661" y="433"/>
                </a:lnTo>
                <a:lnTo>
                  <a:pt x="2663" y="434"/>
                </a:lnTo>
                <a:lnTo>
                  <a:pt x="2665" y="436"/>
                </a:lnTo>
                <a:lnTo>
                  <a:pt x="2669" y="437"/>
                </a:lnTo>
                <a:lnTo>
                  <a:pt x="2664" y="437"/>
                </a:lnTo>
                <a:lnTo>
                  <a:pt x="2660" y="437"/>
                </a:lnTo>
                <a:lnTo>
                  <a:pt x="2652" y="437"/>
                </a:lnTo>
                <a:lnTo>
                  <a:pt x="2649" y="442"/>
                </a:lnTo>
                <a:lnTo>
                  <a:pt x="2645" y="443"/>
                </a:lnTo>
                <a:lnTo>
                  <a:pt x="2641" y="444"/>
                </a:lnTo>
                <a:lnTo>
                  <a:pt x="2635" y="445"/>
                </a:lnTo>
                <a:lnTo>
                  <a:pt x="2638" y="451"/>
                </a:lnTo>
                <a:lnTo>
                  <a:pt x="2642" y="450"/>
                </a:lnTo>
                <a:lnTo>
                  <a:pt x="2649" y="448"/>
                </a:lnTo>
                <a:lnTo>
                  <a:pt x="2652" y="448"/>
                </a:lnTo>
                <a:lnTo>
                  <a:pt x="2656" y="447"/>
                </a:lnTo>
                <a:lnTo>
                  <a:pt x="2659" y="447"/>
                </a:lnTo>
                <a:lnTo>
                  <a:pt x="2663" y="448"/>
                </a:lnTo>
                <a:lnTo>
                  <a:pt x="2665" y="449"/>
                </a:lnTo>
                <a:lnTo>
                  <a:pt x="2666" y="450"/>
                </a:lnTo>
                <a:lnTo>
                  <a:pt x="2670" y="454"/>
                </a:lnTo>
                <a:lnTo>
                  <a:pt x="2674" y="459"/>
                </a:lnTo>
                <a:lnTo>
                  <a:pt x="2677" y="462"/>
                </a:lnTo>
                <a:lnTo>
                  <a:pt x="2667" y="465"/>
                </a:lnTo>
                <a:lnTo>
                  <a:pt x="2657" y="468"/>
                </a:lnTo>
                <a:lnTo>
                  <a:pt x="2660" y="472"/>
                </a:lnTo>
                <a:lnTo>
                  <a:pt x="2663" y="476"/>
                </a:lnTo>
                <a:lnTo>
                  <a:pt x="2668" y="474"/>
                </a:lnTo>
                <a:lnTo>
                  <a:pt x="2671" y="473"/>
                </a:lnTo>
                <a:lnTo>
                  <a:pt x="2674" y="473"/>
                </a:lnTo>
                <a:lnTo>
                  <a:pt x="2677" y="471"/>
                </a:lnTo>
                <a:lnTo>
                  <a:pt x="2681" y="470"/>
                </a:lnTo>
                <a:lnTo>
                  <a:pt x="2685" y="470"/>
                </a:lnTo>
                <a:lnTo>
                  <a:pt x="2689" y="471"/>
                </a:lnTo>
                <a:lnTo>
                  <a:pt x="2694" y="473"/>
                </a:lnTo>
                <a:lnTo>
                  <a:pt x="2705" y="476"/>
                </a:lnTo>
                <a:lnTo>
                  <a:pt x="2705" y="478"/>
                </a:lnTo>
                <a:lnTo>
                  <a:pt x="2705" y="480"/>
                </a:lnTo>
                <a:lnTo>
                  <a:pt x="2705" y="481"/>
                </a:lnTo>
                <a:lnTo>
                  <a:pt x="2705" y="482"/>
                </a:lnTo>
                <a:lnTo>
                  <a:pt x="2704" y="482"/>
                </a:lnTo>
                <a:lnTo>
                  <a:pt x="2702" y="482"/>
                </a:lnTo>
                <a:lnTo>
                  <a:pt x="2700" y="485"/>
                </a:lnTo>
                <a:lnTo>
                  <a:pt x="2700" y="486"/>
                </a:lnTo>
                <a:lnTo>
                  <a:pt x="2699" y="487"/>
                </a:lnTo>
                <a:lnTo>
                  <a:pt x="2739" y="487"/>
                </a:lnTo>
                <a:lnTo>
                  <a:pt x="2743" y="482"/>
                </a:lnTo>
                <a:lnTo>
                  <a:pt x="2744" y="479"/>
                </a:lnTo>
                <a:lnTo>
                  <a:pt x="2744" y="478"/>
                </a:lnTo>
                <a:lnTo>
                  <a:pt x="2742" y="479"/>
                </a:lnTo>
                <a:lnTo>
                  <a:pt x="2739" y="470"/>
                </a:lnTo>
                <a:lnTo>
                  <a:pt x="2743" y="472"/>
                </a:lnTo>
                <a:lnTo>
                  <a:pt x="2747" y="474"/>
                </a:lnTo>
                <a:lnTo>
                  <a:pt x="2751" y="476"/>
                </a:lnTo>
                <a:lnTo>
                  <a:pt x="2753" y="476"/>
                </a:lnTo>
                <a:lnTo>
                  <a:pt x="2756" y="476"/>
                </a:lnTo>
                <a:lnTo>
                  <a:pt x="2757" y="475"/>
                </a:lnTo>
                <a:lnTo>
                  <a:pt x="2759" y="473"/>
                </a:lnTo>
                <a:lnTo>
                  <a:pt x="2762" y="471"/>
                </a:lnTo>
                <a:lnTo>
                  <a:pt x="2764" y="470"/>
                </a:lnTo>
                <a:lnTo>
                  <a:pt x="2765" y="472"/>
                </a:lnTo>
                <a:lnTo>
                  <a:pt x="2767" y="473"/>
                </a:lnTo>
                <a:lnTo>
                  <a:pt x="2768" y="474"/>
                </a:lnTo>
                <a:lnTo>
                  <a:pt x="2770" y="473"/>
                </a:lnTo>
                <a:lnTo>
                  <a:pt x="2771" y="472"/>
                </a:lnTo>
                <a:lnTo>
                  <a:pt x="2773" y="471"/>
                </a:lnTo>
                <a:lnTo>
                  <a:pt x="2776" y="468"/>
                </a:lnTo>
                <a:lnTo>
                  <a:pt x="2780" y="464"/>
                </a:lnTo>
                <a:lnTo>
                  <a:pt x="2782" y="463"/>
                </a:lnTo>
                <a:lnTo>
                  <a:pt x="2784" y="462"/>
                </a:lnTo>
                <a:lnTo>
                  <a:pt x="2786" y="462"/>
                </a:lnTo>
                <a:lnTo>
                  <a:pt x="2788" y="462"/>
                </a:lnTo>
                <a:lnTo>
                  <a:pt x="2790" y="462"/>
                </a:lnTo>
                <a:lnTo>
                  <a:pt x="2791" y="462"/>
                </a:lnTo>
                <a:lnTo>
                  <a:pt x="2792" y="462"/>
                </a:lnTo>
                <a:lnTo>
                  <a:pt x="2795" y="460"/>
                </a:lnTo>
                <a:lnTo>
                  <a:pt x="2798" y="458"/>
                </a:lnTo>
                <a:lnTo>
                  <a:pt x="2803" y="452"/>
                </a:lnTo>
                <a:lnTo>
                  <a:pt x="2808" y="446"/>
                </a:lnTo>
                <a:lnTo>
                  <a:pt x="2812" y="440"/>
                </a:lnTo>
                <a:lnTo>
                  <a:pt x="2810" y="440"/>
                </a:lnTo>
                <a:lnTo>
                  <a:pt x="2810" y="441"/>
                </a:lnTo>
                <a:lnTo>
                  <a:pt x="2810" y="442"/>
                </a:lnTo>
                <a:lnTo>
                  <a:pt x="2811" y="442"/>
                </a:lnTo>
                <a:lnTo>
                  <a:pt x="2815" y="442"/>
                </a:lnTo>
                <a:lnTo>
                  <a:pt x="2815" y="445"/>
                </a:lnTo>
                <a:lnTo>
                  <a:pt x="2816" y="445"/>
                </a:lnTo>
                <a:lnTo>
                  <a:pt x="2817" y="445"/>
                </a:lnTo>
                <a:lnTo>
                  <a:pt x="2819" y="443"/>
                </a:lnTo>
                <a:lnTo>
                  <a:pt x="2820" y="442"/>
                </a:lnTo>
                <a:lnTo>
                  <a:pt x="2818" y="423"/>
                </a:lnTo>
                <a:lnTo>
                  <a:pt x="2814" y="421"/>
                </a:lnTo>
                <a:lnTo>
                  <a:pt x="2810" y="419"/>
                </a:lnTo>
                <a:lnTo>
                  <a:pt x="2806" y="417"/>
                </a:lnTo>
                <a:lnTo>
                  <a:pt x="2805" y="417"/>
                </a:lnTo>
                <a:lnTo>
                  <a:pt x="2804" y="418"/>
                </a:lnTo>
                <a:lnTo>
                  <a:pt x="2802" y="420"/>
                </a:lnTo>
                <a:lnTo>
                  <a:pt x="2800" y="422"/>
                </a:lnTo>
                <a:lnTo>
                  <a:pt x="2799" y="423"/>
                </a:lnTo>
                <a:lnTo>
                  <a:pt x="2798" y="423"/>
                </a:lnTo>
                <a:lnTo>
                  <a:pt x="2797" y="422"/>
                </a:lnTo>
                <a:lnTo>
                  <a:pt x="2797" y="420"/>
                </a:lnTo>
                <a:lnTo>
                  <a:pt x="2797" y="419"/>
                </a:lnTo>
                <a:lnTo>
                  <a:pt x="2798" y="418"/>
                </a:lnTo>
                <a:lnTo>
                  <a:pt x="2801" y="414"/>
                </a:lnTo>
                <a:lnTo>
                  <a:pt x="2802" y="413"/>
                </a:lnTo>
                <a:lnTo>
                  <a:pt x="2802" y="412"/>
                </a:lnTo>
                <a:lnTo>
                  <a:pt x="2799" y="409"/>
                </a:lnTo>
                <a:lnTo>
                  <a:pt x="2795" y="406"/>
                </a:lnTo>
                <a:lnTo>
                  <a:pt x="2799" y="401"/>
                </a:lnTo>
                <a:lnTo>
                  <a:pt x="2802" y="399"/>
                </a:lnTo>
                <a:lnTo>
                  <a:pt x="2804" y="397"/>
                </a:lnTo>
                <a:lnTo>
                  <a:pt x="2805" y="396"/>
                </a:lnTo>
                <a:lnTo>
                  <a:pt x="2802" y="396"/>
                </a:lnTo>
                <a:lnTo>
                  <a:pt x="2792" y="400"/>
                </a:lnTo>
                <a:lnTo>
                  <a:pt x="2794" y="401"/>
                </a:lnTo>
                <a:lnTo>
                  <a:pt x="2794" y="402"/>
                </a:lnTo>
                <a:lnTo>
                  <a:pt x="2793" y="403"/>
                </a:lnTo>
                <a:lnTo>
                  <a:pt x="2789" y="403"/>
                </a:lnTo>
                <a:lnTo>
                  <a:pt x="2787" y="401"/>
                </a:lnTo>
                <a:lnTo>
                  <a:pt x="2786" y="399"/>
                </a:lnTo>
                <a:lnTo>
                  <a:pt x="2784" y="395"/>
                </a:lnTo>
                <a:lnTo>
                  <a:pt x="2782" y="393"/>
                </a:lnTo>
                <a:lnTo>
                  <a:pt x="2780" y="392"/>
                </a:lnTo>
                <a:lnTo>
                  <a:pt x="2777" y="391"/>
                </a:lnTo>
                <a:lnTo>
                  <a:pt x="2773" y="392"/>
                </a:lnTo>
                <a:close/>
                <a:moveTo>
                  <a:pt x="2093" y="2881"/>
                </a:moveTo>
                <a:lnTo>
                  <a:pt x="2099" y="2871"/>
                </a:lnTo>
                <a:lnTo>
                  <a:pt x="2101" y="2867"/>
                </a:lnTo>
                <a:lnTo>
                  <a:pt x="2102" y="2864"/>
                </a:lnTo>
                <a:lnTo>
                  <a:pt x="2103" y="2861"/>
                </a:lnTo>
                <a:lnTo>
                  <a:pt x="2102" y="2859"/>
                </a:lnTo>
                <a:lnTo>
                  <a:pt x="2102" y="2858"/>
                </a:lnTo>
                <a:lnTo>
                  <a:pt x="2101" y="2856"/>
                </a:lnTo>
                <a:lnTo>
                  <a:pt x="2100" y="2855"/>
                </a:lnTo>
                <a:lnTo>
                  <a:pt x="2099" y="2854"/>
                </a:lnTo>
                <a:lnTo>
                  <a:pt x="2099" y="2852"/>
                </a:lnTo>
                <a:lnTo>
                  <a:pt x="2099" y="2850"/>
                </a:lnTo>
                <a:lnTo>
                  <a:pt x="2103" y="2845"/>
                </a:lnTo>
                <a:lnTo>
                  <a:pt x="2112" y="2835"/>
                </a:lnTo>
                <a:lnTo>
                  <a:pt x="2121" y="2824"/>
                </a:lnTo>
                <a:lnTo>
                  <a:pt x="2125" y="2819"/>
                </a:lnTo>
                <a:lnTo>
                  <a:pt x="2125" y="2815"/>
                </a:lnTo>
                <a:lnTo>
                  <a:pt x="2125" y="2812"/>
                </a:lnTo>
                <a:lnTo>
                  <a:pt x="2124" y="2808"/>
                </a:lnTo>
                <a:lnTo>
                  <a:pt x="2124" y="2807"/>
                </a:lnTo>
                <a:lnTo>
                  <a:pt x="2125" y="2805"/>
                </a:lnTo>
                <a:lnTo>
                  <a:pt x="2127" y="2806"/>
                </a:lnTo>
                <a:lnTo>
                  <a:pt x="2130" y="2808"/>
                </a:lnTo>
                <a:lnTo>
                  <a:pt x="2132" y="2810"/>
                </a:lnTo>
                <a:lnTo>
                  <a:pt x="2133" y="2810"/>
                </a:lnTo>
                <a:lnTo>
                  <a:pt x="2135" y="2811"/>
                </a:lnTo>
                <a:lnTo>
                  <a:pt x="2137" y="2810"/>
                </a:lnTo>
                <a:lnTo>
                  <a:pt x="2138" y="2810"/>
                </a:lnTo>
                <a:lnTo>
                  <a:pt x="2138" y="2809"/>
                </a:lnTo>
                <a:lnTo>
                  <a:pt x="2139" y="2808"/>
                </a:lnTo>
                <a:lnTo>
                  <a:pt x="2140" y="2807"/>
                </a:lnTo>
                <a:lnTo>
                  <a:pt x="2142" y="2808"/>
                </a:lnTo>
                <a:lnTo>
                  <a:pt x="2139" y="2816"/>
                </a:lnTo>
                <a:lnTo>
                  <a:pt x="2136" y="2823"/>
                </a:lnTo>
                <a:lnTo>
                  <a:pt x="2130" y="2836"/>
                </a:lnTo>
                <a:lnTo>
                  <a:pt x="2133" y="2833"/>
                </a:lnTo>
                <a:lnTo>
                  <a:pt x="2136" y="2830"/>
                </a:lnTo>
                <a:lnTo>
                  <a:pt x="2139" y="2827"/>
                </a:lnTo>
                <a:lnTo>
                  <a:pt x="2142" y="2824"/>
                </a:lnTo>
                <a:lnTo>
                  <a:pt x="2144" y="2819"/>
                </a:lnTo>
                <a:lnTo>
                  <a:pt x="2145" y="2814"/>
                </a:lnTo>
                <a:lnTo>
                  <a:pt x="2147" y="2804"/>
                </a:lnTo>
                <a:lnTo>
                  <a:pt x="2148" y="2799"/>
                </a:lnTo>
                <a:lnTo>
                  <a:pt x="2149" y="2795"/>
                </a:lnTo>
                <a:lnTo>
                  <a:pt x="2151" y="2790"/>
                </a:lnTo>
                <a:lnTo>
                  <a:pt x="2153" y="2785"/>
                </a:lnTo>
                <a:lnTo>
                  <a:pt x="2155" y="2782"/>
                </a:lnTo>
                <a:lnTo>
                  <a:pt x="2158" y="2779"/>
                </a:lnTo>
                <a:lnTo>
                  <a:pt x="2165" y="2773"/>
                </a:lnTo>
                <a:lnTo>
                  <a:pt x="2171" y="2767"/>
                </a:lnTo>
                <a:lnTo>
                  <a:pt x="2174" y="2763"/>
                </a:lnTo>
                <a:lnTo>
                  <a:pt x="2175" y="2760"/>
                </a:lnTo>
                <a:lnTo>
                  <a:pt x="2176" y="2756"/>
                </a:lnTo>
                <a:lnTo>
                  <a:pt x="2176" y="2753"/>
                </a:lnTo>
                <a:lnTo>
                  <a:pt x="2175" y="2743"/>
                </a:lnTo>
                <a:lnTo>
                  <a:pt x="2172" y="2723"/>
                </a:lnTo>
                <a:lnTo>
                  <a:pt x="2170" y="2713"/>
                </a:lnTo>
                <a:lnTo>
                  <a:pt x="2170" y="2704"/>
                </a:lnTo>
                <a:lnTo>
                  <a:pt x="2170" y="2700"/>
                </a:lnTo>
                <a:lnTo>
                  <a:pt x="2171" y="2697"/>
                </a:lnTo>
                <a:lnTo>
                  <a:pt x="2173" y="2694"/>
                </a:lnTo>
                <a:lnTo>
                  <a:pt x="2175" y="2692"/>
                </a:lnTo>
                <a:lnTo>
                  <a:pt x="2176" y="2692"/>
                </a:lnTo>
                <a:lnTo>
                  <a:pt x="2176" y="2691"/>
                </a:lnTo>
                <a:lnTo>
                  <a:pt x="2174" y="2690"/>
                </a:lnTo>
                <a:lnTo>
                  <a:pt x="2172" y="2689"/>
                </a:lnTo>
                <a:lnTo>
                  <a:pt x="2172" y="2688"/>
                </a:lnTo>
                <a:lnTo>
                  <a:pt x="2172" y="2687"/>
                </a:lnTo>
                <a:lnTo>
                  <a:pt x="2174" y="2685"/>
                </a:lnTo>
                <a:lnTo>
                  <a:pt x="2175" y="2685"/>
                </a:lnTo>
                <a:lnTo>
                  <a:pt x="2177" y="2685"/>
                </a:lnTo>
                <a:lnTo>
                  <a:pt x="2181" y="2685"/>
                </a:lnTo>
                <a:lnTo>
                  <a:pt x="2182" y="2684"/>
                </a:lnTo>
                <a:lnTo>
                  <a:pt x="2184" y="2684"/>
                </a:lnTo>
                <a:lnTo>
                  <a:pt x="2184" y="2678"/>
                </a:lnTo>
                <a:lnTo>
                  <a:pt x="2192" y="2674"/>
                </a:lnTo>
                <a:lnTo>
                  <a:pt x="2202" y="2670"/>
                </a:lnTo>
                <a:lnTo>
                  <a:pt x="2207" y="2667"/>
                </a:lnTo>
                <a:lnTo>
                  <a:pt x="2211" y="2664"/>
                </a:lnTo>
                <a:lnTo>
                  <a:pt x="2215" y="2661"/>
                </a:lnTo>
                <a:lnTo>
                  <a:pt x="2217" y="2658"/>
                </a:lnTo>
                <a:lnTo>
                  <a:pt x="2218" y="2657"/>
                </a:lnTo>
                <a:lnTo>
                  <a:pt x="2218" y="2656"/>
                </a:lnTo>
                <a:lnTo>
                  <a:pt x="2218" y="2654"/>
                </a:lnTo>
                <a:lnTo>
                  <a:pt x="2219" y="2652"/>
                </a:lnTo>
                <a:lnTo>
                  <a:pt x="2219" y="2651"/>
                </a:lnTo>
                <a:lnTo>
                  <a:pt x="2220" y="2650"/>
                </a:lnTo>
                <a:lnTo>
                  <a:pt x="2223" y="2649"/>
                </a:lnTo>
                <a:lnTo>
                  <a:pt x="2226" y="2648"/>
                </a:lnTo>
                <a:lnTo>
                  <a:pt x="2235" y="2647"/>
                </a:lnTo>
                <a:lnTo>
                  <a:pt x="2243" y="2646"/>
                </a:lnTo>
                <a:lnTo>
                  <a:pt x="2246" y="2646"/>
                </a:lnTo>
                <a:lnTo>
                  <a:pt x="2248" y="2644"/>
                </a:lnTo>
                <a:lnTo>
                  <a:pt x="2246" y="2633"/>
                </a:lnTo>
                <a:lnTo>
                  <a:pt x="2248" y="2633"/>
                </a:lnTo>
                <a:lnTo>
                  <a:pt x="2250" y="2633"/>
                </a:lnTo>
                <a:lnTo>
                  <a:pt x="2251" y="2630"/>
                </a:lnTo>
                <a:lnTo>
                  <a:pt x="2265" y="2629"/>
                </a:lnTo>
                <a:lnTo>
                  <a:pt x="2279" y="2628"/>
                </a:lnTo>
                <a:lnTo>
                  <a:pt x="2279" y="2623"/>
                </a:lnTo>
                <a:lnTo>
                  <a:pt x="2279" y="2619"/>
                </a:lnTo>
                <a:lnTo>
                  <a:pt x="2282" y="2620"/>
                </a:lnTo>
                <a:lnTo>
                  <a:pt x="2283" y="2621"/>
                </a:lnTo>
                <a:lnTo>
                  <a:pt x="2285" y="2623"/>
                </a:lnTo>
                <a:lnTo>
                  <a:pt x="2288" y="2624"/>
                </a:lnTo>
                <a:lnTo>
                  <a:pt x="2291" y="2624"/>
                </a:lnTo>
                <a:lnTo>
                  <a:pt x="2295" y="2624"/>
                </a:lnTo>
                <a:lnTo>
                  <a:pt x="2297" y="2623"/>
                </a:lnTo>
                <a:lnTo>
                  <a:pt x="2299" y="2622"/>
                </a:lnTo>
                <a:lnTo>
                  <a:pt x="2299" y="2620"/>
                </a:lnTo>
                <a:lnTo>
                  <a:pt x="2299" y="2618"/>
                </a:lnTo>
                <a:lnTo>
                  <a:pt x="2299" y="2615"/>
                </a:lnTo>
                <a:lnTo>
                  <a:pt x="2299" y="2613"/>
                </a:lnTo>
                <a:lnTo>
                  <a:pt x="2310" y="2608"/>
                </a:lnTo>
                <a:lnTo>
                  <a:pt x="2308" y="2597"/>
                </a:lnTo>
                <a:lnTo>
                  <a:pt x="2307" y="2594"/>
                </a:lnTo>
                <a:lnTo>
                  <a:pt x="2307" y="2591"/>
                </a:lnTo>
                <a:lnTo>
                  <a:pt x="2307" y="2588"/>
                </a:lnTo>
                <a:lnTo>
                  <a:pt x="2308" y="2584"/>
                </a:lnTo>
                <a:lnTo>
                  <a:pt x="2308" y="2582"/>
                </a:lnTo>
                <a:lnTo>
                  <a:pt x="2309" y="2579"/>
                </a:lnTo>
                <a:lnTo>
                  <a:pt x="2313" y="2573"/>
                </a:lnTo>
                <a:lnTo>
                  <a:pt x="2318" y="2567"/>
                </a:lnTo>
                <a:lnTo>
                  <a:pt x="2323" y="2560"/>
                </a:lnTo>
                <a:lnTo>
                  <a:pt x="2333" y="2548"/>
                </a:lnTo>
                <a:lnTo>
                  <a:pt x="2336" y="2543"/>
                </a:lnTo>
                <a:lnTo>
                  <a:pt x="2338" y="2539"/>
                </a:lnTo>
                <a:lnTo>
                  <a:pt x="2339" y="2537"/>
                </a:lnTo>
                <a:lnTo>
                  <a:pt x="2339" y="2534"/>
                </a:lnTo>
                <a:lnTo>
                  <a:pt x="2338" y="2528"/>
                </a:lnTo>
                <a:lnTo>
                  <a:pt x="2338" y="2522"/>
                </a:lnTo>
                <a:lnTo>
                  <a:pt x="2338" y="2519"/>
                </a:lnTo>
                <a:lnTo>
                  <a:pt x="2338" y="2517"/>
                </a:lnTo>
                <a:lnTo>
                  <a:pt x="2339" y="2516"/>
                </a:lnTo>
                <a:lnTo>
                  <a:pt x="2340" y="2515"/>
                </a:lnTo>
                <a:lnTo>
                  <a:pt x="2344" y="2513"/>
                </a:lnTo>
                <a:lnTo>
                  <a:pt x="2348" y="2510"/>
                </a:lnTo>
                <a:lnTo>
                  <a:pt x="2349" y="2509"/>
                </a:lnTo>
                <a:lnTo>
                  <a:pt x="2350" y="2508"/>
                </a:lnTo>
                <a:lnTo>
                  <a:pt x="2349" y="2505"/>
                </a:lnTo>
                <a:lnTo>
                  <a:pt x="2347" y="2500"/>
                </a:lnTo>
                <a:lnTo>
                  <a:pt x="2345" y="2493"/>
                </a:lnTo>
                <a:lnTo>
                  <a:pt x="2344" y="2489"/>
                </a:lnTo>
                <a:lnTo>
                  <a:pt x="2344" y="2486"/>
                </a:lnTo>
                <a:lnTo>
                  <a:pt x="2350" y="2483"/>
                </a:lnTo>
                <a:lnTo>
                  <a:pt x="2349" y="2473"/>
                </a:lnTo>
                <a:lnTo>
                  <a:pt x="2349" y="2468"/>
                </a:lnTo>
                <a:lnTo>
                  <a:pt x="2350" y="2463"/>
                </a:lnTo>
                <a:lnTo>
                  <a:pt x="2353" y="2463"/>
                </a:lnTo>
                <a:lnTo>
                  <a:pt x="2352" y="2452"/>
                </a:lnTo>
                <a:lnTo>
                  <a:pt x="2351" y="2440"/>
                </a:lnTo>
                <a:lnTo>
                  <a:pt x="2350" y="2430"/>
                </a:lnTo>
                <a:lnTo>
                  <a:pt x="2350" y="2421"/>
                </a:lnTo>
                <a:lnTo>
                  <a:pt x="2347" y="2420"/>
                </a:lnTo>
                <a:lnTo>
                  <a:pt x="2345" y="2420"/>
                </a:lnTo>
                <a:lnTo>
                  <a:pt x="2344" y="2420"/>
                </a:lnTo>
                <a:lnTo>
                  <a:pt x="2344" y="2419"/>
                </a:lnTo>
                <a:lnTo>
                  <a:pt x="2344" y="2416"/>
                </a:lnTo>
                <a:lnTo>
                  <a:pt x="2350" y="2416"/>
                </a:lnTo>
                <a:lnTo>
                  <a:pt x="2350" y="2412"/>
                </a:lnTo>
                <a:lnTo>
                  <a:pt x="2350" y="2409"/>
                </a:lnTo>
                <a:lnTo>
                  <a:pt x="2350" y="2405"/>
                </a:lnTo>
                <a:lnTo>
                  <a:pt x="2351" y="2403"/>
                </a:lnTo>
                <a:lnTo>
                  <a:pt x="2352" y="2400"/>
                </a:lnTo>
                <a:lnTo>
                  <a:pt x="2354" y="2397"/>
                </a:lnTo>
                <a:lnTo>
                  <a:pt x="2358" y="2393"/>
                </a:lnTo>
                <a:lnTo>
                  <a:pt x="2358" y="2392"/>
                </a:lnTo>
                <a:lnTo>
                  <a:pt x="2357" y="2390"/>
                </a:lnTo>
                <a:lnTo>
                  <a:pt x="2355" y="2388"/>
                </a:lnTo>
                <a:lnTo>
                  <a:pt x="2355" y="2386"/>
                </a:lnTo>
                <a:lnTo>
                  <a:pt x="2355" y="2385"/>
                </a:lnTo>
                <a:lnTo>
                  <a:pt x="2363" y="2388"/>
                </a:lnTo>
                <a:lnTo>
                  <a:pt x="2369" y="2393"/>
                </a:lnTo>
                <a:lnTo>
                  <a:pt x="2372" y="2387"/>
                </a:lnTo>
                <a:lnTo>
                  <a:pt x="2374" y="2381"/>
                </a:lnTo>
                <a:lnTo>
                  <a:pt x="2378" y="2368"/>
                </a:lnTo>
                <a:lnTo>
                  <a:pt x="2380" y="2362"/>
                </a:lnTo>
                <a:lnTo>
                  <a:pt x="2383" y="2356"/>
                </a:lnTo>
                <a:lnTo>
                  <a:pt x="2386" y="2350"/>
                </a:lnTo>
                <a:lnTo>
                  <a:pt x="2389" y="2345"/>
                </a:lnTo>
                <a:lnTo>
                  <a:pt x="2390" y="2344"/>
                </a:lnTo>
                <a:lnTo>
                  <a:pt x="2392" y="2342"/>
                </a:lnTo>
                <a:lnTo>
                  <a:pt x="2395" y="2339"/>
                </a:lnTo>
                <a:lnTo>
                  <a:pt x="2403" y="2334"/>
                </a:lnTo>
                <a:lnTo>
                  <a:pt x="2411" y="2329"/>
                </a:lnTo>
                <a:lnTo>
                  <a:pt x="2414" y="2326"/>
                </a:lnTo>
                <a:lnTo>
                  <a:pt x="2417" y="2323"/>
                </a:lnTo>
                <a:lnTo>
                  <a:pt x="2421" y="2316"/>
                </a:lnTo>
                <a:lnTo>
                  <a:pt x="2425" y="2308"/>
                </a:lnTo>
                <a:lnTo>
                  <a:pt x="2426" y="2303"/>
                </a:lnTo>
                <a:lnTo>
                  <a:pt x="2428" y="2298"/>
                </a:lnTo>
                <a:lnTo>
                  <a:pt x="2429" y="2293"/>
                </a:lnTo>
                <a:lnTo>
                  <a:pt x="2430" y="2287"/>
                </a:lnTo>
                <a:lnTo>
                  <a:pt x="2432" y="2276"/>
                </a:lnTo>
                <a:lnTo>
                  <a:pt x="2432" y="2271"/>
                </a:lnTo>
                <a:lnTo>
                  <a:pt x="2432" y="2265"/>
                </a:lnTo>
                <a:lnTo>
                  <a:pt x="2432" y="2259"/>
                </a:lnTo>
                <a:lnTo>
                  <a:pt x="2431" y="2254"/>
                </a:lnTo>
                <a:lnTo>
                  <a:pt x="2430" y="2249"/>
                </a:lnTo>
                <a:lnTo>
                  <a:pt x="2428" y="2244"/>
                </a:lnTo>
                <a:lnTo>
                  <a:pt x="2427" y="2242"/>
                </a:lnTo>
                <a:lnTo>
                  <a:pt x="2424" y="2241"/>
                </a:lnTo>
                <a:lnTo>
                  <a:pt x="2422" y="2240"/>
                </a:lnTo>
                <a:lnTo>
                  <a:pt x="2420" y="2238"/>
                </a:lnTo>
                <a:lnTo>
                  <a:pt x="2417" y="2233"/>
                </a:lnTo>
                <a:lnTo>
                  <a:pt x="2415" y="2227"/>
                </a:lnTo>
                <a:lnTo>
                  <a:pt x="2412" y="2216"/>
                </a:lnTo>
                <a:lnTo>
                  <a:pt x="2403" y="2218"/>
                </a:lnTo>
                <a:lnTo>
                  <a:pt x="2399" y="2218"/>
                </a:lnTo>
                <a:lnTo>
                  <a:pt x="2398" y="2219"/>
                </a:lnTo>
                <a:lnTo>
                  <a:pt x="2398" y="2210"/>
                </a:lnTo>
                <a:lnTo>
                  <a:pt x="2395" y="2210"/>
                </a:lnTo>
                <a:lnTo>
                  <a:pt x="2393" y="2210"/>
                </a:lnTo>
                <a:lnTo>
                  <a:pt x="2390" y="2212"/>
                </a:lnTo>
                <a:lnTo>
                  <a:pt x="2387" y="2214"/>
                </a:lnTo>
                <a:lnTo>
                  <a:pt x="2385" y="2214"/>
                </a:lnTo>
                <a:lnTo>
                  <a:pt x="2383" y="2213"/>
                </a:lnTo>
                <a:lnTo>
                  <a:pt x="2376" y="2201"/>
                </a:lnTo>
                <a:lnTo>
                  <a:pt x="2371" y="2193"/>
                </a:lnTo>
                <a:lnTo>
                  <a:pt x="2367" y="2188"/>
                </a:lnTo>
                <a:lnTo>
                  <a:pt x="2360" y="2183"/>
                </a:lnTo>
                <a:lnTo>
                  <a:pt x="2350" y="2177"/>
                </a:lnTo>
                <a:lnTo>
                  <a:pt x="2340" y="2171"/>
                </a:lnTo>
                <a:lnTo>
                  <a:pt x="2333" y="2168"/>
                </a:lnTo>
                <a:lnTo>
                  <a:pt x="2330" y="2168"/>
                </a:lnTo>
                <a:lnTo>
                  <a:pt x="2327" y="2168"/>
                </a:lnTo>
                <a:lnTo>
                  <a:pt x="2320" y="2169"/>
                </a:lnTo>
                <a:lnTo>
                  <a:pt x="2313" y="2170"/>
                </a:lnTo>
                <a:lnTo>
                  <a:pt x="2309" y="2169"/>
                </a:lnTo>
                <a:lnTo>
                  <a:pt x="2305" y="2168"/>
                </a:lnTo>
                <a:lnTo>
                  <a:pt x="2302" y="2162"/>
                </a:lnTo>
                <a:lnTo>
                  <a:pt x="2298" y="2162"/>
                </a:lnTo>
                <a:lnTo>
                  <a:pt x="2295" y="2164"/>
                </a:lnTo>
                <a:lnTo>
                  <a:pt x="2293" y="2165"/>
                </a:lnTo>
                <a:lnTo>
                  <a:pt x="2292" y="2165"/>
                </a:lnTo>
                <a:lnTo>
                  <a:pt x="2291" y="2165"/>
                </a:lnTo>
                <a:lnTo>
                  <a:pt x="2289" y="2164"/>
                </a:lnTo>
                <a:lnTo>
                  <a:pt x="2287" y="2162"/>
                </a:lnTo>
                <a:lnTo>
                  <a:pt x="2285" y="2160"/>
                </a:lnTo>
                <a:lnTo>
                  <a:pt x="2283" y="2158"/>
                </a:lnTo>
                <a:lnTo>
                  <a:pt x="2280" y="2157"/>
                </a:lnTo>
                <a:lnTo>
                  <a:pt x="2277" y="2156"/>
                </a:lnTo>
                <a:lnTo>
                  <a:pt x="2273" y="2156"/>
                </a:lnTo>
                <a:lnTo>
                  <a:pt x="2268" y="2157"/>
                </a:lnTo>
                <a:lnTo>
                  <a:pt x="2267" y="2158"/>
                </a:lnTo>
                <a:lnTo>
                  <a:pt x="2267" y="2162"/>
                </a:lnTo>
                <a:lnTo>
                  <a:pt x="2265" y="2168"/>
                </a:lnTo>
                <a:lnTo>
                  <a:pt x="2261" y="2168"/>
                </a:lnTo>
                <a:lnTo>
                  <a:pt x="2257" y="2168"/>
                </a:lnTo>
                <a:lnTo>
                  <a:pt x="2256" y="2165"/>
                </a:lnTo>
                <a:lnTo>
                  <a:pt x="2256" y="2163"/>
                </a:lnTo>
                <a:lnTo>
                  <a:pt x="2256" y="2161"/>
                </a:lnTo>
                <a:lnTo>
                  <a:pt x="2256" y="2160"/>
                </a:lnTo>
                <a:lnTo>
                  <a:pt x="2255" y="2160"/>
                </a:lnTo>
                <a:lnTo>
                  <a:pt x="2251" y="2157"/>
                </a:lnTo>
                <a:lnTo>
                  <a:pt x="2252" y="2154"/>
                </a:lnTo>
                <a:lnTo>
                  <a:pt x="2254" y="2152"/>
                </a:lnTo>
                <a:lnTo>
                  <a:pt x="2255" y="2149"/>
                </a:lnTo>
                <a:lnTo>
                  <a:pt x="2255" y="2147"/>
                </a:lnTo>
                <a:lnTo>
                  <a:pt x="2254" y="2145"/>
                </a:lnTo>
                <a:lnTo>
                  <a:pt x="2248" y="2145"/>
                </a:lnTo>
                <a:lnTo>
                  <a:pt x="2246" y="2134"/>
                </a:lnTo>
                <a:lnTo>
                  <a:pt x="2241" y="2136"/>
                </a:lnTo>
                <a:lnTo>
                  <a:pt x="2237" y="2137"/>
                </a:lnTo>
                <a:lnTo>
                  <a:pt x="2237" y="2131"/>
                </a:lnTo>
                <a:lnTo>
                  <a:pt x="2229" y="2127"/>
                </a:lnTo>
                <a:lnTo>
                  <a:pt x="2223" y="2124"/>
                </a:lnTo>
                <a:lnTo>
                  <a:pt x="2216" y="2121"/>
                </a:lnTo>
                <a:lnTo>
                  <a:pt x="2209" y="2118"/>
                </a:lnTo>
                <a:lnTo>
                  <a:pt x="2202" y="2117"/>
                </a:lnTo>
                <a:lnTo>
                  <a:pt x="2199" y="2116"/>
                </a:lnTo>
                <a:lnTo>
                  <a:pt x="2195" y="2116"/>
                </a:lnTo>
                <a:lnTo>
                  <a:pt x="2192" y="2116"/>
                </a:lnTo>
                <a:lnTo>
                  <a:pt x="2189" y="2117"/>
                </a:lnTo>
                <a:lnTo>
                  <a:pt x="2187" y="2126"/>
                </a:lnTo>
                <a:lnTo>
                  <a:pt x="2181" y="2126"/>
                </a:lnTo>
                <a:lnTo>
                  <a:pt x="2180" y="2125"/>
                </a:lnTo>
                <a:lnTo>
                  <a:pt x="2179" y="2124"/>
                </a:lnTo>
                <a:lnTo>
                  <a:pt x="2179" y="2122"/>
                </a:lnTo>
                <a:lnTo>
                  <a:pt x="2178" y="2121"/>
                </a:lnTo>
                <a:lnTo>
                  <a:pt x="2179" y="2118"/>
                </a:lnTo>
                <a:lnTo>
                  <a:pt x="2179" y="2115"/>
                </a:lnTo>
                <a:lnTo>
                  <a:pt x="2181" y="2109"/>
                </a:lnTo>
                <a:lnTo>
                  <a:pt x="2181" y="2107"/>
                </a:lnTo>
                <a:lnTo>
                  <a:pt x="2181" y="2106"/>
                </a:lnTo>
                <a:lnTo>
                  <a:pt x="2179" y="2105"/>
                </a:lnTo>
                <a:lnTo>
                  <a:pt x="2177" y="2105"/>
                </a:lnTo>
                <a:lnTo>
                  <a:pt x="2173" y="2106"/>
                </a:lnTo>
                <a:lnTo>
                  <a:pt x="2168" y="2106"/>
                </a:lnTo>
                <a:lnTo>
                  <a:pt x="2166" y="2106"/>
                </a:lnTo>
                <a:lnTo>
                  <a:pt x="2164" y="2106"/>
                </a:lnTo>
                <a:lnTo>
                  <a:pt x="2167" y="2098"/>
                </a:lnTo>
                <a:lnTo>
                  <a:pt x="2164" y="2098"/>
                </a:lnTo>
                <a:lnTo>
                  <a:pt x="2162" y="2098"/>
                </a:lnTo>
                <a:lnTo>
                  <a:pt x="2161" y="2099"/>
                </a:lnTo>
                <a:lnTo>
                  <a:pt x="2159" y="2099"/>
                </a:lnTo>
                <a:lnTo>
                  <a:pt x="2157" y="2101"/>
                </a:lnTo>
                <a:lnTo>
                  <a:pt x="2155" y="2101"/>
                </a:lnTo>
                <a:lnTo>
                  <a:pt x="2153" y="2100"/>
                </a:lnTo>
                <a:lnTo>
                  <a:pt x="2152" y="2100"/>
                </a:lnTo>
                <a:lnTo>
                  <a:pt x="2152" y="2099"/>
                </a:lnTo>
                <a:lnTo>
                  <a:pt x="2151" y="2098"/>
                </a:lnTo>
                <a:lnTo>
                  <a:pt x="2150" y="2097"/>
                </a:lnTo>
                <a:lnTo>
                  <a:pt x="2149" y="2096"/>
                </a:lnTo>
                <a:lnTo>
                  <a:pt x="2148" y="2095"/>
                </a:lnTo>
                <a:lnTo>
                  <a:pt x="2147" y="2095"/>
                </a:lnTo>
                <a:lnTo>
                  <a:pt x="2153" y="2084"/>
                </a:lnTo>
                <a:lnTo>
                  <a:pt x="2154" y="2081"/>
                </a:lnTo>
                <a:lnTo>
                  <a:pt x="2154" y="2079"/>
                </a:lnTo>
                <a:lnTo>
                  <a:pt x="2153" y="2078"/>
                </a:lnTo>
                <a:lnTo>
                  <a:pt x="2150" y="2077"/>
                </a:lnTo>
                <a:lnTo>
                  <a:pt x="2145" y="2075"/>
                </a:lnTo>
                <a:lnTo>
                  <a:pt x="2139" y="2072"/>
                </a:lnTo>
                <a:lnTo>
                  <a:pt x="2145" y="2068"/>
                </a:lnTo>
                <a:lnTo>
                  <a:pt x="2149" y="2066"/>
                </a:lnTo>
                <a:lnTo>
                  <a:pt x="2153" y="2064"/>
                </a:lnTo>
                <a:lnTo>
                  <a:pt x="2152" y="2062"/>
                </a:lnTo>
                <a:lnTo>
                  <a:pt x="2153" y="2060"/>
                </a:lnTo>
                <a:lnTo>
                  <a:pt x="2153" y="2057"/>
                </a:lnTo>
                <a:lnTo>
                  <a:pt x="2153" y="2056"/>
                </a:lnTo>
                <a:lnTo>
                  <a:pt x="2153" y="2055"/>
                </a:lnTo>
                <a:lnTo>
                  <a:pt x="2151" y="2055"/>
                </a:lnTo>
                <a:lnTo>
                  <a:pt x="2147" y="2055"/>
                </a:lnTo>
                <a:lnTo>
                  <a:pt x="2142" y="2055"/>
                </a:lnTo>
                <a:lnTo>
                  <a:pt x="2139" y="2045"/>
                </a:lnTo>
                <a:lnTo>
                  <a:pt x="2138" y="2036"/>
                </a:lnTo>
                <a:lnTo>
                  <a:pt x="2136" y="2026"/>
                </a:lnTo>
                <a:lnTo>
                  <a:pt x="2133" y="2016"/>
                </a:lnTo>
                <a:lnTo>
                  <a:pt x="2131" y="2012"/>
                </a:lnTo>
                <a:lnTo>
                  <a:pt x="2127" y="2005"/>
                </a:lnTo>
                <a:lnTo>
                  <a:pt x="2122" y="2005"/>
                </a:lnTo>
                <a:lnTo>
                  <a:pt x="2122" y="2003"/>
                </a:lnTo>
                <a:lnTo>
                  <a:pt x="2122" y="2000"/>
                </a:lnTo>
                <a:lnTo>
                  <a:pt x="2122" y="1998"/>
                </a:lnTo>
                <a:lnTo>
                  <a:pt x="2122" y="1997"/>
                </a:lnTo>
                <a:lnTo>
                  <a:pt x="2122" y="1996"/>
                </a:lnTo>
                <a:lnTo>
                  <a:pt x="2121" y="1995"/>
                </a:lnTo>
                <a:lnTo>
                  <a:pt x="2119" y="1995"/>
                </a:lnTo>
                <a:lnTo>
                  <a:pt x="2116" y="1993"/>
                </a:lnTo>
                <a:lnTo>
                  <a:pt x="2113" y="1992"/>
                </a:lnTo>
                <a:lnTo>
                  <a:pt x="2111" y="1991"/>
                </a:lnTo>
                <a:lnTo>
                  <a:pt x="2109" y="1989"/>
                </a:lnTo>
                <a:lnTo>
                  <a:pt x="2108" y="1987"/>
                </a:lnTo>
                <a:lnTo>
                  <a:pt x="2107" y="1982"/>
                </a:lnTo>
                <a:lnTo>
                  <a:pt x="2105" y="1977"/>
                </a:lnTo>
                <a:lnTo>
                  <a:pt x="2104" y="1975"/>
                </a:lnTo>
                <a:lnTo>
                  <a:pt x="2102" y="1974"/>
                </a:lnTo>
                <a:lnTo>
                  <a:pt x="2096" y="1971"/>
                </a:lnTo>
                <a:lnTo>
                  <a:pt x="2091" y="1968"/>
                </a:lnTo>
                <a:lnTo>
                  <a:pt x="2088" y="1968"/>
                </a:lnTo>
                <a:lnTo>
                  <a:pt x="2086" y="1967"/>
                </a:lnTo>
                <a:lnTo>
                  <a:pt x="2082" y="1968"/>
                </a:lnTo>
                <a:lnTo>
                  <a:pt x="2078" y="1969"/>
                </a:lnTo>
                <a:lnTo>
                  <a:pt x="2076" y="1969"/>
                </a:lnTo>
                <a:lnTo>
                  <a:pt x="2074" y="1968"/>
                </a:lnTo>
                <a:lnTo>
                  <a:pt x="2074" y="1960"/>
                </a:lnTo>
                <a:lnTo>
                  <a:pt x="2062" y="1959"/>
                </a:lnTo>
                <a:lnTo>
                  <a:pt x="2052" y="1958"/>
                </a:lnTo>
                <a:lnTo>
                  <a:pt x="2041" y="1958"/>
                </a:lnTo>
                <a:lnTo>
                  <a:pt x="2026" y="1957"/>
                </a:lnTo>
                <a:lnTo>
                  <a:pt x="2026" y="1960"/>
                </a:lnTo>
                <a:lnTo>
                  <a:pt x="2026" y="1962"/>
                </a:lnTo>
                <a:lnTo>
                  <a:pt x="2026" y="1963"/>
                </a:lnTo>
                <a:lnTo>
                  <a:pt x="2026" y="1964"/>
                </a:lnTo>
                <a:lnTo>
                  <a:pt x="2025" y="1965"/>
                </a:lnTo>
                <a:lnTo>
                  <a:pt x="2023" y="1965"/>
                </a:lnTo>
                <a:lnTo>
                  <a:pt x="2023" y="1963"/>
                </a:lnTo>
                <a:lnTo>
                  <a:pt x="2022" y="1961"/>
                </a:lnTo>
                <a:lnTo>
                  <a:pt x="2023" y="1956"/>
                </a:lnTo>
                <a:lnTo>
                  <a:pt x="2022" y="1952"/>
                </a:lnTo>
                <a:lnTo>
                  <a:pt x="2022" y="1950"/>
                </a:lnTo>
                <a:lnTo>
                  <a:pt x="2021" y="1949"/>
                </a:lnTo>
                <a:lnTo>
                  <a:pt x="2019" y="1948"/>
                </a:lnTo>
                <a:lnTo>
                  <a:pt x="2017" y="1948"/>
                </a:lnTo>
                <a:lnTo>
                  <a:pt x="2014" y="1949"/>
                </a:lnTo>
                <a:lnTo>
                  <a:pt x="2012" y="1949"/>
                </a:lnTo>
                <a:lnTo>
                  <a:pt x="2009" y="1944"/>
                </a:lnTo>
                <a:lnTo>
                  <a:pt x="2007" y="1940"/>
                </a:lnTo>
                <a:lnTo>
                  <a:pt x="2003" y="1941"/>
                </a:lnTo>
                <a:lnTo>
                  <a:pt x="2001" y="1942"/>
                </a:lnTo>
                <a:lnTo>
                  <a:pt x="1999" y="1943"/>
                </a:lnTo>
                <a:lnTo>
                  <a:pt x="1995" y="1943"/>
                </a:lnTo>
                <a:lnTo>
                  <a:pt x="1996" y="1949"/>
                </a:lnTo>
                <a:lnTo>
                  <a:pt x="1995" y="1954"/>
                </a:lnTo>
                <a:lnTo>
                  <a:pt x="1994" y="1954"/>
                </a:lnTo>
                <a:lnTo>
                  <a:pt x="1992" y="1953"/>
                </a:lnTo>
                <a:lnTo>
                  <a:pt x="1990" y="1953"/>
                </a:lnTo>
                <a:lnTo>
                  <a:pt x="1988" y="1953"/>
                </a:lnTo>
                <a:lnTo>
                  <a:pt x="1987" y="1954"/>
                </a:lnTo>
                <a:lnTo>
                  <a:pt x="1990" y="1946"/>
                </a:lnTo>
                <a:lnTo>
                  <a:pt x="1992" y="1940"/>
                </a:lnTo>
                <a:lnTo>
                  <a:pt x="1993" y="1933"/>
                </a:lnTo>
                <a:lnTo>
                  <a:pt x="1995" y="1923"/>
                </a:lnTo>
                <a:lnTo>
                  <a:pt x="1994" y="1923"/>
                </a:lnTo>
                <a:lnTo>
                  <a:pt x="1993" y="1923"/>
                </a:lnTo>
                <a:lnTo>
                  <a:pt x="1991" y="1923"/>
                </a:lnTo>
                <a:lnTo>
                  <a:pt x="1989" y="1924"/>
                </a:lnTo>
                <a:lnTo>
                  <a:pt x="1987" y="1923"/>
                </a:lnTo>
                <a:lnTo>
                  <a:pt x="1987" y="1918"/>
                </a:lnTo>
                <a:lnTo>
                  <a:pt x="1983" y="1916"/>
                </a:lnTo>
                <a:lnTo>
                  <a:pt x="1980" y="1916"/>
                </a:lnTo>
                <a:lnTo>
                  <a:pt x="1979" y="1915"/>
                </a:lnTo>
                <a:lnTo>
                  <a:pt x="1978" y="1915"/>
                </a:lnTo>
                <a:lnTo>
                  <a:pt x="1977" y="1913"/>
                </a:lnTo>
                <a:lnTo>
                  <a:pt x="1976" y="1910"/>
                </a:lnTo>
                <a:lnTo>
                  <a:pt x="1974" y="1908"/>
                </a:lnTo>
                <a:lnTo>
                  <a:pt x="1973" y="1906"/>
                </a:lnTo>
                <a:lnTo>
                  <a:pt x="1972" y="1906"/>
                </a:lnTo>
                <a:lnTo>
                  <a:pt x="1970" y="1906"/>
                </a:lnTo>
                <a:lnTo>
                  <a:pt x="1965" y="1904"/>
                </a:lnTo>
                <a:lnTo>
                  <a:pt x="1960" y="1904"/>
                </a:lnTo>
                <a:lnTo>
                  <a:pt x="1956" y="1904"/>
                </a:lnTo>
                <a:lnTo>
                  <a:pt x="1951" y="1904"/>
                </a:lnTo>
                <a:lnTo>
                  <a:pt x="1942" y="1905"/>
                </a:lnTo>
                <a:lnTo>
                  <a:pt x="1933" y="1906"/>
                </a:lnTo>
                <a:lnTo>
                  <a:pt x="1925" y="1909"/>
                </a:lnTo>
                <a:lnTo>
                  <a:pt x="1926" y="1908"/>
                </a:lnTo>
                <a:lnTo>
                  <a:pt x="1927" y="1906"/>
                </a:lnTo>
                <a:lnTo>
                  <a:pt x="1928" y="1901"/>
                </a:lnTo>
                <a:lnTo>
                  <a:pt x="1938" y="1901"/>
                </a:lnTo>
                <a:lnTo>
                  <a:pt x="1943" y="1901"/>
                </a:lnTo>
                <a:lnTo>
                  <a:pt x="1947" y="1901"/>
                </a:lnTo>
                <a:lnTo>
                  <a:pt x="1948" y="1896"/>
                </a:lnTo>
                <a:lnTo>
                  <a:pt x="1948" y="1892"/>
                </a:lnTo>
                <a:lnTo>
                  <a:pt x="1949" y="1888"/>
                </a:lnTo>
                <a:lnTo>
                  <a:pt x="1950" y="1884"/>
                </a:lnTo>
                <a:lnTo>
                  <a:pt x="1953" y="1884"/>
                </a:lnTo>
                <a:lnTo>
                  <a:pt x="1954" y="1883"/>
                </a:lnTo>
                <a:lnTo>
                  <a:pt x="1953" y="1883"/>
                </a:lnTo>
                <a:lnTo>
                  <a:pt x="1952" y="1881"/>
                </a:lnTo>
                <a:lnTo>
                  <a:pt x="1947" y="1878"/>
                </a:lnTo>
                <a:lnTo>
                  <a:pt x="1945" y="1878"/>
                </a:lnTo>
                <a:lnTo>
                  <a:pt x="1944" y="1878"/>
                </a:lnTo>
                <a:lnTo>
                  <a:pt x="1942" y="1880"/>
                </a:lnTo>
                <a:lnTo>
                  <a:pt x="1940" y="1881"/>
                </a:lnTo>
                <a:lnTo>
                  <a:pt x="1939" y="1881"/>
                </a:lnTo>
                <a:lnTo>
                  <a:pt x="1936" y="1881"/>
                </a:lnTo>
                <a:lnTo>
                  <a:pt x="1936" y="1875"/>
                </a:lnTo>
                <a:lnTo>
                  <a:pt x="1934" y="1875"/>
                </a:lnTo>
                <a:lnTo>
                  <a:pt x="1932" y="1875"/>
                </a:lnTo>
                <a:lnTo>
                  <a:pt x="1931" y="1876"/>
                </a:lnTo>
                <a:lnTo>
                  <a:pt x="1931" y="1877"/>
                </a:lnTo>
                <a:lnTo>
                  <a:pt x="1929" y="1878"/>
                </a:lnTo>
                <a:lnTo>
                  <a:pt x="1927" y="1879"/>
                </a:lnTo>
                <a:lnTo>
                  <a:pt x="1925" y="1878"/>
                </a:lnTo>
                <a:lnTo>
                  <a:pt x="1925" y="1873"/>
                </a:lnTo>
                <a:lnTo>
                  <a:pt x="1923" y="1873"/>
                </a:lnTo>
                <a:lnTo>
                  <a:pt x="1922" y="1873"/>
                </a:lnTo>
                <a:lnTo>
                  <a:pt x="1921" y="1872"/>
                </a:lnTo>
                <a:lnTo>
                  <a:pt x="1921" y="1870"/>
                </a:lnTo>
                <a:lnTo>
                  <a:pt x="1919" y="1864"/>
                </a:lnTo>
                <a:lnTo>
                  <a:pt x="1926" y="1861"/>
                </a:lnTo>
                <a:lnTo>
                  <a:pt x="1931" y="1858"/>
                </a:lnTo>
                <a:lnTo>
                  <a:pt x="1900" y="1858"/>
                </a:lnTo>
                <a:lnTo>
                  <a:pt x="1903" y="1861"/>
                </a:lnTo>
                <a:lnTo>
                  <a:pt x="1905" y="1863"/>
                </a:lnTo>
                <a:lnTo>
                  <a:pt x="1905" y="1864"/>
                </a:lnTo>
                <a:lnTo>
                  <a:pt x="1902" y="1864"/>
                </a:lnTo>
                <a:lnTo>
                  <a:pt x="1898" y="1862"/>
                </a:lnTo>
                <a:lnTo>
                  <a:pt x="1896" y="1861"/>
                </a:lnTo>
                <a:lnTo>
                  <a:pt x="1894" y="1861"/>
                </a:lnTo>
                <a:lnTo>
                  <a:pt x="1891" y="1866"/>
                </a:lnTo>
                <a:lnTo>
                  <a:pt x="1888" y="1870"/>
                </a:lnTo>
                <a:lnTo>
                  <a:pt x="1884" y="1870"/>
                </a:lnTo>
                <a:lnTo>
                  <a:pt x="1880" y="1870"/>
                </a:lnTo>
                <a:lnTo>
                  <a:pt x="1872" y="1869"/>
                </a:lnTo>
                <a:lnTo>
                  <a:pt x="1857" y="1867"/>
                </a:lnTo>
                <a:lnTo>
                  <a:pt x="1857" y="1861"/>
                </a:lnTo>
                <a:lnTo>
                  <a:pt x="1852" y="1861"/>
                </a:lnTo>
                <a:lnTo>
                  <a:pt x="1847" y="1861"/>
                </a:lnTo>
                <a:lnTo>
                  <a:pt x="1842" y="1862"/>
                </a:lnTo>
                <a:lnTo>
                  <a:pt x="1837" y="1864"/>
                </a:lnTo>
                <a:lnTo>
                  <a:pt x="1827" y="1867"/>
                </a:lnTo>
                <a:lnTo>
                  <a:pt x="1818" y="1870"/>
                </a:lnTo>
                <a:lnTo>
                  <a:pt x="1816" y="1862"/>
                </a:lnTo>
                <a:lnTo>
                  <a:pt x="1815" y="1858"/>
                </a:lnTo>
                <a:lnTo>
                  <a:pt x="1813" y="1854"/>
                </a:lnTo>
                <a:lnTo>
                  <a:pt x="1811" y="1851"/>
                </a:lnTo>
                <a:lnTo>
                  <a:pt x="1808" y="1848"/>
                </a:lnTo>
                <a:lnTo>
                  <a:pt x="1804" y="1846"/>
                </a:lnTo>
                <a:lnTo>
                  <a:pt x="1798" y="1844"/>
                </a:lnTo>
                <a:lnTo>
                  <a:pt x="1796" y="1844"/>
                </a:lnTo>
                <a:lnTo>
                  <a:pt x="1793" y="1845"/>
                </a:lnTo>
                <a:lnTo>
                  <a:pt x="1789" y="1845"/>
                </a:lnTo>
                <a:lnTo>
                  <a:pt x="1787" y="1844"/>
                </a:lnTo>
                <a:lnTo>
                  <a:pt x="1787" y="1840"/>
                </a:lnTo>
                <a:lnTo>
                  <a:pt x="1787" y="1836"/>
                </a:lnTo>
                <a:lnTo>
                  <a:pt x="1783" y="1835"/>
                </a:lnTo>
                <a:lnTo>
                  <a:pt x="1780" y="1834"/>
                </a:lnTo>
                <a:lnTo>
                  <a:pt x="1779" y="1833"/>
                </a:lnTo>
                <a:lnTo>
                  <a:pt x="1779" y="1835"/>
                </a:lnTo>
                <a:lnTo>
                  <a:pt x="1779" y="1837"/>
                </a:lnTo>
                <a:lnTo>
                  <a:pt x="1779" y="1842"/>
                </a:lnTo>
                <a:lnTo>
                  <a:pt x="1781" y="1842"/>
                </a:lnTo>
                <a:lnTo>
                  <a:pt x="1782" y="1843"/>
                </a:lnTo>
                <a:lnTo>
                  <a:pt x="1783" y="1844"/>
                </a:lnTo>
                <a:lnTo>
                  <a:pt x="1784" y="1845"/>
                </a:lnTo>
                <a:lnTo>
                  <a:pt x="1785" y="1848"/>
                </a:lnTo>
                <a:lnTo>
                  <a:pt x="1786" y="1849"/>
                </a:lnTo>
                <a:lnTo>
                  <a:pt x="1787" y="1850"/>
                </a:lnTo>
                <a:lnTo>
                  <a:pt x="1779" y="1852"/>
                </a:lnTo>
                <a:lnTo>
                  <a:pt x="1773" y="1853"/>
                </a:lnTo>
                <a:lnTo>
                  <a:pt x="1766" y="1854"/>
                </a:lnTo>
                <a:lnTo>
                  <a:pt x="1759" y="1856"/>
                </a:lnTo>
                <a:lnTo>
                  <a:pt x="1759" y="1860"/>
                </a:lnTo>
                <a:lnTo>
                  <a:pt x="1759" y="1864"/>
                </a:lnTo>
                <a:lnTo>
                  <a:pt x="1758" y="1868"/>
                </a:lnTo>
                <a:lnTo>
                  <a:pt x="1759" y="1873"/>
                </a:lnTo>
                <a:lnTo>
                  <a:pt x="1762" y="1876"/>
                </a:lnTo>
                <a:lnTo>
                  <a:pt x="1768" y="1885"/>
                </a:lnTo>
                <a:lnTo>
                  <a:pt x="1770" y="1889"/>
                </a:lnTo>
                <a:lnTo>
                  <a:pt x="1771" y="1891"/>
                </a:lnTo>
                <a:lnTo>
                  <a:pt x="1771" y="1893"/>
                </a:lnTo>
                <a:lnTo>
                  <a:pt x="1770" y="1895"/>
                </a:lnTo>
                <a:lnTo>
                  <a:pt x="1769" y="1896"/>
                </a:lnTo>
                <a:lnTo>
                  <a:pt x="1767" y="1897"/>
                </a:lnTo>
                <a:lnTo>
                  <a:pt x="1765" y="1898"/>
                </a:lnTo>
                <a:lnTo>
                  <a:pt x="1761" y="1898"/>
                </a:lnTo>
                <a:lnTo>
                  <a:pt x="1759" y="1898"/>
                </a:lnTo>
                <a:lnTo>
                  <a:pt x="1756" y="1898"/>
                </a:lnTo>
                <a:lnTo>
                  <a:pt x="1755" y="1897"/>
                </a:lnTo>
                <a:lnTo>
                  <a:pt x="1752" y="1895"/>
                </a:lnTo>
                <a:lnTo>
                  <a:pt x="1751" y="1893"/>
                </a:lnTo>
                <a:lnTo>
                  <a:pt x="1750" y="1891"/>
                </a:lnTo>
                <a:lnTo>
                  <a:pt x="1750" y="1889"/>
                </a:lnTo>
                <a:lnTo>
                  <a:pt x="1749" y="1887"/>
                </a:lnTo>
                <a:lnTo>
                  <a:pt x="1749" y="1883"/>
                </a:lnTo>
                <a:lnTo>
                  <a:pt x="1749" y="1878"/>
                </a:lnTo>
                <a:lnTo>
                  <a:pt x="1748" y="1873"/>
                </a:lnTo>
                <a:lnTo>
                  <a:pt x="1753" y="1872"/>
                </a:lnTo>
                <a:lnTo>
                  <a:pt x="1755" y="1871"/>
                </a:lnTo>
                <a:lnTo>
                  <a:pt x="1756" y="1871"/>
                </a:lnTo>
                <a:lnTo>
                  <a:pt x="1756" y="1870"/>
                </a:lnTo>
                <a:lnTo>
                  <a:pt x="1756" y="1867"/>
                </a:lnTo>
                <a:lnTo>
                  <a:pt x="1756" y="1865"/>
                </a:lnTo>
                <a:lnTo>
                  <a:pt x="1756" y="1863"/>
                </a:lnTo>
                <a:lnTo>
                  <a:pt x="1756" y="1861"/>
                </a:lnTo>
                <a:lnTo>
                  <a:pt x="1751" y="1861"/>
                </a:lnTo>
                <a:lnTo>
                  <a:pt x="1753" y="1856"/>
                </a:lnTo>
                <a:lnTo>
                  <a:pt x="1749" y="1854"/>
                </a:lnTo>
                <a:lnTo>
                  <a:pt x="1745" y="1853"/>
                </a:lnTo>
                <a:lnTo>
                  <a:pt x="1745" y="1850"/>
                </a:lnTo>
                <a:lnTo>
                  <a:pt x="1753" y="1844"/>
                </a:lnTo>
                <a:lnTo>
                  <a:pt x="1757" y="1842"/>
                </a:lnTo>
                <a:lnTo>
                  <a:pt x="1762" y="1839"/>
                </a:lnTo>
                <a:lnTo>
                  <a:pt x="1759" y="1834"/>
                </a:lnTo>
                <a:lnTo>
                  <a:pt x="1756" y="1828"/>
                </a:lnTo>
                <a:lnTo>
                  <a:pt x="1750" y="1829"/>
                </a:lnTo>
                <a:lnTo>
                  <a:pt x="1748" y="1829"/>
                </a:lnTo>
                <a:lnTo>
                  <a:pt x="1745" y="1830"/>
                </a:lnTo>
                <a:lnTo>
                  <a:pt x="1745" y="1836"/>
                </a:lnTo>
                <a:lnTo>
                  <a:pt x="1741" y="1839"/>
                </a:lnTo>
                <a:lnTo>
                  <a:pt x="1734" y="1845"/>
                </a:lnTo>
                <a:lnTo>
                  <a:pt x="1722" y="1853"/>
                </a:lnTo>
                <a:lnTo>
                  <a:pt x="1721" y="1853"/>
                </a:lnTo>
                <a:lnTo>
                  <a:pt x="1720" y="1852"/>
                </a:lnTo>
                <a:lnTo>
                  <a:pt x="1717" y="1851"/>
                </a:lnTo>
                <a:lnTo>
                  <a:pt x="1713" y="1850"/>
                </a:lnTo>
                <a:lnTo>
                  <a:pt x="1711" y="1849"/>
                </a:lnTo>
                <a:lnTo>
                  <a:pt x="1708" y="1850"/>
                </a:lnTo>
                <a:lnTo>
                  <a:pt x="1707" y="1851"/>
                </a:lnTo>
                <a:lnTo>
                  <a:pt x="1707" y="1852"/>
                </a:lnTo>
                <a:lnTo>
                  <a:pt x="1706" y="1854"/>
                </a:lnTo>
                <a:lnTo>
                  <a:pt x="1706" y="1858"/>
                </a:lnTo>
                <a:lnTo>
                  <a:pt x="1706" y="1861"/>
                </a:lnTo>
                <a:lnTo>
                  <a:pt x="1704" y="1861"/>
                </a:lnTo>
                <a:lnTo>
                  <a:pt x="1703" y="1860"/>
                </a:lnTo>
                <a:lnTo>
                  <a:pt x="1703" y="1858"/>
                </a:lnTo>
                <a:lnTo>
                  <a:pt x="1698" y="1858"/>
                </a:lnTo>
                <a:lnTo>
                  <a:pt x="1692" y="1858"/>
                </a:lnTo>
                <a:lnTo>
                  <a:pt x="1690" y="1869"/>
                </a:lnTo>
                <a:lnTo>
                  <a:pt x="1689" y="1881"/>
                </a:lnTo>
                <a:lnTo>
                  <a:pt x="1683" y="1881"/>
                </a:lnTo>
                <a:lnTo>
                  <a:pt x="1683" y="1884"/>
                </a:lnTo>
                <a:lnTo>
                  <a:pt x="1683" y="1887"/>
                </a:lnTo>
                <a:lnTo>
                  <a:pt x="1684" y="1890"/>
                </a:lnTo>
                <a:lnTo>
                  <a:pt x="1683" y="1892"/>
                </a:lnTo>
                <a:lnTo>
                  <a:pt x="1679" y="1892"/>
                </a:lnTo>
                <a:lnTo>
                  <a:pt x="1675" y="1892"/>
                </a:lnTo>
                <a:lnTo>
                  <a:pt x="1670" y="1900"/>
                </a:lnTo>
                <a:lnTo>
                  <a:pt x="1666" y="1906"/>
                </a:lnTo>
                <a:lnTo>
                  <a:pt x="1666" y="1909"/>
                </a:lnTo>
                <a:lnTo>
                  <a:pt x="1666" y="1912"/>
                </a:lnTo>
                <a:lnTo>
                  <a:pt x="1667" y="1915"/>
                </a:lnTo>
                <a:lnTo>
                  <a:pt x="1666" y="1918"/>
                </a:lnTo>
                <a:lnTo>
                  <a:pt x="1655" y="1910"/>
                </a:lnTo>
                <a:lnTo>
                  <a:pt x="1648" y="1903"/>
                </a:lnTo>
                <a:lnTo>
                  <a:pt x="1641" y="1897"/>
                </a:lnTo>
                <a:lnTo>
                  <a:pt x="1638" y="1893"/>
                </a:lnTo>
                <a:lnTo>
                  <a:pt x="1635" y="1889"/>
                </a:lnTo>
                <a:lnTo>
                  <a:pt x="1630" y="1881"/>
                </a:lnTo>
                <a:lnTo>
                  <a:pt x="1625" y="1881"/>
                </a:lnTo>
                <a:lnTo>
                  <a:pt x="1620" y="1880"/>
                </a:lnTo>
                <a:lnTo>
                  <a:pt x="1615" y="1878"/>
                </a:lnTo>
                <a:lnTo>
                  <a:pt x="1614" y="1878"/>
                </a:lnTo>
                <a:lnTo>
                  <a:pt x="1613" y="1878"/>
                </a:lnTo>
                <a:lnTo>
                  <a:pt x="1612" y="1882"/>
                </a:lnTo>
                <a:lnTo>
                  <a:pt x="1611" y="1885"/>
                </a:lnTo>
                <a:lnTo>
                  <a:pt x="1610" y="1887"/>
                </a:lnTo>
                <a:lnTo>
                  <a:pt x="1605" y="1888"/>
                </a:lnTo>
                <a:lnTo>
                  <a:pt x="1601" y="1889"/>
                </a:lnTo>
                <a:lnTo>
                  <a:pt x="1594" y="1891"/>
                </a:lnTo>
                <a:lnTo>
                  <a:pt x="1587" y="1892"/>
                </a:lnTo>
                <a:lnTo>
                  <a:pt x="1583" y="1893"/>
                </a:lnTo>
                <a:lnTo>
                  <a:pt x="1579" y="1895"/>
                </a:lnTo>
                <a:lnTo>
                  <a:pt x="1578" y="1893"/>
                </a:lnTo>
                <a:lnTo>
                  <a:pt x="1577" y="1891"/>
                </a:lnTo>
                <a:lnTo>
                  <a:pt x="1576" y="1890"/>
                </a:lnTo>
                <a:lnTo>
                  <a:pt x="1573" y="1889"/>
                </a:lnTo>
                <a:lnTo>
                  <a:pt x="1571" y="1892"/>
                </a:lnTo>
                <a:lnTo>
                  <a:pt x="1569" y="1892"/>
                </a:lnTo>
                <a:lnTo>
                  <a:pt x="1568" y="1893"/>
                </a:lnTo>
                <a:lnTo>
                  <a:pt x="1566" y="1893"/>
                </a:lnTo>
                <a:lnTo>
                  <a:pt x="1565" y="1892"/>
                </a:lnTo>
                <a:lnTo>
                  <a:pt x="1564" y="1891"/>
                </a:lnTo>
                <a:lnTo>
                  <a:pt x="1562" y="1887"/>
                </a:lnTo>
                <a:lnTo>
                  <a:pt x="1558" y="1878"/>
                </a:lnTo>
                <a:lnTo>
                  <a:pt x="1554" y="1867"/>
                </a:lnTo>
                <a:lnTo>
                  <a:pt x="1550" y="1862"/>
                </a:lnTo>
                <a:lnTo>
                  <a:pt x="1545" y="1857"/>
                </a:lnTo>
                <a:lnTo>
                  <a:pt x="1541" y="1852"/>
                </a:lnTo>
                <a:lnTo>
                  <a:pt x="1537" y="1846"/>
                </a:lnTo>
                <a:lnTo>
                  <a:pt x="1534" y="1842"/>
                </a:lnTo>
                <a:lnTo>
                  <a:pt x="1548" y="1754"/>
                </a:lnTo>
                <a:lnTo>
                  <a:pt x="1541" y="1753"/>
                </a:lnTo>
                <a:lnTo>
                  <a:pt x="1534" y="1752"/>
                </a:lnTo>
                <a:lnTo>
                  <a:pt x="1532" y="1749"/>
                </a:lnTo>
                <a:lnTo>
                  <a:pt x="1531" y="1745"/>
                </a:lnTo>
                <a:lnTo>
                  <a:pt x="1528" y="1738"/>
                </a:lnTo>
                <a:lnTo>
                  <a:pt x="1523" y="1736"/>
                </a:lnTo>
                <a:lnTo>
                  <a:pt x="1515" y="1734"/>
                </a:lnTo>
                <a:lnTo>
                  <a:pt x="1508" y="1733"/>
                </a:lnTo>
                <a:lnTo>
                  <a:pt x="1503" y="1732"/>
                </a:lnTo>
                <a:lnTo>
                  <a:pt x="1500" y="1732"/>
                </a:lnTo>
                <a:lnTo>
                  <a:pt x="1497" y="1733"/>
                </a:lnTo>
                <a:lnTo>
                  <a:pt x="1491" y="1736"/>
                </a:lnTo>
                <a:lnTo>
                  <a:pt x="1485" y="1739"/>
                </a:lnTo>
                <a:lnTo>
                  <a:pt x="1482" y="1740"/>
                </a:lnTo>
                <a:lnTo>
                  <a:pt x="1481" y="1740"/>
                </a:lnTo>
                <a:lnTo>
                  <a:pt x="1473" y="1741"/>
                </a:lnTo>
                <a:lnTo>
                  <a:pt x="1466" y="1741"/>
                </a:lnTo>
                <a:lnTo>
                  <a:pt x="1451" y="1740"/>
                </a:lnTo>
                <a:lnTo>
                  <a:pt x="1444" y="1740"/>
                </a:lnTo>
                <a:lnTo>
                  <a:pt x="1448" y="1732"/>
                </a:lnTo>
                <a:lnTo>
                  <a:pt x="1452" y="1720"/>
                </a:lnTo>
                <a:lnTo>
                  <a:pt x="1456" y="1707"/>
                </a:lnTo>
                <a:lnTo>
                  <a:pt x="1457" y="1701"/>
                </a:lnTo>
                <a:lnTo>
                  <a:pt x="1458" y="1695"/>
                </a:lnTo>
                <a:lnTo>
                  <a:pt x="1459" y="1689"/>
                </a:lnTo>
                <a:lnTo>
                  <a:pt x="1458" y="1684"/>
                </a:lnTo>
                <a:lnTo>
                  <a:pt x="1457" y="1683"/>
                </a:lnTo>
                <a:lnTo>
                  <a:pt x="1455" y="1681"/>
                </a:lnTo>
                <a:lnTo>
                  <a:pt x="1454" y="1679"/>
                </a:lnTo>
                <a:lnTo>
                  <a:pt x="1452" y="1676"/>
                </a:lnTo>
                <a:lnTo>
                  <a:pt x="1453" y="1676"/>
                </a:lnTo>
                <a:lnTo>
                  <a:pt x="1454" y="1675"/>
                </a:lnTo>
                <a:lnTo>
                  <a:pt x="1456" y="1673"/>
                </a:lnTo>
                <a:lnTo>
                  <a:pt x="1458" y="1670"/>
                </a:lnTo>
                <a:lnTo>
                  <a:pt x="1458" y="1674"/>
                </a:lnTo>
                <a:lnTo>
                  <a:pt x="1458" y="1678"/>
                </a:lnTo>
                <a:lnTo>
                  <a:pt x="1464" y="1680"/>
                </a:lnTo>
                <a:lnTo>
                  <a:pt x="1467" y="1680"/>
                </a:lnTo>
                <a:lnTo>
                  <a:pt x="1468" y="1680"/>
                </a:lnTo>
                <a:lnTo>
                  <a:pt x="1467" y="1678"/>
                </a:lnTo>
                <a:lnTo>
                  <a:pt x="1466" y="1672"/>
                </a:lnTo>
                <a:lnTo>
                  <a:pt x="1466" y="1667"/>
                </a:lnTo>
                <a:lnTo>
                  <a:pt x="1467" y="1662"/>
                </a:lnTo>
                <a:lnTo>
                  <a:pt x="1469" y="1650"/>
                </a:lnTo>
                <a:lnTo>
                  <a:pt x="1473" y="1631"/>
                </a:lnTo>
                <a:lnTo>
                  <a:pt x="1475" y="1621"/>
                </a:lnTo>
                <a:lnTo>
                  <a:pt x="1476" y="1617"/>
                </a:lnTo>
                <a:lnTo>
                  <a:pt x="1476" y="1613"/>
                </a:lnTo>
                <a:lnTo>
                  <a:pt x="1476" y="1606"/>
                </a:lnTo>
                <a:lnTo>
                  <a:pt x="1476" y="1604"/>
                </a:lnTo>
                <a:lnTo>
                  <a:pt x="1475" y="1602"/>
                </a:lnTo>
                <a:lnTo>
                  <a:pt x="1472" y="1601"/>
                </a:lnTo>
                <a:lnTo>
                  <a:pt x="1469" y="1600"/>
                </a:lnTo>
                <a:lnTo>
                  <a:pt x="1462" y="1600"/>
                </a:lnTo>
                <a:lnTo>
                  <a:pt x="1455" y="1602"/>
                </a:lnTo>
                <a:lnTo>
                  <a:pt x="1447" y="1604"/>
                </a:lnTo>
                <a:lnTo>
                  <a:pt x="1439" y="1608"/>
                </a:lnTo>
                <a:lnTo>
                  <a:pt x="1431" y="1611"/>
                </a:lnTo>
                <a:lnTo>
                  <a:pt x="1419" y="1617"/>
                </a:lnTo>
                <a:lnTo>
                  <a:pt x="1418" y="1620"/>
                </a:lnTo>
                <a:lnTo>
                  <a:pt x="1418" y="1624"/>
                </a:lnTo>
                <a:lnTo>
                  <a:pt x="1418" y="1631"/>
                </a:lnTo>
                <a:lnTo>
                  <a:pt x="1418" y="1634"/>
                </a:lnTo>
                <a:lnTo>
                  <a:pt x="1418" y="1638"/>
                </a:lnTo>
                <a:lnTo>
                  <a:pt x="1417" y="1641"/>
                </a:lnTo>
                <a:lnTo>
                  <a:pt x="1416" y="1645"/>
                </a:lnTo>
                <a:lnTo>
                  <a:pt x="1410" y="1647"/>
                </a:lnTo>
                <a:lnTo>
                  <a:pt x="1410" y="1651"/>
                </a:lnTo>
                <a:lnTo>
                  <a:pt x="1411" y="1655"/>
                </a:lnTo>
                <a:lnTo>
                  <a:pt x="1411" y="1658"/>
                </a:lnTo>
                <a:lnTo>
                  <a:pt x="1411" y="1660"/>
                </a:lnTo>
                <a:lnTo>
                  <a:pt x="1410" y="1662"/>
                </a:lnTo>
                <a:lnTo>
                  <a:pt x="1406" y="1663"/>
                </a:lnTo>
                <a:lnTo>
                  <a:pt x="1403" y="1664"/>
                </a:lnTo>
                <a:lnTo>
                  <a:pt x="1402" y="1664"/>
                </a:lnTo>
                <a:lnTo>
                  <a:pt x="1400" y="1669"/>
                </a:lnTo>
                <a:lnTo>
                  <a:pt x="1399" y="1673"/>
                </a:lnTo>
                <a:lnTo>
                  <a:pt x="1396" y="1673"/>
                </a:lnTo>
                <a:lnTo>
                  <a:pt x="1394" y="1674"/>
                </a:lnTo>
                <a:lnTo>
                  <a:pt x="1393" y="1675"/>
                </a:lnTo>
                <a:lnTo>
                  <a:pt x="1392" y="1676"/>
                </a:lnTo>
                <a:lnTo>
                  <a:pt x="1391" y="1676"/>
                </a:lnTo>
                <a:lnTo>
                  <a:pt x="1391" y="1670"/>
                </a:lnTo>
                <a:lnTo>
                  <a:pt x="1386" y="1670"/>
                </a:lnTo>
                <a:lnTo>
                  <a:pt x="1382" y="1670"/>
                </a:lnTo>
                <a:lnTo>
                  <a:pt x="1379" y="1670"/>
                </a:lnTo>
                <a:lnTo>
                  <a:pt x="1377" y="1670"/>
                </a:lnTo>
                <a:lnTo>
                  <a:pt x="1375" y="1671"/>
                </a:lnTo>
                <a:lnTo>
                  <a:pt x="1374" y="1674"/>
                </a:lnTo>
                <a:lnTo>
                  <a:pt x="1372" y="1677"/>
                </a:lnTo>
                <a:lnTo>
                  <a:pt x="1371" y="1678"/>
                </a:lnTo>
                <a:lnTo>
                  <a:pt x="1367" y="1679"/>
                </a:lnTo>
                <a:lnTo>
                  <a:pt x="1363" y="1680"/>
                </a:lnTo>
                <a:lnTo>
                  <a:pt x="1360" y="1680"/>
                </a:lnTo>
                <a:lnTo>
                  <a:pt x="1358" y="1680"/>
                </a:lnTo>
                <a:lnTo>
                  <a:pt x="1357" y="1681"/>
                </a:lnTo>
                <a:lnTo>
                  <a:pt x="1356" y="1682"/>
                </a:lnTo>
                <a:lnTo>
                  <a:pt x="1356" y="1683"/>
                </a:lnTo>
                <a:lnTo>
                  <a:pt x="1356" y="1686"/>
                </a:lnTo>
                <a:lnTo>
                  <a:pt x="1355" y="1688"/>
                </a:lnTo>
                <a:lnTo>
                  <a:pt x="1355" y="1689"/>
                </a:lnTo>
                <a:lnTo>
                  <a:pt x="1354" y="1690"/>
                </a:lnTo>
                <a:lnTo>
                  <a:pt x="1353" y="1690"/>
                </a:lnTo>
                <a:lnTo>
                  <a:pt x="1350" y="1690"/>
                </a:lnTo>
                <a:lnTo>
                  <a:pt x="1349" y="1690"/>
                </a:lnTo>
                <a:lnTo>
                  <a:pt x="1349" y="1689"/>
                </a:lnTo>
                <a:lnTo>
                  <a:pt x="1351" y="1687"/>
                </a:lnTo>
                <a:lnTo>
                  <a:pt x="1348" y="1687"/>
                </a:lnTo>
                <a:lnTo>
                  <a:pt x="1344" y="1687"/>
                </a:lnTo>
                <a:lnTo>
                  <a:pt x="1341" y="1688"/>
                </a:lnTo>
                <a:lnTo>
                  <a:pt x="1337" y="1690"/>
                </a:lnTo>
                <a:lnTo>
                  <a:pt x="1336" y="1683"/>
                </a:lnTo>
                <a:lnTo>
                  <a:pt x="1335" y="1680"/>
                </a:lnTo>
                <a:lnTo>
                  <a:pt x="1334" y="1678"/>
                </a:lnTo>
                <a:lnTo>
                  <a:pt x="1332" y="1678"/>
                </a:lnTo>
                <a:lnTo>
                  <a:pt x="1330" y="1677"/>
                </a:lnTo>
                <a:lnTo>
                  <a:pt x="1324" y="1677"/>
                </a:lnTo>
                <a:lnTo>
                  <a:pt x="1319" y="1677"/>
                </a:lnTo>
                <a:lnTo>
                  <a:pt x="1317" y="1677"/>
                </a:lnTo>
                <a:lnTo>
                  <a:pt x="1315" y="1676"/>
                </a:lnTo>
                <a:lnTo>
                  <a:pt x="1314" y="1675"/>
                </a:lnTo>
                <a:lnTo>
                  <a:pt x="1313" y="1673"/>
                </a:lnTo>
                <a:lnTo>
                  <a:pt x="1312" y="1669"/>
                </a:lnTo>
                <a:lnTo>
                  <a:pt x="1310" y="1665"/>
                </a:lnTo>
                <a:lnTo>
                  <a:pt x="1309" y="1662"/>
                </a:lnTo>
                <a:lnTo>
                  <a:pt x="1302" y="1650"/>
                </a:lnTo>
                <a:lnTo>
                  <a:pt x="1295" y="1639"/>
                </a:lnTo>
                <a:lnTo>
                  <a:pt x="1289" y="1628"/>
                </a:lnTo>
                <a:lnTo>
                  <a:pt x="1286" y="1621"/>
                </a:lnTo>
                <a:lnTo>
                  <a:pt x="1284" y="1614"/>
                </a:lnTo>
                <a:lnTo>
                  <a:pt x="1281" y="1615"/>
                </a:lnTo>
                <a:lnTo>
                  <a:pt x="1279" y="1616"/>
                </a:lnTo>
                <a:lnTo>
                  <a:pt x="1278" y="1617"/>
                </a:lnTo>
                <a:lnTo>
                  <a:pt x="1279" y="1615"/>
                </a:lnTo>
                <a:lnTo>
                  <a:pt x="1280" y="1613"/>
                </a:lnTo>
                <a:lnTo>
                  <a:pt x="1280" y="1607"/>
                </a:lnTo>
                <a:lnTo>
                  <a:pt x="1280" y="1600"/>
                </a:lnTo>
                <a:lnTo>
                  <a:pt x="1279" y="1598"/>
                </a:lnTo>
                <a:lnTo>
                  <a:pt x="1278" y="1597"/>
                </a:lnTo>
                <a:lnTo>
                  <a:pt x="1284" y="1591"/>
                </a:lnTo>
                <a:lnTo>
                  <a:pt x="1284" y="1588"/>
                </a:lnTo>
                <a:lnTo>
                  <a:pt x="1284" y="1584"/>
                </a:lnTo>
                <a:lnTo>
                  <a:pt x="1282" y="1577"/>
                </a:lnTo>
                <a:lnTo>
                  <a:pt x="1279" y="1571"/>
                </a:lnTo>
                <a:lnTo>
                  <a:pt x="1279" y="1568"/>
                </a:lnTo>
                <a:lnTo>
                  <a:pt x="1278" y="1566"/>
                </a:lnTo>
                <a:lnTo>
                  <a:pt x="1278" y="1561"/>
                </a:lnTo>
                <a:lnTo>
                  <a:pt x="1279" y="1558"/>
                </a:lnTo>
                <a:lnTo>
                  <a:pt x="1280" y="1554"/>
                </a:lnTo>
                <a:lnTo>
                  <a:pt x="1281" y="1552"/>
                </a:lnTo>
                <a:lnTo>
                  <a:pt x="1278" y="1542"/>
                </a:lnTo>
                <a:lnTo>
                  <a:pt x="1276" y="1536"/>
                </a:lnTo>
                <a:lnTo>
                  <a:pt x="1275" y="1534"/>
                </a:lnTo>
                <a:lnTo>
                  <a:pt x="1275" y="1532"/>
                </a:lnTo>
                <a:lnTo>
                  <a:pt x="1276" y="1530"/>
                </a:lnTo>
                <a:lnTo>
                  <a:pt x="1278" y="1528"/>
                </a:lnTo>
                <a:lnTo>
                  <a:pt x="1284" y="1524"/>
                </a:lnTo>
                <a:lnTo>
                  <a:pt x="1289" y="1519"/>
                </a:lnTo>
                <a:lnTo>
                  <a:pt x="1291" y="1517"/>
                </a:lnTo>
                <a:lnTo>
                  <a:pt x="1292" y="1515"/>
                </a:lnTo>
                <a:lnTo>
                  <a:pt x="1292" y="1511"/>
                </a:lnTo>
                <a:lnTo>
                  <a:pt x="1292" y="1507"/>
                </a:lnTo>
                <a:lnTo>
                  <a:pt x="1291" y="1503"/>
                </a:lnTo>
                <a:lnTo>
                  <a:pt x="1289" y="1499"/>
                </a:lnTo>
                <a:lnTo>
                  <a:pt x="1284" y="1491"/>
                </a:lnTo>
                <a:lnTo>
                  <a:pt x="1281" y="1484"/>
                </a:lnTo>
                <a:lnTo>
                  <a:pt x="1282" y="1483"/>
                </a:lnTo>
                <a:lnTo>
                  <a:pt x="1283" y="1481"/>
                </a:lnTo>
                <a:lnTo>
                  <a:pt x="1283" y="1479"/>
                </a:lnTo>
                <a:lnTo>
                  <a:pt x="1283" y="1476"/>
                </a:lnTo>
                <a:lnTo>
                  <a:pt x="1281" y="1467"/>
                </a:lnTo>
                <a:lnTo>
                  <a:pt x="1287" y="1467"/>
                </a:lnTo>
                <a:lnTo>
                  <a:pt x="1287" y="1465"/>
                </a:lnTo>
                <a:lnTo>
                  <a:pt x="1286" y="1462"/>
                </a:lnTo>
                <a:lnTo>
                  <a:pt x="1286" y="1459"/>
                </a:lnTo>
                <a:lnTo>
                  <a:pt x="1286" y="1457"/>
                </a:lnTo>
                <a:lnTo>
                  <a:pt x="1287" y="1456"/>
                </a:lnTo>
                <a:lnTo>
                  <a:pt x="1288" y="1455"/>
                </a:lnTo>
                <a:lnTo>
                  <a:pt x="1290" y="1453"/>
                </a:lnTo>
                <a:lnTo>
                  <a:pt x="1296" y="1452"/>
                </a:lnTo>
                <a:lnTo>
                  <a:pt x="1302" y="1450"/>
                </a:lnTo>
                <a:lnTo>
                  <a:pt x="1304" y="1449"/>
                </a:lnTo>
                <a:lnTo>
                  <a:pt x="1306" y="1448"/>
                </a:lnTo>
                <a:lnTo>
                  <a:pt x="1307" y="1446"/>
                </a:lnTo>
                <a:lnTo>
                  <a:pt x="1307" y="1445"/>
                </a:lnTo>
                <a:lnTo>
                  <a:pt x="1307" y="1442"/>
                </a:lnTo>
                <a:lnTo>
                  <a:pt x="1307" y="1439"/>
                </a:lnTo>
                <a:lnTo>
                  <a:pt x="1308" y="1438"/>
                </a:lnTo>
                <a:lnTo>
                  <a:pt x="1309" y="1436"/>
                </a:lnTo>
                <a:lnTo>
                  <a:pt x="1311" y="1436"/>
                </a:lnTo>
                <a:lnTo>
                  <a:pt x="1313" y="1435"/>
                </a:lnTo>
                <a:lnTo>
                  <a:pt x="1316" y="1435"/>
                </a:lnTo>
                <a:lnTo>
                  <a:pt x="1320" y="1435"/>
                </a:lnTo>
                <a:lnTo>
                  <a:pt x="1322" y="1434"/>
                </a:lnTo>
                <a:lnTo>
                  <a:pt x="1323" y="1434"/>
                </a:lnTo>
                <a:lnTo>
                  <a:pt x="1328" y="1423"/>
                </a:lnTo>
                <a:lnTo>
                  <a:pt x="1332" y="1414"/>
                </a:lnTo>
                <a:lnTo>
                  <a:pt x="1333" y="1414"/>
                </a:lnTo>
                <a:lnTo>
                  <a:pt x="1336" y="1416"/>
                </a:lnTo>
                <a:lnTo>
                  <a:pt x="1339" y="1417"/>
                </a:lnTo>
                <a:lnTo>
                  <a:pt x="1343" y="1417"/>
                </a:lnTo>
                <a:lnTo>
                  <a:pt x="1345" y="1416"/>
                </a:lnTo>
                <a:lnTo>
                  <a:pt x="1348" y="1414"/>
                </a:lnTo>
                <a:lnTo>
                  <a:pt x="1353" y="1409"/>
                </a:lnTo>
                <a:lnTo>
                  <a:pt x="1359" y="1405"/>
                </a:lnTo>
                <a:lnTo>
                  <a:pt x="1361" y="1403"/>
                </a:lnTo>
                <a:lnTo>
                  <a:pt x="1362" y="1403"/>
                </a:lnTo>
                <a:lnTo>
                  <a:pt x="1366" y="1403"/>
                </a:lnTo>
                <a:lnTo>
                  <a:pt x="1371" y="1404"/>
                </a:lnTo>
                <a:lnTo>
                  <a:pt x="1383" y="1407"/>
                </a:lnTo>
                <a:lnTo>
                  <a:pt x="1393" y="1411"/>
                </a:lnTo>
                <a:lnTo>
                  <a:pt x="1397" y="1413"/>
                </a:lnTo>
                <a:lnTo>
                  <a:pt x="1399" y="1414"/>
                </a:lnTo>
                <a:lnTo>
                  <a:pt x="1400" y="1416"/>
                </a:lnTo>
                <a:lnTo>
                  <a:pt x="1400" y="1418"/>
                </a:lnTo>
                <a:lnTo>
                  <a:pt x="1401" y="1421"/>
                </a:lnTo>
                <a:lnTo>
                  <a:pt x="1401" y="1422"/>
                </a:lnTo>
                <a:lnTo>
                  <a:pt x="1402" y="1422"/>
                </a:lnTo>
                <a:lnTo>
                  <a:pt x="1404" y="1423"/>
                </a:lnTo>
                <a:lnTo>
                  <a:pt x="1406" y="1423"/>
                </a:lnTo>
                <a:lnTo>
                  <a:pt x="1409" y="1421"/>
                </a:lnTo>
                <a:lnTo>
                  <a:pt x="1410" y="1421"/>
                </a:lnTo>
                <a:lnTo>
                  <a:pt x="1412" y="1420"/>
                </a:lnTo>
                <a:lnTo>
                  <a:pt x="1414" y="1419"/>
                </a:lnTo>
                <a:lnTo>
                  <a:pt x="1416" y="1420"/>
                </a:lnTo>
                <a:lnTo>
                  <a:pt x="1414" y="1415"/>
                </a:lnTo>
                <a:lnTo>
                  <a:pt x="1413" y="1411"/>
                </a:lnTo>
                <a:lnTo>
                  <a:pt x="1415" y="1410"/>
                </a:lnTo>
                <a:lnTo>
                  <a:pt x="1417" y="1408"/>
                </a:lnTo>
                <a:lnTo>
                  <a:pt x="1420" y="1407"/>
                </a:lnTo>
                <a:lnTo>
                  <a:pt x="1422" y="1406"/>
                </a:lnTo>
                <a:lnTo>
                  <a:pt x="1430" y="1417"/>
                </a:lnTo>
                <a:lnTo>
                  <a:pt x="1433" y="1417"/>
                </a:lnTo>
                <a:lnTo>
                  <a:pt x="1436" y="1417"/>
                </a:lnTo>
                <a:lnTo>
                  <a:pt x="1439" y="1416"/>
                </a:lnTo>
                <a:lnTo>
                  <a:pt x="1440" y="1416"/>
                </a:lnTo>
                <a:lnTo>
                  <a:pt x="1441" y="1417"/>
                </a:lnTo>
                <a:lnTo>
                  <a:pt x="1441" y="1422"/>
                </a:lnTo>
                <a:lnTo>
                  <a:pt x="1443" y="1422"/>
                </a:lnTo>
                <a:lnTo>
                  <a:pt x="1444" y="1422"/>
                </a:lnTo>
                <a:lnTo>
                  <a:pt x="1446" y="1422"/>
                </a:lnTo>
                <a:lnTo>
                  <a:pt x="1447" y="1421"/>
                </a:lnTo>
                <a:lnTo>
                  <a:pt x="1448" y="1420"/>
                </a:lnTo>
                <a:lnTo>
                  <a:pt x="1448" y="1419"/>
                </a:lnTo>
                <a:lnTo>
                  <a:pt x="1448" y="1418"/>
                </a:lnTo>
                <a:lnTo>
                  <a:pt x="1447" y="1417"/>
                </a:lnTo>
                <a:lnTo>
                  <a:pt x="1438" y="1414"/>
                </a:lnTo>
                <a:lnTo>
                  <a:pt x="1438" y="1412"/>
                </a:lnTo>
                <a:lnTo>
                  <a:pt x="1438" y="1411"/>
                </a:lnTo>
                <a:lnTo>
                  <a:pt x="1439" y="1410"/>
                </a:lnTo>
                <a:lnTo>
                  <a:pt x="1440" y="1409"/>
                </a:lnTo>
                <a:lnTo>
                  <a:pt x="1441" y="1408"/>
                </a:lnTo>
                <a:lnTo>
                  <a:pt x="1441" y="1407"/>
                </a:lnTo>
                <a:lnTo>
                  <a:pt x="1442" y="1405"/>
                </a:lnTo>
                <a:lnTo>
                  <a:pt x="1444" y="1403"/>
                </a:lnTo>
                <a:lnTo>
                  <a:pt x="1440" y="1401"/>
                </a:lnTo>
                <a:lnTo>
                  <a:pt x="1436" y="1399"/>
                </a:lnTo>
                <a:lnTo>
                  <a:pt x="1430" y="1397"/>
                </a:lnTo>
                <a:lnTo>
                  <a:pt x="1427" y="1397"/>
                </a:lnTo>
                <a:lnTo>
                  <a:pt x="1424" y="1391"/>
                </a:lnTo>
                <a:lnTo>
                  <a:pt x="1426" y="1391"/>
                </a:lnTo>
                <a:lnTo>
                  <a:pt x="1427" y="1392"/>
                </a:lnTo>
                <a:lnTo>
                  <a:pt x="1430" y="1393"/>
                </a:lnTo>
                <a:lnTo>
                  <a:pt x="1434" y="1395"/>
                </a:lnTo>
                <a:lnTo>
                  <a:pt x="1436" y="1395"/>
                </a:lnTo>
                <a:lnTo>
                  <a:pt x="1438" y="1394"/>
                </a:lnTo>
                <a:lnTo>
                  <a:pt x="1438" y="1389"/>
                </a:lnTo>
                <a:lnTo>
                  <a:pt x="1449" y="1390"/>
                </a:lnTo>
                <a:lnTo>
                  <a:pt x="1461" y="1391"/>
                </a:lnTo>
                <a:lnTo>
                  <a:pt x="1460" y="1391"/>
                </a:lnTo>
                <a:lnTo>
                  <a:pt x="1460" y="1390"/>
                </a:lnTo>
                <a:lnTo>
                  <a:pt x="1460" y="1389"/>
                </a:lnTo>
                <a:lnTo>
                  <a:pt x="1461" y="1388"/>
                </a:lnTo>
                <a:lnTo>
                  <a:pt x="1464" y="1386"/>
                </a:lnTo>
                <a:lnTo>
                  <a:pt x="1465" y="1387"/>
                </a:lnTo>
                <a:lnTo>
                  <a:pt x="1466" y="1389"/>
                </a:lnTo>
                <a:lnTo>
                  <a:pt x="1466" y="1391"/>
                </a:lnTo>
                <a:lnTo>
                  <a:pt x="1467" y="1393"/>
                </a:lnTo>
                <a:lnTo>
                  <a:pt x="1468" y="1393"/>
                </a:lnTo>
                <a:lnTo>
                  <a:pt x="1470" y="1394"/>
                </a:lnTo>
                <a:lnTo>
                  <a:pt x="1472" y="1394"/>
                </a:lnTo>
                <a:lnTo>
                  <a:pt x="1478" y="1386"/>
                </a:lnTo>
                <a:lnTo>
                  <a:pt x="1486" y="1391"/>
                </a:lnTo>
                <a:lnTo>
                  <a:pt x="1487" y="1391"/>
                </a:lnTo>
                <a:lnTo>
                  <a:pt x="1487" y="1390"/>
                </a:lnTo>
                <a:lnTo>
                  <a:pt x="1488" y="1388"/>
                </a:lnTo>
                <a:lnTo>
                  <a:pt x="1490" y="1386"/>
                </a:lnTo>
                <a:lnTo>
                  <a:pt x="1491" y="1386"/>
                </a:lnTo>
                <a:lnTo>
                  <a:pt x="1492" y="1386"/>
                </a:lnTo>
                <a:lnTo>
                  <a:pt x="1493" y="1387"/>
                </a:lnTo>
                <a:lnTo>
                  <a:pt x="1494" y="1388"/>
                </a:lnTo>
                <a:lnTo>
                  <a:pt x="1495" y="1389"/>
                </a:lnTo>
                <a:lnTo>
                  <a:pt x="1495" y="1391"/>
                </a:lnTo>
                <a:lnTo>
                  <a:pt x="1495" y="1394"/>
                </a:lnTo>
                <a:lnTo>
                  <a:pt x="1498" y="1395"/>
                </a:lnTo>
                <a:lnTo>
                  <a:pt x="1501" y="1396"/>
                </a:lnTo>
                <a:lnTo>
                  <a:pt x="1505" y="1396"/>
                </a:lnTo>
                <a:lnTo>
                  <a:pt x="1507" y="1396"/>
                </a:lnTo>
                <a:lnTo>
                  <a:pt x="1509" y="1397"/>
                </a:lnTo>
                <a:lnTo>
                  <a:pt x="1510" y="1398"/>
                </a:lnTo>
                <a:lnTo>
                  <a:pt x="1511" y="1400"/>
                </a:lnTo>
                <a:lnTo>
                  <a:pt x="1511" y="1403"/>
                </a:lnTo>
                <a:lnTo>
                  <a:pt x="1512" y="1406"/>
                </a:lnTo>
                <a:lnTo>
                  <a:pt x="1515" y="1405"/>
                </a:lnTo>
                <a:lnTo>
                  <a:pt x="1518" y="1406"/>
                </a:lnTo>
                <a:lnTo>
                  <a:pt x="1526" y="1408"/>
                </a:lnTo>
                <a:lnTo>
                  <a:pt x="1528" y="1404"/>
                </a:lnTo>
                <a:lnTo>
                  <a:pt x="1531" y="1400"/>
                </a:lnTo>
                <a:lnTo>
                  <a:pt x="1532" y="1400"/>
                </a:lnTo>
                <a:lnTo>
                  <a:pt x="1533" y="1400"/>
                </a:lnTo>
                <a:lnTo>
                  <a:pt x="1535" y="1400"/>
                </a:lnTo>
                <a:lnTo>
                  <a:pt x="1537" y="1400"/>
                </a:lnTo>
                <a:lnTo>
                  <a:pt x="1539" y="1400"/>
                </a:lnTo>
                <a:lnTo>
                  <a:pt x="1540" y="1400"/>
                </a:lnTo>
                <a:lnTo>
                  <a:pt x="1542" y="1407"/>
                </a:lnTo>
                <a:lnTo>
                  <a:pt x="1544" y="1411"/>
                </a:lnTo>
                <a:lnTo>
                  <a:pt x="1545" y="1414"/>
                </a:lnTo>
                <a:lnTo>
                  <a:pt x="1554" y="1417"/>
                </a:lnTo>
                <a:lnTo>
                  <a:pt x="1555" y="1421"/>
                </a:lnTo>
                <a:lnTo>
                  <a:pt x="1555" y="1426"/>
                </a:lnTo>
                <a:lnTo>
                  <a:pt x="1555" y="1431"/>
                </a:lnTo>
                <a:lnTo>
                  <a:pt x="1555" y="1436"/>
                </a:lnTo>
                <a:lnTo>
                  <a:pt x="1554" y="1447"/>
                </a:lnTo>
                <a:lnTo>
                  <a:pt x="1554" y="1456"/>
                </a:lnTo>
                <a:lnTo>
                  <a:pt x="1558" y="1455"/>
                </a:lnTo>
                <a:lnTo>
                  <a:pt x="1560" y="1454"/>
                </a:lnTo>
                <a:lnTo>
                  <a:pt x="1561" y="1453"/>
                </a:lnTo>
                <a:lnTo>
                  <a:pt x="1565" y="1453"/>
                </a:lnTo>
                <a:lnTo>
                  <a:pt x="1564" y="1455"/>
                </a:lnTo>
                <a:lnTo>
                  <a:pt x="1563" y="1457"/>
                </a:lnTo>
                <a:lnTo>
                  <a:pt x="1561" y="1462"/>
                </a:lnTo>
                <a:lnTo>
                  <a:pt x="1559" y="1464"/>
                </a:lnTo>
                <a:lnTo>
                  <a:pt x="1559" y="1467"/>
                </a:lnTo>
                <a:lnTo>
                  <a:pt x="1559" y="1470"/>
                </a:lnTo>
                <a:lnTo>
                  <a:pt x="1559" y="1473"/>
                </a:lnTo>
                <a:lnTo>
                  <a:pt x="1565" y="1476"/>
                </a:lnTo>
                <a:lnTo>
                  <a:pt x="1569" y="1477"/>
                </a:lnTo>
                <a:lnTo>
                  <a:pt x="1571" y="1479"/>
                </a:lnTo>
                <a:lnTo>
                  <a:pt x="1571" y="1480"/>
                </a:lnTo>
                <a:lnTo>
                  <a:pt x="1572" y="1482"/>
                </a:lnTo>
                <a:lnTo>
                  <a:pt x="1572" y="1485"/>
                </a:lnTo>
                <a:lnTo>
                  <a:pt x="1572" y="1489"/>
                </a:lnTo>
                <a:lnTo>
                  <a:pt x="1573" y="1493"/>
                </a:lnTo>
                <a:lnTo>
                  <a:pt x="1575" y="1495"/>
                </a:lnTo>
                <a:lnTo>
                  <a:pt x="1578" y="1497"/>
                </a:lnTo>
                <a:lnTo>
                  <a:pt x="1580" y="1500"/>
                </a:lnTo>
                <a:lnTo>
                  <a:pt x="1582" y="1501"/>
                </a:lnTo>
                <a:lnTo>
                  <a:pt x="1582" y="1503"/>
                </a:lnTo>
                <a:lnTo>
                  <a:pt x="1582" y="1505"/>
                </a:lnTo>
                <a:lnTo>
                  <a:pt x="1581" y="1508"/>
                </a:lnTo>
                <a:lnTo>
                  <a:pt x="1582" y="1510"/>
                </a:lnTo>
                <a:lnTo>
                  <a:pt x="1583" y="1511"/>
                </a:lnTo>
                <a:lnTo>
                  <a:pt x="1585" y="1511"/>
                </a:lnTo>
                <a:lnTo>
                  <a:pt x="1589" y="1513"/>
                </a:lnTo>
                <a:lnTo>
                  <a:pt x="1593" y="1514"/>
                </a:lnTo>
                <a:lnTo>
                  <a:pt x="1596" y="1515"/>
                </a:lnTo>
                <a:lnTo>
                  <a:pt x="1597" y="1509"/>
                </a:lnTo>
                <a:lnTo>
                  <a:pt x="1598" y="1503"/>
                </a:lnTo>
                <a:lnTo>
                  <a:pt x="1599" y="1498"/>
                </a:lnTo>
                <a:lnTo>
                  <a:pt x="1600" y="1492"/>
                </a:lnTo>
                <a:lnTo>
                  <a:pt x="1601" y="1486"/>
                </a:lnTo>
                <a:lnTo>
                  <a:pt x="1602" y="1480"/>
                </a:lnTo>
                <a:lnTo>
                  <a:pt x="1602" y="1474"/>
                </a:lnTo>
                <a:lnTo>
                  <a:pt x="1602" y="1467"/>
                </a:lnTo>
                <a:lnTo>
                  <a:pt x="1598" y="1453"/>
                </a:lnTo>
                <a:lnTo>
                  <a:pt x="1593" y="1436"/>
                </a:lnTo>
                <a:lnTo>
                  <a:pt x="1587" y="1434"/>
                </a:lnTo>
                <a:lnTo>
                  <a:pt x="1587" y="1432"/>
                </a:lnTo>
                <a:lnTo>
                  <a:pt x="1588" y="1431"/>
                </a:lnTo>
                <a:lnTo>
                  <a:pt x="1589" y="1430"/>
                </a:lnTo>
                <a:lnTo>
                  <a:pt x="1590" y="1430"/>
                </a:lnTo>
                <a:lnTo>
                  <a:pt x="1591" y="1429"/>
                </a:lnTo>
                <a:lnTo>
                  <a:pt x="1591" y="1427"/>
                </a:lnTo>
                <a:lnTo>
                  <a:pt x="1590" y="1425"/>
                </a:lnTo>
                <a:lnTo>
                  <a:pt x="1589" y="1423"/>
                </a:lnTo>
                <a:lnTo>
                  <a:pt x="1586" y="1420"/>
                </a:lnTo>
                <a:lnTo>
                  <a:pt x="1583" y="1416"/>
                </a:lnTo>
                <a:lnTo>
                  <a:pt x="1582" y="1414"/>
                </a:lnTo>
                <a:lnTo>
                  <a:pt x="1581" y="1412"/>
                </a:lnTo>
                <a:lnTo>
                  <a:pt x="1581" y="1409"/>
                </a:lnTo>
                <a:lnTo>
                  <a:pt x="1582" y="1404"/>
                </a:lnTo>
                <a:lnTo>
                  <a:pt x="1582" y="1399"/>
                </a:lnTo>
                <a:lnTo>
                  <a:pt x="1582" y="1397"/>
                </a:lnTo>
                <a:lnTo>
                  <a:pt x="1582" y="1394"/>
                </a:lnTo>
                <a:lnTo>
                  <a:pt x="1580" y="1393"/>
                </a:lnTo>
                <a:lnTo>
                  <a:pt x="1576" y="1390"/>
                </a:lnTo>
                <a:lnTo>
                  <a:pt x="1574" y="1388"/>
                </a:lnTo>
                <a:lnTo>
                  <a:pt x="1573" y="1387"/>
                </a:lnTo>
                <a:lnTo>
                  <a:pt x="1574" y="1386"/>
                </a:lnTo>
                <a:lnTo>
                  <a:pt x="1576" y="1386"/>
                </a:lnTo>
                <a:lnTo>
                  <a:pt x="1579" y="1386"/>
                </a:lnTo>
                <a:lnTo>
                  <a:pt x="1578" y="1385"/>
                </a:lnTo>
                <a:lnTo>
                  <a:pt x="1578" y="1384"/>
                </a:lnTo>
                <a:lnTo>
                  <a:pt x="1579" y="1383"/>
                </a:lnTo>
                <a:lnTo>
                  <a:pt x="1584" y="1382"/>
                </a:lnTo>
                <a:lnTo>
                  <a:pt x="1585" y="1381"/>
                </a:lnTo>
                <a:lnTo>
                  <a:pt x="1584" y="1380"/>
                </a:lnTo>
                <a:lnTo>
                  <a:pt x="1582" y="1380"/>
                </a:lnTo>
                <a:lnTo>
                  <a:pt x="1581" y="1380"/>
                </a:lnTo>
                <a:lnTo>
                  <a:pt x="1580" y="1379"/>
                </a:lnTo>
                <a:lnTo>
                  <a:pt x="1580" y="1377"/>
                </a:lnTo>
                <a:lnTo>
                  <a:pt x="1581" y="1375"/>
                </a:lnTo>
                <a:lnTo>
                  <a:pt x="1581" y="1373"/>
                </a:lnTo>
                <a:lnTo>
                  <a:pt x="1583" y="1368"/>
                </a:lnTo>
                <a:lnTo>
                  <a:pt x="1590" y="1355"/>
                </a:lnTo>
                <a:lnTo>
                  <a:pt x="1590" y="1352"/>
                </a:lnTo>
                <a:lnTo>
                  <a:pt x="1590" y="1349"/>
                </a:lnTo>
                <a:lnTo>
                  <a:pt x="1590" y="1346"/>
                </a:lnTo>
                <a:lnTo>
                  <a:pt x="1590" y="1344"/>
                </a:lnTo>
                <a:lnTo>
                  <a:pt x="1592" y="1343"/>
                </a:lnTo>
                <a:lnTo>
                  <a:pt x="1594" y="1343"/>
                </a:lnTo>
                <a:lnTo>
                  <a:pt x="1597" y="1344"/>
                </a:lnTo>
                <a:lnTo>
                  <a:pt x="1599" y="1344"/>
                </a:lnTo>
                <a:lnTo>
                  <a:pt x="1600" y="1343"/>
                </a:lnTo>
                <a:lnTo>
                  <a:pt x="1600" y="1342"/>
                </a:lnTo>
                <a:lnTo>
                  <a:pt x="1600" y="1339"/>
                </a:lnTo>
                <a:lnTo>
                  <a:pt x="1601" y="1337"/>
                </a:lnTo>
                <a:lnTo>
                  <a:pt x="1601" y="1336"/>
                </a:lnTo>
                <a:lnTo>
                  <a:pt x="1602" y="1335"/>
                </a:lnTo>
                <a:lnTo>
                  <a:pt x="1606" y="1333"/>
                </a:lnTo>
                <a:lnTo>
                  <a:pt x="1612" y="1331"/>
                </a:lnTo>
                <a:lnTo>
                  <a:pt x="1618" y="1329"/>
                </a:lnTo>
                <a:lnTo>
                  <a:pt x="1620" y="1328"/>
                </a:lnTo>
                <a:lnTo>
                  <a:pt x="1621" y="1327"/>
                </a:lnTo>
                <a:lnTo>
                  <a:pt x="1622" y="1325"/>
                </a:lnTo>
                <a:lnTo>
                  <a:pt x="1622" y="1324"/>
                </a:lnTo>
                <a:lnTo>
                  <a:pt x="1622" y="1321"/>
                </a:lnTo>
                <a:lnTo>
                  <a:pt x="1622" y="1318"/>
                </a:lnTo>
                <a:lnTo>
                  <a:pt x="1623" y="1317"/>
                </a:lnTo>
                <a:lnTo>
                  <a:pt x="1624" y="1315"/>
                </a:lnTo>
                <a:lnTo>
                  <a:pt x="1629" y="1313"/>
                </a:lnTo>
                <a:lnTo>
                  <a:pt x="1634" y="1313"/>
                </a:lnTo>
                <a:lnTo>
                  <a:pt x="1639" y="1312"/>
                </a:lnTo>
                <a:lnTo>
                  <a:pt x="1641" y="1311"/>
                </a:lnTo>
                <a:lnTo>
                  <a:pt x="1644" y="1310"/>
                </a:lnTo>
                <a:lnTo>
                  <a:pt x="1645" y="1308"/>
                </a:lnTo>
                <a:lnTo>
                  <a:pt x="1646" y="1306"/>
                </a:lnTo>
                <a:lnTo>
                  <a:pt x="1648" y="1302"/>
                </a:lnTo>
                <a:lnTo>
                  <a:pt x="1650" y="1297"/>
                </a:lnTo>
                <a:lnTo>
                  <a:pt x="1652" y="1293"/>
                </a:lnTo>
                <a:lnTo>
                  <a:pt x="1654" y="1292"/>
                </a:lnTo>
                <a:lnTo>
                  <a:pt x="1656" y="1292"/>
                </a:lnTo>
                <a:lnTo>
                  <a:pt x="1661" y="1290"/>
                </a:lnTo>
                <a:lnTo>
                  <a:pt x="1655" y="1279"/>
                </a:lnTo>
                <a:lnTo>
                  <a:pt x="1658" y="1278"/>
                </a:lnTo>
                <a:lnTo>
                  <a:pt x="1661" y="1277"/>
                </a:lnTo>
                <a:lnTo>
                  <a:pt x="1664" y="1277"/>
                </a:lnTo>
                <a:lnTo>
                  <a:pt x="1666" y="1276"/>
                </a:lnTo>
                <a:lnTo>
                  <a:pt x="1663" y="1270"/>
                </a:lnTo>
                <a:lnTo>
                  <a:pt x="1664" y="1270"/>
                </a:lnTo>
                <a:lnTo>
                  <a:pt x="1669" y="1269"/>
                </a:lnTo>
                <a:lnTo>
                  <a:pt x="1677" y="1268"/>
                </a:lnTo>
                <a:lnTo>
                  <a:pt x="1683" y="1268"/>
                </a:lnTo>
                <a:lnTo>
                  <a:pt x="1681" y="1266"/>
                </a:lnTo>
                <a:lnTo>
                  <a:pt x="1680" y="1263"/>
                </a:lnTo>
                <a:lnTo>
                  <a:pt x="1677" y="1259"/>
                </a:lnTo>
                <a:lnTo>
                  <a:pt x="1675" y="1259"/>
                </a:lnTo>
                <a:lnTo>
                  <a:pt x="1672" y="1259"/>
                </a:lnTo>
                <a:lnTo>
                  <a:pt x="1666" y="1259"/>
                </a:lnTo>
                <a:lnTo>
                  <a:pt x="1666" y="1254"/>
                </a:lnTo>
                <a:lnTo>
                  <a:pt x="1672" y="1253"/>
                </a:lnTo>
                <a:lnTo>
                  <a:pt x="1675" y="1252"/>
                </a:lnTo>
                <a:lnTo>
                  <a:pt x="1677" y="1251"/>
                </a:lnTo>
                <a:lnTo>
                  <a:pt x="1677" y="1246"/>
                </a:lnTo>
                <a:lnTo>
                  <a:pt x="1677" y="1240"/>
                </a:lnTo>
                <a:lnTo>
                  <a:pt x="1675" y="1239"/>
                </a:lnTo>
                <a:lnTo>
                  <a:pt x="1672" y="1238"/>
                </a:lnTo>
                <a:lnTo>
                  <a:pt x="1669" y="1238"/>
                </a:lnTo>
                <a:lnTo>
                  <a:pt x="1666" y="1237"/>
                </a:lnTo>
                <a:lnTo>
                  <a:pt x="1665" y="1236"/>
                </a:lnTo>
                <a:lnTo>
                  <a:pt x="1664" y="1235"/>
                </a:lnTo>
                <a:lnTo>
                  <a:pt x="1664" y="1233"/>
                </a:lnTo>
                <a:lnTo>
                  <a:pt x="1663" y="1230"/>
                </a:lnTo>
                <a:lnTo>
                  <a:pt x="1662" y="1229"/>
                </a:lnTo>
                <a:lnTo>
                  <a:pt x="1661" y="1228"/>
                </a:lnTo>
                <a:lnTo>
                  <a:pt x="1666" y="1223"/>
                </a:lnTo>
                <a:lnTo>
                  <a:pt x="1669" y="1219"/>
                </a:lnTo>
                <a:lnTo>
                  <a:pt x="1669" y="1218"/>
                </a:lnTo>
                <a:lnTo>
                  <a:pt x="1669" y="1217"/>
                </a:lnTo>
                <a:lnTo>
                  <a:pt x="1666" y="1216"/>
                </a:lnTo>
                <a:lnTo>
                  <a:pt x="1665" y="1216"/>
                </a:lnTo>
                <a:lnTo>
                  <a:pt x="1665" y="1215"/>
                </a:lnTo>
                <a:lnTo>
                  <a:pt x="1665" y="1213"/>
                </a:lnTo>
                <a:lnTo>
                  <a:pt x="1666" y="1211"/>
                </a:lnTo>
                <a:lnTo>
                  <a:pt x="1666" y="1210"/>
                </a:lnTo>
                <a:lnTo>
                  <a:pt x="1666" y="1209"/>
                </a:lnTo>
                <a:lnTo>
                  <a:pt x="1665" y="1207"/>
                </a:lnTo>
                <a:lnTo>
                  <a:pt x="1664" y="1206"/>
                </a:lnTo>
                <a:lnTo>
                  <a:pt x="1661" y="1205"/>
                </a:lnTo>
                <a:lnTo>
                  <a:pt x="1655" y="1203"/>
                </a:lnTo>
                <a:lnTo>
                  <a:pt x="1656" y="1201"/>
                </a:lnTo>
                <a:lnTo>
                  <a:pt x="1656" y="1200"/>
                </a:lnTo>
                <a:lnTo>
                  <a:pt x="1658" y="1200"/>
                </a:lnTo>
                <a:lnTo>
                  <a:pt x="1661" y="1200"/>
                </a:lnTo>
                <a:lnTo>
                  <a:pt x="1661" y="1199"/>
                </a:lnTo>
                <a:lnTo>
                  <a:pt x="1660" y="1197"/>
                </a:lnTo>
                <a:lnTo>
                  <a:pt x="1659" y="1195"/>
                </a:lnTo>
                <a:lnTo>
                  <a:pt x="1658" y="1193"/>
                </a:lnTo>
                <a:lnTo>
                  <a:pt x="1658" y="1192"/>
                </a:lnTo>
                <a:lnTo>
                  <a:pt x="1660" y="1189"/>
                </a:lnTo>
                <a:lnTo>
                  <a:pt x="1662" y="1186"/>
                </a:lnTo>
                <a:lnTo>
                  <a:pt x="1663" y="1184"/>
                </a:lnTo>
                <a:lnTo>
                  <a:pt x="1664" y="1181"/>
                </a:lnTo>
                <a:lnTo>
                  <a:pt x="1665" y="1175"/>
                </a:lnTo>
                <a:lnTo>
                  <a:pt x="1665" y="1171"/>
                </a:lnTo>
                <a:lnTo>
                  <a:pt x="1666" y="1166"/>
                </a:lnTo>
                <a:lnTo>
                  <a:pt x="1669" y="1166"/>
                </a:lnTo>
                <a:lnTo>
                  <a:pt x="1672" y="1166"/>
                </a:lnTo>
                <a:lnTo>
                  <a:pt x="1677" y="1164"/>
                </a:lnTo>
                <a:lnTo>
                  <a:pt x="1678" y="1165"/>
                </a:lnTo>
                <a:lnTo>
                  <a:pt x="1679" y="1167"/>
                </a:lnTo>
                <a:lnTo>
                  <a:pt x="1680" y="1168"/>
                </a:lnTo>
                <a:lnTo>
                  <a:pt x="1681" y="1169"/>
                </a:lnTo>
                <a:lnTo>
                  <a:pt x="1680" y="1169"/>
                </a:lnTo>
                <a:lnTo>
                  <a:pt x="1678" y="1171"/>
                </a:lnTo>
                <a:lnTo>
                  <a:pt x="1677" y="1172"/>
                </a:lnTo>
                <a:lnTo>
                  <a:pt x="1675" y="1177"/>
                </a:lnTo>
                <a:lnTo>
                  <a:pt x="1673" y="1182"/>
                </a:lnTo>
                <a:lnTo>
                  <a:pt x="1672" y="1187"/>
                </a:lnTo>
                <a:lnTo>
                  <a:pt x="1671" y="1196"/>
                </a:lnTo>
                <a:lnTo>
                  <a:pt x="1670" y="1199"/>
                </a:lnTo>
                <a:lnTo>
                  <a:pt x="1670" y="1200"/>
                </a:lnTo>
                <a:lnTo>
                  <a:pt x="1669" y="1200"/>
                </a:lnTo>
                <a:lnTo>
                  <a:pt x="1671" y="1203"/>
                </a:lnTo>
                <a:lnTo>
                  <a:pt x="1672" y="1205"/>
                </a:lnTo>
                <a:lnTo>
                  <a:pt x="1672" y="1206"/>
                </a:lnTo>
                <a:lnTo>
                  <a:pt x="1673" y="1206"/>
                </a:lnTo>
                <a:lnTo>
                  <a:pt x="1674" y="1205"/>
                </a:lnTo>
                <a:lnTo>
                  <a:pt x="1676" y="1204"/>
                </a:lnTo>
                <a:lnTo>
                  <a:pt x="1679" y="1203"/>
                </a:lnTo>
                <a:lnTo>
                  <a:pt x="1681" y="1203"/>
                </a:lnTo>
                <a:lnTo>
                  <a:pt x="1683" y="1203"/>
                </a:lnTo>
                <a:lnTo>
                  <a:pt x="1683" y="1209"/>
                </a:lnTo>
                <a:lnTo>
                  <a:pt x="1687" y="1208"/>
                </a:lnTo>
                <a:lnTo>
                  <a:pt x="1692" y="1209"/>
                </a:lnTo>
                <a:lnTo>
                  <a:pt x="1694" y="1196"/>
                </a:lnTo>
                <a:lnTo>
                  <a:pt x="1697" y="1180"/>
                </a:lnTo>
                <a:lnTo>
                  <a:pt x="1692" y="1180"/>
                </a:lnTo>
                <a:lnTo>
                  <a:pt x="1690" y="1179"/>
                </a:lnTo>
                <a:lnTo>
                  <a:pt x="1689" y="1179"/>
                </a:lnTo>
                <a:lnTo>
                  <a:pt x="1689" y="1178"/>
                </a:lnTo>
                <a:lnTo>
                  <a:pt x="1689" y="1173"/>
                </a:lnTo>
                <a:lnTo>
                  <a:pt x="1689" y="1169"/>
                </a:lnTo>
                <a:lnTo>
                  <a:pt x="1698" y="1170"/>
                </a:lnTo>
                <a:lnTo>
                  <a:pt x="1704" y="1169"/>
                </a:lnTo>
                <a:lnTo>
                  <a:pt x="1709" y="1168"/>
                </a:lnTo>
                <a:lnTo>
                  <a:pt x="1710" y="1167"/>
                </a:lnTo>
                <a:lnTo>
                  <a:pt x="1711" y="1166"/>
                </a:lnTo>
                <a:lnTo>
                  <a:pt x="1714" y="1163"/>
                </a:lnTo>
                <a:lnTo>
                  <a:pt x="1716" y="1159"/>
                </a:lnTo>
                <a:lnTo>
                  <a:pt x="1718" y="1154"/>
                </a:lnTo>
                <a:lnTo>
                  <a:pt x="1722" y="1147"/>
                </a:lnTo>
                <a:lnTo>
                  <a:pt x="1714" y="1141"/>
                </a:lnTo>
                <a:lnTo>
                  <a:pt x="1714" y="1139"/>
                </a:lnTo>
                <a:lnTo>
                  <a:pt x="1714" y="1137"/>
                </a:lnTo>
                <a:lnTo>
                  <a:pt x="1715" y="1136"/>
                </a:lnTo>
                <a:lnTo>
                  <a:pt x="1717" y="1135"/>
                </a:lnTo>
                <a:lnTo>
                  <a:pt x="1717" y="1134"/>
                </a:lnTo>
                <a:lnTo>
                  <a:pt x="1717" y="1133"/>
                </a:lnTo>
                <a:lnTo>
                  <a:pt x="1725" y="1125"/>
                </a:lnTo>
                <a:lnTo>
                  <a:pt x="1729" y="1121"/>
                </a:lnTo>
                <a:lnTo>
                  <a:pt x="1732" y="1119"/>
                </a:lnTo>
                <a:lnTo>
                  <a:pt x="1734" y="1119"/>
                </a:lnTo>
                <a:lnTo>
                  <a:pt x="1736" y="1118"/>
                </a:lnTo>
                <a:lnTo>
                  <a:pt x="1739" y="1119"/>
                </a:lnTo>
                <a:lnTo>
                  <a:pt x="1742" y="1119"/>
                </a:lnTo>
                <a:lnTo>
                  <a:pt x="1745" y="1119"/>
                </a:lnTo>
                <a:lnTo>
                  <a:pt x="1748" y="1113"/>
                </a:lnTo>
                <a:lnTo>
                  <a:pt x="1751" y="1113"/>
                </a:lnTo>
                <a:lnTo>
                  <a:pt x="1753" y="1113"/>
                </a:lnTo>
                <a:lnTo>
                  <a:pt x="1755" y="1114"/>
                </a:lnTo>
                <a:lnTo>
                  <a:pt x="1758" y="1115"/>
                </a:lnTo>
                <a:lnTo>
                  <a:pt x="1760" y="1116"/>
                </a:lnTo>
                <a:lnTo>
                  <a:pt x="1762" y="1116"/>
                </a:lnTo>
                <a:lnTo>
                  <a:pt x="1763" y="1109"/>
                </a:lnTo>
                <a:lnTo>
                  <a:pt x="1765" y="1102"/>
                </a:lnTo>
                <a:lnTo>
                  <a:pt x="1768" y="1103"/>
                </a:lnTo>
                <a:lnTo>
                  <a:pt x="1769" y="1105"/>
                </a:lnTo>
                <a:lnTo>
                  <a:pt x="1769" y="1107"/>
                </a:lnTo>
                <a:lnTo>
                  <a:pt x="1770" y="1110"/>
                </a:lnTo>
                <a:lnTo>
                  <a:pt x="1775" y="1110"/>
                </a:lnTo>
                <a:lnTo>
                  <a:pt x="1777" y="1109"/>
                </a:lnTo>
                <a:lnTo>
                  <a:pt x="1777" y="1108"/>
                </a:lnTo>
                <a:lnTo>
                  <a:pt x="1776" y="1107"/>
                </a:lnTo>
                <a:lnTo>
                  <a:pt x="1779" y="1106"/>
                </a:lnTo>
                <a:lnTo>
                  <a:pt x="1781" y="1105"/>
                </a:lnTo>
                <a:lnTo>
                  <a:pt x="1784" y="1104"/>
                </a:lnTo>
                <a:lnTo>
                  <a:pt x="1778" y="1100"/>
                </a:lnTo>
                <a:lnTo>
                  <a:pt x="1770" y="1096"/>
                </a:lnTo>
                <a:lnTo>
                  <a:pt x="1772" y="1093"/>
                </a:lnTo>
                <a:lnTo>
                  <a:pt x="1775" y="1091"/>
                </a:lnTo>
                <a:lnTo>
                  <a:pt x="1777" y="1089"/>
                </a:lnTo>
                <a:lnTo>
                  <a:pt x="1779" y="1088"/>
                </a:lnTo>
                <a:lnTo>
                  <a:pt x="1779" y="1085"/>
                </a:lnTo>
                <a:lnTo>
                  <a:pt x="1779" y="1084"/>
                </a:lnTo>
                <a:lnTo>
                  <a:pt x="1779" y="1083"/>
                </a:lnTo>
                <a:lnTo>
                  <a:pt x="1778" y="1083"/>
                </a:lnTo>
                <a:lnTo>
                  <a:pt x="1776" y="1082"/>
                </a:lnTo>
                <a:lnTo>
                  <a:pt x="1776" y="1081"/>
                </a:lnTo>
                <a:lnTo>
                  <a:pt x="1776" y="1079"/>
                </a:lnTo>
                <a:lnTo>
                  <a:pt x="1782" y="1076"/>
                </a:lnTo>
                <a:lnTo>
                  <a:pt x="1783" y="1074"/>
                </a:lnTo>
                <a:lnTo>
                  <a:pt x="1784" y="1072"/>
                </a:lnTo>
                <a:lnTo>
                  <a:pt x="1785" y="1067"/>
                </a:lnTo>
                <a:lnTo>
                  <a:pt x="1786" y="1062"/>
                </a:lnTo>
                <a:lnTo>
                  <a:pt x="1786" y="1059"/>
                </a:lnTo>
                <a:lnTo>
                  <a:pt x="1787" y="1057"/>
                </a:lnTo>
                <a:lnTo>
                  <a:pt x="1797" y="1057"/>
                </a:lnTo>
                <a:lnTo>
                  <a:pt x="1801" y="1056"/>
                </a:lnTo>
                <a:lnTo>
                  <a:pt x="1804" y="1055"/>
                </a:lnTo>
                <a:lnTo>
                  <a:pt x="1807" y="1053"/>
                </a:lnTo>
                <a:lnTo>
                  <a:pt x="1809" y="1050"/>
                </a:lnTo>
                <a:lnTo>
                  <a:pt x="1815" y="1040"/>
                </a:lnTo>
                <a:lnTo>
                  <a:pt x="1815" y="1048"/>
                </a:lnTo>
                <a:lnTo>
                  <a:pt x="1824" y="1043"/>
                </a:lnTo>
                <a:lnTo>
                  <a:pt x="1823" y="1043"/>
                </a:lnTo>
                <a:lnTo>
                  <a:pt x="1824" y="1044"/>
                </a:lnTo>
                <a:lnTo>
                  <a:pt x="1826" y="1046"/>
                </a:lnTo>
                <a:lnTo>
                  <a:pt x="1829" y="1048"/>
                </a:lnTo>
                <a:lnTo>
                  <a:pt x="1843" y="1037"/>
                </a:lnTo>
                <a:lnTo>
                  <a:pt x="1840" y="1029"/>
                </a:lnTo>
                <a:lnTo>
                  <a:pt x="1838" y="1020"/>
                </a:lnTo>
                <a:lnTo>
                  <a:pt x="1840" y="1021"/>
                </a:lnTo>
                <a:lnTo>
                  <a:pt x="1842" y="1023"/>
                </a:lnTo>
                <a:lnTo>
                  <a:pt x="1846" y="1026"/>
                </a:lnTo>
                <a:lnTo>
                  <a:pt x="1849" y="1026"/>
                </a:lnTo>
                <a:lnTo>
                  <a:pt x="1851" y="1026"/>
                </a:lnTo>
                <a:lnTo>
                  <a:pt x="1856" y="1025"/>
                </a:lnTo>
                <a:lnTo>
                  <a:pt x="1860" y="1024"/>
                </a:lnTo>
                <a:lnTo>
                  <a:pt x="1862" y="1023"/>
                </a:lnTo>
                <a:lnTo>
                  <a:pt x="1863" y="1023"/>
                </a:lnTo>
                <a:lnTo>
                  <a:pt x="1861" y="1019"/>
                </a:lnTo>
                <a:lnTo>
                  <a:pt x="1860" y="1016"/>
                </a:lnTo>
                <a:lnTo>
                  <a:pt x="1860" y="1015"/>
                </a:lnTo>
                <a:lnTo>
                  <a:pt x="1860" y="1014"/>
                </a:lnTo>
                <a:lnTo>
                  <a:pt x="1861" y="1014"/>
                </a:lnTo>
                <a:lnTo>
                  <a:pt x="1862" y="1014"/>
                </a:lnTo>
                <a:lnTo>
                  <a:pt x="1864" y="1016"/>
                </a:lnTo>
                <a:lnTo>
                  <a:pt x="1866" y="1020"/>
                </a:lnTo>
                <a:lnTo>
                  <a:pt x="1872" y="1015"/>
                </a:lnTo>
                <a:lnTo>
                  <a:pt x="1877" y="1010"/>
                </a:lnTo>
                <a:lnTo>
                  <a:pt x="1879" y="1007"/>
                </a:lnTo>
                <a:lnTo>
                  <a:pt x="1881" y="1004"/>
                </a:lnTo>
                <a:lnTo>
                  <a:pt x="1886" y="998"/>
                </a:lnTo>
                <a:lnTo>
                  <a:pt x="1886" y="1000"/>
                </a:lnTo>
                <a:lnTo>
                  <a:pt x="1886" y="999"/>
                </a:lnTo>
                <a:lnTo>
                  <a:pt x="1887" y="999"/>
                </a:lnTo>
                <a:lnTo>
                  <a:pt x="1888" y="1000"/>
                </a:lnTo>
                <a:lnTo>
                  <a:pt x="1889" y="1000"/>
                </a:lnTo>
                <a:lnTo>
                  <a:pt x="1891" y="1003"/>
                </a:lnTo>
                <a:lnTo>
                  <a:pt x="1886" y="1003"/>
                </a:lnTo>
                <a:lnTo>
                  <a:pt x="1885" y="1008"/>
                </a:lnTo>
                <a:lnTo>
                  <a:pt x="1885" y="1011"/>
                </a:lnTo>
                <a:lnTo>
                  <a:pt x="1884" y="1013"/>
                </a:lnTo>
                <a:lnTo>
                  <a:pt x="1883" y="1017"/>
                </a:lnTo>
                <a:lnTo>
                  <a:pt x="1894" y="1014"/>
                </a:lnTo>
                <a:lnTo>
                  <a:pt x="1905" y="1012"/>
                </a:lnTo>
                <a:lnTo>
                  <a:pt x="1908" y="1014"/>
                </a:lnTo>
                <a:lnTo>
                  <a:pt x="1909" y="1016"/>
                </a:lnTo>
                <a:lnTo>
                  <a:pt x="1909" y="1017"/>
                </a:lnTo>
                <a:lnTo>
                  <a:pt x="1908" y="1017"/>
                </a:lnTo>
                <a:lnTo>
                  <a:pt x="1905" y="1018"/>
                </a:lnTo>
                <a:lnTo>
                  <a:pt x="1904" y="1020"/>
                </a:lnTo>
                <a:lnTo>
                  <a:pt x="1904" y="1022"/>
                </a:lnTo>
                <a:lnTo>
                  <a:pt x="1902" y="1026"/>
                </a:lnTo>
                <a:lnTo>
                  <a:pt x="1893" y="1023"/>
                </a:lnTo>
                <a:lnTo>
                  <a:pt x="1890" y="1023"/>
                </a:lnTo>
                <a:lnTo>
                  <a:pt x="1888" y="1023"/>
                </a:lnTo>
                <a:lnTo>
                  <a:pt x="1883" y="1025"/>
                </a:lnTo>
                <a:lnTo>
                  <a:pt x="1874" y="1029"/>
                </a:lnTo>
                <a:lnTo>
                  <a:pt x="1874" y="1034"/>
                </a:lnTo>
                <a:lnTo>
                  <a:pt x="1870" y="1034"/>
                </a:lnTo>
                <a:lnTo>
                  <a:pt x="1866" y="1034"/>
                </a:lnTo>
                <a:lnTo>
                  <a:pt x="1863" y="1039"/>
                </a:lnTo>
                <a:lnTo>
                  <a:pt x="1861" y="1042"/>
                </a:lnTo>
                <a:lnTo>
                  <a:pt x="1858" y="1045"/>
                </a:lnTo>
                <a:lnTo>
                  <a:pt x="1857" y="1048"/>
                </a:lnTo>
                <a:lnTo>
                  <a:pt x="1857" y="1050"/>
                </a:lnTo>
                <a:lnTo>
                  <a:pt x="1857" y="1051"/>
                </a:lnTo>
                <a:lnTo>
                  <a:pt x="1858" y="1054"/>
                </a:lnTo>
                <a:lnTo>
                  <a:pt x="1862" y="1057"/>
                </a:lnTo>
                <a:lnTo>
                  <a:pt x="1869" y="1059"/>
                </a:lnTo>
                <a:lnTo>
                  <a:pt x="1872" y="1065"/>
                </a:lnTo>
                <a:lnTo>
                  <a:pt x="1874" y="1065"/>
                </a:lnTo>
                <a:lnTo>
                  <a:pt x="1875" y="1065"/>
                </a:lnTo>
                <a:lnTo>
                  <a:pt x="1876" y="1065"/>
                </a:lnTo>
                <a:lnTo>
                  <a:pt x="1877" y="1064"/>
                </a:lnTo>
                <a:lnTo>
                  <a:pt x="1878" y="1062"/>
                </a:lnTo>
                <a:lnTo>
                  <a:pt x="1879" y="1062"/>
                </a:lnTo>
                <a:lnTo>
                  <a:pt x="1880" y="1062"/>
                </a:lnTo>
                <a:lnTo>
                  <a:pt x="1880" y="1063"/>
                </a:lnTo>
                <a:lnTo>
                  <a:pt x="1880" y="1065"/>
                </a:lnTo>
                <a:lnTo>
                  <a:pt x="1881" y="1067"/>
                </a:lnTo>
                <a:lnTo>
                  <a:pt x="1883" y="1068"/>
                </a:lnTo>
                <a:lnTo>
                  <a:pt x="1894" y="1059"/>
                </a:lnTo>
                <a:lnTo>
                  <a:pt x="1895" y="1058"/>
                </a:lnTo>
                <a:lnTo>
                  <a:pt x="1895" y="1056"/>
                </a:lnTo>
                <a:lnTo>
                  <a:pt x="1895" y="1052"/>
                </a:lnTo>
                <a:lnTo>
                  <a:pt x="1895" y="1048"/>
                </a:lnTo>
                <a:lnTo>
                  <a:pt x="1897" y="1045"/>
                </a:lnTo>
                <a:lnTo>
                  <a:pt x="1900" y="1043"/>
                </a:lnTo>
                <a:lnTo>
                  <a:pt x="1901" y="1042"/>
                </a:lnTo>
                <a:lnTo>
                  <a:pt x="1902" y="1042"/>
                </a:lnTo>
                <a:lnTo>
                  <a:pt x="1903" y="1043"/>
                </a:lnTo>
                <a:lnTo>
                  <a:pt x="1903" y="1044"/>
                </a:lnTo>
                <a:lnTo>
                  <a:pt x="1904" y="1045"/>
                </a:lnTo>
                <a:lnTo>
                  <a:pt x="1906" y="1046"/>
                </a:lnTo>
                <a:lnTo>
                  <a:pt x="1907" y="1046"/>
                </a:lnTo>
                <a:lnTo>
                  <a:pt x="1908" y="1045"/>
                </a:lnTo>
                <a:lnTo>
                  <a:pt x="1909" y="1041"/>
                </a:lnTo>
                <a:lnTo>
                  <a:pt x="1910" y="1038"/>
                </a:lnTo>
                <a:lnTo>
                  <a:pt x="1911" y="1037"/>
                </a:lnTo>
                <a:lnTo>
                  <a:pt x="1912" y="1037"/>
                </a:lnTo>
                <a:lnTo>
                  <a:pt x="1914" y="1036"/>
                </a:lnTo>
                <a:lnTo>
                  <a:pt x="1918" y="1037"/>
                </a:lnTo>
                <a:lnTo>
                  <a:pt x="1921" y="1037"/>
                </a:lnTo>
                <a:lnTo>
                  <a:pt x="1925" y="1037"/>
                </a:lnTo>
                <a:lnTo>
                  <a:pt x="1925" y="1034"/>
                </a:lnTo>
                <a:lnTo>
                  <a:pt x="1935" y="1029"/>
                </a:lnTo>
                <a:lnTo>
                  <a:pt x="1939" y="1026"/>
                </a:lnTo>
                <a:lnTo>
                  <a:pt x="1941" y="1025"/>
                </a:lnTo>
                <a:lnTo>
                  <a:pt x="1942" y="1023"/>
                </a:lnTo>
                <a:lnTo>
                  <a:pt x="1942" y="1017"/>
                </a:lnTo>
                <a:lnTo>
                  <a:pt x="1947" y="1017"/>
                </a:lnTo>
                <a:lnTo>
                  <a:pt x="1946" y="1013"/>
                </a:lnTo>
                <a:lnTo>
                  <a:pt x="1945" y="1010"/>
                </a:lnTo>
                <a:lnTo>
                  <a:pt x="1944" y="1006"/>
                </a:lnTo>
                <a:lnTo>
                  <a:pt x="1942" y="1000"/>
                </a:lnTo>
                <a:lnTo>
                  <a:pt x="1936" y="1005"/>
                </a:lnTo>
                <a:lnTo>
                  <a:pt x="1933" y="1007"/>
                </a:lnTo>
                <a:lnTo>
                  <a:pt x="1930" y="1009"/>
                </a:lnTo>
                <a:lnTo>
                  <a:pt x="1927" y="1010"/>
                </a:lnTo>
                <a:lnTo>
                  <a:pt x="1924" y="1011"/>
                </a:lnTo>
                <a:lnTo>
                  <a:pt x="1922" y="1011"/>
                </a:lnTo>
                <a:lnTo>
                  <a:pt x="1920" y="1010"/>
                </a:lnTo>
                <a:lnTo>
                  <a:pt x="1917" y="1009"/>
                </a:lnTo>
                <a:lnTo>
                  <a:pt x="1911" y="1003"/>
                </a:lnTo>
                <a:lnTo>
                  <a:pt x="1907" y="1003"/>
                </a:lnTo>
                <a:lnTo>
                  <a:pt x="1906" y="1005"/>
                </a:lnTo>
                <a:lnTo>
                  <a:pt x="1905" y="1006"/>
                </a:lnTo>
                <a:lnTo>
                  <a:pt x="1904" y="1006"/>
                </a:lnTo>
                <a:lnTo>
                  <a:pt x="1902" y="1006"/>
                </a:lnTo>
                <a:lnTo>
                  <a:pt x="1903" y="1005"/>
                </a:lnTo>
                <a:lnTo>
                  <a:pt x="1902" y="1003"/>
                </a:lnTo>
                <a:lnTo>
                  <a:pt x="1900" y="1000"/>
                </a:lnTo>
                <a:lnTo>
                  <a:pt x="1905" y="1000"/>
                </a:lnTo>
                <a:lnTo>
                  <a:pt x="1905" y="999"/>
                </a:lnTo>
                <a:lnTo>
                  <a:pt x="1906" y="998"/>
                </a:lnTo>
                <a:lnTo>
                  <a:pt x="1908" y="995"/>
                </a:lnTo>
                <a:lnTo>
                  <a:pt x="1898" y="992"/>
                </a:lnTo>
                <a:lnTo>
                  <a:pt x="1893" y="991"/>
                </a:lnTo>
                <a:lnTo>
                  <a:pt x="1888" y="989"/>
                </a:lnTo>
                <a:lnTo>
                  <a:pt x="1889" y="986"/>
                </a:lnTo>
                <a:lnTo>
                  <a:pt x="1890" y="981"/>
                </a:lnTo>
                <a:lnTo>
                  <a:pt x="1890" y="977"/>
                </a:lnTo>
                <a:lnTo>
                  <a:pt x="1889" y="976"/>
                </a:lnTo>
                <a:lnTo>
                  <a:pt x="1888" y="975"/>
                </a:lnTo>
                <a:lnTo>
                  <a:pt x="1890" y="975"/>
                </a:lnTo>
                <a:lnTo>
                  <a:pt x="1891" y="975"/>
                </a:lnTo>
                <a:lnTo>
                  <a:pt x="1891" y="974"/>
                </a:lnTo>
                <a:lnTo>
                  <a:pt x="1891" y="972"/>
                </a:lnTo>
                <a:lnTo>
                  <a:pt x="1891" y="969"/>
                </a:lnTo>
                <a:lnTo>
                  <a:pt x="1887" y="970"/>
                </a:lnTo>
                <a:lnTo>
                  <a:pt x="1885" y="971"/>
                </a:lnTo>
                <a:lnTo>
                  <a:pt x="1885" y="972"/>
                </a:lnTo>
                <a:lnTo>
                  <a:pt x="1886" y="972"/>
                </a:lnTo>
                <a:lnTo>
                  <a:pt x="1883" y="972"/>
                </a:lnTo>
                <a:lnTo>
                  <a:pt x="1886" y="964"/>
                </a:lnTo>
                <a:lnTo>
                  <a:pt x="1886" y="962"/>
                </a:lnTo>
                <a:lnTo>
                  <a:pt x="1886" y="961"/>
                </a:lnTo>
                <a:lnTo>
                  <a:pt x="1888" y="955"/>
                </a:lnTo>
                <a:lnTo>
                  <a:pt x="1890" y="951"/>
                </a:lnTo>
                <a:lnTo>
                  <a:pt x="1890" y="949"/>
                </a:lnTo>
                <a:lnTo>
                  <a:pt x="1889" y="948"/>
                </a:lnTo>
                <a:lnTo>
                  <a:pt x="1888" y="947"/>
                </a:lnTo>
                <a:lnTo>
                  <a:pt x="1883" y="948"/>
                </a:lnTo>
                <a:lnTo>
                  <a:pt x="1872" y="949"/>
                </a:lnTo>
                <a:lnTo>
                  <a:pt x="1864" y="950"/>
                </a:lnTo>
                <a:lnTo>
                  <a:pt x="1863" y="950"/>
                </a:lnTo>
                <a:lnTo>
                  <a:pt x="1866" y="950"/>
                </a:lnTo>
                <a:lnTo>
                  <a:pt x="1863" y="944"/>
                </a:lnTo>
                <a:lnTo>
                  <a:pt x="1860" y="939"/>
                </a:lnTo>
                <a:lnTo>
                  <a:pt x="1862" y="939"/>
                </a:lnTo>
                <a:lnTo>
                  <a:pt x="1864" y="939"/>
                </a:lnTo>
                <a:lnTo>
                  <a:pt x="1865" y="938"/>
                </a:lnTo>
                <a:lnTo>
                  <a:pt x="1865" y="937"/>
                </a:lnTo>
                <a:lnTo>
                  <a:pt x="1866" y="936"/>
                </a:lnTo>
                <a:lnTo>
                  <a:pt x="1867" y="935"/>
                </a:lnTo>
                <a:lnTo>
                  <a:pt x="1869" y="936"/>
                </a:lnTo>
                <a:lnTo>
                  <a:pt x="1874" y="944"/>
                </a:lnTo>
                <a:lnTo>
                  <a:pt x="1876" y="943"/>
                </a:lnTo>
                <a:lnTo>
                  <a:pt x="1877" y="942"/>
                </a:lnTo>
                <a:lnTo>
                  <a:pt x="1883" y="941"/>
                </a:lnTo>
                <a:lnTo>
                  <a:pt x="1884" y="935"/>
                </a:lnTo>
                <a:lnTo>
                  <a:pt x="1885" y="932"/>
                </a:lnTo>
                <a:lnTo>
                  <a:pt x="1885" y="931"/>
                </a:lnTo>
                <a:lnTo>
                  <a:pt x="1886" y="930"/>
                </a:lnTo>
                <a:lnTo>
                  <a:pt x="1890" y="930"/>
                </a:lnTo>
                <a:lnTo>
                  <a:pt x="1894" y="930"/>
                </a:lnTo>
                <a:lnTo>
                  <a:pt x="1895" y="928"/>
                </a:lnTo>
                <a:lnTo>
                  <a:pt x="1895" y="927"/>
                </a:lnTo>
                <a:lnTo>
                  <a:pt x="1894" y="923"/>
                </a:lnTo>
                <a:lnTo>
                  <a:pt x="1893" y="919"/>
                </a:lnTo>
                <a:lnTo>
                  <a:pt x="1893" y="918"/>
                </a:lnTo>
                <a:lnTo>
                  <a:pt x="1894" y="916"/>
                </a:lnTo>
                <a:lnTo>
                  <a:pt x="1895" y="917"/>
                </a:lnTo>
                <a:lnTo>
                  <a:pt x="1896" y="917"/>
                </a:lnTo>
                <a:lnTo>
                  <a:pt x="1897" y="917"/>
                </a:lnTo>
                <a:lnTo>
                  <a:pt x="1898" y="916"/>
                </a:lnTo>
                <a:lnTo>
                  <a:pt x="1900" y="913"/>
                </a:lnTo>
                <a:lnTo>
                  <a:pt x="1894" y="910"/>
                </a:lnTo>
                <a:lnTo>
                  <a:pt x="1892" y="908"/>
                </a:lnTo>
                <a:lnTo>
                  <a:pt x="1891" y="906"/>
                </a:lnTo>
                <a:lnTo>
                  <a:pt x="1891" y="905"/>
                </a:lnTo>
                <a:lnTo>
                  <a:pt x="1891" y="902"/>
                </a:lnTo>
                <a:lnTo>
                  <a:pt x="1886" y="900"/>
                </a:lnTo>
                <a:lnTo>
                  <a:pt x="1881" y="899"/>
                </a:lnTo>
                <a:lnTo>
                  <a:pt x="1876" y="899"/>
                </a:lnTo>
                <a:lnTo>
                  <a:pt x="1871" y="900"/>
                </a:lnTo>
                <a:lnTo>
                  <a:pt x="1867" y="901"/>
                </a:lnTo>
                <a:lnTo>
                  <a:pt x="1863" y="902"/>
                </a:lnTo>
                <a:lnTo>
                  <a:pt x="1855" y="905"/>
                </a:lnTo>
                <a:lnTo>
                  <a:pt x="1849" y="907"/>
                </a:lnTo>
                <a:lnTo>
                  <a:pt x="1843" y="910"/>
                </a:lnTo>
                <a:lnTo>
                  <a:pt x="1834" y="915"/>
                </a:lnTo>
                <a:lnTo>
                  <a:pt x="1825" y="921"/>
                </a:lnTo>
                <a:lnTo>
                  <a:pt x="1817" y="928"/>
                </a:lnTo>
                <a:lnTo>
                  <a:pt x="1809" y="935"/>
                </a:lnTo>
                <a:lnTo>
                  <a:pt x="1794" y="950"/>
                </a:lnTo>
                <a:lnTo>
                  <a:pt x="1782" y="967"/>
                </a:lnTo>
                <a:lnTo>
                  <a:pt x="1786" y="959"/>
                </a:lnTo>
                <a:lnTo>
                  <a:pt x="1790" y="953"/>
                </a:lnTo>
                <a:lnTo>
                  <a:pt x="1793" y="945"/>
                </a:lnTo>
                <a:lnTo>
                  <a:pt x="1796" y="939"/>
                </a:lnTo>
                <a:lnTo>
                  <a:pt x="1793" y="938"/>
                </a:lnTo>
                <a:lnTo>
                  <a:pt x="1791" y="939"/>
                </a:lnTo>
                <a:lnTo>
                  <a:pt x="1790" y="938"/>
                </a:lnTo>
                <a:lnTo>
                  <a:pt x="1789" y="937"/>
                </a:lnTo>
                <a:lnTo>
                  <a:pt x="1790" y="936"/>
                </a:lnTo>
                <a:lnTo>
                  <a:pt x="1791" y="935"/>
                </a:lnTo>
                <a:lnTo>
                  <a:pt x="1791" y="934"/>
                </a:lnTo>
                <a:lnTo>
                  <a:pt x="1794" y="934"/>
                </a:lnTo>
                <a:lnTo>
                  <a:pt x="1796" y="934"/>
                </a:lnTo>
                <a:lnTo>
                  <a:pt x="1798" y="933"/>
                </a:lnTo>
                <a:lnTo>
                  <a:pt x="1800" y="931"/>
                </a:lnTo>
                <a:lnTo>
                  <a:pt x="1802" y="929"/>
                </a:lnTo>
                <a:lnTo>
                  <a:pt x="1804" y="925"/>
                </a:lnTo>
                <a:lnTo>
                  <a:pt x="1807" y="920"/>
                </a:lnTo>
                <a:lnTo>
                  <a:pt x="1810" y="916"/>
                </a:lnTo>
                <a:lnTo>
                  <a:pt x="1811" y="915"/>
                </a:lnTo>
                <a:lnTo>
                  <a:pt x="1814" y="916"/>
                </a:lnTo>
                <a:lnTo>
                  <a:pt x="1816" y="916"/>
                </a:lnTo>
                <a:lnTo>
                  <a:pt x="1818" y="916"/>
                </a:lnTo>
                <a:lnTo>
                  <a:pt x="1819" y="914"/>
                </a:lnTo>
                <a:lnTo>
                  <a:pt x="1818" y="912"/>
                </a:lnTo>
                <a:lnTo>
                  <a:pt x="1818" y="909"/>
                </a:lnTo>
                <a:lnTo>
                  <a:pt x="1818" y="908"/>
                </a:lnTo>
                <a:lnTo>
                  <a:pt x="1819" y="907"/>
                </a:lnTo>
                <a:lnTo>
                  <a:pt x="1820" y="907"/>
                </a:lnTo>
                <a:lnTo>
                  <a:pt x="1822" y="907"/>
                </a:lnTo>
                <a:lnTo>
                  <a:pt x="1824" y="908"/>
                </a:lnTo>
                <a:lnTo>
                  <a:pt x="1827" y="908"/>
                </a:lnTo>
                <a:lnTo>
                  <a:pt x="1841" y="891"/>
                </a:lnTo>
                <a:lnTo>
                  <a:pt x="1843" y="888"/>
                </a:lnTo>
                <a:lnTo>
                  <a:pt x="1846" y="885"/>
                </a:lnTo>
                <a:lnTo>
                  <a:pt x="1850" y="880"/>
                </a:lnTo>
                <a:lnTo>
                  <a:pt x="1852" y="878"/>
                </a:lnTo>
                <a:lnTo>
                  <a:pt x="1854" y="877"/>
                </a:lnTo>
                <a:lnTo>
                  <a:pt x="1855" y="877"/>
                </a:lnTo>
                <a:lnTo>
                  <a:pt x="1863" y="875"/>
                </a:lnTo>
                <a:lnTo>
                  <a:pt x="1872" y="874"/>
                </a:lnTo>
                <a:lnTo>
                  <a:pt x="1881" y="875"/>
                </a:lnTo>
                <a:lnTo>
                  <a:pt x="1889" y="875"/>
                </a:lnTo>
                <a:lnTo>
                  <a:pt x="1905" y="877"/>
                </a:lnTo>
                <a:lnTo>
                  <a:pt x="1911" y="877"/>
                </a:lnTo>
                <a:lnTo>
                  <a:pt x="1917" y="877"/>
                </a:lnTo>
                <a:lnTo>
                  <a:pt x="1918" y="876"/>
                </a:lnTo>
                <a:lnTo>
                  <a:pt x="1918" y="875"/>
                </a:lnTo>
                <a:lnTo>
                  <a:pt x="1920" y="873"/>
                </a:lnTo>
                <a:lnTo>
                  <a:pt x="1921" y="872"/>
                </a:lnTo>
                <a:lnTo>
                  <a:pt x="1923" y="871"/>
                </a:lnTo>
                <a:lnTo>
                  <a:pt x="1925" y="871"/>
                </a:lnTo>
                <a:lnTo>
                  <a:pt x="1928" y="871"/>
                </a:lnTo>
                <a:lnTo>
                  <a:pt x="1929" y="871"/>
                </a:lnTo>
                <a:lnTo>
                  <a:pt x="1929" y="872"/>
                </a:lnTo>
                <a:lnTo>
                  <a:pt x="1930" y="875"/>
                </a:lnTo>
                <a:lnTo>
                  <a:pt x="1932" y="877"/>
                </a:lnTo>
                <a:lnTo>
                  <a:pt x="1934" y="877"/>
                </a:lnTo>
                <a:lnTo>
                  <a:pt x="1936" y="877"/>
                </a:lnTo>
                <a:lnTo>
                  <a:pt x="1937" y="876"/>
                </a:lnTo>
                <a:lnTo>
                  <a:pt x="1937" y="875"/>
                </a:lnTo>
                <a:lnTo>
                  <a:pt x="1938" y="873"/>
                </a:lnTo>
                <a:lnTo>
                  <a:pt x="1939" y="871"/>
                </a:lnTo>
                <a:lnTo>
                  <a:pt x="1940" y="871"/>
                </a:lnTo>
                <a:lnTo>
                  <a:pt x="1942" y="871"/>
                </a:lnTo>
                <a:lnTo>
                  <a:pt x="1943" y="872"/>
                </a:lnTo>
                <a:lnTo>
                  <a:pt x="1945" y="875"/>
                </a:lnTo>
                <a:lnTo>
                  <a:pt x="1947" y="879"/>
                </a:lnTo>
                <a:lnTo>
                  <a:pt x="1956" y="879"/>
                </a:lnTo>
                <a:lnTo>
                  <a:pt x="1956" y="874"/>
                </a:lnTo>
                <a:lnTo>
                  <a:pt x="1958" y="874"/>
                </a:lnTo>
                <a:lnTo>
                  <a:pt x="1960" y="874"/>
                </a:lnTo>
                <a:lnTo>
                  <a:pt x="1963" y="876"/>
                </a:lnTo>
                <a:lnTo>
                  <a:pt x="1964" y="877"/>
                </a:lnTo>
                <a:lnTo>
                  <a:pt x="1965" y="877"/>
                </a:lnTo>
                <a:lnTo>
                  <a:pt x="1967" y="877"/>
                </a:lnTo>
                <a:lnTo>
                  <a:pt x="1970" y="877"/>
                </a:lnTo>
                <a:lnTo>
                  <a:pt x="1970" y="871"/>
                </a:lnTo>
                <a:lnTo>
                  <a:pt x="1971" y="871"/>
                </a:lnTo>
                <a:lnTo>
                  <a:pt x="1973" y="870"/>
                </a:lnTo>
                <a:lnTo>
                  <a:pt x="1976" y="871"/>
                </a:lnTo>
                <a:lnTo>
                  <a:pt x="1979" y="871"/>
                </a:lnTo>
                <a:lnTo>
                  <a:pt x="1981" y="871"/>
                </a:lnTo>
                <a:lnTo>
                  <a:pt x="1982" y="870"/>
                </a:lnTo>
                <a:lnTo>
                  <a:pt x="1983" y="869"/>
                </a:lnTo>
                <a:lnTo>
                  <a:pt x="1983" y="867"/>
                </a:lnTo>
                <a:lnTo>
                  <a:pt x="1983" y="863"/>
                </a:lnTo>
                <a:lnTo>
                  <a:pt x="1983" y="862"/>
                </a:lnTo>
                <a:lnTo>
                  <a:pt x="1984" y="862"/>
                </a:lnTo>
                <a:lnTo>
                  <a:pt x="1986" y="861"/>
                </a:lnTo>
                <a:lnTo>
                  <a:pt x="1987" y="860"/>
                </a:lnTo>
                <a:lnTo>
                  <a:pt x="1991" y="859"/>
                </a:lnTo>
                <a:lnTo>
                  <a:pt x="1995" y="858"/>
                </a:lnTo>
                <a:lnTo>
                  <a:pt x="1997" y="857"/>
                </a:lnTo>
                <a:lnTo>
                  <a:pt x="1998" y="856"/>
                </a:lnTo>
                <a:lnTo>
                  <a:pt x="1998" y="853"/>
                </a:lnTo>
                <a:lnTo>
                  <a:pt x="1998" y="848"/>
                </a:lnTo>
                <a:lnTo>
                  <a:pt x="1998" y="846"/>
                </a:lnTo>
                <a:lnTo>
                  <a:pt x="1998" y="843"/>
                </a:lnTo>
                <a:lnTo>
                  <a:pt x="1999" y="841"/>
                </a:lnTo>
                <a:lnTo>
                  <a:pt x="2001" y="839"/>
                </a:lnTo>
                <a:lnTo>
                  <a:pt x="2006" y="837"/>
                </a:lnTo>
                <a:lnTo>
                  <a:pt x="2013" y="835"/>
                </a:lnTo>
                <a:lnTo>
                  <a:pt x="2021" y="832"/>
                </a:lnTo>
                <a:lnTo>
                  <a:pt x="2026" y="831"/>
                </a:lnTo>
                <a:lnTo>
                  <a:pt x="2025" y="831"/>
                </a:lnTo>
                <a:lnTo>
                  <a:pt x="2025" y="832"/>
                </a:lnTo>
                <a:lnTo>
                  <a:pt x="2026" y="833"/>
                </a:lnTo>
                <a:lnTo>
                  <a:pt x="2027" y="833"/>
                </a:lnTo>
                <a:lnTo>
                  <a:pt x="2030" y="833"/>
                </a:lnTo>
                <a:lnTo>
                  <a:pt x="2032" y="833"/>
                </a:lnTo>
                <a:lnTo>
                  <a:pt x="2036" y="830"/>
                </a:lnTo>
                <a:lnTo>
                  <a:pt x="2044" y="824"/>
                </a:lnTo>
                <a:lnTo>
                  <a:pt x="2051" y="818"/>
                </a:lnTo>
                <a:lnTo>
                  <a:pt x="2053" y="815"/>
                </a:lnTo>
                <a:lnTo>
                  <a:pt x="2054" y="814"/>
                </a:lnTo>
                <a:lnTo>
                  <a:pt x="2052" y="786"/>
                </a:lnTo>
                <a:lnTo>
                  <a:pt x="2051" y="785"/>
                </a:lnTo>
                <a:lnTo>
                  <a:pt x="2050" y="786"/>
                </a:lnTo>
                <a:lnTo>
                  <a:pt x="2048" y="787"/>
                </a:lnTo>
                <a:lnTo>
                  <a:pt x="2046" y="788"/>
                </a:lnTo>
                <a:lnTo>
                  <a:pt x="2045" y="789"/>
                </a:lnTo>
                <a:lnTo>
                  <a:pt x="2043" y="788"/>
                </a:lnTo>
                <a:lnTo>
                  <a:pt x="2041" y="788"/>
                </a:lnTo>
                <a:lnTo>
                  <a:pt x="2040" y="787"/>
                </a:lnTo>
                <a:lnTo>
                  <a:pt x="2037" y="785"/>
                </a:lnTo>
                <a:lnTo>
                  <a:pt x="2032" y="779"/>
                </a:lnTo>
                <a:lnTo>
                  <a:pt x="2029" y="777"/>
                </a:lnTo>
                <a:lnTo>
                  <a:pt x="2027" y="776"/>
                </a:lnTo>
                <a:lnTo>
                  <a:pt x="2025" y="775"/>
                </a:lnTo>
                <a:lnTo>
                  <a:pt x="2020" y="774"/>
                </a:lnTo>
                <a:lnTo>
                  <a:pt x="2016" y="774"/>
                </a:lnTo>
                <a:lnTo>
                  <a:pt x="2012" y="774"/>
                </a:lnTo>
                <a:lnTo>
                  <a:pt x="2012" y="775"/>
                </a:lnTo>
                <a:lnTo>
                  <a:pt x="2013" y="777"/>
                </a:lnTo>
                <a:lnTo>
                  <a:pt x="2015" y="780"/>
                </a:lnTo>
                <a:lnTo>
                  <a:pt x="2007" y="781"/>
                </a:lnTo>
                <a:lnTo>
                  <a:pt x="2001" y="783"/>
                </a:lnTo>
                <a:lnTo>
                  <a:pt x="1989" y="788"/>
                </a:lnTo>
                <a:lnTo>
                  <a:pt x="1976" y="794"/>
                </a:lnTo>
                <a:lnTo>
                  <a:pt x="1976" y="800"/>
                </a:lnTo>
                <a:lnTo>
                  <a:pt x="1972" y="800"/>
                </a:lnTo>
                <a:lnTo>
                  <a:pt x="1970" y="799"/>
                </a:lnTo>
                <a:lnTo>
                  <a:pt x="1969" y="798"/>
                </a:lnTo>
                <a:lnTo>
                  <a:pt x="1969" y="796"/>
                </a:lnTo>
                <a:lnTo>
                  <a:pt x="1969" y="792"/>
                </a:lnTo>
                <a:lnTo>
                  <a:pt x="1968" y="790"/>
                </a:lnTo>
                <a:lnTo>
                  <a:pt x="1967" y="788"/>
                </a:lnTo>
                <a:lnTo>
                  <a:pt x="1969" y="788"/>
                </a:lnTo>
                <a:lnTo>
                  <a:pt x="1971" y="788"/>
                </a:lnTo>
                <a:lnTo>
                  <a:pt x="1976" y="788"/>
                </a:lnTo>
                <a:lnTo>
                  <a:pt x="1980" y="789"/>
                </a:lnTo>
                <a:lnTo>
                  <a:pt x="1982" y="789"/>
                </a:lnTo>
                <a:lnTo>
                  <a:pt x="1984" y="788"/>
                </a:lnTo>
                <a:lnTo>
                  <a:pt x="1986" y="787"/>
                </a:lnTo>
                <a:lnTo>
                  <a:pt x="1988" y="786"/>
                </a:lnTo>
                <a:lnTo>
                  <a:pt x="1992" y="782"/>
                </a:lnTo>
                <a:lnTo>
                  <a:pt x="1997" y="777"/>
                </a:lnTo>
                <a:lnTo>
                  <a:pt x="2001" y="774"/>
                </a:lnTo>
                <a:lnTo>
                  <a:pt x="2003" y="774"/>
                </a:lnTo>
                <a:lnTo>
                  <a:pt x="2005" y="773"/>
                </a:lnTo>
                <a:lnTo>
                  <a:pt x="2009" y="773"/>
                </a:lnTo>
                <a:lnTo>
                  <a:pt x="2014" y="773"/>
                </a:lnTo>
                <a:lnTo>
                  <a:pt x="2016" y="772"/>
                </a:lnTo>
                <a:lnTo>
                  <a:pt x="2018" y="772"/>
                </a:lnTo>
                <a:lnTo>
                  <a:pt x="2019" y="771"/>
                </a:lnTo>
                <a:lnTo>
                  <a:pt x="2020" y="769"/>
                </a:lnTo>
                <a:lnTo>
                  <a:pt x="2022" y="766"/>
                </a:lnTo>
                <a:lnTo>
                  <a:pt x="2024" y="763"/>
                </a:lnTo>
                <a:lnTo>
                  <a:pt x="2026" y="760"/>
                </a:lnTo>
                <a:lnTo>
                  <a:pt x="2025" y="760"/>
                </a:lnTo>
                <a:lnTo>
                  <a:pt x="2023" y="761"/>
                </a:lnTo>
                <a:lnTo>
                  <a:pt x="2018" y="763"/>
                </a:lnTo>
                <a:lnTo>
                  <a:pt x="2015" y="757"/>
                </a:lnTo>
                <a:lnTo>
                  <a:pt x="2017" y="757"/>
                </a:lnTo>
                <a:lnTo>
                  <a:pt x="2018" y="756"/>
                </a:lnTo>
                <a:lnTo>
                  <a:pt x="2017" y="755"/>
                </a:lnTo>
                <a:lnTo>
                  <a:pt x="2017" y="754"/>
                </a:lnTo>
                <a:lnTo>
                  <a:pt x="2014" y="753"/>
                </a:lnTo>
                <a:lnTo>
                  <a:pt x="2012" y="752"/>
                </a:lnTo>
                <a:lnTo>
                  <a:pt x="2012" y="753"/>
                </a:lnTo>
                <a:lnTo>
                  <a:pt x="2012" y="755"/>
                </a:lnTo>
                <a:lnTo>
                  <a:pt x="2011" y="756"/>
                </a:lnTo>
                <a:lnTo>
                  <a:pt x="2010" y="757"/>
                </a:lnTo>
                <a:lnTo>
                  <a:pt x="2009" y="758"/>
                </a:lnTo>
                <a:lnTo>
                  <a:pt x="2007" y="757"/>
                </a:lnTo>
                <a:lnTo>
                  <a:pt x="2003" y="756"/>
                </a:lnTo>
                <a:lnTo>
                  <a:pt x="2001" y="755"/>
                </a:lnTo>
                <a:lnTo>
                  <a:pt x="2000" y="754"/>
                </a:lnTo>
                <a:lnTo>
                  <a:pt x="2000" y="752"/>
                </a:lnTo>
                <a:lnTo>
                  <a:pt x="2000" y="748"/>
                </a:lnTo>
                <a:lnTo>
                  <a:pt x="1999" y="746"/>
                </a:lnTo>
                <a:lnTo>
                  <a:pt x="1998" y="743"/>
                </a:lnTo>
                <a:lnTo>
                  <a:pt x="1990" y="746"/>
                </a:lnTo>
                <a:lnTo>
                  <a:pt x="1985" y="747"/>
                </a:lnTo>
                <a:lnTo>
                  <a:pt x="1982" y="746"/>
                </a:lnTo>
                <a:lnTo>
                  <a:pt x="1978" y="746"/>
                </a:lnTo>
                <a:lnTo>
                  <a:pt x="1967" y="743"/>
                </a:lnTo>
                <a:lnTo>
                  <a:pt x="1967" y="740"/>
                </a:lnTo>
                <a:lnTo>
                  <a:pt x="1968" y="737"/>
                </a:lnTo>
                <a:lnTo>
                  <a:pt x="1969" y="734"/>
                </a:lnTo>
                <a:lnTo>
                  <a:pt x="1968" y="732"/>
                </a:lnTo>
                <a:lnTo>
                  <a:pt x="1967" y="729"/>
                </a:lnTo>
                <a:lnTo>
                  <a:pt x="1964" y="729"/>
                </a:lnTo>
                <a:lnTo>
                  <a:pt x="1963" y="728"/>
                </a:lnTo>
                <a:lnTo>
                  <a:pt x="1960" y="725"/>
                </a:lnTo>
                <a:lnTo>
                  <a:pt x="1958" y="722"/>
                </a:lnTo>
                <a:lnTo>
                  <a:pt x="1956" y="721"/>
                </a:lnTo>
                <a:lnTo>
                  <a:pt x="1954" y="721"/>
                </a:lnTo>
                <a:lnTo>
                  <a:pt x="1952" y="721"/>
                </a:lnTo>
                <a:lnTo>
                  <a:pt x="1949" y="721"/>
                </a:lnTo>
                <a:lnTo>
                  <a:pt x="1947" y="721"/>
                </a:lnTo>
                <a:lnTo>
                  <a:pt x="1942" y="707"/>
                </a:lnTo>
                <a:lnTo>
                  <a:pt x="1939" y="709"/>
                </a:lnTo>
                <a:lnTo>
                  <a:pt x="1937" y="710"/>
                </a:lnTo>
                <a:lnTo>
                  <a:pt x="1936" y="710"/>
                </a:lnTo>
                <a:lnTo>
                  <a:pt x="1939" y="698"/>
                </a:lnTo>
                <a:lnTo>
                  <a:pt x="1937" y="699"/>
                </a:lnTo>
                <a:lnTo>
                  <a:pt x="1936" y="699"/>
                </a:lnTo>
                <a:lnTo>
                  <a:pt x="1935" y="698"/>
                </a:lnTo>
                <a:lnTo>
                  <a:pt x="1933" y="696"/>
                </a:lnTo>
                <a:lnTo>
                  <a:pt x="1945" y="695"/>
                </a:lnTo>
                <a:lnTo>
                  <a:pt x="1953" y="696"/>
                </a:lnTo>
                <a:lnTo>
                  <a:pt x="1953" y="691"/>
                </a:lnTo>
                <a:lnTo>
                  <a:pt x="1953" y="687"/>
                </a:lnTo>
                <a:lnTo>
                  <a:pt x="1950" y="686"/>
                </a:lnTo>
                <a:lnTo>
                  <a:pt x="1946" y="684"/>
                </a:lnTo>
                <a:lnTo>
                  <a:pt x="1939" y="681"/>
                </a:lnTo>
                <a:lnTo>
                  <a:pt x="1940" y="675"/>
                </a:lnTo>
                <a:lnTo>
                  <a:pt x="1940" y="671"/>
                </a:lnTo>
                <a:lnTo>
                  <a:pt x="1939" y="669"/>
                </a:lnTo>
                <a:lnTo>
                  <a:pt x="1939" y="667"/>
                </a:lnTo>
                <a:lnTo>
                  <a:pt x="1936" y="667"/>
                </a:lnTo>
                <a:lnTo>
                  <a:pt x="1934" y="667"/>
                </a:lnTo>
                <a:lnTo>
                  <a:pt x="1933" y="666"/>
                </a:lnTo>
                <a:lnTo>
                  <a:pt x="1930" y="663"/>
                </a:lnTo>
                <a:lnTo>
                  <a:pt x="1925" y="656"/>
                </a:lnTo>
                <a:lnTo>
                  <a:pt x="1927" y="651"/>
                </a:lnTo>
                <a:lnTo>
                  <a:pt x="1928" y="648"/>
                </a:lnTo>
                <a:lnTo>
                  <a:pt x="1918" y="648"/>
                </a:lnTo>
                <a:lnTo>
                  <a:pt x="1908" y="648"/>
                </a:lnTo>
                <a:lnTo>
                  <a:pt x="1915" y="644"/>
                </a:lnTo>
                <a:lnTo>
                  <a:pt x="1922" y="639"/>
                </a:lnTo>
                <a:lnTo>
                  <a:pt x="1914" y="622"/>
                </a:lnTo>
                <a:lnTo>
                  <a:pt x="1908" y="623"/>
                </a:lnTo>
                <a:lnTo>
                  <a:pt x="1905" y="623"/>
                </a:lnTo>
                <a:lnTo>
                  <a:pt x="1902" y="622"/>
                </a:lnTo>
                <a:lnTo>
                  <a:pt x="1901" y="621"/>
                </a:lnTo>
                <a:lnTo>
                  <a:pt x="1902" y="620"/>
                </a:lnTo>
                <a:lnTo>
                  <a:pt x="1902" y="618"/>
                </a:lnTo>
                <a:lnTo>
                  <a:pt x="1900" y="617"/>
                </a:lnTo>
                <a:lnTo>
                  <a:pt x="1900" y="608"/>
                </a:lnTo>
                <a:lnTo>
                  <a:pt x="1899" y="606"/>
                </a:lnTo>
                <a:lnTo>
                  <a:pt x="1899" y="603"/>
                </a:lnTo>
                <a:lnTo>
                  <a:pt x="1900" y="594"/>
                </a:lnTo>
                <a:lnTo>
                  <a:pt x="1894" y="591"/>
                </a:lnTo>
                <a:lnTo>
                  <a:pt x="1894" y="588"/>
                </a:lnTo>
                <a:lnTo>
                  <a:pt x="1895" y="585"/>
                </a:lnTo>
                <a:lnTo>
                  <a:pt x="1896" y="582"/>
                </a:lnTo>
                <a:lnTo>
                  <a:pt x="1897" y="580"/>
                </a:lnTo>
                <a:lnTo>
                  <a:pt x="1893" y="580"/>
                </a:lnTo>
                <a:lnTo>
                  <a:pt x="1888" y="580"/>
                </a:lnTo>
                <a:lnTo>
                  <a:pt x="1880" y="599"/>
                </a:lnTo>
                <a:lnTo>
                  <a:pt x="1877" y="607"/>
                </a:lnTo>
                <a:lnTo>
                  <a:pt x="1875" y="611"/>
                </a:lnTo>
                <a:lnTo>
                  <a:pt x="1874" y="617"/>
                </a:lnTo>
                <a:lnTo>
                  <a:pt x="1873" y="617"/>
                </a:lnTo>
                <a:lnTo>
                  <a:pt x="1872" y="616"/>
                </a:lnTo>
                <a:lnTo>
                  <a:pt x="1871" y="615"/>
                </a:lnTo>
                <a:lnTo>
                  <a:pt x="1871" y="614"/>
                </a:lnTo>
                <a:lnTo>
                  <a:pt x="1872" y="611"/>
                </a:lnTo>
                <a:lnTo>
                  <a:pt x="1872" y="608"/>
                </a:lnTo>
                <a:lnTo>
                  <a:pt x="1870" y="610"/>
                </a:lnTo>
                <a:lnTo>
                  <a:pt x="1867" y="611"/>
                </a:lnTo>
                <a:lnTo>
                  <a:pt x="1865" y="613"/>
                </a:lnTo>
                <a:lnTo>
                  <a:pt x="1863" y="614"/>
                </a:lnTo>
                <a:lnTo>
                  <a:pt x="1863" y="616"/>
                </a:lnTo>
                <a:lnTo>
                  <a:pt x="1863" y="618"/>
                </a:lnTo>
                <a:lnTo>
                  <a:pt x="1864" y="621"/>
                </a:lnTo>
                <a:lnTo>
                  <a:pt x="1863" y="622"/>
                </a:lnTo>
                <a:lnTo>
                  <a:pt x="1860" y="620"/>
                </a:lnTo>
                <a:lnTo>
                  <a:pt x="1859" y="619"/>
                </a:lnTo>
                <a:lnTo>
                  <a:pt x="1858" y="619"/>
                </a:lnTo>
                <a:lnTo>
                  <a:pt x="1857" y="620"/>
                </a:lnTo>
                <a:lnTo>
                  <a:pt x="1856" y="622"/>
                </a:lnTo>
                <a:lnTo>
                  <a:pt x="1856" y="625"/>
                </a:lnTo>
                <a:lnTo>
                  <a:pt x="1856" y="628"/>
                </a:lnTo>
                <a:lnTo>
                  <a:pt x="1855" y="631"/>
                </a:lnTo>
                <a:lnTo>
                  <a:pt x="1852" y="633"/>
                </a:lnTo>
                <a:lnTo>
                  <a:pt x="1848" y="635"/>
                </a:lnTo>
                <a:lnTo>
                  <a:pt x="1841" y="639"/>
                </a:lnTo>
                <a:lnTo>
                  <a:pt x="1837" y="637"/>
                </a:lnTo>
                <a:lnTo>
                  <a:pt x="1835" y="634"/>
                </a:lnTo>
                <a:lnTo>
                  <a:pt x="1829" y="628"/>
                </a:lnTo>
                <a:lnTo>
                  <a:pt x="1828" y="630"/>
                </a:lnTo>
                <a:lnTo>
                  <a:pt x="1826" y="632"/>
                </a:lnTo>
                <a:lnTo>
                  <a:pt x="1824" y="634"/>
                </a:lnTo>
                <a:lnTo>
                  <a:pt x="1823" y="634"/>
                </a:lnTo>
                <a:lnTo>
                  <a:pt x="1821" y="634"/>
                </a:lnTo>
                <a:lnTo>
                  <a:pt x="1820" y="631"/>
                </a:lnTo>
                <a:lnTo>
                  <a:pt x="1819" y="627"/>
                </a:lnTo>
                <a:lnTo>
                  <a:pt x="1818" y="620"/>
                </a:lnTo>
                <a:lnTo>
                  <a:pt x="1809" y="619"/>
                </a:lnTo>
                <a:lnTo>
                  <a:pt x="1805" y="619"/>
                </a:lnTo>
                <a:lnTo>
                  <a:pt x="1801" y="617"/>
                </a:lnTo>
                <a:lnTo>
                  <a:pt x="1793" y="614"/>
                </a:lnTo>
                <a:lnTo>
                  <a:pt x="1793" y="605"/>
                </a:lnTo>
                <a:lnTo>
                  <a:pt x="1793" y="598"/>
                </a:lnTo>
                <a:lnTo>
                  <a:pt x="1792" y="592"/>
                </a:lnTo>
                <a:lnTo>
                  <a:pt x="1790" y="583"/>
                </a:lnTo>
                <a:lnTo>
                  <a:pt x="1795" y="582"/>
                </a:lnTo>
                <a:lnTo>
                  <a:pt x="1797" y="582"/>
                </a:lnTo>
                <a:lnTo>
                  <a:pt x="1798" y="580"/>
                </a:lnTo>
                <a:lnTo>
                  <a:pt x="1798" y="578"/>
                </a:lnTo>
                <a:lnTo>
                  <a:pt x="1798" y="577"/>
                </a:lnTo>
                <a:lnTo>
                  <a:pt x="1797" y="577"/>
                </a:lnTo>
                <a:lnTo>
                  <a:pt x="1795" y="577"/>
                </a:lnTo>
                <a:lnTo>
                  <a:pt x="1793" y="577"/>
                </a:lnTo>
                <a:lnTo>
                  <a:pt x="1798" y="568"/>
                </a:lnTo>
                <a:lnTo>
                  <a:pt x="1804" y="558"/>
                </a:lnTo>
                <a:lnTo>
                  <a:pt x="1801" y="559"/>
                </a:lnTo>
                <a:lnTo>
                  <a:pt x="1798" y="561"/>
                </a:lnTo>
                <a:lnTo>
                  <a:pt x="1797" y="562"/>
                </a:lnTo>
                <a:lnTo>
                  <a:pt x="1796" y="563"/>
                </a:lnTo>
                <a:lnTo>
                  <a:pt x="1793" y="563"/>
                </a:lnTo>
                <a:lnTo>
                  <a:pt x="1790" y="562"/>
                </a:lnTo>
                <a:lnTo>
                  <a:pt x="1786" y="561"/>
                </a:lnTo>
                <a:lnTo>
                  <a:pt x="1784" y="560"/>
                </a:lnTo>
                <a:lnTo>
                  <a:pt x="1782" y="561"/>
                </a:lnTo>
                <a:lnTo>
                  <a:pt x="1782" y="558"/>
                </a:lnTo>
                <a:lnTo>
                  <a:pt x="1781" y="556"/>
                </a:lnTo>
                <a:lnTo>
                  <a:pt x="1782" y="555"/>
                </a:lnTo>
                <a:lnTo>
                  <a:pt x="1783" y="555"/>
                </a:lnTo>
                <a:lnTo>
                  <a:pt x="1784" y="555"/>
                </a:lnTo>
                <a:lnTo>
                  <a:pt x="1786" y="552"/>
                </a:lnTo>
                <a:lnTo>
                  <a:pt x="1787" y="550"/>
                </a:lnTo>
                <a:lnTo>
                  <a:pt x="1787" y="549"/>
                </a:lnTo>
                <a:lnTo>
                  <a:pt x="1784" y="549"/>
                </a:lnTo>
                <a:lnTo>
                  <a:pt x="1781" y="549"/>
                </a:lnTo>
                <a:lnTo>
                  <a:pt x="1773" y="549"/>
                </a:lnTo>
                <a:lnTo>
                  <a:pt x="1765" y="550"/>
                </a:lnTo>
                <a:lnTo>
                  <a:pt x="1762" y="550"/>
                </a:lnTo>
                <a:lnTo>
                  <a:pt x="1759" y="549"/>
                </a:lnTo>
                <a:lnTo>
                  <a:pt x="1759" y="545"/>
                </a:lnTo>
                <a:lnTo>
                  <a:pt x="1759" y="541"/>
                </a:lnTo>
                <a:lnTo>
                  <a:pt x="1753" y="541"/>
                </a:lnTo>
                <a:lnTo>
                  <a:pt x="1753" y="535"/>
                </a:lnTo>
                <a:lnTo>
                  <a:pt x="1753" y="534"/>
                </a:lnTo>
                <a:lnTo>
                  <a:pt x="1752" y="532"/>
                </a:lnTo>
                <a:lnTo>
                  <a:pt x="1749" y="529"/>
                </a:lnTo>
                <a:lnTo>
                  <a:pt x="1745" y="526"/>
                </a:lnTo>
                <a:lnTo>
                  <a:pt x="1741" y="523"/>
                </a:lnTo>
                <a:lnTo>
                  <a:pt x="1732" y="517"/>
                </a:lnTo>
                <a:lnTo>
                  <a:pt x="1725" y="513"/>
                </a:lnTo>
                <a:lnTo>
                  <a:pt x="1723" y="514"/>
                </a:lnTo>
                <a:lnTo>
                  <a:pt x="1720" y="514"/>
                </a:lnTo>
                <a:lnTo>
                  <a:pt x="1717" y="515"/>
                </a:lnTo>
                <a:lnTo>
                  <a:pt x="1714" y="515"/>
                </a:lnTo>
                <a:lnTo>
                  <a:pt x="1713" y="517"/>
                </a:lnTo>
                <a:lnTo>
                  <a:pt x="1711" y="520"/>
                </a:lnTo>
                <a:lnTo>
                  <a:pt x="1710" y="522"/>
                </a:lnTo>
                <a:lnTo>
                  <a:pt x="1708" y="524"/>
                </a:lnTo>
                <a:lnTo>
                  <a:pt x="1707" y="524"/>
                </a:lnTo>
                <a:lnTo>
                  <a:pt x="1705" y="524"/>
                </a:lnTo>
                <a:lnTo>
                  <a:pt x="1701" y="524"/>
                </a:lnTo>
                <a:lnTo>
                  <a:pt x="1698" y="523"/>
                </a:lnTo>
                <a:lnTo>
                  <a:pt x="1696" y="523"/>
                </a:lnTo>
                <a:lnTo>
                  <a:pt x="1694" y="524"/>
                </a:lnTo>
                <a:lnTo>
                  <a:pt x="1694" y="530"/>
                </a:lnTo>
                <a:lnTo>
                  <a:pt x="1691" y="530"/>
                </a:lnTo>
                <a:lnTo>
                  <a:pt x="1687" y="530"/>
                </a:lnTo>
                <a:lnTo>
                  <a:pt x="1683" y="529"/>
                </a:lnTo>
                <a:lnTo>
                  <a:pt x="1679" y="528"/>
                </a:lnTo>
                <a:lnTo>
                  <a:pt x="1671" y="526"/>
                </a:lnTo>
                <a:lnTo>
                  <a:pt x="1663" y="524"/>
                </a:lnTo>
                <a:lnTo>
                  <a:pt x="1657" y="524"/>
                </a:lnTo>
                <a:lnTo>
                  <a:pt x="1653" y="525"/>
                </a:lnTo>
                <a:lnTo>
                  <a:pt x="1648" y="526"/>
                </a:lnTo>
                <a:lnTo>
                  <a:pt x="1644" y="527"/>
                </a:lnTo>
                <a:lnTo>
                  <a:pt x="1641" y="535"/>
                </a:lnTo>
                <a:lnTo>
                  <a:pt x="1644" y="536"/>
                </a:lnTo>
                <a:lnTo>
                  <a:pt x="1646" y="537"/>
                </a:lnTo>
                <a:lnTo>
                  <a:pt x="1652" y="538"/>
                </a:lnTo>
                <a:lnTo>
                  <a:pt x="1652" y="544"/>
                </a:lnTo>
                <a:lnTo>
                  <a:pt x="1647" y="544"/>
                </a:lnTo>
                <a:lnTo>
                  <a:pt x="1646" y="545"/>
                </a:lnTo>
                <a:lnTo>
                  <a:pt x="1646" y="546"/>
                </a:lnTo>
                <a:lnTo>
                  <a:pt x="1648" y="547"/>
                </a:lnTo>
                <a:lnTo>
                  <a:pt x="1649" y="548"/>
                </a:lnTo>
                <a:lnTo>
                  <a:pt x="1650" y="550"/>
                </a:lnTo>
                <a:lnTo>
                  <a:pt x="1649" y="552"/>
                </a:lnTo>
                <a:lnTo>
                  <a:pt x="1646" y="557"/>
                </a:lnTo>
                <a:lnTo>
                  <a:pt x="1643" y="560"/>
                </a:lnTo>
                <a:lnTo>
                  <a:pt x="1641" y="563"/>
                </a:lnTo>
                <a:lnTo>
                  <a:pt x="1639" y="563"/>
                </a:lnTo>
                <a:lnTo>
                  <a:pt x="1638" y="564"/>
                </a:lnTo>
                <a:lnTo>
                  <a:pt x="1639" y="565"/>
                </a:lnTo>
                <a:lnTo>
                  <a:pt x="1641" y="569"/>
                </a:lnTo>
                <a:lnTo>
                  <a:pt x="1645" y="569"/>
                </a:lnTo>
                <a:lnTo>
                  <a:pt x="1649" y="569"/>
                </a:lnTo>
                <a:lnTo>
                  <a:pt x="1649" y="573"/>
                </a:lnTo>
                <a:lnTo>
                  <a:pt x="1649" y="576"/>
                </a:lnTo>
                <a:lnTo>
                  <a:pt x="1647" y="581"/>
                </a:lnTo>
                <a:lnTo>
                  <a:pt x="1648" y="583"/>
                </a:lnTo>
                <a:lnTo>
                  <a:pt x="1649" y="586"/>
                </a:lnTo>
                <a:lnTo>
                  <a:pt x="1651" y="588"/>
                </a:lnTo>
                <a:lnTo>
                  <a:pt x="1655" y="591"/>
                </a:lnTo>
                <a:lnTo>
                  <a:pt x="1655" y="592"/>
                </a:lnTo>
                <a:lnTo>
                  <a:pt x="1656" y="593"/>
                </a:lnTo>
                <a:lnTo>
                  <a:pt x="1655" y="596"/>
                </a:lnTo>
                <a:lnTo>
                  <a:pt x="1653" y="598"/>
                </a:lnTo>
                <a:lnTo>
                  <a:pt x="1652" y="597"/>
                </a:lnTo>
                <a:lnTo>
                  <a:pt x="1649" y="603"/>
                </a:lnTo>
                <a:lnTo>
                  <a:pt x="1645" y="601"/>
                </a:lnTo>
                <a:lnTo>
                  <a:pt x="1641" y="600"/>
                </a:lnTo>
                <a:lnTo>
                  <a:pt x="1644" y="606"/>
                </a:lnTo>
                <a:lnTo>
                  <a:pt x="1645" y="605"/>
                </a:lnTo>
                <a:lnTo>
                  <a:pt x="1646" y="605"/>
                </a:lnTo>
                <a:lnTo>
                  <a:pt x="1647" y="606"/>
                </a:lnTo>
                <a:lnTo>
                  <a:pt x="1647" y="608"/>
                </a:lnTo>
                <a:lnTo>
                  <a:pt x="1647" y="611"/>
                </a:lnTo>
                <a:lnTo>
                  <a:pt x="1647" y="614"/>
                </a:lnTo>
                <a:lnTo>
                  <a:pt x="1642" y="615"/>
                </a:lnTo>
                <a:lnTo>
                  <a:pt x="1638" y="615"/>
                </a:lnTo>
                <a:lnTo>
                  <a:pt x="1634" y="615"/>
                </a:lnTo>
                <a:lnTo>
                  <a:pt x="1630" y="617"/>
                </a:lnTo>
                <a:lnTo>
                  <a:pt x="1630" y="618"/>
                </a:lnTo>
                <a:lnTo>
                  <a:pt x="1630" y="620"/>
                </a:lnTo>
                <a:lnTo>
                  <a:pt x="1630" y="626"/>
                </a:lnTo>
                <a:lnTo>
                  <a:pt x="1630" y="634"/>
                </a:lnTo>
                <a:lnTo>
                  <a:pt x="1632" y="635"/>
                </a:lnTo>
                <a:lnTo>
                  <a:pt x="1634" y="635"/>
                </a:lnTo>
                <a:lnTo>
                  <a:pt x="1638" y="636"/>
                </a:lnTo>
                <a:lnTo>
                  <a:pt x="1643" y="637"/>
                </a:lnTo>
                <a:lnTo>
                  <a:pt x="1647" y="639"/>
                </a:lnTo>
                <a:lnTo>
                  <a:pt x="1649" y="642"/>
                </a:lnTo>
                <a:lnTo>
                  <a:pt x="1651" y="646"/>
                </a:lnTo>
                <a:lnTo>
                  <a:pt x="1652" y="650"/>
                </a:lnTo>
                <a:lnTo>
                  <a:pt x="1653" y="654"/>
                </a:lnTo>
                <a:lnTo>
                  <a:pt x="1655" y="663"/>
                </a:lnTo>
                <a:lnTo>
                  <a:pt x="1656" y="667"/>
                </a:lnTo>
                <a:lnTo>
                  <a:pt x="1658" y="670"/>
                </a:lnTo>
                <a:lnTo>
                  <a:pt x="1659" y="671"/>
                </a:lnTo>
                <a:lnTo>
                  <a:pt x="1660" y="672"/>
                </a:lnTo>
                <a:lnTo>
                  <a:pt x="1664" y="674"/>
                </a:lnTo>
                <a:lnTo>
                  <a:pt x="1667" y="676"/>
                </a:lnTo>
                <a:lnTo>
                  <a:pt x="1668" y="678"/>
                </a:lnTo>
                <a:lnTo>
                  <a:pt x="1669" y="679"/>
                </a:lnTo>
                <a:lnTo>
                  <a:pt x="1669" y="683"/>
                </a:lnTo>
                <a:lnTo>
                  <a:pt x="1668" y="690"/>
                </a:lnTo>
                <a:lnTo>
                  <a:pt x="1663" y="707"/>
                </a:lnTo>
                <a:lnTo>
                  <a:pt x="1666" y="704"/>
                </a:lnTo>
                <a:lnTo>
                  <a:pt x="1667" y="702"/>
                </a:lnTo>
                <a:lnTo>
                  <a:pt x="1668" y="701"/>
                </a:lnTo>
                <a:lnTo>
                  <a:pt x="1669" y="701"/>
                </a:lnTo>
                <a:lnTo>
                  <a:pt x="1670" y="702"/>
                </a:lnTo>
                <a:lnTo>
                  <a:pt x="1670" y="703"/>
                </a:lnTo>
                <a:lnTo>
                  <a:pt x="1671" y="707"/>
                </a:lnTo>
                <a:lnTo>
                  <a:pt x="1672" y="712"/>
                </a:lnTo>
                <a:lnTo>
                  <a:pt x="1670" y="713"/>
                </a:lnTo>
                <a:lnTo>
                  <a:pt x="1668" y="713"/>
                </a:lnTo>
                <a:lnTo>
                  <a:pt x="1665" y="712"/>
                </a:lnTo>
                <a:lnTo>
                  <a:pt x="1663" y="712"/>
                </a:lnTo>
                <a:lnTo>
                  <a:pt x="1655" y="729"/>
                </a:lnTo>
                <a:lnTo>
                  <a:pt x="1651" y="733"/>
                </a:lnTo>
                <a:lnTo>
                  <a:pt x="1647" y="737"/>
                </a:lnTo>
                <a:lnTo>
                  <a:pt x="1643" y="741"/>
                </a:lnTo>
                <a:lnTo>
                  <a:pt x="1638" y="744"/>
                </a:lnTo>
                <a:lnTo>
                  <a:pt x="1629" y="750"/>
                </a:lnTo>
                <a:lnTo>
                  <a:pt x="1618" y="755"/>
                </a:lnTo>
                <a:lnTo>
                  <a:pt x="1621" y="767"/>
                </a:lnTo>
                <a:lnTo>
                  <a:pt x="1623" y="779"/>
                </a:lnTo>
                <a:lnTo>
                  <a:pt x="1625" y="789"/>
                </a:lnTo>
                <a:lnTo>
                  <a:pt x="1627" y="800"/>
                </a:lnTo>
                <a:lnTo>
                  <a:pt x="1628" y="805"/>
                </a:lnTo>
                <a:lnTo>
                  <a:pt x="1628" y="810"/>
                </a:lnTo>
                <a:lnTo>
                  <a:pt x="1628" y="820"/>
                </a:lnTo>
                <a:lnTo>
                  <a:pt x="1628" y="825"/>
                </a:lnTo>
                <a:lnTo>
                  <a:pt x="1627" y="831"/>
                </a:lnTo>
                <a:lnTo>
                  <a:pt x="1626" y="836"/>
                </a:lnTo>
                <a:lnTo>
                  <a:pt x="1624" y="842"/>
                </a:lnTo>
                <a:lnTo>
                  <a:pt x="1620" y="841"/>
                </a:lnTo>
                <a:lnTo>
                  <a:pt x="1616" y="842"/>
                </a:lnTo>
                <a:lnTo>
                  <a:pt x="1613" y="844"/>
                </a:lnTo>
                <a:lnTo>
                  <a:pt x="1611" y="846"/>
                </a:lnTo>
                <a:lnTo>
                  <a:pt x="1609" y="850"/>
                </a:lnTo>
                <a:lnTo>
                  <a:pt x="1608" y="851"/>
                </a:lnTo>
                <a:lnTo>
                  <a:pt x="1605" y="851"/>
                </a:lnTo>
                <a:lnTo>
                  <a:pt x="1601" y="850"/>
                </a:lnTo>
                <a:lnTo>
                  <a:pt x="1596" y="847"/>
                </a:lnTo>
                <a:lnTo>
                  <a:pt x="1592" y="844"/>
                </a:lnTo>
                <a:lnTo>
                  <a:pt x="1586" y="838"/>
                </a:lnTo>
                <a:lnTo>
                  <a:pt x="1576" y="828"/>
                </a:lnTo>
                <a:lnTo>
                  <a:pt x="1576" y="825"/>
                </a:lnTo>
                <a:lnTo>
                  <a:pt x="1577" y="822"/>
                </a:lnTo>
                <a:lnTo>
                  <a:pt x="1578" y="818"/>
                </a:lnTo>
                <a:lnTo>
                  <a:pt x="1577" y="816"/>
                </a:lnTo>
                <a:lnTo>
                  <a:pt x="1576" y="814"/>
                </a:lnTo>
                <a:lnTo>
                  <a:pt x="1574" y="812"/>
                </a:lnTo>
                <a:lnTo>
                  <a:pt x="1570" y="811"/>
                </a:lnTo>
                <a:lnTo>
                  <a:pt x="1565" y="808"/>
                </a:lnTo>
                <a:lnTo>
                  <a:pt x="1564" y="806"/>
                </a:lnTo>
                <a:lnTo>
                  <a:pt x="1564" y="805"/>
                </a:lnTo>
                <a:lnTo>
                  <a:pt x="1565" y="801"/>
                </a:lnTo>
                <a:lnTo>
                  <a:pt x="1566" y="797"/>
                </a:lnTo>
                <a:lnTo>
                  <a:pt x="1565" y="796"/>
                </a:lnTo>
                <a:lnTo>
                  <a:pt x="1565" y="794"/>
                </a:lnTo>
                <a:lnTo>
                  <a:pt x="1563" y="794"/>
                </a:lnTo>
                <a:lnTo>
                  <a:pt x="1562" y="793"/>
                </a:lnTo>
                <a:lnTo>
                  <a:pt x="1561" y="791"/>
                </a:lnTo>
                <a:lnTo>
                  <a:pt x="1562" y="789"/>
                </a:lnTo>
                <a:lnTo>
                  <a:pt x="1564" y="787"/>
                </a:lnTo>
                <a:lnTo>
                  <a:pt x="1565" y="786"/>
                </a:lnTo>
                <a:lnTo>
                  <a:pt x="1563" y="784"/>
                </a:lnTo>
                <a:lnTo>
                  <a:pt x="1562" y="781"/>
                </a:lnTo>
                <a:lnTo>
                  <a:pt x="1562" y="780"/>
                </a:lnTo>
                <a:lnTo>
                  <a:pt x="1563" y="779"/>
                </a:lnTo>
                <a:lnTo>
                  <a:pt x="1564" y="778"/>
                </a:lnTo>
                <a:lnTo>
                  <a:pt x="1565" y="777"/>
                </a:lnTo>
                <a:lnTo>
                  <a:pt x="1568" y="760"/>
                </a:lnTo>
                <a:lnTo>
                  <a:pt x="1565" y="757"/>
                </a:lnTo>
                <a:lnTo>
                  <a:pt x="1564" y="754"/>
                </a:lnTo>
                <a:lnTo>
                  <a:pt x="1564" y="753"/>
                </a:lnTo>
                <a:lnTo>
                  <a:pt x="1565" y="752"/>
                </a:lnTo>
                <a:lnTo>
                  <a:pt x="1566" y="752"/>
                </a:lnTo>
                <a:lnTo>
                  <a:pt x="1567" y="752"/>
                </a:lnTo>
                <a:lnTo>
                  <a:pt x="1567" y="749"/>
                </a:lnTo>
                <a:lnTo>
                  <a:pt x="1566" y="745"/>
                </a:lnTo>
                <a:lnTo>
                  <a:pt x="1565" y="744"/>
                </a:lnTo>
                <a:lnTo>
                  <a:pt x="1565" y="743"/>
                </a:lnTo>
                <a:lnTo>
                  <a:pt x="1562" y="742"/>
                </a:lnTo>
                <a:lnTo>
                  <a:pt x="1560" y="741"/>
                </a:lnTo>
                <a:lnTo>
                  <a:pt x="1557" y="740"/>
                </a:lnTo>
                <a:lnTo>
                  <a:pt x="1554" y="739"/>
                </a:lnTo>
                <a:lnTo>
                  <a:pt x="1548" y="739"/>
                </a:lnTo>
                <a:lnTo>
                  <a:pt x="1542" y="739"/>
                </a:lnTo>
                <a:lnTo>
                  <a:pt x="1531" y="741"/>
                </a:lnTo>
                <a:lnTo>
                  <a:pt x="1525" y="741"/>
                </a:lnTo>
                <a:lnTo>
                  <a:pt x="1522" y="741"/>
                </a:lnTo>
                <a:lnTo>
                  <a:pt x="1520" y="741"/>
                </a:lnTo>
                <a:lnTo>
                  <a:pt x="1518" y="740"/>
                </a:lnTo>
                <a:lnTo>
                  <a:pt x="1515" y="738"/>
                </a:lnTo>
                <a:lnTo>
                  <a:pt x="1510" y="734"/>
                </a:lnTo>
                <a:lnTo>
                  <a:pt x="1505" y="729"/>
                </a:lnTo>
                <a:lnTo>
                  <a:pt x="1500" y="726"/>
                </a:lnTo>
                <a:lnTo>
                  <a:pt x="1494" y="724"/>
                </a:lnTo>
                <a:lnTo>
                  <a:pt x="1484" y="722"/>
                </a:lnTo>
                <a:lnTo>
                  <a:pt x="1474" y="720"/>
                </a:lnTo>
                <a:lnTo>
                  <a:pt x="1471" y="719"/>
                </a:lnTo>
                <a:lnTo>
                  <a:pt x="1469" y="718"/>
                </a:lnTo>
                <a:lnTo>
                  <a:pt x="1468" y="716"/>
                </a:lnTo>
                <a:lnTo>
                  <a:pt x="1467" y="714"/>
                </a:lnTo>
                <a:lnTo>
                  <a:pt x="1467" y="711"/>
                </a:lnTo>
                <a:lnTo>
                  <a:pt x="1467" y="708"/>
                </a:lnTo>
                <a:lnTo>
                  <a:pt x="1466" y="703"/>
                </a:lnTo>
                <a:lnTo>
                  <a:pt x="1465" y="700"/>
                </a:lnTo>
                <a:lnTo>
                  <a:pt x="1464" y="698"/>
                </a:lnTo>
                <a:lnTo>
                  <a:pt x="1462" y="697"/>
                </a:lnTo>
                <a:lnTo>
                  <a:pt x="1461" y="697"/>
                </a:lnTo>
                <a:lnTo>
                  <a:pt x="1458" y="696"/>
                </a:lnTo>
                <a:lnTo>
                  <a:pt x="1454" y="696"/>
                </a:lnTo>
                <a:lnTo>
                  <a:pt x="1450" y="696"/>
                </a:lnTo>
                <a:lnTo>
                  <a:pt x="1447" y="693"/>
                </a:lnTo>
                <a:lnTo>
                  <a:pt x="1443" y="690"/>
                </a:lnTo>
                <a:lnTo>
                  <a:pt x="1439" y="686"/>
                </a:lnTo>
                <a:lnTo>
                  <a:pt x="1436" y="684"/>
                </a:lnTo>
                <a:lnTo>
                  <a:pt x="1433" y="684"/>
                </a:lnTo>
                <a:lnTo>
                  <a:pt x="1430" y="684"/>
                </a:lnTo>
                <a:lnTo>
                  <a:pt x="1427" y="684"/>
                </a:lnTo>
                <a:lnTo>
                  <a:pt x="1424" y="684"/>
                </a:lnTo>
                <a:lnTo>
                  <a:pt x="1421" y="683"/>
                </a:lnTo>
                <a:lnTo>
                  <a:pt x="1418" y="680"/>
                </a:lnTo>
                <a:lnTo>
                  <a:pt x="1413" y="676"/>
                </a:lnTo>
                <a:lnTo>
                  <a:pt x="1409" y="675"/>
                </a:lnTo>
                <a:lnTo>
                  <a:pt x="1405" y="674"/>
                </a:lnTo>
                <a:lnTo>
                  <a:pt x="1401" y="675"/>
                </a:lnTo>
                <a:lnTo>
                  <a:pt x="1397" y="676"/>
                </a:lnTo>
                <a:lnTo>
                  <a:pt x="1390" y="678"/>
                </a:lnTo>
                <a:lnTo>
                  <a:pt x="1386" y="680"/>
                </a:lnTo>
                <a:lnTo>
                  <a:pt x="1382" y="681"/>
                </a:lnTo>
                <a:lnTo>
                  <a:pt x="1381" y="676"/>
                </a:lnTo>
                <a:lnTo>
                  <a:pt x="1379" y="669"/>
                </a:lnTo>
                <a:lnTo>
                  <a:pt x="1374" y="656"/>
                </a:lnTo>
                <a:lnTo>
                  <a:pt x="1369" y="642"/>
                </a:lnTo>
                <a:lnTo>
                  <a:pt x="1362" y="628"/>
                </a:lnTo>
                <a:lnTo>
                  <a:pt x="1355" y="628"/>
                </a:lnTo>
                <a:lnTo>
                  <a:pt x="1350" y="629"/>
                </a:lnTo>
                <a:lnTo>
                  <a:pt x="1346" y="630"/>
                </a:lnTo>
                <a:lnTo>
                  <a:pt x="1344" y="631"/>
                </a:lnTo>
                <a:lnTo>
                  <a:pt x="1341" y="630"/>
                </a:lnTo>
                <a:lnTo>
                  <a:pt x="1339" y="628"/>
                </a:lnTo>
                <a:lnTo>
                  <a:pt x="1337" y="624"/>
                </a:lnTo>
                <a:lnTo>
                  <a:pt x="1334" y="617"/>
                </a:lnTo>
                <a:lnTo>
                  <a:pt x="1329" y="611"/>
                </a:lnTo>
                <a:lnTo>
                  <a:pt x="1329" y="607"/>
                </a:lnTo>
                <a:lnTo>
                  <a:pt x="1329" y="601"/>
                </a:lnTo>
                <a:lnTo>
                  <a:pt x="1330" y="594"/>
                </a:lnTo>
                <a:lnTo>
                  <a:pt x="1331" y="591"/>
                </a:lnTo>
                <a:lnTo>
                  <a:pt x="1332" y="589"/>
                </a:lnTo>
                <a:lnTo>
                  <a:pt x="1336" y="586"/>
                </a:lnTo>
                <a:lnTo>
                  <a:pt x="1340" y="583"/>
                </a:lnTo>
                <a:lnTo>
                  <a:pt x="1340" y="581"/>
                </a:lnTo>
                <a:lnTo>
                  <a:pt x="1340" y="579"/>
                </a:lnTo>
                <a:lnTo>
                  <a:pt x="1338" y="577"/>
                </a:lnTo>
                <a:lnTo>
                  <a:pt x="1336" y="574"/>
                </a:lnTo>
                <a:lnTo>
                  <a:pt x="1336" y="573"/>
                </a:lnTo>
                <a:lnTo>
                  <a:pt x="1337" y="572"/>
                </a:lnTo>
                <a:lnTo>
                  <a:pt x="1339" y="571"/>
                </a:lnTo>
                <a:lnTo>
                  <a:pt x="1341" y="571"/>
                </a:lnTo>
                <a:lnTo>
                  <a:pt x="1346" y="572"/>
                </a:lnTo>
                <a:lnTo>
                  <a:pt x="1346" y="568"/>
                </a:lnTo>
                <a:lnTo>
                  <a:pt x="1346" y="565"/>
                </a:lnTo>
                <a:lnTo>
                  <a:pt x="1345" y="561"/>
                </a:lnTo>
                <a:lnTo>
                  <a:pt x="1345" y="559"/>
                </a:lnTo>
                <a:lnTo>
                  <a:pt x="1346" y="558"/>
                </a:lnTo>
                <a:lnTo>
                  <a:pt x="1346" y="556"/>
                </a:lnTo>
                <a:lnTo>
                  <a:pt x="1348" y="555"/>
                </a:lnTo>
                <a:lnTo>
                  <a:pt x="1352" y="553"/>
                </a:lnTo>
                <a:lnTo>
                  <a:pt x="1355" y="550"/>
                </a:lnTo>
                <a:lnTo>
                  <a:pt x="1356" y="548"/>
                </a:lnTo>
                <a:lnTo>
                  <a:pt x="1357" y="546"/>
                </a:lnTo>
                <a:lnTo>
                  <a:pt x="1357" y="544"/>
                </a:lnTo>
                <a:lnTo>
                  <a:pt x="1359" y="543"/>
                </a:lnTo>
                <a:lnTo>
                  <a:pt x="1363" y="544"/>
                </a:lnTo>
                <a:lnTo>
                  <a:pt x="1366" y="544"/>
                </a:lnTo>
                <a:lnTo>
                  <a:pt x="1367" y="544"/>
                </a:lnTo>
                <a:lnTo>
                  <a:pt x="1368" y="544"/>
                </a:lnTo>
                <a:lnTo>
                  <a:pt x="1369" y="541"/>
                </a:lnTo>
                <a:lnTo>
                  <a:pt x="1369" y="537"/>
                </a:lnTo>
                <a:lnTo>
                  <a:pt x="1368" y="530"/>
                </a:lnTo>
                <a:lnTo>
                  <a:pt x="1371" y="528"/>
                </a:lnTo>
                <a:lnTo>
                  <a:pt x="1372" y="528"/>
                </a:lnTo>
                <a:lnTo>
                  <a:pt x="1374" y="524"/>
                </a:lnTo>
                <a:lnTo>
                  <a:pt x="1376" y="525"/>
                </a:lnTo>
                <a:lnTo>
                  <a:pt x="1378" y="527"/>
                </a:lnTo>
                <a:lnTo>
                  <a:pt x="1381" y="528"/>
                </a:lnTo>
                <a:lnTo>
                  <a:pt x="1383" y="527"/>
                </a:lnTo>
                <a:lnTo>
                  <a:pt x="1385" y="527"/>
                </a:lnTo>
                <a:lnTo>
                  <a:pt x="1385" y="526"/>
                </a:lnTo>
                <a:lnTo>
                  <a:pt x="1385" y="525"/>
                </a:lnTo>
                <a:lnTo>
                  <a:pt x="1383" y="524"/>
                </a:lnTo>
                <a:lnTo>
                  <a:pt x="1379" y="521"/>
                </a:lnTo>
                <a:lnTo>
                  <a:pt x="1386" y="518"/>
                </a:lnTo>
                <a:lnTo>
                  <a:pt x="1391" y="515"/>
                </a:lnTo>
                <a:lnTo>
                  <a:pt x="1386" y="515"/>
                </a:lnTo>
                <a:lnTo>
                  <a:pt x="1384" y="514"/>
                </a:lnTo>
                <a:lnTo>
                  <a:pt x="1384" y="513"/>
                </a:lnTo>
                <a:lnTo>
                  <a:pt x="1385" y="513"/>
                </a:lnTo>
                <a:lnTo>
                  <a:pt x="1388" y="512"/>
                </a:lnTo>
                <a:lnTo>
                  <a:pt x="1390" y="512"/>
                </a:lnTo>
                <a:lnTo>
                  <a:pt x="1392" y="513"/>
                </a:lnTo>
                <a:lnTo>
                  <a:pt x="1393" y="514"/>
                </a:lnTo>
                <a:lnTo>
                  <a:pt x="1397" y="515"/>
                </a:lnTo>
                <a:lnTo>
                  <a:pt x="1399" y="516"/>
                </a:lnTo>
                <a:lnTo>
                  <a:pt x="1402" y="515"/>
                </a:lnTo>
                <a:lnTo>
                  <a:pt x="1404" y="514"/>
                </a:lnTo>
                <a:lnTo>
                  <a:pt x="1407" y="512"/>
                </a:lnTo>
                <a:lnTo>
                  <a:pt x="1410" y="509"/>
                </a:lnTo>
                <a:lnTo>
                  <a:pt x="1413" y="507"/>
                </a:lnTo>
                <a:lnTo>
                  <a:pt x="1413" y="506"/>
                </a:lnTo>
                <a:lnTo>
                  <a:pt x="1413" y="504"/>
                </a:lnTo>
                <a:lnTo>
                  <a:pt x="1413" y="502"/>
                </a:lnTo>
                <a:lnTo>
                  <a:pt x="1415" y="500"/>
                </a:lnTo>
                <a:lnTo>
                  <a:pt x="1415" y="499"/>
                </a:lnTo>
                <a:lnTo>
                  <a:pt x="1416" y="499"/>
                </a:lnTo>
                <a:lnTo>
                  <a:pt x="1413" y="497"/>
                </a:lnTo>
                <a:lnTo>
                  <a:pt x="1411" y="495"/>
                </a:lnTo>
                <a:lnTo>
                  <a:pt x="1409" y="494"/>
                </a:lnTo>
                <a:lnTo>
                  <a:pt x="1407" y="493"/>
                </a:lnTo>
                <a:lnTo>
                  <a:pt x="1407" y="487"/>
                </a:lnTo>
                <a:lnTo>
                  <a:pt x="1413" y="490"/>
                </a:lnTo>
                <a:lnTo>
                  <a:pt x="1416" y="490"/>
                </a:lnTo>
                <a:lnTo>
                  <a:pt x="1419" y="490"/>
                </a:lnTo>
                <a:lnTo>
                  <a:pt x="1422" y="468"/>
                </a:lnTo>
                <a:lnTo>
                  <a:pt x="1427" y="467"/>
                </a:lnTo>
                <a:lnTo>
                  <a:pt x="1433" y="468"/>
                </a:lnTo>
                <a:lnTo>
                  <a:pt x="1433" y="465"/>
                </a:lnTo>
                <a:lnTo>
                  <a:pt x="1432" y="463"/>
                </a:lnTo>
                <a:lnTo>
                  <a:pt x="1433" y="462"/>
                </a:lnTo>
                <a:lnTo>
                  <a:pt x="1436" y="462"/>
                </a:lnTo>
                <a:lnTo>
                  <a:pt x="1439" y="462"/>
                </a:lnTo>
                <a:lnTo>
                  <a:pt x="1441" y="462"/>
                </a:lnTo>
                <a:lnTo>
                  <a:pt x="1443" y="463"/>
                </a:lnTo>
                <a:lnTo>
                  <a:pt x="1444" y="464"/>
                </a:lnTo>
                <a:lnTo>
                  <a:pt x="1445" y="465"/>
                </a:lnTo>
                <a:lnTo>
                  <a:pt x="1446" y="465"/>
                </a:lnTo>
                <a:lnTo>
                  <a:pt x="1447" y="467"/>
                </a:lnTo>
                <a:lnTo>
                  <a:pt x="1448" y="468"/>
                </a:lnTo>
                <a:lnTo>
                  <a:pt x="1449" y="468"/>
                </a:lnTo>
                <a:lnTo>
                  <a:pt x="1450" y="468"/>
                </a:lnTo>
                <a:lnTo>
                  <a:pt x="1455" y="466"/>
                </a:lnTo>
                <a:lnTo>
                  <a:pt x="1464" y="462"/>
                </a:lnTo>
                <a:lnTo>
                  <a:pt x="1466" y="461"/>
                </a:lnTo>
                <a:lnTo>
                  <a:pt x="1468" y="461"/>
                </a:lnTo>
                <a:lnTo>
                  <a:pt x="1470" y="461"/>
                </a:lnTo>
                <a:lnTo>
                  <a:pt x="1472" y="459"/>
                </a:lnTo>
                <a:lnTo>
                  <a:pt x="1473" y="458"/>
                </a:lnTo>
                <a:lnTo>
                  <a:pt x="1473" y="457"/>
                </a:lnTo>
                <a:lnTo>
                  <a:pt x="1472" y="454"/>
                </a:lnTo>
                <a:lnTo>
                  <a:pt x="1469" y="448"/>
                </a:lnTo>
                <a:lnTo>
                  <a:pt x="1472" y="447"/>
                </a:lnTo>
                <a:lnTo>
                  <a:pt x="1472" y="446"/>
                </a:lnTo>
                <a:lnTo>
                  <a:pt x="1472" y="445"/>
                </a:lnTo>
                <a:lnTo>
                  <a:pt x="1472" y="442"/>
                </a:lnTo>
                <a:lnTo>
                  <a:pt x="1475" y="443"/>
                </a:lnTo>
                <a:lnTo>
                  <a:pt x="1476" y="443"/>
                </a:lnTo>
                <a:lnTo>
                  <a:pt x="1477" y="442"/>
                </a:lnTo>
                <a:lnTo>
                  <a:pt x="1477" y="441"/>
                </a:lnTo>
                <a:lnTo>
                  <a:pt x="1476" y="438"/>
                </a:lnTo>
                <a:lnTo>
                  <a:pt x="1475" y="437"/>
                </a:lnTo>
                <a:lnTo>
                  <a:pt x="1448" y="435"/>
                </a:lnTo>
                <a:lnTo>
                  <a:pt x="1433" y="434"/>
                </a:lnTo>
                <a:lnTo>
                  <a:pt x="1416" y="434"/>
                </a:lnTo>
                <a:lnTo>
                  <a:pt x="1426" y="431"/>
                </a:lnTo>
                <a:lnTo>
                  <a:pt x="1429" y="430"/>
                </a:lnTo>
                <a:lnTo>
                  <a:pt x="1430" y="429"/>
                </a:lnTo>
                <a:lnTo>
                  <a:pt x="1430" y="427"/>
                </a:lnTo>
                <a:lnTo>
                  <a:pt x="1431" y="425"/>
                </a:lnTo>
                <a:lnTo>
                  <a:pt x="1431" y="422"/>
                </a:lnTo>
                <a:lnTo>
                  <a:pt x="1433" y="417"/>
                </a:lnTo>
                <a:lnTo>
                  <a:pt x="1435" y="418"/>
                </a:lnTo>
                <a:lnTo>
                  <a:pt x="1436" y="418"/>
                </a:lnTo>
                <a:lnTo>
                  <a:pt x="1435" y="420"/>
                </a:lnTo>
                <a:lnTo>
                  <a:pt x="1435" y="421"/>
                </a:lnTo>
                <a:lnTo>
                  <a:pt x="1436" y="423"/>
                </a:lnTo>
                <a:lnTo>
                  <a:pt x="1452" y="423"/>
                </a:lnTo>
                <a:lnTo>
                  <a:pt x="1458" y="423"/>
                </a:lnTo>
                <a:lnTo>
                  <a:pt x="1463" y="424"/>
                </a:lnTo>
                <a:lnTo>
                  <a:pt x="1467" y="426"/>
                </a:lnTo>
                <a:lnTo>
                  <a:pt x="1472" y="429"/>
                </a:lnTo>
                <a:lnTo>
                  <a:pt x="1483" y="437"/>
                </a:lnTo>
                <a:lnTo>
                  <a:pt x="1484" y="436"/>
                </a:lnTo>
                <a:lnTo>
                  <a:pt x="1484" y="435"/>
                </a:lnTo>
                <a:lnTo>
                  <a:pt x="1483" y="433"/>
                </a:lnTo>
                <a:lnTo>
                  <a:pt x="1483" y="430"/>
                </a:lnTo>
                <a:lnTo>
                  <a:pt x="1483" y="428"/>
                </a:lnTo>
                <a:lnTo>
                  <a:pt x="1487" y="425"/>
                </a:lnTo>
                <a:lnTo>
                  <a:pt x="1492" y="423"/>
                </a:lnTo>
                <a:lnTo>
                  <a:pt x="1489" y="412"/>
                </a:lnTo>
                <a:lnTo>
                  <a:pt x="1486" y="403"/>
                </a:lnTo>
                <a:lnTo>
                  <a:pt x="1491" y="402"/>
                </a:lnTo>
                <a:lnTo>
                  <a:pt x="1496" y="401"/>
                </a:lnTo>
                <a:lnTo>
                  <a:pt x="1501" y="400"/>
                </a:lnTo>
                <a:lnTo>
                  <a:pt x="1503" y="400"/>
                </a:lnTo>
                <a:lnTo>
                  <a:pt x="1506" y="401"/>
                </a:lnTo>
                <a:lnTo>
                  <a:pt x="1507" y="403"/>
                </a:lnTo>
                <a:lnTo>
                  <a:pt x="1511" y="408"/>
                </a:lnTo>
                <a:lnTo>
                  <a:pt x="1512" y="410"/>
                </a:lnTo>
                <a:lnTo>
                  <a:pt x="1515" y="412"/>
                </a:lnTo>
                <a:lnTo>
                  <a:pt x="1518" y="414"/>
                </a:lnTo>
                <a:lnTo>
                  <a:pt x="1523" y="414"/>
                </a:lnTo>
                <a:lnTo>
                  <a:pt x="1528" y="414"/>
                </a:lnTo>
                <a:lnTo>
                  <a:pt x="1531" y="413"/>
                </a:lnTo>
                <a:lnTo>
                  <a:pt x="1533" y="412"/>
                </a:lnTo>
                <a:lnTo>
                  <a:pt x="1533" y="411"/>
                </a:lnTo>
                <a:lnTo>
                  <a:pt x="1533" y="410"/>
                </a:lnTo>
                <a:lnTo>
                  <a:pt x="1532" y="409"/>
                </a:lnTo>
                <a:lnTo>
                  <a:pt x="1530" y="407"/>
                </a:lnTo>
                <a:lnTo>
                  <a:pt x="1527" y="405"/>
                </a:lnTo>
                <a:lnTo>
                  <a:pt x="1523" y="403"/>
                </a:lnTo>
                <a:lnTo>
                  <a:pt x="1523" y="397"/>
                </a:lnTo>
                <a:lnTo>
                  <a:pt x="1525" y="398"/>
                </a:lnTo>
                <a:lnTo>
                  <a:pt x="1526" y="398"/>
                </a:lnTo>
                <a:lnTo>
                  <a:pt x="1527" y="397"/>
                </a:lnTo>
                <a:lnTo>
                  <a:pt x="1528" y="396"/>
                </a:lnTo>
                <a:lnTo>
                  <a:pt x="1529" y="395"/>
                </a:lnTo>
                <a:lnTo>
                  <a:pt x="1530" y="394"/>
                </a:lnTo>
                <a:lnTo>
                  <a:pt x="1531" y="395"/>
                </a:lnTo>
                <a:lnTo>
                  <a:pt x="1531" y="400"/>
                </a:lnTo>
                <a:lnTo>
                  <a:pt x="1537" y="403"/>
                </a:lnTo>
                <a:lnTo>
                  <a:pt x="1540" y="404"/>
                </a:lnTo>
                <a:lnTo>
                  <a:pt x="1542" y="406"/>
                </a:lnTo>
                <a:lnTo>
                  <a:pt x="1545" y="403"/>
                </a:lnTo>
                <a:lnTo>
                  <a:pt x="1548" y="398"/>
                </a:lnTo>
                <a:lnTo>
                  <a:pt x="1551" y="394"/>
                </a:lnTo>
                <a:lnTo>
                  <a:pt x="1552" y="393"/>
                </a:lnTo>
                <a:lnTo>
                  <a:pt x="1554" y="392"/>
                </a:lnTo>
                <a:lnTo>
                  <a:pt x="1555" y="391"/>
                </a:lnTo>
                <a:lnTo>
                  <a:pt x="1556" y="391"/>
                </a:lnTo>
                <a:lnTo>
                  <a:pt x="1558" y="391"/>
                </a:lnTo>
                <a:lnTo>
                  <a:pt x="1560" y="392"/>
                </a:lnTo>
                <a:lnTo>
                  <a:pt x="1562" y="392"/>
                </a:lnTo>
                <a:lnTo>
                  <a:pt x="1565" y="386"/>
                </a:lnTo>
                <a:lnTo>
                  <a:pt x="1575" y="383"/>
                </a:lnTo>
                <a:lnTo>
                  <a:pt x="1581" y="381"/>
                </a:lnTo>
                <a:lnTo>
                  <a:pt x="1588" y="379"/>
                </a:lnTo>
                <a:lnTo>
                  <a:pt x="1596" y="375"/>
                </a:lnTo>
                <a:lnTo>
                  <a:pt x="1595" y="368"/>
                </a:lnTo>
                <a:lnTo>
                  <a:pt x="1595" y="364"/>
                </a:lnTo>
                <a:lnTo>
                  <a:pt x="1595" y="362"/>
                </a:lnTo>
                <a:lnTo>
                  <a:pt x="1596" y="361"/>
                </a:lnTo>
                <a:lnTo>
                  <a:pt x="1587" y="357"/>
                </a:lnTo>
                <a:lnTo>
                  <a:pt x="1582" y="355"/>
                </a:lnTo>
                <a:lnTo>
                  <a:pt x="1577" y="352"/>
                </a:lnTo>
                <a:lnTo>
                  <a:pt x="1575" y="350"/>
                </a:lnTo>
                <a:lnTo>
                  <a:pt x="1574" y="349"/>
                </a:lnTo>
                <a:lnTo>
                  <a:pt x="1572" y="347"/>
                </a:lnTo>
                <a:lnTo>
                  <a:pt x="1571" y="344"/>
                </a:lnTo>
                <a:lnTo>
                  <a:pt x="1570" y="342"/>
                </a:lnTo>
                <a:lnTo>
                  <a:pt x="1570" y="339"/>
                </a:lnTo>
                <a:lnTo>
                  <a:pt x="1571" y="333"/>
                </a:lnTo>
                <a:lnTo>
                  <a:pt x="1573" y="331"/>
                </a:lnTo>
                <a:lnTo>
                  <a:pt x="1574" y="329"/>
                </a:lnTo>
                <a:lnTo>
                  <a:pt x="1574" y="328"/>
                </a:lnTo>
                <a:lnTo>
                  <a:pt x="1573" y="327"/>
                </a:lnTo>
                <a:lnTo>
                  <a:pt x="1576" y="328"/>
                </a:lnTo>
                <a:lnTo>
                  <a:pt x="1578" y="328"/>
                </a:lnTo>
                <a:lnTo>
                  <a:pt x="1579" y="327"/>
                </a:lnTo>
                <a:lnTo>
                  <a:pt x="1580" y="326"/>
                </a:lnTo>
                <a:lnTo>
                  <a:pt x="1581" y="323"/>
                </a:lnTo>
                <a:lnTo>
                  <a:pt x="1582" y="321"/>
                </a:lnTo>
                <a:lnTo>
                  <a:pt x="1577" y="322"/>
                </a:lnTo>
                <a:lnTo>
                  <a:pt x="1575" y="322"/>
                </a:lnTo>
                <a:lnTo>
                  <a:pt x="1575" y="321"/>
                </a:lnTo>
                <a:lnTo>
                  <a:pt x="1575" y="318"/>
                </a:lnTo>
                <a:lnTo>
                  <a:pt x="1576" y="315"/>
                </a:lnTo>
                <a:lnTo>
                  <a:pt x="1582" y="308"/>
                </a:lnTo>
                <a:lnTo>
                  <a:pt x="1585" y="304"/>
                </a:lnTo>
                <a:lnTo>
                  <a:pt x="1585" y="302"/>
                </a:lnTo>
                <a:lnTo>
                  <a:pt x="1584" y="301"/>
                </a:lnTo>
                <a:lnTo>
                  <a:pt x="1583" y="299"/>
                </a:lnTo>
                <a:lnTo>
                  <a:pt x="1582" y="298"/>
                </a:lnTo>
                <a:lnTo>
                  <a:pt x="1582" y="296"/>
                </a:lnTo>
                <a:lnTo>
                  <a:pt x="1579" y="297"/>
                </a:lnTo>
                <a:lnTo>
                  <a:pt x="1577" y="299"/>
                </a:lnTo>
                <a:lnTo>
                  <a:pt x="1573" y="302"/>
                </a:lnTo>
                <a:lnTo>
                  <a:pt x="1573" y="301"/>
                </a:lnTo>
                <a:lnTo>
                  <a:pt x="1572" y="300"/>
                </a:lnTo>
                <a:lnTo>
                  <a:pt x="1569" y="300"/>
                </a:lnTo>
                <a:lnTo>
                  <a:pt x="1567" y="300"/>
                </a:lnTo>
                <a:lnTo>
                  <a:pt x="1565" y="299"/>
                </a:lnTo>
                <a:lnTo>
                  <a:pt x="1563" y="290"/>
                </a:lnTo>
                <a:lnTo>
                  <a:pt x="1559" y="279"/>
                </a:lnTo>
                <a:lnTo>
                  <a:pt x="1547" y="280"/>
                </a:lnTo>
                <a:lnTo>
                  <a:pt x="1537" y="279"/>
                </a:lnTo>
                <a:lnTo>
                  <a:pt x="1526" y="278"/>
                </a:lnTo>
                <a:lnTo>
                  <a:pt x="1512" y="276"/>
                </a:lnTo>
                <a:lnTo>
                  <a:pt x="1514" y="285"/>
                </a:lnTo>
                <a:lnTo>
                  <a:pt x="1518" y="295"/>
                </a:lnTo>
                <a:lnTo>
                  <a:pt x="1526" y="313"/>
                </a:lnTo>
                <a:lnTo>
                  <a:pt x="1523" y="314"/>
                </a:lnTo>
                <a:lnTo>
                  <a:pt x="1523" y="315"/>
                </a:lnTo>
                <a:lnTo>
                  <a:pt x="1523" y="316"/>
                </a:lnTo>
                <a:lnTo>
                  <a:pt x="1523" y="319"/>
                </a:lnTo>
                <a:lnTo>
                  <a:pt x="1517" y="318"/>
                </a:lnTo>
                <a:lnTo>
                  <a:pt x="1514" y="318"/>
                </a:lnTo>
                <a:lnTo>
                  <a:pt x="1512" y="319"/>
                </a:lnTo>
                <a:lnTo>
                  <a:pt x="1511" y="322"/>
                </a:lnTo>
                <a:lnTo>
                  <a:pt x="1510" y="330"/>
                </a:lnTo>
                <a:lnTo>
                  <a:pt x="1509" y="341"/>
                </a:lnTo>
                <a:lnTo>
                  <a:pt x="1503" y="341"/>
                </a:lnTo>
                <a:lnTo>
                  <a:pt x="1498" y="351"/>
                </a:lnTo>
                <a:lnTo>
                  <a:pt x="1495" y="359"/>
                </a:lnTo>
                <a:lnTo>
                  <a:pt x="1490" y="367"/>
                </a:lnTo>
                <a:lnTo>
                  <a:pt x="1483" y="375"/>
                </a:lnTo>
                <a:lnTo>
                  <a:pt x="1485" y="375"/>
                </a:lnTo>
                <a:lnTo>
                  <a:pt x="1486" y="376"/>
                </a:lnTo>
                <a:lnTo>
                  <a:pt x="1482" y="376"/>
                </a:lnTo>
                <a:lnTo>
                  <a:pt x="1477" y="376"/>
                </a:lnTo>
                <a:lnTo>
                  <a:pt x="1472" y="375"/>
                </a:lnTo>
                <a:lnTo>
                  <a:pt x="1471" y="374"/>
                </a:lnTo>
                <a:lnTo>
                  <a:pt x="1470" y="372"/>
                </a:lnTo>
                <a:lnTo>
                  <a:pt x="1469" y="368"/>
                </a:lnTo>
                <a:lnTo>
                  <a:pt x="1468" y="364"/>
                </a:lnTo>
                <a:lnTo>
                  <a:pt x="1467" y="362"/>
                </a:lnTo>
                <a:lnTo>
                  <a:pt x="1467" y="361"/>
                </a:lnTo>
                <a:lnTo>
                  <a:pt x="1466" y="360"/>
                </a:lnTo>
                <a:lnTo>
                  <a:pt x="1465" y="359"/>
                </a:lnTo>
                <a:lnTo>
                  <a:pt x="1462" y="358"/>
                </a:lnTo>
                <a:lnTo>
                  <a:pt x="1460" y="357"/>
                </a:lnTo>
                <a:lnTo>
                  <a:pt x="1459" y="356"/>
                </a:lnTo>
                <a:lnTo>
                  <a:pt x="1458" y="355"/>
                </a:lnTo>
                <a:lnTo>
                  <a:pt x="1453" y="348"/>
                </a:lnTo>
                <a:lnTo>
                  <a:pt x="1452" y="346"/>
                </a:lnTo>
                <a:lnTo>
                  <a:pt x="1450" y="344"/>
                </a:lnTo>
                <a:lnTo>
                  <a:pt x="1450" y="342"/>
                </a:lnTo>
                <a:lnTo>
                  <a:pt x="1450" y="341"/>
                </a:lnTo>
                <a:lnTo>
                  <a:pt x="1452" y="339"/>
                </a:lnTo>
                <a:lnTo>
                  <a:pt x="1455" y="336"/>
                </a:lnTo>
                <a:lnTo>
                  <a:pt x="1457" y="332"/>
                </a:lnTo>
                <a:lnTo>
                  <a:pt x="1458" y="328"/>
                </a:lnTo>
                <a:lnTo>
                  <a:pt x="1461" y="321"/>
                </a:lnTo>
                <a:lnTo>
                  <a:pt x="1464" y="313"/>
                </a:lnTo>
                <a:lnTo>
                  <a:pt x="1467" y="312"/>
                </a:lnTo>
                <a:lnTo>
                  <a:pt x="1468" y="311"/>
                </a:lnTo>
                <a:lnTo>
                  <a:pt x="1467" y="310"/>
                </a:lnTo>
                <a:lnTo>
                  <a:pt x="1465" y="309"/>
                </a:lnTo>
                <a:lnTo>
                  <a:pt x="1463" y="308"/>
                </a:lnTo>
                <a:lnTo>
                  <a:pt x="1461" y="303"/>
                </a:lnTo>
                <a:lnTo>
                  <a:pt x="1460" y="298"/>
                </a:lnTo>
                <a:lnTo>
                  <a:pt x="1458" y="293"/>
                </a:lnTo>
                <a:lnTo>
                  <a:pt x="1450" y="296"/>
                </a:lnTo>
                <a:lnTo>
                  <a:pt x="1441" y="299"/>
                </a:lnTo>
                <a:lnTo>
                  <a:pt x="1440" y="312"/>
                </a:lnTo>
                <a:lnTo>
                  <a:pt x="1438" y="327"/>
                </a:lnTo>
                <a:lnTo>
                  <a:pt x="1433" y="328"/>
                </a:lnTo>
                <a:lnTo>
                  <a:pt x="1431" y="328"/>
                </a:lnTo>
                <a:lnTo>
                  <a:pt x="1430" y="329"/>
                </a:lnTo>
                <a:lnTo>
                  <a:pt x="1430" y="330"/>
                </a:lnTo>
                <a:lnTo>
                  <a:pt x="1430" y="332"/>
                </a:lnTo>
                <a:lnTo>
                  <a:pt x="1430" y="334"/>
                </a:lnTo>
                <a:lnTo>
                  <a:pt x="1430" y="336"/>
                </a:lnTo>
                <a:lnTo>
                  <a:pt x="1430" y="337"/>
                </a:lnTo>
                <a:lnTo>
                  <a:pt x="1430" y="338"/>
                </a:lnTo>
                <a:lnTo>
                  <a:pt x="1426" y="338"/>
                </a:lnTo>
                <a:lnTo>
                  <a:pt x="1422" y="338"/>
                </a:lnTo>
                <a:lnTo>
                  <a:pt x="1421" y="337"/>
                </a:lnTo>
                <a:lnTo>
                  <a:pt x="1422" y="335"/>
                </a:lnTo>
                <a:lnTo>
                  <a:pt x="1423" y="333"/>
                </a:lnTo>
                <a:lnTo>
                  <a:pt x="1424" y="331"/>
                </a:lnTo>
                <a:lnTo>
                  <a:pt x="1424" y="330"/>
                </a:lnTo>
                <a:lnTo>
                  <a:pt x="1423" y="328"/>
                </a:lnTo>
                <a:lnTo>
                  <a:pt x="1422" y="327"/>
                </a:lnTo>
                <a:lnTo>
                  <a:pt x="1420" y="323"/>
                </a:lnTo>
                <a:lnTo>
                  <a:pt x="1418" y="313"/>
                </a:lnTo>
                <a:lnTo>
                  <a:pt x="1416" y="305"/>
                </a:lnTo>
                <a:lnTo>
                  <a:pt x="1415" y="301"/>
                </a:lnTo>
                <a:lnTo>
                  <a:pt x="1413" y="299"/>
                </a:lnTo>
                <a:lnTo>
                  <a:pt x="1411" y="297"/>
                </a:lnTo>
                <a:lnTo>
                  <a:pt x="1408" y="296"/>
                </a:lnTo>
                <a:lnTo>
                  <a:pt x="1403" y="296"/>
                </a:lnTo>
                <a:lnTo>
                  <a:pt x="1397" y="295"/>
                </a:lnTo>
                <a:lnTo>
                  <a:pt x="1394" y="294"/>
                </a:lnTo>
                <a:lnTo>
                  <a:pt x="1391" y="293"/>
                </a:lnTo>
                <a:lnTo>
                  <a:pt x="1382" y="282"/>
                </a:lnTo>
                <a:lnTo>
                  <a:pt x="1381" y="283"/>
                </a:lnTo>
                <a:lnTo>
                  <a:pt x="1382" y="282"/>
                </a:lnTo>
                <a:lnTo>
                  <a:pt x="1386" y="277"/>
                </a:lnTo>
                <a:lnTo>
                  <a:pt x="1392" y="272"/>
                </a:lnTo>
                <a:lnTo>
                  <a:pt x="1396" y="268"/>
                </a:lnTo>
                <a:lnTo>
                  <a:pt x="1398" y="266"/>
                </a:lnTo>
                <a:lnTo>
                  <a:pt x="1398" y="265"/>
                </a:lnTo>
                <a:lnTo>
                  <a:pt x="1397" y="264"/>
                </a:lnTo>
                <a:lnTo>
                  <a:pt x="1396" y="263"/>
                </a:lnTo>
                <a:lnTo>
                  <a:pt x="1391" y="262"/>
                </a:lnTo>
                <a:lnTo>
                  <a:pt x="1389" y="265"/>
                </a:lnTo>
                <a:lnTo>
                  <a:pt x="1389" y="267"/>
                </a:lnTo>
                <a:lnTo>
                  <a:pt x="1388" y="268"/>
                </a:lnTo>
                <a:lnTo>
                  <a:pt x="1385" y="268"/>
                </a:lnTo>
                <a:lnTo>
                  <a:pt x="1386" y="267"/>
                </a:lnTo>
                <a:lnTo>
                  <a:pt x="1386" y="265"/>
                </a:lnTo>
                <a:lnTo>
                  <a:pt x="1387" y="262"/>
                </a:lnTo>
                <a:lnTo>
                  <a:pt x="1387" y="258"/>
                </a:lnTo>
                <a:lnTo>
                  <a:pt x="1388" y="254"/>
                </a:lnTo>
                <a:lnTo>
                  <a:pt x="1392" y="255"/>
                </a:lnTo>
                <a:lnTo>
                  <a:pt x="1396" y="256"/>
                </a:lnTo>
                <a:lnTo>
                  <a:pt x="1405" y="259"/>
                </a:lnTo>
                <a:lnTo>
                  <a:pt x="1405" y="257"/>
                </a:lnTo>
                <a:lnTo>
                  <a:pt x="1405" y="254"/>
                </a:lnTo>
                <a:lnTo>
                  <a:pt x="1406" y="253"/>
                </a:lnTo>
                <a:lnTo>
                  <a:pt x="1406" y="252"/>
                </a:lnTo>
                <a:lnTo>
                  <a:pt x="1407" y="251"/>
                </a:lnTo>
                <a:lnTo>
                  <a:pt x="1406" y="250"/>
                </a:lnTo>
                <a:lnTo>
                  <a:pt x="1405" y="250"/>
                </a:lnTo>
                <a:lnTo>
                  <a:pt x="1402" y="250"/>
                </a:lnTo>
                <a:lnTo>
                  <a:pt x="1400" y="251"/>
                </a:lnTo>
                <a:lnTo>
                  <a:pt x="1399" y="251"/>
                </a:lnTo>
                <a:lnTo>
                  <a:pt x="1399" y="245"/>
                </a:lnTo>
                <a:lnTo>
                  <a:pt x="1394" y="244"/>
                </a:lnTo>
                <a:lnTo>
                  <a:pt x="1390" y="244"/>
                </a:lnTo>
                <a:lnTo>
                  <a:pt x="1388" y="243"/>
                </a:lnTo>
                <a:lnTo>
                  <a:pt x="1387" y="242"/>
                </a:lnTo>
                <a:lnTo>
                  <a:pt x="1386" y="240"/>
                </a:lnTo>
                <a:lnTo>
                  <a:pt x="1384" y="237"/>
                </a:lnTo>
                <a:lnTo>
                  <a:pt x="1381" y="233"/>
                </a:lnTo>
                <a:lnTo>
                  <a:pt x="1379" y="231"/>
                </a:lnTo>
                <a:lnTo>
                  <a:pt x="1377" y="230"/>
                </a:lnTo>
                <a:lnTo>
                  <a:pt x="1374" y="229"/>
                </a:lnTo>
                <a:lnTo>
                  <a:pt x="1369" y="229"/>
                </a:lnTo>
                <a:lnTo>
                  <a:pt x="1364" y="228"/>
                </a:lnTo>
                <a:lnTo>
                  <a:pt x="1362" y="227"/>
                </a:lnTo>
                <a:lnTo>
                  <a:pt x="1360" y="226"/>
                </a:lnTo>
                <a:lnTo>
                  <a:pt x="1329" y="226"/>
                </a:lnTo>
                <a:lnTo>
                  <a:pt x="1326" y="227"/>
                </a:lnTo>
                <a:lnTo>
                  <a:pt x="1322" y="229"/>
                </a:lnTo>
                <a:lnTo>
                  <a:pt x="1318" y="232"/>
                </a:lnTo>
                <a:lnTo>
                  <a:pt x="1315" y="236"/>
                </a:lnTo>
                <a:lnTo>
                  <a:pt x="1313" y="241"/>
                </a:lnTo>
                <a:lnTo>
                  <a:pt x="1312" y="243"/>
                </a:lnTo>
                <a:lnTo>
                  <a:pt x="1311" y="245"/>
                </a:lnTo>
                <a:lnTo>
                  <a:pt x="1311" y="248"/>
                </a:lnTo>
                <a:lnTo>
                  <a:pt x="1312" y="250"/>
                </a:lnTo>
                <a:lnTo>
                  <a:pt x="1313" y="252"/>
                </a:lnTo>
                <a:lnTo>
                  <a:pt x="1315" y="254"/>
                </a:lnTo>
                <a:lnTo>
                  <a:pt x="1313" y="254"/>
                </a:lnTo>
                <a:lnTo>
                  <a:pt x="1310" y="254"/>
                </a:lnTo>
                <a:lnTo>
                  <a:pt x="1306" y="254"/>
                </a:lnTo>
                <a:lnTo>
                  <a:pt x="1306" y="255"/>
                </a:lnTo>
                <a:lnTo>
                  <a:pt x="1305" y="257"/>
                </a:lnTo>
                <a:lnTo>
                  <a:pt x="1303" y="259"/>
                </a:lnTo>
                <a:lnTo>
                  <a:pt x="1308" y="263"/>
                </a:lnTo>
                <a:lnTo>
                  <a:pt x="1312" y="266"/>
                </a:lnTo>
                <a:lnTo>
                  <a:pt x="1316" y="270"/>
                </a:lnTo>
                <a:lnTo>
                  <a:pt x="1320" y="274"/>
                </a:lnTo>
                <a:lnTo>
                  <a:pt x="1318" y="274"/>
                </a:lnTo>
                <a:lnTo>
                  <a:pt x="1316" y="275"/>
                </a:lnTo>
                <a:lnTo>
                  <a:pt x="1314" y="277"/>
                </a:lnTo>
                <a:lnTo>
                  <a:pt x="1314" y="278"/>
                </a:lnTo>
                <a:lnTo>
                  <a:pt x="1314" y="279"/>
                </a:lnTo>
                <a:lnTo>
                  <a:pt x="1314" y="280"/>
                </a:lnTo>
                <a:lnTo>
                  <a:pt x="1315" y="281"/>
                </a:lnTo>
                <a:lnTo>
                  <a:pt x="1318" y="282"/>
                </a:lnTo>
                <a:lnTo>
                  <a:pt x="1323" y="282"/>
                </a:lnTo>
                <a:lnTo>
                  <a:pt x="1322" y="283"/>
                </a:lnTo>
                <a:lnTo>
                  <a:pt x="1322" y="284"/>
                </a:lnTo>
                <a:lnTo>
                  <a:pt x="1323" y="285"/>
                </a:lnTo>
                <a:lnTo>
                  <a:pt x="1326" y="285"/>
                </a:lnTo>
                <a:lnTo>
                  <a:pt x="1325" y="284"/>
                </a:lnTo>
                <a:lnTo>
                  <a:pt x="1324" y="283"/>
                </a:lnTo>
                <a:lnTo>
                  <a:pt x="1324" y="279"/>
                </a:lnTo>
                <a:lnTo>
                  <a:pt x="1324" y="275"/>
                </a:lnTo>
                <a:lnTo>
                  <a:pt x="1325" y="274"/>
                </a:lnTo>
                <a:lnTo>
                  <a:pt x="1326" y="274"/>
                </a:lnTo>
                <a:lnTo>
                  <a:pt x="1328" y="273"/>
                </a:lnTo>
                <a:lnTo>
                  <a:pt x="1330" y="274"/>
                </a:lnTo>
                <a:lnTo>
                  <a:pt x="1332" y="274"/>
                </a:lnTo>
                <a:lnTo>
                  <a:pt x="1334" y="274"/>
                </a:lnTo>
                <a:lnTo>
                  <a:pt x="1339" y="280"/>
                </a:lnTo>
                <a:lnTo>
                  <a:pt x="1344" y="285"/>
                </a:lnTo>
                <a:lnTo>
                  <a:pt x="1345" y="287"/>
                </a:lnTo>
                <a:lnTo>
                  <a:pt x="1347" y="288"/>
                </a:lnTo>
                <a:lnTo>
                  <a:pt x="1351" y="288"/>
                </a:lnTo>
                <a:lnTo>
                  <a:pt x="1354" y="287"/>
                </a:lnTo>
                <a:lnTo>
                  <a:pt x="1359" y="286"/>
                </a:lnTo>
                <a:lnTo>
                  <a:pt x="1374" y="279"/>
                </a:lnTo>
                <a:lnTo>
                  <a:pt x="1374" y="285"/>
                </a:lnTo>
                <a:lnTo>
                  <a:pt x="1368" y="286"/>
                </a:lnTo>
                <a:lnTo>
                  <a:pt x="1365" y="288"/>
                </a:lnTo>
                <a:lnTo>
                  <a:pt x="1362" y="288"/>
                </a:lnTo>
                <a:lnTo>
                  <a:pt x="1362" y="289"/>
                </a:lnTo>
                <a:lnTo>
                  <a:pt x="1362" y="290"/>
                </a:lnTo>
                <a:lnTo>
                  <a:pt x="1362" y="294"/>
                </a:lnTo>
                <a:lnTo>
                  <a:pt x="1362" y="302"/>
                </a:lnTo>
                <a:lnTo>
                  <a:pt x="1357" y="300"/>
                </a:lnTo>
                <a:lnTo>
                  <a:pt x="1354" y="299"/>
                </a:lnTo>
                <a:lnTo>
                  <a:pt x="1352" y="299"/>
                </a:lnTo>
                <a:lnTo>
                  <a:pt x="1350" y="299"/>
                </a:lnTo>
                <a:lnTo>
                  <a:pt x="1346" y="299"/>
                </a:lnTo>
                <a:lnTo>
                  <a:pt x="1345" y="304"/>
                </a:lnTo>
                <a:lnTo>
                  <a:pt x="1344" y="309"/>
                </a:lnTo>
                <a:lnTo>
                  <a:pt x="1343" y="321"/>
                </a:lnTo>
                <a:lnTo>
                  <a:pt x="1350" y="319"/>
                </a:lnTo>
                <a:lnTo>
                  <a:pt x="1353" y="318"/>
                </a:lnTo>
                <a:lnTo>
                  <a:pt x="1357" y="319"/>
                </a:lnTo>
                <a:lnTo>
                  <a:pt x="1356" y="319"/>
                </a:lnTo>
                <a:lnTo>
                  <a:pt x="1356" y="320"/>
                </a:lnTo>
                <a:lnTo>
                  <a:pt x="1357" y="323"/>
                </a:lnTo>
                <a:lnTo>
                  <a:pt x="1360" y="327"/>
                </a:lnTo>
                <a:lnTo>
                  <a:pt x="1353" y="328"/>
                </a:lnTo>
                <a:lnTo>
                  <a:pt x="1349" y="328"/>
                </a:lnTo>
                <a:lnTo>
                  <a:pt x="1346" y="330"/>
                </a:lnTo>
                <a:lnTo>
                  <a:pt x="1346" y="333"/>
                </a:lnTo>
                <a:lnTo>
                  <a:pt x="1333" y="341"/>
                </a:lnTo>
                <a:lnTo>
                  <a:pt x="1327" y="347"/>
                </a:lnTo>
                <a:lnTo>
                  <a:pt x="1321" y="353"/>
                </a:lnTo>
                <a:lnTo>
                  <a:pt x="1318" y="359"/>
                </a:lnTo>
                <a:lnTo>
                  <a:pt x="1317" y="362"/>
                </a:lnTo>
                <a:lnTo>
                  <a:pt x="1317" y="366"/>
                </a:lnTo>
                <a:lnTo>
                  <a:pt x="1317" y="369"/>
                </a:lnTo>
                <a:lnTo>
                  <a:pt x="1319" y="372"/>
                </a:lnTo>
                <a:lnTo>
                  <a:pt x="1322" y="375"/>
                </a:lnTo>
                <a:lnTo>
                  <a:pt x="1326" y="378"/>
                </a:lnTo>
                <a:lnTo>
                  <a:pt x="1326" y="379"/>
                </a:lnTo>
                <a:lnTo>
                  <a:pt x="1325" y="380"/>
                </a:lnTo>
                <a:lnTo>
                  <a:pt x="1323" y="382"/>
                </a:lnTo>
                <a:lnTo>
                  <a:pt x="1323" y="383"/>
                </a:lnTo>
                <a:lnTo>
                  <a:pt x="1316" y="379"/>
                </a:lnTo>
                <a:lnTo>
                  <a:pt x="1309" y="375"/>
                </a:lnTo>
                <a:lnTo>
                  <a:pt x="1305" y="371"/>
                </a:lnTo>
                <a:lnTo>
                  <a:pt x="1302" y="367"/>
                </a:lnTo>
                <a:lnTo>
                  <a:pt x="1301" y="365"/>
                </a:lnTo>
                <a:lnTo>
                  <a:pt x="1300" y="363"/>
                </a:lnTo>
                <a:lnTo>
                  <a:pt x="1299" y="359"/>
                </a:lnTo>
                <a:lnTo>
                  <a:pt x="1298" y="354"/>
                </a:lnTo>
                <a:lnTo>
                  <a:pt x="1298" y="348"/>
                </a:lnTo>
                <a:lnTo>
                  <a:pt x="1298" y="335"/>
                </a:lnTo>
                <a:lnTo>
                  <a:pt x="1296" y="335"/>
                </a:lnTo>
                <a:lnTo>
                  <a:pt x="1295" y="336"/>
                </a:lnTo>
                <a:lnTo>
                  <a:pt x="1294" y="337"/>
                </a:lnTo>
                <a:lnTo>
                  <a:pt x="1292" y="338"/>
                </a:lnTo>
                <a:lnTo>
                  <a:pt x="1293" y="339"/>
                </a:lnTo>
                <a:lnTo>
                  <a:pt x="1294" y="340"/>
                </a:lnTo>
                <a:lnTo>
                  <a:pt x="1293" y="341"/>
                </a:lnTo>
                <a:lnTo>
                  <a:pt x="1289" y="341"/>
                </a:lnTo>
                <a:lnTo>
                  <a:pt x="1285" y="337"/>
                </a:lnTo>
                <a:lnTo>
                  <a:pt x="1281" y="333"/>
                </a:lnTo>
                <a:lnTo>
                  <a:pt x="1277" y="328"/>
                </a:lnTo>
                <a:lnTo>
                  <a:pt x="1272" y="324"/>
                </a:lnTo>
                <a:lnTo>
                  <a:pt x="1270" y="329"/>
                </a:lnTo>
                <a:lnTo>
                  <a:pt x="1267" y="336"/>
                </a:lnTo>
                <a:lnTo>
                  <a:pt x="1266" y="339"/>
                </a:lnTo>
                <a:lnTo>
                  <a:pt x="1266" y="343"/>
                </a:lnTo>
                <a:lnTo>
                  <a:pt x="1267" y="345"/>
                </a:lnTo>
                <a:lnTo>
                  <a:pt x="1267" y="346"/>
                </a:lnTo>
                <a:lnTo>
                  <a:pt x="1268" y="348"/>
                </a:lnTo>
                <a:lnTo>
                  <a:pt x="1270" y="349"/>
                </a:lnTo>
                <a:lnTo>
                  <a:pt x="1261" y="352"/>
                </a:lnTo>
                <a:lnTo>
                  <a:pt x="1254" y="354"/>
                </a:lnTo>
                <a:lnTo>
                  <a:pt x="1250" y="355"/>
                </a:lnTo>
                <a:lnTo>
                  <a:pt x="1246" y="355"/>
                </a:lnTo>
                <a:lnTo>
                  <a:pt x="1241" y="354"/>
                </a:lnTo>
                <a:lnTo>
                  <a:pt x="1236" y="352"/>
                </a:lnTo>
                <a:lnTo>
                  <a:pt x="1233" y="347"/>
                </a:lnTo>
                <a:lnTo>
                  <a:pt x="1229" y="347"/>
                </a:lnTo>
                <a:lnTo>
                  <a:pt x="1226" y="348"/>
                </a:lnTo>
                <a:lnTo>
                  <a:pt x="1220" y="352"/>
                </a:lnTo>
                <a:lnTo>
                  <a:pt x="1215" y="356"/>
                </a:lnTo>
                <a:lnTo>
                  <a:pt x="1211" y="357"/>
                </a:lnTo>
                <a:lnTo>
                  <a:pt x="1208" y="358"/>
                </a:lnTo>
                <a:lnTo>
                  <a:pt x="1205" y="352"/>
                </a:lnTo>
                <a:lnTo>
                  <a:pt x="1200" y="352"/>
                </a:lnTo>
                <a:lnTo>
                  <a:pt x="1196" y="352"/>
                </a:lnTo>
                <a:lnTo>
                  <a:pt x="1194" y="352"/>
                </a:lnTo>
                <a:lnTo>
                  <a:pt x="1192" y="352"/>
                </a:lnTo>
                <a:lnTo>
                  <a:pt x="1189" y="351"/>
                </a:lnTo>
                <a:lnTo>
                  <a:pt x="1185" y="349"/>
                </a:lnTo>
                <a:lnTo>
                  <a:pt x="1183" y="347"/>
                </a:lnTo>
                <a:lnTo>
                  <a:pt x="1180" y="343"/>
                </a:lnTo>
                <a:lnTo>
                  <a:pt x="1177" y="340"/>
                </a:lnTo>
                <a:lnTo>
                  <a:pt x="1176" y="339"/>
                </a:lnTo>
                <a:lnTo>
                  <a:pt x="1174" y="338"/>
                </a:lnTo>
                <a:lnTo>
                  <a:pt x="1173" y="338"/>
                </a:lnTo>
                <a:lnTo>
                  <a:pt x="1172" y="339"/>
                </a:lnTo>
                <a:lnTo>
                  <a:pt x="1170" y="340"/>
                </a:lnTo>
                <a:lnTo>
                  <a:pt x="1168" y="342"/>
                </a:lnTo>
                <a:lnTo>
                  <a:pt x="1167" y="343"/>
                </a:lnTo>
                <a:lnTo>
                  <a:pt x="1166" y="344"/>
                </a:lnTo>
                <a:lnTo>
                  <a:pt x="1166" y="341"/>
                </a:lnTo>
                <a:lnTo>
                  <a:pt x="1163" y="344"/>
                </a:lnTo>
                <a:lnTo>
                  <a:pt x="1159" y="345"/>
                </a:lnTo>
                <a:lnTo>
                  <a:pt x="1158" y="345"/>
                </a:lnTo>
                <a:lnTo>
                  <a:pt x="1157" y="344"/>
                </a:lnTo>
                <a:lnTo>
                  <a:pt x="1158" y="342"/>
                </a:lnTo>
                <a:lnTo>
                  <a:pt x="1160" y="338"/>
                </a:lnTo>
                <a:lnTo>
                  <a:pt x="1160" y="337"/>
                </a:lnTo>
                <a:lnTo>
                  <a:pt x="1160" y="335"/>
                </a:lnTo>
                <a:lnTo>
                  <a:pt x="1158" y="335"/>
                </a:lnTo>
                <a:lnTo>
                  <a:pt x="1156" y="334"/>
                </a:lnTo>
                <a:lnTo>
                  <a:pt x="1153" y="334"/>
                </a:lnTo>
                <a:lnTo>
                  <a:pt x="1152" y="333"/>
                </a:lnTo>
                <a:lnTo>
                  <a:pt x="1149" y="334"/>
                </a:lnTo>
                <a:lnTo>
                  <a:pt x="1149" y="336"/>
                </a:lnTo>
                <a:lnTo>
                  <a:pt x="1147" y="337"/>
                </a:lnTo>
                <a:lnTo>
                  <a:pt x="1145" y="338"/>
                </a:lnTo>
                <a:lnTo>
                  <a:pt x="1143" y="338"/>
                </a:lnTo>
                <a:lnTo>
                  <a:pt x="1141" y="332"/>
                </a:lnTo>
                <a:lnTo>
                  <a:pt x="1139" y="325"/>
                </a:lnTo>
                <a:lnTo>
                  <a:pt x="1135" y="313"/>
                </a:lnTo>
                <a:lnTo>
                  <a:pt x="1109" y="314"/>
                </a:lnTo>
                <a:lnTo>
                  <a:pt x="1084" y="316"/>
                </a:lnTo>
                <a:lnTo>
                  <a:pt x="1081" y="323"/>
                </a:lnTo>
                <a:lnTo>
                  <a:pt x="1080" y="329"/>
                </a:lnTo>
                <a:lnTo>
                  <a:pt x="1078" y="335"/>
                </a:lnTo>
                <a:lnTo>
                  <a:pt x="1076" y="341"/>
                </a:lnTo>
                <a:lnTo>
                  <a:pt x="1080" y="339"/>
                </a:lnTo>
                <a:lnTo>
                  <a:pt x="1084" y="338"/>
                </a:lnTo>
                <a:lnTo>
                  <a:pt x="1083" y="339"/>
                </a:lnTo>
                <a:lnTo>
                  <a:pt x="1083" y="340"/>
                </a:lnTo>
                <a:lnTo>
                  <a:pt x="1085" y="341"/>
                </a:lnTo>
                <a:lnTo>
                  <a:pt x="1090" y="341"/>
                </a:lnTo>
                <a:lnTo>
                  <a:pt x="1087" y="333"/>
                </a:lnTo>
                <a:lnTo>
                  <a:pt x="1089" y="332"/>
                </a:lnTo>
                <a:lnTo>
                  <a:pt x="1090" y="333"/>
                </a:lnTo>
                <a:lnTo>
                  <a:pt x="1092" y="334"/>
                </a:lnTo>
                <a:lnTo>
                  <a:pt x="1094" y="335"/>
                </a:lnTo>
                <a:lnTo>
                  <a:pt x="1096" y="336"/>
                </a:lnTo>
                <a:lnTo>
                  <a:pt x="1098" y="335"/>
                </a:lnTo>
                <a:lnTo>
                  <a:pt x="1104" y="327"/>
                </a:lnTo>
                <a:lnTo>
                  <a:pt x="1107" y="328"/>
                </a:lnTo>
                <a:lnTo>
                  <a:pt x="1110" y="329"/>
                </a:lnTo>
                <a:lnTo>
                  <a:pt x="1113" y="330"/>
                </a:lnTo>
                <a:lnTo>
                  <a:pt x="1118" y="330"/>
                </a:lnTo>
                <a:lnTo>
                  <a:pt x="1099" y="342"/>
                </a:lnTo>
                <a:lnTo>
                  <a:pt x="1081" y="355"/>
                </a:lnTo>
                <a:lnTo>
                  <a:pt x="1082" y="359"/>
                </a:lnTo>
                <a:lnTo>
                  <a:pt x="1084" y="362"/>
                </a:lnTo>
                <a:lnTo>
                  <a:pt x="1087" y="366"/>
                </a:lnTo>
                <a:lnTo>
                  <a:pt x="1087" y="368"/>
                </a:lnTo>
                <a:lnTo>
                  <a:pt x="1087" y="370"/>
                </a:lnTo>
                <a:lnTo>
                  <a:pt x="1086" y="371"/>
                </a:lnTo>
                <a:lnTo>
                  <a:pt x="1085" y="371"/>
                </a:lnTo>
                <a:lnTo>
                  <a:pt x="1084" y="373"/>
                </a:lnTo>
                <a:lnTo>
                  <a:pt x="1084" y="375"/>
                </a:lnTo>
                <a:lnTo>
                  <a:pt x="1087" y="377"/>
                </a:lnTo>
                <a:lnTo>
                  <a:pt x="1088" y="379"/>
                </a:lnTo>
                <a:lnTo>
                  <a:pt x="1090" y="380"/>
                </a:lnTo>
                <a:lnTo>
                  <a:pt x="1092" y="380"/>
                </a:lnTo>
                <a:lnTo>
                  <a:pt x="1093" y="381"/>
                </a:lnTo>
                <a:lnTo>
                  <a:pt x="1092" y="382"/>
                </a:lnTo>
                <a:lnTo>
                  <a:pt x="1091" y="383"/>
                </a:lnTo>
                <a:lnTo>
                  <a:pt x="1089" y="384"/>
                </a:lnTo>
                <a:lnTo>
                  <a:pt x="1088" y="384"/>
                </a:lnTo>
                <a:lnTo>
                  <a:pt x="1087" y="383"/>
                </a:lnTo>
                <a:lnTo>
                  <a:pt x="1084" y="392"/>
                </a:lnTo>
                <a:lnTo>
                  <a:pt x="1082" y="390"/>
                </a:lnTo>
                <a:lnTo>
                  <a:pt x="1080" y="389"/>
                </a:lnTo>
                <a:lnTo>
                  <a:pt x="1077" y="388"/>
                </a:lnTo>
                <a:lnTo>
                  <a:pt x="1076" y="386"/>
                </a:lnTo>
                <a:lnTo>
                  <a:pt x="1075" y="383"/>
                </a:lnTo>
                <a:lnTo>
                  <a:pt x="1074" y="379"/>
                </a:lnTo>
                <a:lnTo>
                  <a:pt x="1073" y="369"/>
                </a:lnTo>
                <a:lnTo>
                  <a:pt x="1073" y="365"/>
                </a:lnTo>
                <a:lnTo>
                  <a:pt x="1072" y="363"/>
                </a:lnTo>
                <a:lnTo>
                  <a:pt x="1071" y="363"/>
                </a:lnTo>
                <a:lnTo>
                  <a:pt x="1070" y="366"/>
                </a:lnTo>
                <a:lnTo>
                  <a:pt x="1067" y="375"/>
                </a:lnTo>
                <a:lnTo>
                  <a:pt x="1064" y="364"/>
                </a:lnTo>
                <a:lnTo>
                  <a:pt x="1061" y="352"/>
                </a:lnTo>
                <a:lnTo>
                  <a:pt x="1056" y="353"/>
                </a:lnTo>
                <a:lnTo>
                  <a:pt x="1052" y="353"/>
                </a:lnTo>
                <a:lnTo>
                  <a:pt x="1050" y="352"/>
                </a:lnTo>
                <a:lnTo>
                  <a:pt x="1048" y="350"/>
                </a:lnTo>
                <a:lnTo>
                  <a:pt x="1047" y="347"/>
                </a:lnTo>
                <a:lnTo>
                  <a:pt x="1046" y="344"/>
                </a:lnTo>
                <a:lnTo>
                  <a:pt x="1045" y="341"/>
                </a:lnTo>
                <a:lnTo>
                  <a:pt x="1037" y="347"/>
                </a:lnTo>
                <a:lnTo>
                  <a:pt x="1034" y="350"/>
                </a:lnTo>
                <a:lnTo>
                  <a:pt x="1031" y="352"/>
                </a:lnTo>
                <a:lnTo>
                  <a:pt x="1028" y="353"/>
                </a:lnTo>
                <a:lnTo>
                  <a:pt x="1027" y="353"/>
                </a:lnTo>
                <a:lnTo>
                  <a:pt x="1028" y="352"/>
                </a:lnTo>
                <a:lnTo>
                  <a:pt x="1029" y="351"/>
                </a:lnTo>
                <a:lnTo>
                  <a:pt x="1029" y="350"/>
                </a:lnTo>
                <a:lnTo>
                  <a:pt x="1028" y="349"/>
                </a:lnTo>
                <a:lnTo>
                  <a:pt x="1023" y="349"/>
                </a:lnTo>
                <a:lnTo>
                  <a:pt x="1017" y="351"/>
                </a:lnTo>
                <a:lnTo>
                  <a:pt x="1002" y="355"/>
                </a:lnTo>
                <a:lnTo>
                  <a:pt x="994" y="357"/>
                </a:lnTo>
                <a:lnTo>
                  <a:pt x="987" y="359"/>
                </a:lnTo>
                <a:lnTo>
                  <a:pt x="979" y="359"/>
                </a:lnTo>
                <a:lnTo>
                  <a:pt x="975" y="359"/>
                </a:lnTo>
                <a:lnTo>
                  <a:pt x="971" y="358"/>
                </a:lnTo>
                <a:lnTo>
                  <a:pt x="969" y="357"/>
                </a:lnTo>
                <a:lnTo>
                  <a:pt x="968" y="354"/>
                </a:lnTo>
                <a:lnTo>
                  <a:pt x="967" y="351"/>
                </a:lnTo>
                <a:lnTo>
                  <a:pt x="966" y="348"/>
                </a:lnTo>
                <a:lnTo>
                  <a:pt x="966" y="345"/>
                </a:lnTo>
                <a:lnTo>
                  <a:pt x="967" y="343"/>
                </a:lnTo>
                <a:lnTo>
                  <a:pt x="968" y="342"/>
                </a:lnTo>
                <a:lnTo>
                  <a:pt x="969" y="341"/>
                </a:lnTo>
                <a:lnTo>
                  <a:pt x="971" y="341"/>
                </a:lnTo>
                <a:lnTo>
                  <a:pt x="970" y="340"/>
                </a:lnTo>
                <a:lnTo>
                  <a:pt x="969" y="339"/>
                </a:lnTo>
                <a:lnTo>
                  <a:pt x="969" y="337"/>
                </a:lnTo>
                <a:lnTo>
                  <a:pt x="969" y="335"/>
                </a:lnTo>
                <a:lnTo>
                  <a:pt x="977" y="336"/>
                </a:lnTo>
                <a:lnTo>
                  <a:pt x="981" y="336"/>
                </a:lnTo>
                <a:lnTo>
                  <a:pt x="986" y="335"/>
                </a:lnTo>
                <a:lnTo>
                  <a:pt x="981" y="330"/>
                </a:lnTo>
                <a:lnTo>
                  <a:pt x="975" y="323"/>
                </a:lnTo>
                <a:lnTo>
                  <a:pt x="971" y="319"/>
                </a:lnTo>
                <a:lnTo>
                  <a:pt x="968" y="316"/>
                </a:lnTo>
                <a:lnTo>
                  <a:pt x="965" y="314"/>
                </a:lnTo>
                <a:lnTo>
                  <a:pt x="963" y="313"/>
                </a:lnTo>
                <a:lnTo>
                  <a:pt x="960" y="312"/>
                </a:lnTo>
                <a:lnTo>
                  <a:pt x="957" y="312"/>
                </a:lnTo>
                <a:lnTo>
                  <a:pt x="955" y="313"/>
                </a:lnTo>
                <a:lnTo>
                  <a:pt x="954" y="313"/>
                </a:lnTo>
                <a:lnTo>
                  <a:pt x="952" y="315"/>
                </a:lnTo>
                <a:lnTo>
                  <a:pt x="951" y="317"/>
                </a:lnTo>
                <a:lnTo>
                  <a:pt x="950" y="319"/>
                </a:lnTo>
                <a:lnTo>
                  <a:pt x="948" y="321"/>
                </a:lnTo>
                <a:lnTo>
                  <a:pt x="944" y="322"/>
                </a:lnTo>
                <a:lnTo>
                  <a:pt x="941" y="322"/>
                </a:lnTo>
                <a:lnTo>
                  <a:pt x="938" y="321"/>
                </a:lnTo>
                <a:lnTo>
                  <a:pt x="936" y="321"/>
                </a:lnTo>
                <a:lnTo>
                  <a:pt x="934" y="320"/>
                </a:lnTo>
                <a:lnTo>
                  <a:pt x="930" y="317"/>
                </a:lnTo>
                <a:lnTo>
                  <a:pt x="924" y="313"/>
                </a:lnTo>
                <a:lnTo>
                  <a:pt x="918" y="312"/>
                </a:lnTo>
                <a:lnTo>
                  <a:pt x="913" y="312"/>
                </a:lnTo>
                <a:lnTo>
                  <a:pt x="908" y="312"/>
                </a:lnTo>
                <a:lnTo>
                  <a:pt x="906" y="311"/>
                </a:lnTo>
                <a:lnTo>
                  <a:pt x="904" y="310"/>
                </a:lnTo>
                <a:lnTo>
                  <a:pt x="903" y="309"/>
                </a:lnTo>
                <a:lnTo>
                  <a:pt x="903" y="308"/>
                </a:lnTo>
                <a:lnTo>
                  <a:pt x="903" y="306"/>
                </a:lnTo>
                <a:lnTo>
                  <a:pt x="903" y="303"/>
                </a:lnTo>
                <a:lnTo>
                  <a:pt x="902" y="302"/>
                </a:lnTo>
                <a:lnTo>
                  <a:pt x="901" y="302"/>
                </a:lnTo>
                <a:lnTo>
                  <a:pt x="899" y="301"/>
                </a:lnTo>
                <a:lnTo>
                  <a:pt x="898" y="301"/>
                </a:lnTo>
                <a:lnTo>
                  <a:pt x="896" y="302"/>
                </a:lnTo>
                <a:lnTo>
                  <a:pt x="895" y="304"/>
                </a:lnTo>
                <a:lnTo>
                  <a:pt x="894" y="304"/>
                </a:lnTo>
                <a:lnTo>
                  <a:pt x="893" y="304"/>
                </a:lnTo>
                <a:lnTo>
                  <a:pt x="887" y="299"/>
                </a:lnTo>
                <a:lnTo>
                  <a:pt x="881" y="296"/>
                </a:lnTo>
                <a:lnTo>
                  <a:pt x="875" y="293"/>
                </a:lnTo>
                <a:lnTo>
                  <a:pt x="860" y="286"/>
                </a:lnTo>
                <a:lnTo>
                  <a:pt x="852" y="283"/>
                </a:lnTo>
                <a:lnTo>
                  <a:pt x="844" y="281"/>
                </a:lnTo>
                <a:lnTo>
                  <a:pt x="840" y="281"/>
                </a:lnTo>
                <a:lnTo>
                  <a:pt x="836" y="281"/>
                </a:lnTo>
                <a:lnTo>
                  <a:pt x="832" y="281"/>
                </a:lnTo>
                <a:lnTo>
                  <a:pt x="828" y="282"/>
                </a:lnTo>
                <a:lnTo>
                  <a:pt x="828" y="288"/>
                </a:lnTo>
                <a:lnTo>
                  <a:pt x="819" y="292"/>
                </a:lnTo>
                <a:lnTo>
                  <a:pt x="810" y="296"/>
                </a:lnTo>
                <a:lnTo>
                  <a:pt x="808" y="288"/>
                </a:lnTo>
                <a:lnTo>
                  <a:pt x="806" y="280"/>
                </a:lnTo>
                <a:lnTo>
                  <a:pt x="805" y="273"/>
                </a:lnTo>
                <a:lnTo>
                  <a:pt x="805" y="268"/>
                </a:lnTo>
                <a:lnTo>
                  <a:pt x="803" y="270"/>
                </a:lnTo>
                <a:lnTo>
                  <a:pt x="802" y="271"/>
                </a:lnTo>
                <a:lnTo>
                  <a:pt x="799" y="274"/>
                </a:lnTo>
                <a:lnTo>
                  <a:pt x="800" y="274"/>
                </a:lnTo>
                <a:lnTo>
                  <a:pt x="801" y="277"/>
                </a:lnTo>
                <a:lnTo>
                  <a:pt x="801" y="280"/>
                </a:lnTo>
                <a:lnTo>
                  <a:pt x="800" y="284"/>
                </a:lnTo>
                <a:lnTo>
                  <a:pt x="796" y="299"/>
                </a:lnTo>
                <a:lnTo>
                  <a:pt x="790" y="299"/>
                </a:lnTo>
                <a:lnTo>
                  <a:pt x="784" y="294"/>
                </a:lnTo>
                <a:lnTo>
                  <a:pt x="774" y="285"/>
                </a:lnTo>
                <a:lnTo>
                  <a:pt x="769" y="281"/>
                </a:lnTo>
                <a:lnTo>
                  <a:pt x="764" y="276"/>
                </a:lnTo>
                <a:lnTo>
                  <a:pt x="761" y="273"/>
                </a:lnTo>
                <a:lnTo>
                  <a:pt x="760" y="271"/>
                </a:lnTo>
                <a:lnTo>
                  <a:pt x="760" y="265"/>
                </a:lnTo>
                <a:lnTo>
                  <a:pt x="754" y="265"/>
                </a:lnTo>
                <a:lnTo>
                  <a:pt x="754" y="262"/>
                </a:lnTo>
                <a:lnTo>
                  <a:pt x="750" y="260"/>
                </a:lnTo>
                <a:lnTo>
                  <a:pt x="746" y="257"/>
                </a:lnTo>
                <a:lnTo>
                  <a:pt x="738" y="251"/>
                </a:lnTo>
                <a:lnTo>
                  <a:pt x="731" y="244"/>
                </a:lnTo>
                <a:lnTo>
                  <a:pt x="723" y="237"/>
                </a:lnTo>
                <a:lnTo>
                  <a:pt x="720" y="251"/>
                </a:lnTo>
                <a:lnTo>
                  <a:pt x="722" y="251"/>
                </a:lnTo>
                <a:lnTo>
                  <a:pt x="723" y="252"/>
                </a:lnTo>
                <a:lnTo>
                  <a:pt x="723" y="253"/>
                </a:lnTo>
                <a:lnTo>
                  <a:pt x="723" y="254"/>
                </a:lnTo>
                <a:lnTo>
                  <a:pt x="723" y="255"/>
                </a:lnTo>
                <a:lnTo>
                  <a:pt x="723" y="256"/>
                </a:lnTo>
                <a:lnTo>
                  <a:pt x="721" y="257"/>
                </a:lnTo>
                <a:lnTo>
                  <a:pt x="720" y="257"/>
                </a:lnTo>
                <a:lnTo>
                  <a:pt x="716" y="267"/>
                </a:lnTo>
                <a:lnTo>
                  <a:pt x="713" y="273"/>
                </a:lnTo>
                <a:lnTo>
                  <a:pt x="712" y="275"/>
                </a:lnTo>
                <a:lnTo>
                  <a:pt x="712" y="276"/>
                </a:lnTo>
                <a:lnTo>
                  <a:pt x="710" y="276"/>
                </a:lnTo>
                <a:lnTo>
                  <a:pt x="707" y="275"/>
                </a:lnTo>
                <a:lnTo>
                  <a:pt x="704" y="274"/>
                </a:lnTo>
                <a:lnTo>
                  <a:pt x="700" y="274"/>
                </a:lnTo>
                <a:lnTo>
                  <a:pt x="696" y="275"/>
                </a:lnTo>
                <a:lnTo>
                  <a:pt x="693" y="277"/>
                </a:lnTo>
                <a:lnTo>
                  <a:pt x="692" y="278"/>
                </a:lnTo>
                <a:lnTo>
                  <a:pt x="691" y="279"/>
                </a:lnTo>
                <a:lnTo>
                  <a:pt x="689" y="282"/>
                </a:lnTo>
                <a:lnTo>
                  <a:pt x="686" y="290"/>
                </a:lnTo>
                <a:lnTo>
                  <a:pt x="684" y="299"/>
                </a:lnTo>
                <a:lnTo>
                  <a:pt x="681" y="299"/>
                </a:lnTo>
                <a:lnTo>
                  <a:pt x="682" y="299"/>
                </a:lnTo>
                <a:lnTo>
                  <a:pt x="682" y="298"/>
                </a:lnTo>
                <a:lnTo>
                  <a:pt x="681" y="296"/>
                </a:lnTo>
                <a:lnTo>
                  <a:pt x="678" y="293"/>
                </a:lnTo>
                <a:lnTo>
                  <a:pt x="674" y="296"/>
                </a:lnTo>
                <a:lnTo>
                  <a:pt x="672" y="298"/>
                </a:lnTo>
                <a:lnTo>
                  <a:pt x="671" y="298"/>
                </a:lnTo>
                <a:lnTo>
                  <a:pt x="670" y="299"/>
                </a:lnTo>
                <a:lnTo>
                  <a:pt x="670" y="293"/>
                </a:lnTo>
                <a:lnTo>
                  <a:pt x="660" y="297"/>
                </a:lnTo>
                <a:lnTo>
                  <a:pt x="656" y="300"/>
                </a:lnTo>
                <a:lnTo>
                  <a:pt x="653" y="302"/>
                </a:lnTo>
                <a:lnTo>
                  <a:pt x="647" y="319"/>
                </a:lnTo>
                <a:lnTo>
                  <a:pt x="646" y="319"/>
                </a:lnTo>
                <a:lnTo>
                  <a:pt x="644" y="320"/>
                </a:lnTo>
                <a:lnTo>
                  <a:pt x="641" y="320"/>
                </a:lnTo>
                <a:lnTo>
                  <a:pt x="638" y="320"/>
                </a:lnTo>
                <a:lnTo>
                  <a:pt x="637" y="321"/>
                </a:lnTo>
                <a:lnTo>
                  <a:pt x="636" y="321"/>
                </a:lnTo>
                <a:lnTo>
                  <a:pt x="635" y="321"/>
                </a:lnTo>
                <a:lnTo>
                  <a:pt x="635" y="320"/>
                </a:lnTo>
                <a:lnTo>
                  <a:pt x="636" y="318"/>
                </a:lnTo>
                <a:lnTo>
                  <a:pt x="633" y="319"/>
                </a:lnTo>
                <a:lnTo>
                  <a:pt x="643" y="301"/>
                </a:lnTo>
                <a:lnTo>
                  <a:pt x="649" y="290"/>
                </a:lnTo>
                <a:lnTo>
                  <a:pt x="653" y="285"/>
                </a:lnTo>
                <a:lnTo>
                  <a:pt x="656" y="283"/>
                </a:lnTo>
                <a:lnTo>
                  <a:pt x="660" y="282"/>
                </a:lnTo>
                <a:lnTo>
                  <a:pt x="668" y="281"/>
                </a:lnTo>
                <a:lnTo>
                  <a:pt x="676" y="280"/>
                </a:lnTo>
                <a:lnTo>
                  <a:pt x="680" y="278"/>
                </a:lnTo>
                <a:lnTo>
                  <a:pt x="684" y="276"/>
                </a:lnTo>
                <a:lnTo>
                  <a:pt x="691" y="271"/>
                </a:lnTo>
                <a:lnTo>
                  <a:pt x="696" y="268"/>
                </a:lnTo>
                <a:lnTo>
                  <a:pt x="698" y="265"/>
                </a:lnTo>
                <a:lnTo>
                  <a:pt x="698" y="264"/>
                </a:lnTo>
                <a:lnTo>
                  <a:pt x="697" y="263"/>
                </a:lnTo>
                <a:lnTo>
                  <a:pt x="694" y="262"/>
                </a:lnTo>
                <a:lnTo>
                  <a:pt x="690" y="261"/>
                </a:lnTo>
                <a:lnTo>
                  <a:pt x="675" y="259"/>
                </a:lnTo>
                <a:lnTo>
                  <a:pt x="673" y="264"/>
                </a:lnTo>
                <a:lnTo>
                  <a:pt x="672" y="268"/>
                </a:lnTo>
                <a:lnTo>
                  <a:pt x="671" y="272"/>
                </a:lnTo>
                <a:lnTo>
                  <a:pt x="670" y="276"/>
                </a:lnTo>
                <a:lnTo>
                  <a:pt x="668" y="276"/>
                </a:lnTo>
                <a:lnTo>
                  <a:pt x="667" y="275"/>
                </a:lnTo>
                <a:lnTo>
                  <a:pt x="665" y="273"/>
                </a:lnTo>
                <a:lnTo>
                  <a:pt x="661" y="271"/>
                </a:lnTo>
                <a:lnTo>
                  <a:pt x="656" y="272"/>
                </a:lnTo>
                <a:lnTo>
                  <a:pt x="648" y="275"/>
                </a:lnTo>
                <a:lnTo>
                  <a:pt x="636" y="279"/>
                </a:lnTo>
                <a:lnTo>
                  <a:pt x="635" y="281"/>
                </a:lnTo>
                <a:lnTo>
                  <a:pt x="635" y="282"/>
                </a:lnTo>
                <a:lnTo>
                  <a:pt x="635" y="285"/>
                </a:lnTo>
                <a:lnTo>
                  <a:pt x="635" y="288"/>
                </a:lnTo>
                <a:lnTo>
                  <a:pt x="634" y="289"/>
                </a:lnTo>
                <a:lnTo>
                  <a:pt x="633" y="290"/>
                </a:lnTo>
                <a:lnTo>
                  <a:pt x="630" y="291"/>
                </a:lnTo>
                <a:lnTo>
                  <a:pt x="627" y="292"/>
                </a:lnTo>
                <a:lnTo>
                  <a:pt x="624" y="292"/>
                </a:lnTo>
                <a:lnTo>
                  <a:pt x="622" y="293"/>
                </a:lnTo>
                <a:lnTo>
                  <a:pt x="621" y="292"/>
                </a:lnTo>
                <a:lnTo>
                  <a:pt x="621" y="289"/>
                </a:lnTo>
                <a:lnTo>
                  <a:pt x="622" y="285"/>
                </a:lnTo>
                <a:lnTo>
                  <a:pt x="618" y="283"/>
                </a:lnTo>
                <a:lnTo>
                  <a:pt x="615" y="282"/>
                </a:lnTo>
                <a:lnTo>
                  <a:pt x="613" y="281"/>
                </a:lnTo>
                <a:lnTo>
                  <a:pt x="610" y="279"/>
                </a:lnTo>
                <a:lnTo>
                  <a:pt x="610" y="282"/>
                </a:lnTo>
                <a:lnTo>
                  <a:pt x="609" y="284"/>
                </a:lnTo>
                <a:lnTo>
                  <a:pt x="609" y="288"/>
                </a:lnTo>
                <a:lnTo>
                  <a:pt x="609" y="292"/>
                </a:lnTo>
                <a:lnTo>
                  <a:pt x="608" y="296"/>
                </a:lnTo>
                <a:lnTo>
                  <a:pt x="607" y="297"/>
                </a:lnTo>
                <a:lnTo>
                  <a:pt x="606" y="297"/>
                </a:lnTo>
                <a:lnTo>
                  <a:pt x="605" y="296"/>
                </a:lnTo>
                <a:lnTo>
                  <a:pt x="605" y="294"/>
                </a:lnTo>
                <a:lnTo>
                  <a:pt x="605" y="293"/>
                </a:lnTo>
                <a:lnTo>
                  <a:pt x="602" y="293"/>
                </a:lnTo>
                <a:lnTo>
                  <a:pt x="600" y="293"/>
                </a:lnTo>
                <a:lnTo>
                  <a:pt x="599" y="294"/>
                </a:lnTo>
                <a:lnTo>
                  <a:pt x="599" y="296"/>
                </a:lnTo>
                <a:lnTo>
                  <a:pt x="600" y="299"/>
                </a:lnTo>
                <a:lnTo>
                  <a:pt x="600" y="301"/>
                </a:lnTo>
                <a:lnTo>
                  <a:pt x="599" y="302"/>
                </a:lnTo>
                <a:lnTo>
                  <a:pt x="596" y="302"/>
                </a:lnTo>
                <a:lnTo>
                  <a:pt x="592" y="301"/>
                </a:lnTo>
                <a:lnTo>
                  <a:pt x="587" y="300"/>
                </a:lnTo>
                <a:lnTo>
                  <a:pt x="582" y="299"/>
                </a:lnTo>
                <a:lnTo>
                  <a:pt x="582" y="301"/>
                </a:lnTo>
                <a:lnTo>
                  <a:pt x="582" y="303"/>
                </a:lnTo>
                <a:lnTo>
                  <a:pt x="582" y="304"/>
                </a:lnTo>
                <a:lnTo>
                  <a:pt x="583" y="304"/>
                </a:lnTo>
                <a:lnTo>
                  <a:pt x="585" y="304"/>
                </a:lnTo>
                <a:lnTo>
                  <a:pt x="585" y="307"/>
                </a:lnTo>
                <a:lnTo>
                  <a:pt x="589" y="308"/>
                </a:lnTo>
                <a:lnTo>
                  <a:pt x="591" y="310"/>
                </a:lnTo>
                <a:lnTo>
                  <a:pt x="593" y="313"/>
                </a:lnTo>
                <a:lnTo>
                  <a:pt x="593" y="314"/>
                </a:lnTo>
                <a:lnTo>
                  <a:pt x="593" y="315"/>
                </a:lnTo>
                <a:lnTo>
                  <a:pt x="591" y="316"/>
                </a:lnTo>
                <a:lnTo>
                  <a:pt x="590" y="316"/>
                </a:lnTo>
                <a:lnTo>
                  <a:pt x="588" y="316"/>
                </a:lnTo>
                <a:lnTo>
                  <a:pt x="585" y="316"/>
                </a:lnTo>
                <a:lnTo>
                  <a:pt x="582" y="307"/>
                </a:lnTo>
                <a:lnTo>
                  <a:pt x="581" y="306"/>
                </a:lnTo>
                <a:lnTo>
                  <a:pt x="579" y="306"/>
                </a:lnTo>
                <a:lnTo>
                  <a:pt x="576" y="305"/>
                </a:lnTo>
                <a:lnTo>
                  <a:pt x="572" y="305"/>
                </a:lnTo>
                <a:lnTo>
                  <a:pt x="571" y="305"/>
                </a:lnTo>
                <a:lnTo>
                  <a:pt x="568" y="304"/>
                </a:lnTo>
                <a:lnTo>
                  <a:pt x="565" y="299"/>
                </a:lnTo>
                <a:lnTo>
                  <a:pt x="544" y="291"/>
                </a:lnTo>
                <a:lnTo>
                  <a:pt x="534" y="287"/>
                </a:lnTo>
                <a:lnTo>
                  <a:pt x="530" y="285"/>
                </a:lnTo>
                <a:lnTo>
                  <a:pt x="526" y="282"/>
                </a:lnTo>
                <a:lnTo>
                  <a:pt x="525" y="279"/>
                </a:lnTo>
                <a:lnTo>
                  <a:pt x="523" y="276"/>
                </a:lnTo>
                <a:lnTo>
                  <a:pt x="519" y="276"/>
                </a:lnTo>
                <a:lnTo>
                  <a:pt x="516" y="276"/>
                </a:lnTo>
                <a:lnTo>
                  <a:pt x="513" y="276"/>
                </a:lnTo>
                <a:lnTo>
                  <a:pt x="510" y="277"/>
                </a:lnTo>
                <a:lnTo>
                  <a:pt x="508" y="278"/>
                </a:lnTo>
                <a:lnTo>
                  <a:pt x="505" y="279"/>
                </a:lnTo>
                <a:lnTo>
                  <a:pt x="502" y="279"/>
                </a:lnTo>
                <a:lnTo>
                  <a:pt x="498" y="279"/>
                </a:lnTo>
                <a:lnTo>
                  <a:pt x="494" y="278"/>
                </a:lnTo>
                <a:lnTo>
                  <a:pt x="489" y="277"/>
                </a:lnTo>
                <a:lnTo>
                  <a:pt x="480" y="272"/>
                </a:lnTo>
                <a:lnTo>
                  <a:pt x="472" y="268"/>
                </a:lnTo>
                <a:lnTo>
                  <a:pt x="463" y="265"/>
                </a:lnTo>
                <a:lnTo>
                  <a:pt x="459" y="263"/>
                </a:lnTo>
                <a:lnTo>
                  <a:pt x="454" y="262"/>
                </a:lnTo>
                <a:lnTo>
                  <a:pt x="449" y="262"/>
                </a:lnTo>
                <a:lnTo>
                  <a:pt x="445" y="262"/>
                </a:lnTo>
                <a:lnTo>
                  <a:pt x="445" y="271"/>
                </a:lnTo>
                <a:lnTo>
                  <a:pt x="435" y="271"/>
                </a:lnTo>
                <a:lnTo>
                  <a:pt x="428" y="271"/>
                </a:lnTo>
                <a:lnTo>
                  <a:pt x="425" y="265"/>
                </a:lnTo>
                <a:lnTo>
                  <a:pt x="414" y="265"/>
                </a:lnTo>
                <a:lnTo>
                  <a:pt x="402" y="265"/>
                </a:lnTo>
                <a:lnTo>
                  <a:pt x="402" y="259"/>
                </a:lnTo>
                <a:lnTo>
                  <a:pt x="398" y="259"/>
                </a:lnTo>
                <a:lnTo>
                  <a:pt x="393" y="259"/>
                </a:lnTo>
                <a:lnTo>
                  <a:pt x="382" y="261"/>
                </a:lnTo>
                <a:lnTo>
                  <a:pt x="372" y="262"/>
                </a:lnTo>
                <a:lnTo>
                  <a:pt x="367" y="262"/>
                </a:lnTo>
                <a:lnTo>
                  <a:pt x="363" y="262"/>
                </a:lnTo>
                <a:lnTo>
                  <a:pt x="360" y="257"/>
                </a:lnTo>
                <a:lnTo>
                  <a:pt x="359" y="257"/>
                </a:lnTo>
                <a:lnTo>
                  <a:pt x="358" y="257"/>
                </a:lnTo>
                <a:lnTo>
                  <a:pt x="357" y="258"/>
                </a:lnTo>
                <a:lnTo>
                  <a:pt x="355" y="259"/>
                </a:lnTo>
                <a:lnTo>
                  <a:pt x="354" y="260"/>
                </a:lnTo>
                <a:lnTo>
                  <a:pt x="352" y="259"/>
                </a:lnTo>
                <a:lnTo>
                  <a:pt x="349" y="258"/>
                </a:lnTo>
                <a:lnTo>
                  <a:pt x="345" y="255"/>
                </a:lnTo>
                <a:lnTo>
                  <a:pt x="341" y="252"/>
                </a:lnTo>
                <a:lnTo>
                  <a:pt x="338" y="251"/>
                </a:lnTo>
                <a:lnTo>
                  <a:pt x="333" y="251"/>
                </a:lnTo>
                <a:lnTo>
                  <a:pt x="329" y="251"/>
                </a:lnTo>
                <a:lnTo>
                  <a:pt x="325" y="252"/>
                </a:lnTo>
                <a:lnTo>
                  <a:pt x="322" y="254"/>
                </a:lnTo>
                <a:lnTo>
                  <a:pt x="319" y="255"/>
                </a:lnTo>
                <a:lnTo>
                  <a:pt x="315" y="256"/>
                </a:lnTo>
                <a:lnTo>
                  <a:pt x="311" y="257"/>
                </a:lnTo>
                <a:lnTo>
                  <a:pt x="307" y="257"/>
                </a:lnTo>
                <a:lnTo>
                  <a:pt x="301" y="256"/>
                </a:lnTo>
                <a:lnTo>
                  <a:pt x="292" y="253"/>
                </a:lnTo>
                <a:lnTo>
                  <a:pt x="276" y="248"/>
                </a:lnTo>
                <a:lnTo>
                  <a:pt x="273" y="243"/>
                </a:lnTo>
                <a:lnTo>
                  <a:pt x="269" y="242"/>
                </a:lnTo>
                <a:lnTo>
                  <a:pt x="265" y="242"/>
                </a:lnTo>
                <a:lnTo>
                  <a:pt x="257" y="244"/>
                </a:lnTo>
                <a:lnTo>
                  <a:pt x="250" y="245"/>
                </a:lnTo>
                <a:lnTo>
                  <a:pt x="247" y="245"/>
                </a:lnTo>
                <a:lnTo>
                  <a:pt x="245" y="245"/>
                </a:lnTo>
                <a:lnTo>
                  <a:pt x="243" y="245"/>
                </a:lnTo>
                <a:lnTo>
                  <a:pt x="242" y="243"/>
                </a:lnTo>
                <a:lnTo>
                  <a:pt x="240" y="240"/>
                </a:lnTo>
                <a:lnTo>
                  <a:pt x="238" y="237"/>
                </a:lnTo>
                <a:lnTo>
                  <a:pt x="236" y="234"/>
                </a:lnTo>
                <a:lnTo>
                  <a:pt x="228" y="240"/>
                </a:lnTo>
                <a:lnTo>
                  <a:pt x="220" y="245"/>
                </a:lnTo>
                <a:lnTo>
                  <a:pt x="219" y="244"/>
                </a:lnTo>
                <a:lnTo>
                  <a:pt x="218" y="243"/>
                </a:lnTo>
                <a:lnTo>
                  <a:pt x="218" y="240"/>
                </a:lnTo>
                <a:lnTo>
                  <a:pt x="218" y="237"/>
                </a:lnTo>
                <a:lnTo>
                  <a:pt x="217" y="233"/>
                </a:lnTo>
                <a:lnTo>
                  <a:pt x="215" y="230"/>
                </a:lnTo>
                <a:lnTo>
                  <a:pt x="214" y="229"/>
                </a:lnTo>
                <a:lnTo>
                  <a:pt x="212" y="228"/>
                </a:lnTo>
                <a:lnTo>
                  <a:pt x="209" y="228"/>
                </a:lnTo>
                <a:lnTo>
                  <a:pt x="206" y="227"/>
                </a:lnTo>
                <a:lnTo>
                  <a:pt x="202" y="228"/>
                </a:lnTo>
                <a:lnTo>
                  <a:pt x="197" y="229"/>
                </a:lnTo>
                <a:lnTo>
                  <a:pt x="195" y="229"/>
                </a:lnTo>
                <a:lnTo>
                  <a:pt x="193" y="231"/>
                </a:lnTo>
                <a:lnTo>
                  <a:pt x="189" y="235"/>
                </a:lnTo>
                <a:lnTo>
                  <a:pt x="184" y="240"/>
                </a:lnTo>
                <a:lnTo>
                  <a:pt x="180" y="243"/>
                </a:lnTo>
                <a:lnTo>
                  <a:pt x="178" y="243"/>
                </a:lnTo>
                <a:lnTo>
                  <a:pt x="176" y="243"/>
                </a:lnTo>
                <a:lnTo>
                  <a:pt x="172" y="243"/>
                </a:lnTo>
                <a:lnTo>
                  <a:pt x="167" y="242"/>
                </a:lnTo>
                <a:lnTo>
                  <a:pt x="165" y="242"/>
                </a:lnTo>
                <a:lnTo>
                  <a:pt x="163" y="243"/>
                </a:lnTo>
                <a:lnTo>
                  <a:pt x="162" y="244"/>
                </a:lnTo>
                <a:lnTo>
                  <a:pt x="161" y="246"/>
                </a:lnTo>
                <a:lnTo>
                  <a:pt x="160" y="248"/>
                </a:lnTo>
                <a:lnTo>
                  <a:pt x="159" y="248"/>
                </a:lnTo>
                <a:lnTo>
                  <a:pt x="158" y="248"/>
                </a:lnTo>
                <a:lnTo>
                  <a:pt x="157" y="247"/>
                </a:lnTo>
                <a:lnTo>
                  <a:pt x="157" y="244"/>
                </a:lnTo>
                <a:lnTo>
                  <a:pt x="157" y="243"/>
                </a:lnTo>
                <a:lnTo>
                  <a:pt x="156" y="242"/>
                </a:lnTo>
                <a:lnTo>
                  <a:pt x="154" y="242"/>
                </a:lnTo>
                <a:lnTo>
                  <a:pt x="152" y="243"/>
                </a:lnTo>
                <a:lnTo>
                  <a:pt x="152" y="248"/>
                </a:lnTo>
                <a:lnTo>
                  <a:pt x="150" y="249"/>
                </a:lnTo>
                <a:lnTo>
                  <a:pt x="148" y="249"/>
                </a:lnTo>
                <a:lnTo>
                  <a:pt x="144" y="248"/>
                </a:lnTo>
                <a:lnTo>
                  <a:pt x="142" y="251"/>
                </a:lnTo>
                <a:lnTo>
                  <a:pt x="141" y="254"/>
                </a:lnTo>
                <a:lnTo>
                  <a:pt x="138" y="254"/>
                </a:lnTo>
                <a:lnTo>
                  <a:pt x="136" y="254"/>
                </a:lnTo>
                <a:lnTo>
                  <a:pt x="131" y="254"/>
                </a:lnTo>
                <a:lnTo>
                  <a:pt x="126" y="253"/>
                </a:lnTo>
                <a:lnTo>
                  <a:pt x="123" y="253"/>
                </a:lnTo>
                <a:lnTo>
                  <a:pt x="121" y="254"/>
                </a:lnTo>
                <a:lnTo>
                  <a:pt x="118" y="255"/>
                </a:lnTo>
                <a:lnTo>
                  <a:pt x="116" y="257"/>
                </a:lnTo>
                <a:lnTo>
                  <a:pt x="114" y="260"/>
                </a:lnTo>
                <a:lnTo>
                  <a:pt x="112" y="263"/>
                </a:lnTo>
                <a:lnTo>
                  <a:pt x="108" y="269"/>
                </a:lnTo>
                <a:lnTo>
                  <a:pt x="106" y="272"/>
                </a:lnTo>
                <a:lnTo>
                  <a:pt x="104" y="274"/>
                </a:lnTo>
                <a:lnTo>
                  <a:pt x="102" y="274"/>
                </a:lnTo>
                <a:lnTo>
                  <a:pt x="100" y="275"/>
                </a:lnTo>
                <a:lnTo>
                  <a:pt x="97" y="275"/>
                </a:lnTo>
                <a:lnTo>
                  <a:pt x="96" y="275"/>
                </a:lnTo>
                <a:lnTo>
                  <a:pt x="96" y="276"/>
                </a:lnTo>
                <a:lnTo>
                  <a:pt x="95" y="279"/>
                </a:lnTo>
                <a:lnTo>
                  <a:pt x="94" y="283"/>
                </a:lnTo>
                <a:lnTo>
                  <a:pt x="91" y="294"/>
                </a:lnTo>
                <a:lnTo>
                  <a:pt x="89" y="305"/>
                </a:lnTo>
                <a:lnTo>
                  <a:pt x="88" y="308"/>
                </a:lnTo>
                <a:lnTo>
                  <a:pt x="87" y="310"/>
                </a:lnTo>
                <a:lnTo>
                  <a:pt x="84" y="312"/>
                </a:lnTo>
                <a:lnTo>
                  <a:pt x="80" y="313"/>
                </a:lnTo>
                <a:lnTo>
                  <a:pt x="76" y="313"/>
                </a:lnTo>
                <a:lnTo>
                  <a:pt x="71" y="313"/>
                </a:lnTo>
                <a:lnTo>
                  <a:pt x="62" y="313"/>
                </a:lnTo>
                <a:lnTo>
                  <a:pt x="56" y="313"/>
                </a:lnTo>
                <a:lnTo>
                  <a:pt x="55" y="314"/>
                </a:lnTo>
                <a:lnTo>
                  <a:pt x="53" y="316"/>
                </a:lnTo>
                <a:lnTo>
                  <a:pt x="50" y="318"/>
                </a:lnTo>
                <a:lnTo>
                  <a:pt x="49" y="318"/>
                </a:lnTo>
                <a:lnTo>
                  <a:pt x="48" y="319"/>
                </a:lnTo>
                <a:lnTo>
                  <a:pt x="41" y="316"/>
                </a:lnTo>
                <a:lnTo>
                  <a:pt x="38" y="315"/>
                </a:lnTo>
                <a:lnTo>
                  <a:pt x="36" y="315"/>
                </a:lnTo>
                <a:lnTo>
                  <a:pt x="33" y="315"/>
                </a:lnTo>
                <a:lnTo>
                  <a:pt x="31" y="316"/>
                </a:lnTo>
                <a:lnTo>
                  <a:pt x="31" y="333"/>
                </a:lnTo>
                <a:lnTo>
                  <a:pt x="31" y="334"/>
                </a:lnTo>
                <a:lnTo>
                  <a:pt x="30" y="335"/>
                </a:lnTo>
                <a:lnTo>
                  <a:pt x="28" y="338"/>
                </a:lnTo>
                <a:lnTo>
                  <a:pt x="31" y="339"/>
                </a:lnTo>
                <a:lnTo>
                  <a:pt x="34" y="341"/>
                </a:lnTo>
                <a:lnTo>
                  <a:pt x="40" y="342"/>
                </a:lnTo>
                <a:lnTo>
                  <a:pt x="45" y="344"/>
                </a:lnTo>
                <a:lnTo>
                  <a:pt x="51" y="347"/>
                </a:lnTo>
                <a:lnTo>
                  <a:pt x="52" y="348"/>
                </a:lnTo>
                <a:lnTo>
                  <a:pt x="54" y="350"/>
                </a:lnTo>
                <a:lnTo>
                  <a:pt x="58" y="354"/>
                </a:lnTo>
                <a:lnTo>
                  <a:pt x="62" y="358"/>
                </a:lnTo>
                <a:lnTo>
                  <a:pt x="65" y="361"/>
                </a:lnTo>
                <a:lnTo>
                  <a:pt x="67" y="361"/>
                </a:lnTo>
                <a:lnTo>
                  <a:pt x="71" y="360"/>
                </a:lnTo>
                <a:lnTo>
                  <a:pt x="74" y="360"/>
                </a:lnTo>
                <a:lnTo>
                  <a:pt x="76" y="361"/>
                </a:lnTo>
                <a:lnTo>
                  <a:pt x="77" y="362"/>
                </a:lnTo>
                <a:lnTo>
                  <a:pt x="77" y="364"/>
                </a:lnTo>
                <a:lnTo>
                  <a:pt x="77" y="368"/>
                </a:lnTo>
                <a:lnTo>
                  <a:pt x="77" y="372"/>
                </a:lnTo>
                <a:lnTo>
                  <a:pt x="77" y="373"/>
                </a:lnTo>
                <a:lnTo>
                  <a:pt x="77" y="374"/>
                </a:lnTo>
                <a:lnTo>
                  <a:pt x="79" y="375"/>
                </a:lnTo>
                <a:lnTo>
                  <a:pt x="82" y="376"/>
                </a:lnTo>
                <a:lnTo>
                  <a:pt x="84" y="375"/>
                </a:lnTo>
                <a:lnTo>
                  <a:pt x="86" y="375"/>
                </a:lnTo>
                <a:lnTo>
                  <a:pt x="88" y="374"/>
                </a:lnTo>
                <a:lnTo>
                  <a:pt x="90" y="372"/>
                </a:lnTo>
                <a:lnTo>
                  <a:pt x="92" y="372"/>
                </a:lnTo>
                <a:lnTo>
                  <a:pt x="95" y="371"/>
                </a:lnTo>
                <a:lnTo>
                  <a:pt x="99" y="372"/>
                </a:lnTo>
                <a:lnTo>
                  <a:pt x="104" y="372"/>
                </a:lnTo>
                <a:lnTo>
                  <a:pt x="107" y="372"/>
                </a:lnTo>
                <a:lnTo>
                  <a:pt x="108" y="372"/>
                </a:lnTo>
                <a:lnTo>
                  <a:pt x="107" y="372"/>
                </a:lnTo>
                <a:lnTo>
                  <a:pt x="110" y="372"/>
                </a:lnTo>
                <a:lnTo>
                  <a:pt x="112" y="372"/>
                </a:lnTo>
                <a:lnTo>
                  <a:pt x="112" y="373"/>
                </a:lnTo>
                <a:lnTo>
                  <a:pt x="112" y="374"/>
                </a:lnTo>
                <a:lnTo>
                  <a:pt x="112" y="375"/>
                </a:lnTo>
                <a:lnTo>
                  <a:pt x="112" y="377"/>
                </a:lnTo>
                <a:lnTo>
                  <a:pt x="111" y="379"/>
                </a:lnTo>
                <a:lnTo>
                  <a:pt x="109" y="380"/>
                </a:lnTo>
                <a:lnTo>
                  <a:pt x="107" y="380"/>
                </a:lnTo>
                <a:lnTo>
                  <a:pt x="124" y="389"/>
                </a:lnTo>
                <a:lnTo>
                  <a:pt x="123" y="388"/>
                </a:lnTo>
                <a:lnTo>
                  <a:pt x="126" y="387"/>
                </a:lnTo>
                <a:lnTo>
                  <a:pt x="132" y="386"/>
                </a:lnTo>
                <a:lnTo>
                  <a:pt x="132" y="390"/>
                </a:lnTo>
                <a:lnTo>
                  <a:pt x="132" y="395"/>
                </a:lnTo>
                <a:lnTo>
                  <a:pt x="126" y="394"/>
                </a:lnTo>
                <a:lnTo>
                  <a:pt x="122" y="393"/>
                </a:lnTo>
                <a:lnTo>
                  <a:pt x="113" y="392"/>
                </a:lnTo>
                <a:lnTo>
                  <a:pt x="112" y="393"/>
                </a:lnTo>
                <a:lnTo>
                  <a:pt x="110" y="395"/>
                </a:lnTo>
                <a:lnTo>
                  <a:pt x="107" y="397"/>
                </a:lnTo>
                <a:lnTo>
                  <a:pt x="113" y="397"/>
                </a:lnTo>
                <a:lnTo>
                  <a:pt x="118" y="397"/>
                </a:lnTo>
                <a:lnTo>
                  <a:pt x="121" y="409"/>
                </a:lnTo>
                <a:lnTo>
                  <a:pt x="118" y="403"/>
                </a:lnTo>
                <a:lnTo>
                  <a:pt x="107" y="411"/>
                </a:lnTo>
                <a:lnTo>
                  <a:pt x="102" y="411"/>
                </a:lnTo>
                <a:lnTo>
                  <a:pt x="97" y="411"/>
                </a:lnTo>
                <a:lnTo>
                  <a:pt x="92" y="410"/>
                </a:lnTo>
                <a:lnTo>
                  <a:pt x="87" y="408"/>
                </a:lnTo>
                <a:lnTo>
                  <a:pt x="78" y="405"/>
                </a:lnTo>
                <a:lnTo>
                  <a:pt x="70" y="403"/>
                </a:lnTo>
                <a:lnTo>
                  <a:pt x="72" y="402"/>
                </a:lnTo>
                <a:lnTo>
                  <a:pt x="73" y="401"/>
                </a:lnTo>
                <a:lnTo>
                  <a:pt x="73" y="399"/>
                </a:lnTo>
                <a:lnTo>
                  <a:pt x="73" y="396"/>
                </a:lnTo>
                <a:lnTo>
                  <a:pt x="73" y="393"/>
                </a:lnTo>
                <a:lnTo>
                  <a:pt x="71" y="387"/>
                </a:lnTo>
                <a:lnTo>
                  <a:pt x="70" y="383"/>
                </a:lnTo>
                <a:lnTo>
                  <a:pt x="53" y="389"/>
                </a:lnTo>
                <a:lnTo>
                  <a:pt x="45" y="391"/>
                </a:lnTo>
                <a:lnTo>
                  <a:pt x="37" y="395"/>
                </a:lnTo>
                <a:lnTo>
                  <a:pt x="37" y="400"/>
                </a:lnTo>
                <a:lnTo>
                  <a:pt x="37" y="406"/>
                </a:lnTo>
                <a:lnTo>
                  <a:pt x="34" y="407"/>
                </a:lnTo>
                <a:lnTo>
                  <a:pt x="32" y="407"/>
                </a:lnTo>
                <a:lnTo>
                  <a:pt x="28" y="405"/>
                </a:lnTo>
                <a:lnTo>
                  <a:pt x="25" y="403"/>
                </a:lnTo>
                <a:lnTo>
                  <a:pt x="22" y="403"/>
                </a:lnTo>
                <a:lnTo>
                  <a:pt x="20" y="403"/>
                </a:lnTo>
                <a:lnTo>
                  <a:pt x="18" y="404"/>
                </a:lnTo>
                <a:lnTo>
                  <a:pt x="15" y="405"/>
                </a:lnTo>
                <a:lnTo>
                  <a:pt x="10" y="409"/>
                </a:lnTo>
                <a:lnTo>
                  <a:pt x="0" y="417"/>
                </a:lnTo>
                <a:lnTo>
                  <a:pt x="3" y="423"/>
                </a:lnTo>
                <a:lnTo>
                  <a:pt x="12" y="423"/>
                </a:lnTo>
                <a:lnTo>
                  <a:pt x="18" y="424"/>
                </a:lnTo>
                <a:lnTo>
                  <a:pt x="22" y="424"/>
                </a:lnTo>
                <a:lnTo>
                  <a:pt x="26" y="425"/>
                </a:lnTo>
                <a:lnTo>
                  <a:pt x="27" y="426"/>
                </a:lnTo>
                <a:lnTo>
                  <a:pt x="27" y="427"/>
                </a:lnTo>
                <a:lnTo>
                  <a:pt x="26" y="428"/>
                </a:lnTo>
                <a:lnTo>
                  <a:pt x="24" y="429"/>
                </a:lnTo>
                <a:lnTo>
                  <a:pt x="17" y="431"/>
                </a:lnTo>
                <a:lnTo>
                  <a:pt x="19" y="433"/>
                </a:lnTo>
                <a:lnTo>
                  <a:pt x="20" y="436"/>
                </a:lnTo>
                <a:lnTo>
                  <a:pt x="22" y="438"/>
                </a:lnTo>
                <a:lnTo>
                  <a:pt x="25" y="440"/>
                </a:lnTo>
                <a:lnTo>
                  <a:pt x="26" y="442"/>
                </a:lnTo>
                <a:lnTo>
                  <a:pt x="26" y="445"/>
                </a:lnTo>
                <a:lnTo>
                  <a:pt x="27" y="446"/>
                </a:lnTo>
                <a:lnTo>
                  <a:pt x="28" y="448"/>
                </a:lnTo>
                <a:lnTo>
                  <a:pt x="31" y="450"/>
                </a:lnTo>
                <a:lnTo>
                  <a:pt x="34" y="451"/>
                </a:lnTo>
                <a:lnTo>
                  <a:pt x="38" y="452"/>
                </a:lnTo>
                <a:lnTo>
                  <a:pt x="42" y="452"/>
                </a:lnTo>
                <a:lnTo>
                  <a:pt x="49" y="452"/>
                </a:lnTo>
                <a:lnTo>
                  <a:pt x="57" y="452"/>
                </a:lnTo>
                <a:lnTo>
                  <a:pt x="73" y="449"/>
                </a:lnTo>
                <a:lnTo>
                  <a:pt x="87" y="445"/>
                </a:lnTo>
                <a:lnTo>
                  <a:pt x="91" y="452"/>
                </a:lnTo>
                <a:lnTo>
                  <a:pt x="92" y="453"/>
                </a:lnTo>
                <a:lnTo>
                  <a:pt x="93" y="455"/>
                </a:lnTo>
                <a:lnTo>
                  <a:pt x="95" y="456"/>
                </a:lnTo>
                <a:lnTo>
                  <a:pt x="96" y="456"/>
                </a:lnTo>
                <a:lnTo>
                  <a:pt x="97" y="455"/>
                </a:lnTo>
                <a:lnTo>
                  <a:pt x="98" y="452"/>
                </a:lnTo>
                <a:lnTo>
                  <a:pt x="100" y="449"/>
                </a:lnTo>
                <a:lnTo>
                  <a:pt x="101" y="448"/>
                </a:lnTo>
                <a:lnTo>
                  <a:pt x="106" y="447"/>
                </a:lnTo>
                <a:lnTo>
                  <a:pt x="110" y="446"/>
                </a:lnTo>
                <a:lnTo>
                  <a:pt x="114" y="446"/>
                </a:lnTo>
                <a:lnTo>
                  <a:pt x="118" y="447"/>
                </a:lnTo>
                <a:lnTo>
                  <a:pt x="126" y="448"/>
                </a:lnTo>
                <a:lnTo>
                  <a:pt x="132" y="448"/>
                </a:lnTo>
                <a:lnTo>
                  <a:pt x="130" y="456"/>
                </a:lnTo>
                <a:lnTo>
                  <a:pt x="129" y="463"/>
                </a:lnTo>
                <a:lnTo>
                  <a:pt x="128" y="470"/>
                </a:lnTo>
                <a:lnTo>
                  <a:pt x="129" y="475"/>
                </a:lnTo>
                <a:lnTo>
                  <a:pt x="130" y="482"/>
                </a:lnTo>
                <a:lnTo>
                  <a:pt x="126" y="484"/>
                </a:lnTo>
                <a:lnTo>
                  <a:pt x="121" y="486"/>
                </a:lnTo>
                <a:lnTo>
                  <a:pt x="117" y="489"/>
                </a:lnTo>
                <a:lnTo>
                  <a:pt x="115" y="490"/>
                </a:lnTo>
                <a:lnTo>
                  <a:pt x="113" y="490"/>
                </a:lnTo>
                <a:lnTo>
                  <a:pt x="110" y="490"/>
                </a:lnTo>
                <a:lnTo>
                  <a:pt x="110" y="489"/>
                </a:lnTo>
                <a:lnTo>
                  <a:pt x="110" y="488"/>
                </a:lnTo>
                <a:lnTo>
                  <a:pt x="109" y="487"/>
                </a:lnTo>
                <a:lnTo>
                  <a:pt x="108" y="487"/>
                </a:lnTo>
                <a:lnTo>
                  <a:pt x="107" y="487"/>
                </a:lnTo>
                <a:lnTo>
                  <a:pt x="105" y="489"/>
                </a:lnTo>
                <a:lnTo>
                  <a:pt x="101" y="493"/>
                </a:lnTo>
                <a:lnTo>
                  <a:pt x="98" y="497"/>
                </a:lnTo>
                <a:lnTo>
                  <a:pt x="96" y="499"/>
                </a:lnTo>
                <a:lnTo>
                  <a:pt x="92" y="499"/>
                </a:lnTo>
                <a:lnTo>
                  <a:pt x="89" y="499"/>
                </a:lnTo>
                <a:lnTo>
                  <a:pt x="85" y="498"/>
                </a:lnTo>
                <a:lnTo>
                  <a:pt x="83" y="498"/>
                </a:lnTo>
                <a:lnTo>
                  <a:pt x="82" y="499"/>
                </a:lnTo>
                <a:lnTo>
                  <a:pt x="79" y="494"/>
                </a:lnTo>
                <a:lnTo>
                  <a:pt x="76" y="490"/>
                </a:lnTo>
                <a:lnTo>
                  <a:pt x="75" y="490"/>
                </a:lnTo>
                <a:lnTo>
                  <a:pt x="74" y="490"/>
                </a:lnTo>
                <a:lnTo>
                  <a:pt x="72" y="490"/>
                </a:lnTo>
                <a:lnTo>
                  <a:pt x="70" y="491"/>
                </a:lnTo>
                <a:lnTo>
                  <a:pt x="69" y="491"/>
                </a:lnTo>
                <a:lnTo>
                  <a:pt x="68" y="490"/>
                </a:lnTo>
                <a:lnTo>
                  <a:pt x="65" y="494"/>
                </a:lnTo>
                <a:lnTo>
                  <a:pt x="62" y="498"/>
                </a:lnTo>
                <a:lnTo>
                  <a:pt x="57" y="502"/>
                </a:lnTo>
                <a:lnTo>
                  <a:pt x="57" y="503"/>
                </a:lnTo>
                <a:lnTo>
                  <a:pt x="58" y="504"/>
                </a:lnTo>
                <a:lnTo>
                  <a:pt x="68" y="504"/>
                </a:lnTo>
                <a:lnTo>
                  <a:pt x="67" y="509"/>
                </a:lnTo>
                <a:lnTo>
                  <a:pt x="68" y="513"/>
                </a:lnTo>
                <a:lnTo>
                  <a:pt x="64" y="512"/>
                </a:lnTo>
                <a:lnTo>
                  <a:pt x="59" y="510"/>
                </a:lnTo>
                <a:lnTo>
                  <a:pt x="58" y="512"/>
                </a:lnTo>
                <a:lnTo>
                  <a:pt x="58" y="514"/>
                </a:lnTo>
                <a:lnTo>
                  <a:pt x="57" y="517"/>
                </a:lnTo>
                <a:lnTo>
                  <a:pt x="56" y="518"/>
                </a:lnTo>
                <a:lnTo>
                  <a:pt x="53" y="520"/>
                </a:lnTo>
                <a:lnTo>
                  <a:pt x="49" y="522"/>
                </a:lnTo>
                <a:lnTo>
                  <a:pt x="47" y="523"/>
                </a:lnTo>
                <a:lnTo>
                  <a:pt x="45" y="524"/>
                </a:lnTo>
                <a:lnTo>
                  <a:pt x="43" y="525"/>
                </a:lnTo>
                <a:lnTo>
                  <a:pt x="42" y="527"/>
                </a:lnTo>
                <a:lnTo>
                  <a:pt x="42" y="528"/>
                </a:lnTo>
                <a:lnTo>
                  <a:pt x="42" y="529"/>
                </a:lnTo>
                <a:lnTo>
                  <a:pt x="42" y="531"/>
                </a:lnTo>
                <a:lnTo>
                  <a:pt x="43" y="533"/>
                </a:lnTo>
                <a:lnTo>
                  <a:pt x="43" y="534"/>
                </a:lnTo>
                <a:lnTo>
                  <a:pt x="42" y="535"/>
                </a:lnTo>
                <a:lnTo>
                  <a:pt x="41" y="537"/>
                </a:lnTo>
                <a:lnTo>
                  <a:pt x="38" y="538"/>
                </a:lnTo>
                <a:lnTo>
                  <a:pt x="36" y="539"/>
                </a:lnTo>
                <a:lnTo>
                  <a:pt x="34" y="541"/>
                </a:lnTo>
                <a:lnTo>
                  <a:pt x="44" y="549"/>
                </a:lnTo>
                <a:lnTo>
                  <a:pt x="48" y="552"/>
                </a:lnTo>
                <a:lnTo>
                  <a:pt x="52" y="554"/>
                </a:lnTo>
                <a:lnTo>
                  <a:pt x="56" y="556"/>
                </a:lnTo>
                <a:lnTo>
                  <a:pt x="61" y="557"/>
                </a:lnTo>
                <a:lnTo>
                  <a:pt x="67" y="557"/>
                </a:lnTo>
                <a:lnTo>
                  <a:pt x="76" y="558"/>
                </a:lnTo>
                <a:lnTo>
                  <a:pt x="70" y="569"/>
                </a:lnTo>
                <a:lnTo>
                  <a:pt x="69" y="568"/>
                </a:lnTo>
                <a:lnTo>
                  <a:pt x="68" y="567"/>
                </a:lnTo>
                <a:lnTo>
                  <a:pt x="66" y="565"/>
                </a:lnTo>
                <a:lnTo>
                  <a:pt x="64" y="562"/>
                </a:lnTo>
                <a:lnTo>
                  <a:pt x="62" y="561"/>
                </a:lnTo>
                <a:lnTo>
                  <a:pt x="60" y="560"/>
                </a:lnTo>
                <a:lnTo>
                  <a:pt x="58" y="560"/>
                </a:lnTo>
                <a:lnTo>
                  <a:pt x="54" y="562"/>
                </a:lnTo>
                <a:lnTo>
                  <a:pt x="53" y="563"/>
                </a:lnTo>
                <a:lnTo>
                  <a:pt x="53" y="564"/>
                </a:lnTo>
                <a:lnTo>
                  <a:pt x="54" y="565"/>
                </a:lnTo>
                <a:lnTo>
                  <a:pt x="56" y="566"/>
                </a:lnTo>
                <a:lnTo>
                  <a:pt x="56" y="572"/>
                </a:lnTo>
                <a:lnTo>
                  <a:pt x="62" y="572"/>
                </a:lnTo>
                <a:lnTo>
                  <a:pt x="65" y="572"/>
                </a:lnTo>
                <a:lnTo>
                  <a:pt x="66" y="573"/>
                </a:lnTo>
                <a:lnTo>
                  <a:pt x="66" y="574"/>
                </a:lnTo>
                <a:lnTo>
                  <a:pt x="63" y="577"/>
                </a:lnTo>
                <a:lnTo>
                  <a:pt x="62" y="580"/>
                </a:lnTo>
                <a:lnTo>
                  <a:pt x="62" y="583"/>
                </a:lnTo>
                <a:lnTo>
                  <a:pt x="66" y="588"/>
                </a:lnTo>
                <a:lnTo>
                  <a:pt x="69" y="591"/>
                </a:lnTo>
                <a:lnTo>
                  <a:pt x="70" y="594"/>
                </a:lnTo>
                <a:lnTo>
                  <a:pt x="74" y="594"/>
                </a:lnTo>
                <a:lnTo>
                  <a:pt x="78" y="594"/>
                </a:lnTo>
                <a:lnTo>
                  <a:pt x="82" y="595"/>
                </a:lnTo>
                <a:lnTo>
                  <a:pt x="86" y="595"/>
                </a:lnTo>
                <a:lnTo>
                  <a:pt x="89" y="594"/>
                </a:lnTo>
                <a:lnTo>
                  <a:pt x="92" y="593"/>
                </a:lnTo>
                <a:lnTo>
                  <a:pt x="93" y="591"/>
                </a:lnTo>
                <a:lnTo>
                  <a:pt x="94" y="590"/>
                </a:lnTo>
                <a:lnTo>
                  <a:pt x="95" y="588"/>
                </a:lnTo>
                <a:lnTo>
                  <a:pt x="96" y="586"/>
                </a:lnTo>
                <a:lnTo>
                  <a:pt x="96" y="584"/>
                </a:lnTo>
                <a:lnTo>
                  <a:pt x="95" y="582"/>
                </a:lnTo>
                <a:lnTo>
                  <a:pt x="95" y="579"/>
                </a:lnTo>
                <a:lnTo>
                  <a:pt x="96" y="577"/>
                </a:lnTo>
                <a:lnTo>
                  <a:pt x="98" y="578"/>
                </a:lnTo>
                <a:lnTo>
                  <a:pt x="101" y="578"/>
                </a:lnTo>
                <a:lnTo>
                  <a:pt x="102" y="579"/>
                </a:lnTo>
                <a:lnTo>
                  <a:pt x="103" y="580"/>
                </a:lnTo>
                <a:lnTo>
                  <a:pt x="103" y="581"/>
                </a:lnTo>
                <a:lnTo>
                  <a:pt x="101" y="583"/>
                </a:lnTo>
                <a:lnTo>
                  <a:pt x="101" y="582"/>
                </a:lnTo>
                <a:lnTo>
                  <a:pt x="100" y="583"/>
                </a:lnTo>
                <a:lnTo>
                  <a:pt x="100" y="585"/>
                </a:lnTo>
                <a:lnTo>
                  <a:pt x="101" y="588"/>
                </a:lnTo>
                <a:lnTo>
                  <a:pt x="102" y="592"/>
                </a:lnTo>
                <a:lnTo>
                  <a:pt x="104" y="597"/>
                </a:lnTo>
                <a:lnTo>
                  <a:pt x="105" y="599"/>
                </a:lnTo>
                <a:lnTo>
                  <a:pt x="106" y="601"/>
                </a:lnTo>
                <a:lnTo>
                  <a:pt x="108" y="603"/>
                </a:lnTo>
                <a:lnTo>
                  <a:pt x="110" y="606"/>
                </a:lnTo>
                <a:lnTo>
                  <a:pt x="110" y="607"/>
                </a:lnTo>
                <a:lnTo>
                  <a:pt x="108" y="609"/>
                </a:lnTo>
                <a:lnTo>
                  <a:pt x="107" y="611"/>
                </a:lnTo>
                <a:lnTo>
                  <a:pt x="107" y="612"/>
                </a:lnTo>
                <a:lnTo>
                  <a:pt x="107" y="614"/>
                </a:lnTo>
                <a:lnTo>
                  <a:pt x="106" y="614"/>
                </a:lnTo>
                <a:lnTo>
                  <a:pt x="108" y="616"/>
                </a:lnTo>
                <a:lnTo>
                  <a:pt x="113" y="617"/>
                </a:lnTo>
                <a:lnTo>
                  <a:pt x="110" y="631"/>
                </a:lnTo>
                <a:lnTo>
                  <a:pt x="112" y="631"/>
                </a:lnTo>
                <a:lnTo>
                  <a:pt x="114" y="630"/>
                </a:lnTo>
                <a:lnTo>
                  <a:pt x="118" y="629"/>
                </a:lnTo>
                <a:lnTo>
                  <a:pt x="122" y="626"/>
                </a:lnTo>
                <a:lnTo>
                  <a:pt x="125" y="623"/>
                </a:lnTo>
                <a:lnTo>
                  <a:pt x="130" y="617"/>
                </a:lnTo>
                <a:lnTo>
                  <a:pt x="134" y="615"/>
                </a:lnTo>
                <a:lnTo>
                  <a:pt x="138" y="614"/>
                </a:lnTo>
                <a:lnTo>
                  <a:pt x="139" y="614"/>
                </a:lnTo>
                <a:lnTo>
                  <a:pt x="140" y="615"/>
                </a:lnTo>
                <a:lnTo>
                  <a:pt x="141" y="618"/>
                </a:lnTo>
                <a:lnTo>
                  <a:pt x="142" y="621"/>
                </a:lnTo>
                <a:lnTo>
                  <a:pt x="143" y="622"/>
                </a:lnTo>
                <a:lnTo>
                  <a:pt x="144" y="622"/>
                </a:lnTo>
                <a:lnTo>
                  <a:pt x="146" y="623"/>
                </a:lnTo>
                <a:lnTo>
                  <a:pt x="147" y="623"/>
                </a:lnTo>
                <a:lnTo>
                  <a:pt x="148" y="622"/>
                </a:lnTo>
                <a:lnTo>
                  <a:pt x="149" y="621"/>
                </a:lnTo>
                <a:lnTo>
                  <a:pt x="150" y="620"/>
                </a:lnTo>
                <a:lnTo>
                  <a:pt x="151" y="619"/>
                </a:lnTo>
                <a:lnTo>
                  <a:pt x="153" y="619"/>
                </a:lnTo>
                <a:lnTo>
                  <a:pt x="155" y="620"/>
                </a:lnTo>
                <a:lnTo>
                  <a:pt x="163" y="634"/>
                </a:lnTo>
                <a:lnTo>
                  <a:pt x="165" y="632"/>
                </a:lnTo>
                <a:lnTo>
                  <a:pt x="166" y="631"/>
                </a:lnTo>
                <a:lnTo>
                  <a:pt x="166" y="629"/>
                </a:lnTo>
                <a:lnTo>
                  <a:pt x="166" y="625"/>
                </a:lnTo>
                <a:lnTo>
                  <a:pt x="176" y="628"/>
                </a:lnTo>
                <a:lnTo>
                  <a:pt x="180" y="628"/>
                </a:lnTo>
                <a:lnTo>
                  <a:pt x="183" y="628"/>
                </a:lnTo>
                <a:lnTo>
                  <a:pt x="187" y="627"/>
                </a:lnTo>
                <a:lnTo>
                  <a:pt x="192" y="626"/>
                </a:lnTo>
                <a:lnTo>
                  <a:pt x="203" y="620"/>
                </a:lnTo>
                <a:lnTo>
                  <a:pt x="201" y="624"/>
                </a:lnTo>
                <a:lnTo>
                  <a:pt x="200" y="628"/>
                </a:lnTo>
                <a:lnTo>
                  <a:pt x="199" y="632"/>
                </a:lnTo>
                <a:lnTo>
                  <a:pt x="197" y="636"/>
                </a:lnTo>
                <a:lnTo>
                  <a:pt x="190" y="642"/>
                </a:lnTo>
                <a:lnTo>
                  <a:pt x="186" y="647"/>
                </a:lnTo>
                <a:lnTo>
                  <a:pt x="183" y="651"/>
                </a:lnTo>
                <a:lnTo>
                  <a:pt x="182" y="655"/>
                </a:lnTo>
                <a:lnTo>
                  <a:pt x="183" y="659"/>
                </a:lnTo>
                <a:lnTo>
                  <a:pt x="183" y="663"/>
                </a:lnTo>
                <a:lnTo>
                  <a:pt x="183" y="667"/>
                </a:lnTo>
                <a:lnTo>
                  <a:pt x="172" y="684"/>
                </a:lnTo>
                <a:lnTo>
                  <a:pt x="169" y="687"/>
                </a:lnTo>
                <a:lnTo>
                  <a:pt x="165" y="690"/>
                </a:lnTo>
                <a:lnTo>
                  <a:pt x="160" y="693"/>
                </a:lnTo>
                <a:lnTo>
                  <a:pt x="156" y="695"/>
                </a:lnTo>
                <a:lnTo>
                  <a:pt x="138" y="704"/>
                </a:lnTo>
                <a:lnTo>
                  <a:pt x="138" y="710"/>
                </a:lnTo>
                <a:lnTo>
                  <a:pt x="138" y="713"/>
                </a:lnTo>
                <a:lnTo>
                  <a:pt x="138" y="715"/>
                </a:lnTo>
                <a:lnTo>
                  <a:pt x="134" y="715"/>
                </a:lnTo>
                <a:lnTo>
                  <a:pt x="131" y="716"/>
                </a:lnTo>
                <a:lnTo>
                  <a:pt x="129" y="717"/>
                </a:lnTo>
                <a:lnTo>
                  <a:pt x="127" y="718"/>
                </a:lnTo>
                <a:lnTo>
                  <a:pt x="128" y="718"/>
                </a:lnTo>
                <a:lnTo>
                  <a:pt x="128" y="717"/>
                </a:lnTo>
                <a:lnTo>
                  <a:pt x="127" y="716"/>
                </a:lnTo>
                <a:lnTo>
                  <a:pt x="124" y="715"/>
                </a:lnTo>
                <a:lnTo>
                  <a:pt x="121" y="714"/>
                </a:lnTo>
                <a:lnTo>
                  <a:pt x="117" y="714"/>
                </a:lnTo>
                <a:lnTo>
                  <a:pt x="114" y="714"/>
                </a:lnTo>
                <a:lnTo>
                  <a:pt x="112" y="715"/>
                </a:lnTo>
                <a:lnTo>
                  <a:pt x="110" y="715"/>
                </a:lnTo>
                <a:lnTo>
                  <a:pt x="108" y="717"/>
                </a:lnTo>
                <a:lnTo>
                  <a:pt x="106" y="719"/>
                </a:lnTo>
                <a:lnTo>
                  <a:pt x="102" y="727"/>
                </a:lnTo>
                <a:lnTo>
                  <a:pt x="96" y="738"/>
                </a:lnTo>
                <a:lnTo>
                  <a:pt x="94" y="738"/>
                </a:lnTo>
                <a:lnTo>
                  <a:pt x="92" y="738"/>
                </a:lnTo>
                <a:lnTo>
                  <a:pt x="90" y="737"/>
                </a:lnTo>
                <a:lnTo>
                  <a:pt x="87" y="738"/>
                </a:lnTo>
                <a:lnTo>
                  <a:pt x="85" y="741"/>
                </a:lnTo>
                <a:lnTo>
                  <a:pt x="85" y="746"/>
                </a:lnTo>
                <a:lnTo>
                  <a:pt x="94" y="743"/>
                </a:lnTo>
                <a:lnTo>
                  <a:pt x="96" y="742"/>
                </a:lnTo>
                <a:lnTo>
                  <a:pt x="98" y="742"/>
                </a:lnTo>
                <a:lnTo>
                  <a:pt x="101" y="740"/>
                </a:lnTo>
                <a:lnTo>
                  <a:pt x="103" y="737"/>
                </a:lnTo>
                <a:lnTo>
                  <a:pt x="106" y="734"/>
                </a:lnTo>
                <a:lnTo>
                  <a:pt x="109" y="728"/>
                </a:lnTo>
                <a:lnTo>
                  <a:pt x="113" y="721"/>
                </a:lnTo>
                <a:lnTo>
                  <a:pt x="114" y="721"/>
                </a:lnTo>
                <a:lnTo>
                  <a:pt x="117" y="721"/>
                </a:lnTo>
                <a:lnTo>
                  <a:pt x="121" y="721"/>
                </a:lnTo>
                <a:lnTo>
                  <a:pt x="119" y="725"/>
                </a:lnTo>
                <a:lnTo>
                  <a:pt x="118" y="728"/>
                </a:lnTo>
                <a:lnTo>
                  <a:pt x="118" y="729"/>
                </a:lnTo>
                <a:lnTo>
                  <a:pt x="121" y="730"/>
                </a:lnTo>
                <a:lnTo>
                  <a:pt x="123" y="730"/>
                </a:lnTo>
                <a:lnTo>
                  <a:pt x="126" y="729"/>
                </a:lnTo>
                <a:lnTo>
                  <a:pt x="128" y="728"/>
                </a:lnTo>
                <a:lnTo>
                  <a:pt x="132" y="726"/>
                </a:lnTo>
                <a:lnTo>
                  <a:pt x="137" y="724"/>
                </a:lnTo>
                <a:lnTo>
                  <a:pt x="145" y="718"/>
                </a:lnTo>
                <a:lnTo>
                  <a:pt x="148" y="716"/>
                </a:lnTo>
                <a:lnTo>
                  <a:pt x="152" y="715"/>
                </a:lnTo>
                <a:lnTo>
                  <a:pt x="154" y="716"/>
                </a:lnTo>
                <a:lnTo>
                  <a:pt x="155" y="717"/>
                </a:lnTo>
                <a:lnTo>
                  <a:pt x="155" y="718"/>
                </a:lnTo>
                <a:lnTo>
                  <a:pt x="156" y="718"/>
                </a:lnTo>
                <a:lnTo>
                  <a:pt x="156" y="719"/>
                </a:lnTo>
                <a:lnTo>
                  <a:pt x="158" y="718"/>
                </a:lnTo>
                <a:lnTo>
                  <a:pt x="160" y="710"/>
                </a:lnTo>
                <a:lnTo>
                  <a:pt x="162" y="709"/>
                </a:lnTo>
                <a:lnTo>
                  <a:pt x="163" y="710"/>
                </a:lnTo>
                <a:lnTo>
                  <a:pt x="163" y="711"/>
                </a:lnTo>
                <a:lnTo>
                  <a:pt x="164" y="712"/>
                </a:lnTo>
                <a:lnTo>
                  <a:pt x="164" y="713"/>
                </a:lnTo>
                <a:lnTo>
                  <a:pt x="165" y="713"/>
                </a:lnTo>
                <a:lnTo>
                  <a:pt x="166" y="712"/>
                </a:lnTo>
                <a:lnTo>
                  <a:pt x="166" y="710"/>
                </a:lnTo>
                <a:lnTo>
                  <a:pt x="166" y="707"/>
                </a:lnTo>
                <a:lnTo>
                  <a:pt x="166" y="701"/>
                </a:lnTo>
                <a:lnTo>
                  <a:pt x="171" y="700"/>
                </a:lnTo>
                <a:lnTo>
                  <a:pt x="175" y="699"/>
                </a:lnTo>
                <a:lnTo>
                  <a:pt x="177" y="698"/>
                </a:lnTo>
                <a:lnTo>
                  <a:pt x="175" y="695"/>
                </a:lnTo>
                <a:lnTo>
                  <a:pt x="174" y="694"/>
                </a:lnTo>
                <a:lnTo>
                  <a:pt x="175" y="693"/>
                </a:lnTo>
                <a:lnTo>
                  <a:pt x="176" y="692"/>
                </a:lnTo>
                <a:lnTo>
                  <a:pt x="177" y="692"/>
                </a:lnTo>
                <a:lnTo>
                  <a:pt x="179" y="692"/>
                </a:lnTo>
                <a:lnTo>
                  <a:pt x="181" y="693"/>
                </a:lnTo>
                <a:lnTo>
                  <a:pt x="183" y="693"/>
                </a:lnTo>
                <a:lnTo>
                  <a:pt x="187" y="690"/>
                </a:lnTo>
                <a:lnTo>
                  <a:pt x="193" y="686"/>
                </a:lnTo>
                <a:lnTo>
                  <a:pt x="203" y="679"/>
                </a:lnTo>
                <a:lnTo>
                  <a:pt x="200" y="670"/>
                </a:lnTo>
                <a:lnTo>
                  <a:pt x="201" y="669"/>
                </a:lnTo>
                <a:lnTo>
                  <a:pt x="203" y="668"/>
                </a:lnTo>
                <a:lnTo>
                  <a:pt x="206" y="667"/>
                </a:lnTo>
                <a:lnTo>
                  <a:pt x="210" y="666"/>
                </a:lnTo>
                <a:lnTo>
                  <a:pt x="214" y="665"/>
                </a:lnTo>
                <a:lnTo>
                  <a:pt x="216" y="663"/>
                </a:lnTo>
                <a:lnTo>
                  <a:pt x="218" y="660"/>
                </a:lnTo>
                <a:lnTo>
                  <a:pt x="222" y="655"/>
                </a:lnTo>
                <a:lnTo>
                  <a:pt x="226" y="649"/>
                </a:lnTo>
                <a:lnTo>
                  <a:pt x="229" y="647"/>
                </a:lnTo>
                <a:lnTo>
                  <a:pt x="231" y="645"/>
                </a:lnTo>
                <a:lnTo>
                  <a:pt x="232" y="644"/>
                </a:lnTo>
                <a:lnTo>
                  <a:pt x="234" y="644"/>
                </a:lnTo>
                <a:lnTo>
                  <a:pt x="238" y="643"/>
                </a:lnTo>
                <a:lnTo>
                  <a:pt x="242" y="643"/>
                </a:lnTo>
                <a:lnTo>
                  <a:pt x="243" y="643"/>
                </a:lnTo>
                <a:lnTo>
                  <a:pt x="245" y="642"/>
                </a:lnTo>
                <a:lnTo>
                  <a:pt x="245" y="641"/>
                </a:lnTo>
                <a:lnTo>
                  <a:pt x="245" y="638"/>
                </a:lnTo>
                <a:lnTo>
                  <a:pt x="245" y="636"/>
                </a:lnTo>
                <a:lnTo>
                  <a:pt x="245" y="634"/>
                </a:lnTo>
                <a:lnTo>
                  <a:pt x="246" y="632"/>
                </a:lnTo>
                <a:lnTo>
                  <a:pt x="247" y="631"/>
                </a:lnTo>
                <a:lnTo>
                  <a:pt x="251" y="629"/>
                </a:lnTo>
                <a:lnTo>
                  <a:pt x="255" y="627"/>
                </a:lnTo>
                <a:lnTo>
                  <a:pt x="259" y="625"/>
                </a:lnTo>
                <a:lnTo>
                  <a:pt x="259" y="620"/>
                </a:lnTo>
                <a:lnTo>
                  <a:pt x="256" y="619"/>
                </a:lnTo>
                <a:lnTo>
                  <a:pt x="252" y="619"/>
                </a:lnTo>
                <a:lnTo>
                  <a:pt x="245" y="620"/>
                </a:lnTo>
                <a:lnTo>
                  <a:pt x="249" y="607"/>
                </a:lnTo>
                <a:lnTo>
                  <a:pt x="251" y="603"/>
                </a:lnTo>
                <a:lnTo>
                  <a:pt x="253" y="600"/>
                </a:lnTo>
                <a:lnTo>
                  <a:pt x="256" y="597"/>
                </a:lnTo>
                <a:lnTo>
                  <a:pt x="259" y="594"/>
                </a:lnTo>
                <a:lnTo>
                  <a:pt x="264" y="592"/>
                </a:lnTo>
                <a:lnTo>
                  <a:pt x="270" y="589"/>
                </a:lnTo>
                <a:lnTo>
                  <a:pt x="269" y="587"/>
                </a:lnTo>
                <a:lnTo>
                  <a:pt x="268" y="585"/>
                </a:lnTo>
                <a:lnTo>
                  <a:pt x="267" y="584"/>
                </a:lnTo>
                <a:lnTo>
                  <a:pt x="267" y="583"/>
                </a:lnTo>
                <a:lnTo>
                  <a:pt x="267" y="582"/>
                </a:lnTo>
                <a:lnTo>
                  <a:pt x="267" y="580"/>
                </a:lnTo>
                <a:lnTo>
                  <a:pt x="271" y="580"/>
                </a:lnTo>
                <a:lnTo>
                  <a:pt x="273" y="581"/>
                </a:lnTo>
                <a:lnTo>
                  <a:pt x="275" y="581"/>
                </a:lnTo>
                <a:lnTo>
                  <a:pt x="279" y="580"/>
                </a:lnTo>
                <a:lnTo>
                  <a:pt x="279" y="576"/>
                </a:lnTo>
                <a:lnTo>
                  <a:pt x="279" y="573"/>
                </a:lnTo>
                <a:lnTo>
                  <a:pt x="280" y="571"/>
                </a:lnTo>
                <a:lnTo>
                  <a:pt x="281" y="569"/>
                </a:lnTo>
                <a:lnTo>
                  <a:pt x="284" y="568"/>
                </a:lnTo>
                <a:lnTo>
                  <a:pt x="287" y="568"/>
                </a:lnTo>
                <a:lnTo>
                  <a:pt x="290" y="567"/>
                </a:lnTo>
                <a:lnTo>
                  <a:pt x="293" y="566"/>
                </a:lnTo>
                <a:lnTo>
                  <a:pt x="293" y="565"/>
                </a:lnTo>
                <a:lnTo>
                  <a:pt x="294" y="564"/>
                </a:lnTo>
                <a:lnTo>
                  <a:pt x="294" y="561"/>
                </a:lnTo>
                <a:lnTo>
                  <a:pt x="294" y="558"/>
                </a:lnTo>
                <a:lnTo>
                  <a:pt x="295" y="555"/>
                </a:lnTo>
                <a:lnTo>
                  <a:pt x="310" y="544"/>
                </a:lnTo>
                <a:lnTo>
                  <a:pt x="312" y="543"/>
                </a:lnTo>
                <a:lnTo>
                  <a:pt x="314" y="543"/>
                </a:lnTo>
                <a:lnTo>
                  <a:pt x="314" y="544"/>
                </a:lnTo>
                <a:lnTo>
                  <a:pt x="315" y="545"/>
                </a:lnTo>
                <a:lnTo>
                  <a:pt x="316" y="548"/>
                </a:lnTo>
                <a:lnTo>
                  <a:pt x="316" y="549"/>
                </a:lnTo>
                <a:lnTo>
                  <a:pt x="318" y="549"/>
                </a:lnTo>
                <a:lnTo>
                  <a:pt x="326" y="544"/>
                </a:lnTo>
                <a:lnTo>
                  <a:pt x="329" y="543"/>
                </a:lnTo>
                <a:lnTo>
                  <a:pt x="331" y="544"/>
                </a:lnTo>
                <a:lnTo>
                  <a:pt x="332" y="545"/>
                </a:lnTo>
                <a:lnTo>
                  <a:pt x="331" y="546"/>
                </a:lnTo>
                <a:lnTo>
                  <a:pt x="331" y="547"/>
                </a:lnTo>
                <a:lnTo>
                  <a:pt x="329" y="548"/>
                </a:lnTo>
                <a:lnTo>
                  <a:pt x="328" y="549"/>
                </a:lnTo>
                <a:lnTo>
                  <a:pt x="326" y="549"/>
                </a:lnTo>
                <a:lnTo>
                  <a:pt x="326" y="555"/>
                </a:lnTo>
                <a:lnTo>
                  <a:pt x="329" y="555"/>
                </a:lnTo>
                <a:lnTo>
                  <a:pt x="330" y="555"/>
                </a:lnTo>
                <a:lnTo>
                  <a:pt x="331" y="556"/>
                </a:lnTo>
                <a:lnTo>
                  <a:pt x="331" y="557"/>
                </a:lnTo>
                <a:lnTo>
                  <a:pt x="331" y="559"/>
                </a:lnTo>
                <a:lnTo>
                  <a:pt x="331" y="560"/>
                </a:lnTo>
                <a:lnTo>
                  <a:pt x="332" y="561"/>
                </a:lnTo>
                <a:lnTo>
                  <a:pt x="326" y="560"/>
                </a:lnTo>
                <a:lnTo>
                  <a:pt x="322" y="558"/>
                </a:lnTo>
                <a:lnTo>
                  <a:pt x="317" y="557"/>
                </a:lnTo>
                <a:lnTo>
                  <a:pt x="315" y="557"/>
                </a:lnTo>
                <a:lnTo>
                  <a:pt x="312" y="558"/>
                </a:lnTo>
                <a:lnTo>
                  <a:pt x="308" y="562"/>
                </a:lnTo>
                <a:lnTo>
                  <a:pt x="304" y="566"/>
                </a:lnTo>
                <a:lnTo>
                  <a:pt x="298" y="566"/>
                </a:lnTo>
                <a:lnTo>
                  <a:pt x="297" y="572"/>
                </a:lnTo>
                <a:lnTo>
                  <a:pt x="295" y="582"/>
                </a:lnTo>
                <a:lnTo>
                  <a:pt x="293" y="600"/>
                </a:lnTo>
                <a:lnTo>
                  <a:pt x="295" y="600"/>
                </a:lnTo>
                <a:lnTo>
                  <a:pt x="297" y="600"/>
                </a:lnTo>
                <a:lnTo>
                  <a:pt x="301" y="600"/>
                </a:lnTo>
                <a:lnTo>
                  <a:pt x="301" y="606"/>
                </a:lnTo>
                <a:lnTo>
                  <a:pt x="295" y="608"/>
                </a:lnTo>
                <a:lnTo>
                  <a:pt x="290" y="611"/>
                </a:lnTo>
                <a:lnTo>
                  <a:pt x="293" y="614"/>
                </a:lnTo>
                <a:lnTo>
                  <a:pt x="295" y="615"/>
                </a:lnTo>
                <a:lnTo>
                  <a:pt x="296" y="616"/>
                </a:lnTo>
                <a:lnTo>
                  <a:pt x="295" y="617"/>
                </a:lnTo>
                <a:lnTo>
                  <a:pt x="307" y="613"/>
                </a:lnTo>
                <a:lnTo>
                  <a:pt x="318" y="608"/>
                </a:lnTo>
                <a:lnTo>
                  <a:pt x="318" y="603"/>
                </a:lnTo>
                <a:lnTo>
                  <a:pt x="321" y="602"/>
                </a:lnTo>
                <a:lnTo>
                  <a:pt x="324" y="601"/>
                </a:lnTo>
                <a:lnTo>
                  <a:pt x="327" y="601"/>
                </a:lnTo>
                <a:lnTo>
                  <a:pt x="328" y="601"/>
                </a:lnTo>
                <a:lnTo>
                  <a:pt x="329" y="600"/>
                </a:lnTo>
                <a:lnTo>
                  <a:pt x="330" y="598"/>
                </a:lnTo>
                <a:lnTo>
                  <a:pt x="331" y="597"/>
                </a:lnTo>
                <a:lnTo>
                  <a:pt x="332" y="592"/>
                </a:lnTo>
                <a:lnTo>
                  <a:pt x="333" y="590"/>
                </a:lnTo>
                <a:lnTo>
                  <a:pt x="334" y="588"/>
                </a:lnTo>
                <a:lnTo>
                  <a:pt x="336" y="587"/>
                </a:lnTo>
                <a:lnTo>
                  <a:pt x="338" y="586"/>
                </a:lnTo>
                <a:lnTo>
                  <a:pt x="340" y="586"/>
                </a:lnTo>
                <a:lnTo>
                  <a:pt x="343" y="586"/>
                </a:lnTo>
                <a:lnTo>
                  <a:pt x="348" y="588"/>
                </a:lnTo>
                <a:lnTo>
                  <a:pt x="353" y="591"/>
                </a:lnTo>
                <a:lnTo>
                  <a:pt x="355" y="591"/>
                </a:lnTo>
                <a:lnTo>
                  <a:pt x="357" y="591"/>
                </a:lnTo>
                <a:lnTo>
                  <a:pt x="361" y="588"/>
                </a:lnTo>
                <a:lnTo>
                  <a:pt x="363" y="585"/>
                </a:lnTo>
                <a:lnTo>
                  <a:pt x="366" y="583"/>
                </a:lnTo>
                <a:lnTo>
                  <a:pt x="365" y="580"/>
                </a:lnTo>
                <a:lnTo>
                  <a:pt x="364" y="574"/>
                </a:lnTo>
                <a:lnTo>
                  <a:pt x="363" y="570"/>
                </a:lnTo>
                <a:lnTo>
                  <a:pt x="363" y="572"/>
                </a:lnTo>
                <a:lnTo>
                  <a:pt x="355" y="569"/>
                </a:lnTo>
                <a:lnTo>
                  <a:pt x="355" y="562"/>
                </a:lnTo>
                <a:lnTo>
                  <a:pt x="355" y="558"/>
                </a:lnTo>
                <a:lnTo>
                  <a:pt x="355" y="556"/>
                </a:lnTo>
                <a:lnTo>
                  <a:pt x="355" y="555"/>
                </a:lnTo>
                <a:lnTo>
                  <a:pt x="364" y="557"/>
                </a:lnTo>
                <a:lnTo>
                  <a:pt x="372" y="558"/>
                </a:lnTo>
                <a:lnTo>
                  <a:pt x="376" y="558"/>
                </a:lnTo>
                <a:lnTo>
                  <a:pt x="379" y="558"/>
                </a:lnTo>
                <a:lnTo>
                  <a:pt x="382" y="557"/>
                </a:lnTo>
                <a:lnTo>
                  <a:pt x="385" y="555"/>
                </a:lnTo>
                <a:lnTo>
                  <a:pt x="386" y="554"/>
                </a:lnTo>
                <a:lnTo>
                  <a:pt x="386" y="553"/>
                </a:lnTo>
                <a:lnTo>
                  <a:pt x="385" y="552"/>
                </a:lnTo>
                <a:lnTo>
                  <a:pt x="385" y="551"/>
                </a:lnTo>
                <a:lnTo>
                  <a:pt x="388" y="552"/>
                </a:lnTo>
                <a:lnTo>
                  <a:pt x="388" y="561"/>
                </a:lnTo>
                <a:lnTo>
                  <a:pt x="393" y="563"/>
                </a:lnTo>
                <a:lnTo>
                  <a:pt x="388" y="563"/>
                </a:lnTo>
                <a:lnTo>
                  <a:pt x="395" y="566"/>
                </a:lnTo>
                <a:lnTo>
                  <a:pt x="402" y="569"/>
                </a:lnTo>
                <a:lnTo>
                  <a:pt x="401" y="570"/>
                </a:lnTo>
                <a:lnTo>
                  <a:pt x="401" y="571"/>
                </a:lnTo>
                <a:lnTo>
                  <a:pt x="400" y="573"/>
                </a:lnTo>
                <a:lnTo>
                  <a:pt x="400" y="575"/>
                </a:lnTo>
                <a:lnTo>
                  <a:pt x="401" y="576"/>
                </a:lnTo>
                <a:lnTo>
                  <a:pt x="401" y="578"/>
                </a:lnTo>
                <a:lnTo>
                  <a:pt x="402" y="579"/>
                </a:lnTo>
                <a:lnTo>
                  <a:pt x="402" y="580"/>
                </a:lnTo>
                <a:lnTo>
                  <a:pt x="405" y="581"/>
                </a:lnTo>
                <a:lnTo>
                  <a:pt x="406" y="581"/>
                </a:lnTo>
                <a:lnTo>
                  <a:pt x="408" y="580"/>
                </a:lnTo>
                <a:lnTo>
                  <a:pt x="410" y="579"/>
                </a:lnTo>
                <a:lnTo>
                  <a:pt x="413" y="578"/>
                </a:lnTo>
                <a:lnTo>
                  <a:pt x="414" y="577"/>
                </a:lnTo>
                <a:lnTo>
                  <a:pt x="416" y="577"/>
                </a:lnTo>
                <a:lnTo>
                  <a:pt x="418" y="581"/>
                </a:lnTo>
                <a:lnTo>
                  <a:pt x="419" y="586"/>
                </a:lnTo>
                <a:lnTo>
                  <a:pt x="423" y="587"/>
                </a:lnTo>
                <a:lnTo>
                  <a:pt x="426" y="587"/>
                </a:lnTo>
                <a:lnTo>
                  <a:pt x="430" y="588"/>
                </a:lnTo>
                <a:lnTo>
                  <a:pt x="433" y="589"/>
                </a:lnTo>
                <a:lnTo>
                  <a:pt x="433" y="591"/>
                </a:lnTo>
                <a:lnTo>
                  <a:pt x="438" y="592"/>
                </a:lnTo>
                <a:lnTo>
                  <a:pt x="443" y="592"/>
                </a:lnTo>
                <a:lnTo>
                  <a:pt x="446" y="591"/>
                </a:lnTo>
                <a:lnTo>
                  <a:pt x="450" y="590"/>
                </a:lnTo>
                <a:lnTo>
                  <a:pt x="458" y="589"/>
                </a:lnTo>
                <a:lnTo>
                  <a:pt x="462" y="588"/>
                </a:lnTo>
                <a:lnTo>
                  <a:pt x="467" y="589"/>
                </a:lnTo>
                <a:lnTo>
                  <a:pt x="472" y="590"/>
                </a:lnTo>
                <a:lnTo>
                  <a:pt x="479" y="593"/>
                </a:lnTo>
                <a:lnTo>
                  <a:pt x="493" y="600"/>
                </a:lnTo>
                <a:lnTo>
                  <a:pt x="500" y="603"/>
                </a:lnTo>
                <a:lnTo>
                  <a:pt x="508" y="605"/>
                </a:lnTo>
                <a:lnTo>
                  <a:pt x="511" y="606"/>
                </a:lnTo>
                <a:lnTo>
                  <a:pt x="514" y="606"/>
                </a:lnTo>
                <a:lnTo>
                  <a:pt x="520" y="606"/>
                </a:lnTo>
                <a:lnTo>
                  <a:pt x="523" y="603"/>
                </a:lnTo>
                <a:lnTo>
                  <a:pt x="524" y="601"/>
                </a:lnTo>
                <a:lnTo>
                  <a:pt x="525" y="600"/>
                </a:lnTo>
                <a:lnTo>
                  <a:pt x="526" y="600"/>
                </a:lnTo>
                <a:lnTo>
                  <a:pt x="523" y="614"/>
                </a:lnTo>
                <a:lnTo>
                  <a:pt x="527" y="616"/>
                </a:lnTo>
                <a:lnTo>
                  <a:pt x="533" y="619"/>
                </a:lnTo>
                <a:lnTo>
                  <a:pt x="539" y="622"/>
                </a:lnTo>
                <a:lnTo>
                  <a:pt x="541" y="622"/>
                </a:lnTo>
                <a:lnTo>
                  <a:pt x="543" y="622"/>
                </a:lnTo>
                <a:lnTo>
                  <a:pt x="543" y="614"/>
                </a:lnTo>
                <a:lnTo>
                  <a:pt x="547" y="614"/>
                </a:lnTo>
                <a:lnTo>
                  <a:pt x="551" y="614"/>
                </a:lnTo>
                <a:lnTo>
                  <a:pt x="552" y="615"/>
                </a:lnTo>
                <a:lnTo>
                  <a:pt x="552" y="616"/>
                </a:lnTo>
                <a:lnTo>
                  <a:pt x="550" y="621"/>
                </a:lnTo>
                <a:lnTo>
                  <a:pt x="549" y="626"/>
                </a:lnTo>
                <a:lnTo>
                  <a:pt x="548" y="629"/>
                </a:lnTo>
                <a:lnTo>
                  <a:pt x="549" y="631"/>
                </a:lnTo>
                <a:lnTo>
                  <a:pt x="554" y="631"/>
                </a:lnTo>
                <a:lnTo>
                  <a:pt x="565" y="648"/>
                </a:lnTo>
                <a:lnTo>
                  <a:pt x="567" y="647"/>
                </a:lnTo>
                <a:lnTo>
                  <a:pt x="569" y="645"/>
                </a:lnTo>
                <a:lnTo>
                  <a:pt x="571" y="644"/>
                </a:lnTo>
                <a:lnTo>
                  <a:pt x="574" y="645"/>
                </a:lnTo>
                <a:lnTo>
                  <a:pt x="574" y="649"/>
                </a:lnTo>
                <a:lnTo>
                  <a:pt x="574" y="653"/>
                </a:lnTo>
                <a:lnTo>
                  <a:pt x="579" y="654"/>
                </a:lnTo>
                <a:lnTo>
                  <a:pt x="580" y="655"/>
                </a:lnTo>
                <a:lnTo>
                  <a:pt x="582" y="656"/>
                </a:lnTo>
                <a:lnTo>
                  <a:pt x="580" y="659"/>
                </a:lnTo>
                <a:lnTo>
                  <a:pt x="579" y="660"/>
                </a:lnTo>
                <a:lnTo>
                  <a:pt x="579" y="661"/>
                </a:lnTo>
                <a:lnTo>
                  <a:pt x="580" y="662"/>
                </a:lnTo>
                <a:lnTo>
                  <a:pt x="581" y="662"/>
                </a:lnTo>
                <a:lnTo>
                  <a:pt x="582" y="661"/>
                </a:lnTo>
                <a:lnTo>
                  <a:pt x="585" y="659"/>
                </a:lnTo>
                <a:lnTo>
                  <a:pt x="586" y="660"/>
                </a:lnTo>
                <a:lnTo>
                  <a:pt x="586" y="661"/>
                </a:lnTo>
                <a:lnTo>
                  <a:pt x="585" y="665"/>
                </a:lnTo>
                <a:lnTo>
                  <a:pt x="585" y="668"/>
                </a:lnTo>
                <a:lnTo>
                  <a:pt x="585" y="669"/>
                </a:lnTo>
                <a:lnTo>
                  <a:pt x="585" y="670"/>
                </a:lnTo>
                <a:lnTo>
                  <a:pt x="592" y="674"/>
                </a:lnTo>
                <a:lnTo>
                  <a:pt x="599" y="679"/>
                </a:lnTo>
                <a:lnTo>
                  <a:pt x="600" y="680"/>
                </a:lnTo>
                <a:lnTo>
                  <a:pt x="600" y="681"/>
                </a:lnTo>
                <a:lnTo>
                  <a:pt x="599" y="683"/>
                </a:lnTo>
                <a:lnTo>
                  <a:pt x="599" y="685"/>
                </a:lnTo>
                <a:lnTo>
                  <a:pt x="599" y="687"/>
                </a:lnTo>
                <a:lnTo>
                  <a:pt x="600" y="689"/>
                </a:lnTo>
                <a:lnTo>
                  <a:pt x="602" y="691"/>
                </a:lnTo>
                <a:lnTo>
                  <a:pt x="605" y="697"/>
                </a:lnTo>
                <a:lnTo>
                  <a:pt x="613" y="707"/>
                </a:lnTo>
                <a:lnTo>
                  <a:pt x="615" y="707"/>
                </a:lnTo>
                <a:lnTo>
                  <a:pt x="616" y="707"/>
                </a:lnTo>
                <a:lnTo>
                  <a:pt x="617" y="709"/>
                </a:lnTo>
                <a:lnTo>
                  <a:pt x="618" y="711"/>
                </a:lnTo>
                <a:lnTo>
                  <a:pt x="618" y="712"/>
                </a:lnTo>
                <a:lnTo>
                  <a:pt x="619" y="712"/>
                </a:lnTo>
                <a:lnTo>
                  <a:pt x="621" y="712"/>
                </a:lnTo>
                <a:lnTo>
                  <a:pt x="622" y="712"/>
                </a:lnTo>
                <a:lnTo>
                  <a:pt x="622" y="711"/>
                </a:lnTo>
                <a:lnTo>
                  <a:pt x="622" y="710"/>
                </a:lnTo>
                <a:lnTo>
                  <a:pt x="622" y="707"/>
                </a:lnTo>
                <a:lnTo>
                  <a:pt x="622" y="704"/>
                </a:lnTo>
                <a:lnTo>
                  <a:pt x="624" y="706"/>
                </a:lnTo>
                <a:lnTo>
                  <a:pt x="626" y="707"/>
                </a:lnTo>
                <a:lnTo>
                  <a:pt x="630" y="710"/>
                </a:lnTo>
                <a:lnTo>
                  <a:pt x="628" y="712"/>
                </a:lnTo>
                <a:lnTo>
                  <a:pt x="627" y="714"/>
                </a:lnTo>
                <a:lnTo>
                  <a:pt x="627" y="715"/>
                </a:lnTo>
                <a:lnTo>
                  <a:pt x="632" y="717"/>
                </a:lnTo>
                <a:lnTo>
                  <a:pt x="634" y="717"/>
                </a:lnTo>
                <a:lnTo>
                  <a:pt x="636" y="718"/>
                </a:lnTo>
                <a:lnTo>
                  <a:pt x="633" y="707"/>
                </a:lnTo>
                <a:lnTo>
                  <a:pt x="635" y="706"/>
                </a:lnTo>
                <a:lnTo>
                  <a:pt x="636" y="706"/>
                </a:lnTo>
                <a:lnTo>
                  <a:pt x="635" y="708"/>
                </a:lnTo>
                <a:lnTo>
                  <a:pt x="636" y="710"/>
                </a:lnTo>
                <a:lnTo>
                  <a:pt x="641" y="710"/>
                </a:lnTo>
                <a:lnTo>
                  <a:pt x="642" y="706"/>
                </a:lnTo>
                <a:lnTo>
                  <a:pt x="642" y="701"/>
                </a:lnTo>
                <a:lnTo>
                  <a:pt x="643" y="697"/>
                </a:lnTo>
                <a:lnTo>
                  <a:pt x="644" y="693"/>
                </a:lnTo>
                <a:lnTo>
                  <a:pt x="639" y="693"/>
                </a:lnTo>
                <a:lnTo>
                  <a:pt x="640" y="692"/>
                </a:lnTo>
                <a:lnTo>
                  <a:pt x="639" y="691"/>
                </a:lnTo>
                <a:lnTo>
                  <a:pt x="638" y="691"/>
                </a:lnTo>
                <a:lnTo>
                  <a:pt x="636" y="690"/>
                </a:lnTo>
                <a:lnTo>
                  <a:pt x="630" y="690"/>
                </a:lnTo>
                <a:lnTo>
                  <a:pt x="630" y="701"/>
                </a:lnTo>
                <a:lnTo>
                  <a:pt x="625" y="700"/>
                </a:lnTo>
                <a:lnTo>
                  <a:pt x="619" y="698"/>
                </a:lnTo>
                <a:lnTo>
                  <a:pt x="618" y="697"/>
                </a:lnTo>
                <a:lnTo>
                  <a:pt x="618" y="696"/>
                </a:lnTo>
                <a:lnTo>
                  <a:pt x="617" y="691"/>
                </a:lnTo>
                <a:lnTo>
                  <a:pt x="617" y="687"/>
                </a:lnTo>
                <a:lnTo>
                  <a:pt x="617" y="685"/>
                </a:lnTo>
                <a:lnTo>
                  <a:pt x="616" y="684"/>
                </a:lnTo>
                <a:lnTo>
                  <a:pt x="612" y="683"/>
                </a:lnTo>
                <a:lnTo>
                  <a:pt x="608" y="681"/>
                </a:lnTo>
                <a:lnTo>
                  <a:pt x="616" y="676"/>
                </a:lnTo>
                <a:lnTo>
                  <a:pt x="613" y="667"/>
                </a:lnTo>
                <a:lnTo>
                  <a:pt x="608" y="667"/>
                </a:lnTo>
                <a:lnTo>
                  <a:pt x="607" y="666"/>
                </a:lnTo>
                <a:lnTo>
                  <a:pt x="608" y="665"/>
                </a:lnTo>
                <a:lnTo>
                  <a:pt x="608" y="663"/>
                </a:lnTo>
                <a:lnTo>
                  <a:pt x="608" y="661"/>
                </a:lnTo>
                <a:lnTo>
                  <a:pt x="607" y="660"/>
                </a:lnTo>
                <a:lnTo>
                  <a:pt x="605" y="658"/>
                </a:lnTo>
                <a:lnTo>
                  <a:pt x="602" y="656"/>
                </a:lnTo>
                <a:lnTo>
                  <a:pt x="599" y="655"/>
                </a:lnTo>
                <a:lnTo>
                  <a:pt x="596" y="655"/>
                </a:lnTo>
                <a:lnTo>
                  <a:pt x="589" y="654"/>
                </a:lnTo>
                <a:lnTo>
                  <a:pt x="585" y="654"/>
                </a:lnTo>
                <a:lnTo>
                  <a:pt x="588" y="653"/>
                </a:lnTo>
                <a:lnTo>
                  <a:pt x="593" y="652"/>
                </a:lnTo>
                <a:lnTo>
                  <a:pt x="597" y="651"/>
                </a:lnTo>
                <a:lnTo>
                  <a:pt x="605" y="648"/>
                </a:lnTo>
                <a:lnTo>
                  <a:pt x="605" y="650"/>
                </a:lnTo>
                <a:lnTo>
                  <a:pt x="605" y="652"/>
                </a:lnTo>
                <a:lnTo>
                  <a:pt x="605" y="653"/>
                </a:lnTo>
                <a:lnTo>
                  <a:pt x="608" y="653"/>
                </a:lnTo>
                <a:lnTo>
                  <a:pt x="607" y="652"/>
                </a:lnTo>
                <a:lnTo>
                  <a:pt x="606" y="650"/>
                </a:lnTo>
                <a:lnTo>
                  <a:pt x="605" y="643"/>
                </a:lnTo>
                <a:lnTo>
                  <a:pt x="606" y="637"/>
                </a:lnTo>
                <a:lnTo>
                  <a:pt x="607" y="635"/>
                </a:lnTo>
                <a:lnTo>
                  <a:pt x="607" y="634"/>
                </a:lnTo>
                <a:lnTo>
                  <a:pt x="608" y="634"/>
                </a:lnTo>
                <a:lnTo>
                  <a:pt x="610" y="638"/>
                </a:lnTo>
                <a:lnTo>
                  <a:pt x="613" y="642"/>
                </a:lnTo>
                <a:lnTo>
                  <a:pt x="619" y="651"/>
                </a:lnTo>
                <a:lnTo>
                  <a:pt x="623" y="650"/>
                </a:lnTo>
                <a:lnTo>
                  <a:pt x="627" y="651"/>
                </a:lnTo>
                <a:lnTo>
                  <a:pt x="627" y="656"/>
                </a:lnTo>
                <a:lnTo>
                  <a:pt x="629" y="656"/>
                </a:lnTo>
                <a:lnTo>
                  <a:pt x="632" y="656"/>
                </a:lnTo>
                <a:lnTo>
                  <a:pt x="634" y="656"/>
                </a:lnTo>
                <a:lnTo>
                  <a:pt x="635" y="656"/>
                </a:lnTo>
                <a:lnTo>
                  <a:pt x="636" y="656"/>
                </a:lnTo>
                <a:lnTo>
                  <a:pt x="637" y="657"/>
                </a:lnTo>
                <a:lnTo>
                  <a:pt x="637" y="658"/>
                </a:lnTo>
                <a:lnTo>
                  <a:pt x="637" y="659"/>
                </a:lnTo>
                <a:lnTo>
                  <a:pt x="636" y="660"/>
                </a:lnTo>
                <a:lnTo>
                  <a:pt x="634" y="661"/>
                </a:lnTo>
                <a:lnTo>
                  <a:pt x="633" y="662"/>
                </a:lnTo>
                <a:lnTo>
                  <a:pt x="633" y="663"/>
                </a:lnTo>
                <a:lnTo>
                  <a:pt x="634" y="665"/>
                </a:lnTo>
                <a:lnTo>
                  <a:pt x="636" y="667"/>
                </a:lnTo>
                <a:lnTo>
                  <a:pt x="638" y="670"/>
                </a:lnTo>
                <a:lnTo>
                  <a:pt x="639" y="672"/>
                </a:lnTo>
                <a:lnTo>
                  <a:pt x="640" y="673"/>
                </a:lnTo>
                <a:lnTo>
                  <a:pt x="639" y="675"/>
                </a:lnTo>
                <a:lnTo>
                  <a:pt x="639" y="677"/>
                </a:lnTo>
                <a:lnTo>
                  <a:pt x="639" y="679"/>
                </a:lnTo>
                <a:lnTo>
                  <a:pt x="640" y="683"/>
                </a:lnTo>
                <a:lnTo>
                  <a:pt x="641" y="687"/>
                </a:lnTo>
                <a:lnTo>
                  <a:pt x="650" y="687"/>
                </a:lnTo>
                <a:lnTo>
                  <a:pt x="650" y="691"/>
                </a:lnTo>
                <a:lnTo>
                  <a:pt x="651" y="694"/>
                </a:lnTo>
                <a:lnTo>
                  <a:pt x="651" y="696"/>
                </a:lnTo>
                <a:lnTo>
                  <a:pt x="653" y="698"/>
                </a:lnTo>
                <a:lnTo>
                  <a:pt x="650" y="700"/>
                </a:lnTo>
                <a:lnTo>
                  <a:pt x="649" y="701"/>
                </a:lnTo>
                <a:lnTo>
                  <a:pt x="648" y="703"/>
                </a:lnTo>
                <a:lnTo>
                  <a:pt x="647" y="707"/>
                </a:lnTo>
                <a:lnTo>
                  <a:pt x="648" y="707"/>
                </a:lnTo>
                <a:lnTo>
                  <a:pt x="650" y="708"/>
                </a:lnTo>
                <a:lnTo>
                  <a:pt x="653" y="710"/>
                </a:lnTo>
                <a:lnTo>
                  <a:pt x="653" y="701"/>
                </a:lnTo>
                <a:lnTo>
                  <a:pt x="658" y="705"/>
                </a:lnTo>
                <a:lnTo>
                  <a:pt x="660" y="706"/>
                </a:lnTo>
                <a:lnTo>
                  <a:pt x="664" y="707"/>
                </a:lnTo>
                <a:lnTo>
                  <a:pt x="662" y="709"/>
                </a:lnTo>
                <a:lnTo>
                  <a:pt x="661" y="711"/>
                </a:lnTo>
                <a:lnTo>
                  <a:pt x="661" y="712"/>
                </a:lnTo>
                <a:lnTo>
                  <a:pt x="662" y="712"/>
                </a:lnTo>
                <a:lnTo>
                  <a:pt x="664" y="711"/>
                </a:lnTo>
                <a:lnTo>
                  <a:pt x="667" y="710"/>
                </a:lnTo>
                <a:lnTo>
                  <a:pt x="667" y="719"/>
                </a:lnTo>
                <a:lnTo>
                  <a:pt x="667" y="732"/>
                </a:lnTo>
                <a:lnTo>
                  <a:pt x="670" y="731"/>
                </a:lnTo>
                <a:lnTo>
                  <a:pt x="671" y="729"/>
                </a:lnTo>
                <a:lnTo>
                  <a:pt x="671" y="727"/>
                </a:lnTo>
                <a:lnTo>
                  <a:pt x="672" y="724"/>
                </a:lnTo>
                <a:lnTo>
                  <a:pt x="678" y="743"/>
                </a:lnTo>
                <a:lnTo>
                  <a:pt x="680" y="743"/>
                </a:lnTo>
                <a:lnTo>
                  <a:pt x="681" y="743"/>
                </a:lnTo>
                <a:lnTo>
                  <a:pt x="682" y="742"/>
                </a:lnTo>
                <a:lnTo>
                  <a:pt x="683" y="741"/>
                </a:lnTo>
                <a:lnTo>
                  <a:pt x="684" y="741"/>
                </a:lnTo>
                <a:lnTo>
                  <a:pt x="686" y="743"/>
                </a:lnTo>
                <a:lnTo>
                  <a:pt x="687" y="736"/>
                </a:lnTo>
                <a:lnTo>
                  <a:pt x="688" y="734"/>
                </a:lnTo>
                <a:lnTo>
                  <a:pt x="688" y="733"/>
                </a:lnTo>
                <a:lnTo>
                  <a:pt x="689" y="732"/>
                </a:lnTo>
                <a:lnTo>
                  <a:pt x="689" y="735"/>
                </a:lnTo>
                <a:lnTo>
                  <a:pt x="689" y="741"/>
                </a:lnTo>
                <a:lnTo>
                  <a:pt x="689" y="743"/>
                </a:lnTo>
                <a:lnTo>
                  <a:pt x="688" y="745"/>
                </a:lnTo>
                <a:lnTo>
                  <a:pt x="684" y="749"/>
                </a:lnTo>
                <a:lnTo>
                  <a:pt x="685" y="751"/>
                </a:lnTo>
                <a:lnTo>
                  <a:pt x="686" y="754"/>
                </a:lnTo>
                <a:lnTo>
                  <a:pt x="686" y="757"/>
                </a:lnTo>
                <a:lnTo>
                  <a:pt x="689" y="759"/>
                </a:lnTo>
                <a:lnTo>
                  <a:pt x="692" y="759"/>
                </a:lnTo>
                <a:lnTo>
                  <a:pt x="695" y="760"/>
                </a:lnTo>
                <a:lnTo>
                  <a:pt x="698" y="760"/>
                </a:lnTo>
                <a:lnTo>
                  <a:pt x="698" y="762"/>
                </a:lnTo>
                <a:lnTo>
                  <a:pt x="698" y="765"/>
                </a:lnTo>
                <a:lnTo>
                  <a:pt x="698" y="766"/>
                </a:lnTo>
                <a:lnTo>
                  <a:pt x="697" y="766"/>
                </a:lnTo>
                <a:lnTo>
                  <a:pt x="696" y="767"/>
                </a:lnTo>
                <a:lnTo>
                  <a:pt x="695" y="766"/>
                </a:lnTo>
                <a:lnTo>
                  <a:pt x="694" y="771"/>
                </a:lnTo>
                <a:lnTo>
                  <a:pt x="693" y="773"/>
                </a:lnTo>
                <a:lnTo>
                  <a:pt x="692" y="774"/>
                </a:lnTo>
                <a:lnTo>
                  <a:pt x="700" y="777"/>
                </a:lnTo>
                <a:lnTo>
                  <a:pt x="700" y="800"/>
                </a:lnTo>
                <a:lnTo>
                  <a:pt x="705" y="802"/>
                </a:lnTo>
                <a:lnTo>
                  <a:pt x="709" y="805"/>
                </a:lnTo>
                <a:lnTo>
                  <a:pt x="706" y="807"/>
                </a:lnTo>
                <a:lnTo>
                  <a:pt x="705" y="808"/>
                </a:lnTo>
                <a:lnTo>
                  <a:pt x="705" y="809"/>
                </a:lnTo>
                <a:lnTo>
                  <a:pt x="706" y="809"/>
                </a:lnTo>
                <a:lnTo>
                  <a:pt x="712" y="808"/>
                </a:lnTo>
                <a:lnTo>
                  <a:pt x="713" y="807"/>
                </a:lnTo>
                <a:lnTo>
                  <a:pt x="714" y="804"/>
                </a:lnTo>
                <a:lnTo>
                  <a:pt x="715" y="803"/>
                </a:lnTo>
                <a:lnTo>
                  <a:pt x="714" y="802"/>
                </a:lnTo>
                <a:lnTo>
                  <a:pt x="712" y="802"/>
                </a:lnTo>
                <a:lnTo>
                  <a:pt x="712" y="800"/>
                </a:lnTo>
                <a:lnTo>
                  <a:pt x="715" y="799"/>
                </a:lnTo>
                <a:lnTo>
                  <a:pt x="718" y="799"/>
                </a:lnTo>
                <a:lnTo>
                  <a:pt x="720" y="798"/>
                </a:lnTo>
                <a:lnTo>
                  <a:pt x="723" y="797"/>
                </a:lnTo>
                <a:lnTo>
                  <a:pt x="722" y="800"/>
                </a:lnTo>
                <a:lnTo>
                  <a:pt x="721" y="803"/>
                </a:lnTo>
                <a:lnTo>
                  <a:pt x="720" y="811"/>
                </a:lnTo>
                <a:lnTo>
                  <a:pt x="715" y="811"/>
                </a:lnTo>
                <a:lnTo>
                  <a:pt x="714" y="813"/>
                </a:lnTo>
                <a:lnTo>
                  <a:pt x="714" y="815"/>
                </a:lnTo>
                <a:lnTo>
                  <a:pt x="715" y="815"/>
                </a:lnTo>
                <a:lnTo>
                  <a:pt x="716" y="816"/>
                </a:lnTo>
                <a:lnTo>
                  <a:pt x="717" y="817"/>
                </a:lnTo>
                <a:lnTo>
                  <a:pt x="718" y="818"/>
                </a:lnTo>
                <a:lnTo>
                  <a:pt x="717" y="819"/>
                </a:lnTo>
                <a:lnTo>
                  <a:pt x="720" y="820"/>
                </a:lnTo>
                <a:lnTo>
                  <a:pt x="720" y="821"/>
                </a:lnTo>
                <a:lnTo>
                  <a:pt x="720" y="822"/>
                </a:lnTo>
                <a:lnTo>
                  <a:pt x="720" y="825"/>
                </a:lnTo>
                <a:lnTo>
                  <a:pt x="720" y="828"/>
                </a:lnTo>
                <a:lnTo>
                  <a:pt x="723" y="828"/>
                </a:lnTo>
                <a:lnTo>
                  <a:pt x="723" y="827"/>
                </a:lnTo>
                <a:lnTo>
                  <a:pt x="723" y="824"/>
                </a:lnTo>
                <a:lnTo>
                  <a:pt x="723" y="822"/>
                </a:lnTo>
                <a:lnTo>
                  <a:pt x="733" y="828"/>
                </a:lnTo>
                <a:lnTo>
                  <a:pt x="743" y="833"/>
                </a:lnTo>
                <a:lnTo>
                  <a:pt x="743" y="838"/>
                </a:lnTo>
                <a:lnTo>
                  <a:pt x="743" y="848"/>
                </a:lnTo>
                <a:lnTo>
                  <a:pt x="743" y="868"/>
                </a:lnTo>
                <a:lnTo>
                  <a:pt x="737" y="868"/>
                </a:lnTo>
                <a:lnTo>
                  <a:pt x="733" y="868"/>
                </a:lnTo>
                <a:lnTo>
                  <a:pt x="731" y="868"/>
                </a:lnTo>
                <a:lnTo>
                  <a:pt x="734" y="875"/>
                </a:lnTo>
                <a:lnTo>
                  <a:pt x="735" y="879"/>
                </a:lnTo>
                <a:lnTo>
                  <a:pt x="735" y="883"/>
                </a:lnTo>
                <a:lnTo>
                  <a:pt x="737" y="891"/>
                </a:lnTo>
                <a:lnTo>
                  <a:pt x="744" y="890"/>
                </a:lnTo>
                <a:lnTo>
                  <a:pt x="750" y="889"/>
                </a:lnTo>
                <a:lnTo>
                  <a:pt x="754" y="889"/>
                </a:lnTo>
                <a:lnTo>
                  <a:pt x="757" y="889"/>
                </a:lnTo>
                <a:lnTo>
                  <a:pt x="761" y="889"/>
                </a:lnTo>
                <a:lnTo>
                  <a:pt x="765" y="891"/>
                </a:lnTo>
                <a:lnTo>
                  <a:pt x="765" y="899"/>
                </a:lnTo>
                <a:lnTo>
                  <a:pt x="762" y="902"/>
                </a:lnTo>
                <a:lnTo>
                  <a:pt x="765" y="902"/>
                </a:lnTo>
                <a:lnTo>
                  <a:pt x="766" y="902"/>
                </a:lnTo>
                <a:lnTo>
                  <a:pt x="769" y="901"/>
                </a:lnTo>
                <a:lnTo>
                  <a:pt x="771" y="899"/>
                </a:lnTo>
                <a:lnTo>
                  <a:pt x="772" y="899"/>
                </a:lnTo>
                <a:lnTo>
                  <a:pt x="774" y="899"/>
                </a:lnTo>
                <a:lnTo>
                  <a:pt x="775" y="900"/>
                </a:lnTo>
                <a:lnTo>
                  <a:pt x="777" y="901"/>
                </a:lnTo>
                <a:lnTo>
                  <a:pt x="780" y="903"/>
                </a:lnTo>
                <a:lnTo>
                  <a:pt x="782" y="905"/>
                </a:lnTo>
                <a:lnTo>
                  <a:pt x="790" y="913"/>
                </a:lnTo>
                <a:lnTo>
                  <a:pt x="790" y="912"/>
                </a:lnTo>
                <a:lnTo>
                  <a:pt x="791" y="910"/>
                </a:lnTo>
                <a:lnTo>
                  <a:pt x="791" y="909"/>
                </a:lnTo>
                <a:lnTo>
                  <a:pt x="792" y="909"/>
                </a:lnTo>
                <a:lnTo>
                  <a:pt x="793" y="910"/>
                </a:lnTo>
                <a:lnTo>
                  <a:pt x="795" y="913"/>
                </a:lnTo>
                <a:lnTo>
                  <a:pt x="795" y="915"/>
                </a:lnTo>
                <a:lnTo>
                  <a:pt x="795" y="920"/>
                </a:lnTo>
                <a:lnTo>
                  <a:pt x="795" y="922"/>
                </a:lnTo>
                <a:lnTo>
                  <a:pt x="796" y="924"/>
                </a:lnTo>
                <a:lnTo>
                  <a:pt x="796" y="925"/>
                </a:lnTo>
                <a:lnTo>
                  <a:pt x="797" y="926"/>
                </a:lnTo>
                <a:lnTo>
                  <a:pt x="799" y="927"/>
                </a:lnTo>
                <a:lnTo>
                  <a:pt x="803" y="929"/>
                </a:lnTo>
                <a:lnTo>
                  <a:pt x="808" y="930"/>
                </a:lnTo>
                <a:lnTo>
                  <a:pt x="812" y="931"/>
                </a:lnTo>
                <a:lnTo>
                  <a:pt x="817" y="931"/>
                </a:lnTo>
                <a:lnTo>
                  <a:pt x="825" y="930"/>
                </a:lnTo>
                <a:lnTo>
                  <a:pt x="828" y="930"/>
                </a:lnTo>
                <a:lnTo>
                  <a:pt x="831" y="930"/>
                </a:lnTo>
                <a:lnTo>
                  <a:pt x="834" y="930"/>
                </a:lnTo>
                <a:lnTo>
                  <a:pt x="826" y="917"/>
                </a:lnTo>
                <a:lnTo>
                  <a:pt x="820" y="909"/>
                </a:lnTo>
                <a:lnTo>
                  <a:pt x="817" y="905"/>
                </a:lnTo>
                <a:lnTo>
                  <a:pt x="813" y="903"/>
                </a:lnTo>
                <a:lnTo>
                  <a:pt x="810" y="902"/>
                </a:lnTo>
                <a:lnTo>
                  <a:pt x="804" y="901"/>
                </a:lnTo>
                <a:lnTo>
                  <a:pt x="798" y="899"/>
                </a:lnTo>
                <a:lnTo>
                  <a:pt x="796" y="898"/>
                </a:lnTo>
                <a:lnTo>
                  <a:pt x="793" y="896"/>
                </a:lnTo>
                <a:lnTo>
                  <a:pt x="785" y="885"/>
                </a:lnTo>
                <a:lnTo>
                  <a:pt x="787" y="882"/>
                </a:lnTo>
                <a:lnTo>
                  <a:pt x="788" y="881"/>
                </a:lnTo>
                <a:lnTo>
                  <a:pt x="788" y="880"/>
                </a:lnTo>
                <a:lnTo>
                  <a:pt x="788" y="879"/>
                </a:lnTo>
                <a:lnTo>
                  <a:pt x="768" y="877"/>
                </a:lnTo>
                <a:lnTo>
                  <a:pt x="779" y="875"/>
                </a:lnTo>
                <a:lnTo>
                  <a:pt x="786" y="874"/>
                </a:lnTo>
                <a:lnTo>
                  <a:pt x="788" y="874"/>
                </a:lnTo>
                <a:lnTo>
                  <a:pt x="786" y="874"/>
                </a:lnTo>
                <a:lnTo>
                  <a:pt x="785" y="874"/>
                </a:lnTo>
                <a:lnTo>
                  <a:pt x="787" y="872"/>
                </a:lnTo>
                <a:lnTo>
                  <a:pt x="793" y="868"/>
                </a:lnTo>
                <a:lnTo>
                  <a:pt x="796" y="874"/>
                </a:lnTo>
                <a:lnTo>
                  <a:pt x="797" y="878"/>
                </a:lnTo>
                <a:lnTo>
                  <a:pt x="798" y="881"/>
                </a:lnTo>
                <a:lnTo>
                  <a:pt x="800" y="881"/>
                </a:lnTo>
                <a:lnTo>
                  <a:pt x="802" y="882"/>
                </a:lnTo>
                <a:lnTo>
                  <a:pt x="813" y="885"/>
                </a:lnTo>
                <a:lnTo>
                  <a:pt x="817" y="891"/>
                </a:lnTo>
                <a:lnTo>
                  <a:pt x="815" y="891"/>
                </a:lnTo>
                <a:lnTo>
                  <a:pt x="813" y="893"/>
                </a:lnTo>
                <a:lnTo>
                  <a:pt x="812" y="894"/>
                </a:lnTo>
                <a:lnTo>
                  <a:pt x="812" y="895"/>
                </a:lnTo>
                <a:lnTo>
                  <a:pt x="813" y="896"/>
                </a:lnTo>
                <a:lnTo>
                  <a:pt x="815" y="897"/>
                </a:lnTo>
                <a:lnTo>
                  <a:pt x="817" y="897"/>
                </a:lnTo>
                <a:lnTo>
                  <a:pt x="820" y="895"/>
                </a:lnTo>
                <a:lnTo>
                  <a:pt x="825" y="891"/>
                </a:lnTo>
                <a:lnTo>
                  <a:pt x="826" y="892"/>
                </a:lnTo>
                <a:lnTo>
                  <a:pt x="826" y="893"/>
                </a:lnTo>
                <a:lnTo>
                  <a:pt x="825" y="895"/>
                </a:lnTo>
                <a:lnTo>
                  <a:pt x="822" y="899"/>
                </a:lnTo>
                <a:lnTo>
                  <a:pt x="827" y="902"/>
                </a:lnTo>
                <a:lnTo>
                  <a:pt x="832" y="905"/>
                </a:lnTo>
                <a:lnTo>
                  <a:pt x="836" y="908"/>
                </a:lnTo>
                <a:lnTo>
                  <a:pt x="838" y="910"/>
                </a:lnTo>
                <a:lnTo>
                  <a:pt x="839" y="913"/>
                </a:lnTo>
                <a:lnTo>
                  <a:pt x="840" y="915"/>
                </a:lnTo>
                <a:lnTo>
                  <a:pt x="840" y="918"/>
                </a:lnTo>
                <a:lnTo>
                  <a:pt x="839" y="922"/>
                </a:lnTo>
                <a:lnTo>
                  <a:pt x="838" y="925"/>
                </a:lnTo>
                <a:lnTo>
                  <a:pt x="837" y="927"/>
                </a:lnTo>
                <a:lnTo>
                  <a:pt x="837" y="929"/>
                </a:lnTo>
                <a:lnTo>
                  <a:pt x="836" y="933"/>
                </a:lnTo>
                <a:lnTo>
                  <a:pt x="834" y="939"/>
                </a:lnTo>
                <a:lnTo>
                  <a:pt x="826" y="938"/>
                </a:lnTo>
                <a:lnTo>
                  <a:pt x="817" y="936"/>
                </a:lnTo>
                <a:lnTo>
                  <a:pt x="796" y="933"/>
                </a:lnTo>
                <a:lnTo>
                  <a:pt x="797" y="936"/>
                </a:lnTo>
                <a:lnTo>
                  <a:pt x="797" y="939"/>
                </a:lnTo>
                <a:lnTo>
                  <a:pt x="798" y="943"/>
                </a:lnTo>
                <a:lnTo>
                  <a:pt x="799" y="947"/>
                </a:lnTo>
                <a:lnTo>
                  <a:pt x="802" y="952"/>
                </a:lnTo>
                <a:lnTo>
                  <a:pt x="808" y="959"/>
                </a:lnTo>
                <a:lnTo>
                  <a:pt x="813" y="967"/>
                </a:lnTo>
                <a:lnTo>
                  <a:pt x="815" y="971"/>
                </a:lnTo>
                <a:lnTo>
                  <a:pt x="817" y="975"/>
                </a:lnTo>
                <a:lnTo>
                  <a:pt x="817" y="978"/>
                </a:lnTo>
                <a:lnTo>
                  <a:pt x="815" y="981"/>
                </a:lnTo>
                <a:lnTo>
                  <a:pt x="813" y="987"/>
                </a:lnTo>
                <a:lnTo>
                  <a:pt x="811" y="993"/>
                </a:lnTo>
                <a:lnTo>
                  <a:pt x="810" y="998"/>
                </a:lnTo>
                <a:lnTo>
                  <a:pt x="810" y="1001"/>
                </a:lnTo>
                <a:lnTo>
                  <a:pt x="811" y="1005"/>
                </a:lnTo>
                <a:lnTo>
                  <a:pt x="812" y="1014"/>
                </a:lnTo>
                <a:lnTo>
                  <a:pt x="813" y="1024"/>
                </a:lnTo>
                <a:lnTo>
                  <a:pt x="813" y="1034"/>
                </a:lnTo>
                <a:lnTo>
                  <a:pt x="812" y="1041"/>
                </a:lnTo>
                <a:lnTo>
                  <a:pt x="810" y="1049"/>
                </a:lnTo>
                <a:lnTo>
                  <a:pt x="807" y="1066"/>
                </a:lnTo>
                <a:lnTo>
                  <a:pt x="805" y="1074"/>
                </a:lnTo>
                <a:lnTo>
                  <a:pt x="805" y="1083"/>
                </a:lnTo>
                <a:lnTo>
                  <a:pt x="805" y="1091"/>
                </a:lnTo>
                <a:lnTo>
                  <a:pt x="806" y="1095"/>
                </a:lnTo>
                <a:lnTo>
                  <a:pt x="807" y="1099"/>
                </a:lnTo>
                <a:lnTo>
                  <a:pt x="809" y="1100"/>
                </a:lnTo>
                <a:lnTo>
                  <a:pt x="812" y="1102"/>
                </a:lnTo>
                <a:lnTo>
                  <a:pt x="814" y="1103"/>
                </a:lnTo>
                <a:lnTo>
                  <a:pt x="817" y="1104"/>
                </a:lnTo>
                <a:lnTo>
                  <a:pt x="815" y="1114"/>
                </a:lnTo>
                <a:lnTo>
                  <a:pt x="814" y="1120"/>
                </a:lnTo>
                <a:lnTo>
                  <a:pt x="815" y="1123"/>
                </a:lnTo>
                <a:lnTo>
                  <a:pt x="815" y="1124"/>
                </a:lnTo>
                <a:lnTo>
                  <a:pt x="817" y="1124"/>
                </a:lnTo>
                <a:lnTo>
                  <a:pt x="811" y="1138"/>
                </a:lnTo>
                <a:lnTo>
                  <a:pt x="807" y="1150"/>
                </a:lnTo>
                <a:lnTo>
                  <a:pt x="809" y="1151"/>
                </a:lnTo>
                <a:lnTo>
                  <a:pt x="811" y="1154"/>
                </a:lnTo>
                <a:lnTo>
                  <a:pt x="817" y="1158"/>
                </a:lnTo>
                <a:lnTo>
                  <a:pt x="819" y="1163"/>
                </a:lnTo>
                <a:lnTo>
                  <a:pt x="820" y="1166"/>
                </a:lnTo>
                <a:lnTo>
                  <a:pt x="820" y="1170"/>
                </a:lnTo>
                <a:lnTo>
                  <a:pt x="820" y="1172"/>
                </a:lnTo>
                <a:lnTo>
                  <a:pt x="820" y="1178"/>
                </a:lnTo>
                <a:lnTo>
                  <a:pt x="821" y="1182"/>
                </a:lnTo>
                <a:lnTo>
                  <a:pt x="822" y="1186"/>
                </a:lnTo>
                <a:lnTo>
                  <a:pt x="825" y="1190"/>
                </a:lnTo>
                <a:lnTo>
                  <a:pt x="829" y="1196"/>
                </a:lnTo>
                <a:lnTo>
                  <a:pt x="833" y="1203"/>
                </a:lnTo>
                <a:lnTo>
                  <a:pt x="836" y="1209"/>
                </a:lnTo>
                <a:lnTo>
                  <a:pt x="839" y="1207"/>
                </a:lnTo>
                <a:lnTo>
                  <a:pt x="840" y="1206"/>
                </a:lnTo>
                <a:lnTo>
                  <a:pt x="840" y="1203"/>
                </a:lnTo>
                <a:lnTo>
                  <a:pt x="840" y="1201"/>
                </a:lnTo>
                <a:lnTo>
                  <a:pt x="839" y="1200"/>
                </a:lnTo>
                <a:lnTo>
                  <a:pt x="841" y="1200"/>
                </a:lnTo>
                <a:lnTo>
                  <a:pt x="842" y="1201"/>
                </a:lnTo>
                <a:lnTo>
                  <a:pt x="844" y="1202"/>
                </a:lnTo>
                <a:lnTo>
                  <a:pt x="846" y="1203"/>
                </a:lnTo>
                <a:lnTo>
                  <a:pt x="848" y="1203"/>
                </a:lnTo>
                <a:lnTo>
                  <a:pt x="847" y="1204"/>
                </a:lnTo>
                <a:lnTo>
                  <a:pt x="846" y="1204"/>
                </a:lnTo>
                <a:lnTo>
                  <a:pt x="845" y="1207"/>
                </a:lnTo>
                <a:lnTo>
                  <a:pt x="845" y="1212"/>
                </a:lnTo>
                <a:lnTo>
                  <a:pt x="845" y="1215"/>
                </a:lnTo>
                <a:lnTo>
                  <a:pt x="845" y="1218"/>
                </a:lnTo>
                <a:lnTo>
                  <a:pt x="844" y="1220"/>
                </a:lnTo>
                <a:lnTo>
                  <a:pt x="842" y="1223"/>
                </a:lnTo>
                <a:lnTo>
                  <a:pt x="856" y="1228"/>
                </a:lnTo>
                <a:lnTo>
                  <a:pt x="852" y="1236"/>
                </a:lnTo>
                <a:lnTo>
                  <a:pt x="851" y="1238"/>
                </a:lnTo>
                <a:lnTo>
                  <a:pt x="850" y="1240"/>
                </a:lnTo>
                <a:lnTo>
                  <a:pt x="850" y="1242"/>
                </a:lnTo>
                <a:lnTo>
                  <a:pt x="851" y="1245"/>
                </a:lnTo>
                <a:lnTo>
                  <a:pt x="852" y="1248"/>
                </a:lnTo>
                <a:lnTo>
                  <a:pt x="854" y="1251"/>
                </a:lnTo>
                <a:lnTo>
                  <a:pt x="858" y="1255"/>
                </a:lnTo>
                <a:lnTo>
                  <a:pt x="862" y="1258"/>
                </a:lnTo>
                <a:lnTo>
                  <a:pt x="869" y="1264"/>
                </a:lnTo>
                <a:lnTo>
                  <a:pt x="873" y="1268"/>
                </a:lnTo>
                <a:lnTo>
                  <a:pt x="872" y="1269"/>
                </a:lnTo>
                <a:lnTo>
                  <a:pt x="870" y="1271"/>
                </a:lnTo>
                <a:lnTo>
                  <a:pt x="867" y="1273"/>
                </a:lnTo>
                <a:lnTo>
                  <a:pt x="873" y="1276"/>
                </a:lnTo>
                <a:lnTo>
                  <a:pt x="874" y="1279"/>
                </a:lnTo>
                <a:lnTo>
                  <a:pt x="875" y="1281"/>
                </a:lnTo>
                <a:lnTo>
                  <a:pt x="876" y="1286"/>
                </a:lnTo>
                <a:lnTo>
                  <a:pt x="875" y="1292"/>
                </a:lnTo>
                <a:lnTo>
                  <a:pt x="876" y="1295"/>
                </a:lnTo>
                <a:lnTo>
                  <a:pt x="876" y="1299"/>
                </a:lnTo>
                <a:lnTo>
                  <a:pt x="878" y="1299"/>
                </a:lnTo>
                <a:lnTo>
                  <a:pt x="879" y="1299"/>
                </a:lnTo>
                <a:lnTo>
                  <a:pt x="879" y="1298"/>
                </a:lnTo>
                <a:lnTo>
                  <a:pt x="879" y="1296"/>
                </a:lnTo>
                <a:lnTo>
                  <a:pt x="881" y="1296"/>
                </a:lnTo>
                <a:lnTo>
                  <a:pt x="885" y="1297"/>
                </a:lnTo>
                <a:lnTo>
                  <a:pt x="892" y="1299"/>
                </a:lnTo>
                <a:lnTo>
                  <a:pt x="898" y="1302"/>
                </a:lnTo>
                <a:lnTo>
                  <a:pt x="904" y="1304"/>
                </a:lnTo>
                <a:lnTo>
                  <a:pt x="904" y="1313"/>
                </a:lnTo>
                <a:lnTo>
                  <a:pt x="906" y="1313"/>
                </a:lnTo>
                <a:lnTo>
                  <a:pt x="907" y="1313"/>
                </a:lnTo>
                <a:lnTo>
                  <a:pt x="909" y="1311"/>
                </a:lnTo>
                <a:lnTo>
                  <a:pt x="911" y="1310"/>
                </a:lnTo>
                <a:lnTo>
                  <a:pt x="911" y="1309"/>
                </a:lnTo>
                <a:lnTo>
                  <a:pt x="912" y="1310"/>
                </a:lnTo>
                <a:lnTo>
                  <a:pt x="915" y="1313"/>
                </a:lnTo>
                <a:lnTo>
                  <a:pt x="917" y="1317"/>
                </a:lnTo>
                <a:lnTo>
                  <a:pt x="919" y="1321"/>
                </a:lnTo>
                <a:lnTo>
                  <a:pt x="921" y="1324"/>
                </a:lnTo>
                <a:lnTo>
                  <a:pt x="929" y="1327"/>
                </a:lnTo>
                <a:lnTo>
                  <a:pt x="930" y="1330"/>
                </a:lnTo>
                <a:lnTo>
                  <a:pt x="931" y="1332"/>
                </a:lnTo>
                <a:lnTo>
                  <a:pt x="931" y="1338"/>
                </a:lnTo>
                <a:lnTo>
                  <a:pt x="931" y="1344"/>
                </a:lnTo>
                <a:lnTo>
                  <a:pt x="931" y="1346"/>
                </a:lnTo>
                <a:lnTo>
                  <a:pt x="932" y="1349"/>
                </a:lnTo>
                <a:lnTo>
                  <a:pt x="933" y="1352"/>
                </a:lnTo>
                <a:lnTo>
                  <a:pt x="934" y="1355"/>
                </a:lnTo>
                <a:lnTo>
                  <a:pt x="935" y="1358"/>
                </a:lnTo>
                <a:lnTo>
                  <a:pt x="941" y="1358"/>
                </a:lnTo>
                <a:lnTo>
                  <a:pt x="942" y="1361"/>
                </a:lnTo>
                <a:lnTo>
                  <a:pt x="943" y="1364"/>
                </a:lnTo>
                <a:lnTo>
                  <a:pt x="943" y="1370"/>
                </a:lnTo>
                <a:lnTo>
                  <a:pt x="944" y="1376"/>
                </a:lnTo>
                <a:lnTo>
                  <a:pt x="945" y="1379"/>
                </a:lnTo>
                <a:lnTo>
                  <a:pt x="946" y="1383"/>
                </a:lnTo>
                <a:lnTo>
                  <a:pt x="948" y="1386"/>
                </a:lnTo>
                <a:lnTo>
                  <a:pt x="950" y="1389"/>
                </a:lnTo>
                <a:lnTo>
                  <a:pt x="956" y="1395"/>
                </a:lnTo>
                <a:lnTo>
                  <a:pt x="969" y="1406"/>
                </a:lnTo>
                <a:lnTo>
                  <a:pt x="970" y="1406"/>
                </a:lnTo>
                <a:lnTo>
                  <a:pt x="973" y="1407"/>
                </a:lnTo>
                <a:lnTo>
                  <a:pt x="975" y="1407"/>
                </a:lnTo>
                <a:lnTo>
                  <a:pt x="977" y="1408"/>
                </a:lnTo>
                <a:lnTo>
                  <a:pt x="980" y="1412"/>
                </a:lnTo>
                <a:lnTo>
                  <a:pt x="982" y="1416"/>
                </a:lnTo>
                <a:lnTo>
                  <a:pt x="983" y="1422"/>
                </a:lnTo>
                <a:lnTo>
                  <a:pt x="984" y="1428"/>
                </a:lnTo>
                <a:lnTo>
                  <a:pt x="985" y="1441"/>
                </a:lnTo>
                <a:lnTo>
                  <a:pt x="986" y="1453"/>
                </a:lnTo>
                <a:lnTo>
                  <a:pt x="976" y="1456"/>
                </a:lnTo>
                <a:lnTo>
                  <a:pt x="969" y="1459"/>
                </a:lnTo>
                <a:lnTo>
                  <a:pt x="980" y="1466"/>
                </a:lnTo>
                <a:lnTo>
                  <a:pt x="991" y="1473"/>
                </a:lnTo>
                <a:lnTo>
                  <a:pt x="991" y="1479"/>
                </a:lnTo>
                <a:lnTo>
                  <a:pt x="993" y="1480"/>
                </a:lnTo>
                <a:lnTo>
                  <a:pt x="996" y="1481"/>
                </a:lnTo>
                <a:lnTo>
                  <a:pt x="1000" y="1481"/>
                </a:lnTo>
                <a:lnTo>
                  <a:pt x="1004" y="1482"/>
                </a:lnTo>
                <a:lnTo>
                  <a:pt x="1006" y="1483"/>
                </a:lnTo>
                <a:lnTo>
                  <a:pt x="1008" y="1484"/>
                </a:lnTo>
                <a:lnTo>
                  <a:pt x="1009" y="1487"/>
                </a:lnTo>
                <a:lnTo>
                  <a:pt x="1011" y="1490"/>
                </a:lnTo>
                <a:lnTo>
                  <a:pt x="1013" y="1494"/>
                </a:lnTo>
                <a:lnTo>
                  <a:pt x="1013" y="1495"/>
                </a:lnTo>
                <a:lnTo>
                  <a:pt x="1014" y="1496"/>
                </a:lnTo>
                <a:lnTo>
                  <a:pt x="1019" y="1496"/>
                </a:lnTo>
                <a:lnTo>
                  <a:pt x="1021" y="1499"/>
                </a:lnTo>
                <a:lnTo>
                  <a:pt x="1021" y="1503"/>
                </a:lnTo>
                <a:lnTo>
                  <a:pt x="1021" y="1508"/>
                </a:lnTo>
                <a:lnTo>
                  <a:pt x="1021" y="1512"/>
                </a:lnTo>
                <a:lnTo>
                  <a:pt x="1020" y="1521"/>
                </a:lnTo>
                <a:lnTo>
                  <a:pt x="1021" y="1525"/>
                </a:lnTo>
                <a:lnTo>
                  <a:pt x="1022" y="1529"/>
                </a:lnTo>
                <a:lnTo>
                  <a:pt x="1024" y="1531"/>
                </a:lnTo>
                <a:lnTo>
                  <a:pt x="1027" y="1532"/>
                </a:lnTo>
                <a:lnTo>
                  <a:pt x="1031" y="1534"/>
                </a:lnTo>
                <a:lnTo>
                  <a:pt x="1033" y="1535"/>
                </a:lnTo>
                <a:lnTo>
                  <a:pt x="1033" y="1541"/>
                </a:lnTo>
                <a:lnTo>
                  <a:pt x="1035" y="1543"/>
                </a:lnTo>
                <a:lnTo>
                  <a:pt x="1038" y="1546"/>
                </a:lnTo>
                <a:lnTo>
                  <a:pt x="1046" y="1555"/>
                </a:lnTo>
                <a:lnTo>
                  <a:pt x="1051" y="1560"/>
                </a:lnTo>
                <a:lnTo>
                  <a:pt x="1055" y="1566"/>
                </a:lnTo>
                <a:lnTo>
                  <a:pt x="1059" y="1570"/>
                </a:lnTo>
                <a:lnTo>
                  <a:pt x="1061" y="1574"/>
                </a:lnTo>
                <a:lnTo>
                  <a:pt x="1062" y="1571"/>
                </a:lnTo>
                <a:lnTo>
                  <a:pt x="1063" y="1570"/>
                </a:lnTo>
                <a:lnTo>
                  <a:pt x="1064" y="1570"/>
                </a:lnTo>
                <a:lnTo>
                  <a:pt x="1067" y="1569"/>
                </a:lnTo>
                <a:lnTo>
                  <a:pt x="1067" y="1566"/>
                </a:lnTo>
                <a:lnTo>
                  <a:pt x="1067" y="1563"/>
                </a:lnTo>
                <a:lnTo>
                  <a:pt x="1067" y="1560"/>
                </a:lnTo>
                <a:lnTo>
                  <a:pt x="1067" y="1557"/>
                </a:lnTo>
                <a:lnTo>
                  <a:pt x="1066" y="1556"/>
                </a:lnTo>
                <a:lnTo>
                  <a:pt x="1065" y="1555"/>
                </a:lnTo>
                <a:lnTo>
                  <a:pt x="1062" y="1553"/>
                </a:lnTo>
                <a:lnTo>
                  <a:pt x="1058" y="1551"/>
                </a:lnTo>
                <a:lnTo>
                  <a:pt x="1056" y="1549"/>
                </a:lnTo>
                <a:lnTo>
                  <a:pt x="1055" y="1547"/>
                </a:lnTo>
                <a:lnTo>
                  <a:pt x="1055" y="1544"/>
                </a:lnTo>
                <a:lnTo>
                  <a:pt x="1054" y="1542"/>
                </a:lnTo>
                <a:lnTo>
                  <a:pt x="1054" y="1541"/>
                </a:lnTo>
                <a:lnTo>
                  <a:pt x="1053" y="1541"/>
                </a:lnTo>
                <a:lnTo>
                  <a:pt x="1052" y="1540"/>
                </a:lnTo>
                <a:lnTo>
                  <a:pt x="1051" y="1540"/>
                </a:lnTo>
                <a:lnTo>
                  <a:pt x="1048" y="1539"/>
                </a:lnTo>
                <a:lnTo>
                  <a:pt x="1046" y="1539"/>
                </a:lnTo>
                <a:lnTo>
                  <a:pt x="1045" y="1539"/>
                </a:lnTo>
                <a:lnTo>
                  <a:pt x="1045" y="1538"/>
                </a:lnTo>
                <a:lnTo>
                  <a:pt x="1045" y="1537"/>
                </a:lnTo>
                <a:lnTo>
                  <a:pt x="1045" y="1536"/>
                </a:lnTo>
                <a:lnTo>
                  <a:pt x="1046" y="1533"/>
                </a:lnTo>
                <a:lnTo>
                  <a:pt x="1047" y="1530"/>
                </a:lnTo>
                <a:lnTo>
                  <a:pt x="1047" y="1527"/>
                </a:lnTo>
                <a:lnTo>
                  <a:pt x="1042" y="1527"/>
                </a:lnTo>
                <a:lnTo>
                  <a:pt x="1039" y="1514"/>
                </a:lnTo>
                <a:lnTo>
                  <a:pt x="1037" y="1503"/>
                </a:lnTo>
                <a:lnTo>
                  <a:pt x="1035" y="1493"/>
                </a:lnTo>
                <a:lnTo>
                  <a:pt x="1031" y="1481"/>
                </a:lnTo>
                <a:lnTo>
                  <a:pt x="1026" y="1480"/>
                </a:lnTo>
                <a:lnTo>
                  <a:pt x="1024" y="1480"/>
                </a:lnTo>
                <a:lnTo>
                  <a:pt x="1023" y="1479"/>
                </a:lnTo>
                <a:lnTo>
                  <a:pt x="1022" y="1479"/>
                </a:lnTo>
                <a:lnTo>
                  <a:pt x="1022" y="1477"/>
                </a:lnTo>
                <a:lnTo>
                  <a:pt x="1022" y="1475"/>
                </a:lnTo>
                <a:lnTo>
                  <a:pt x="1022" y="1472"/>
                </a:lnTo>
                <a:lnTo>
                  <a:pt x="1023" y="1468"/>
                </a:lnTo>
                <a:lnTo>
                  <a:pt x="1023" y="1466"/>
                </a:lnTo>
                <a:lnTo>
                  <a:pt x="1022" y="1465"/>
                </a:lnTo>
                <a:lnTo>
                  <a:pt x="1016" y="1465"/>
                </a:lnTo>
                <a:lnTo>
                  <a:pt x="1013" y="1457"/>
                </a:lnTo>
                <a:lnTo>
                  <a:pt x="1010" y="1449"/>
                </a:lnTo>
                <a:lnTo>
                  <a:pt x="1007" y="1440"/>
                </a:lnTo>
                <a:lnTo>
                  <a:pt x="1005" y="1431"/>
                </a:lnTo>
                <a:lnTo>
                  <a:pt x="997" y="1431"/>
                </a:lnTo>
                <a:lnTo>
                  <a:pt x="996" y="1428"/>
                </a:lnTo>
                <a:lnTo>
                  <a:pt x="995" y="1425"/>
                </a:lnTo>
                <a:lnTo>
                  <a:pt x="995" y="1419"/>
                </a:lnTo>
                <a:lnTo>
                  <a:pt x="995" y="1413"/>
                </a:lnTo>
                <a:lnTo>
                  <a:pt x="995" y="1411"/>
                </a:lnTo>
                <a:lnTo>
                  <a:pt x="994" y="1408"/>
                </a:lnTo>
                <a:lnTo>
                  <a:pt x="990" y="1408"/>
                </a:lnTo>
                <a:lnTo>
                  <a:pt x="986" y="1408"/>
                </a:lnTo>
                <a:lnTo>
                  <a:pt x="983" y="1402"/>
                </a:lnTo>
                <a:lnTo>
                  <a:pt x="981" y="1396"/>
                </a:lnTo>
                <a:lnTo>
                  <a:pt x="980" y="1390"/>
                </a:lnTo>
                <a:lnTo>
                  <a:pt x="977" y="1383"/>
                </a:lnTo>
                <a:lnTo>
                  <a:pt x="976" y="1381"/>
                </a:lnTo>
                <a:lnTo>
                  <a:pt x="973" y="1379"/>
                </a:lnTo>
                <a:lnTo>
                  <a:pt x="970" y="1377"/>
                </a:lnTo>
                <a:lnTo>
                  <a:pt x="969" y="1375"/>
                </a:lnTo>
                <a:lnTo>
                  <a:pt x="970" y="1373"/>
                </a:lnTo>
                <a:lnTo>
                  <a:pt x="970" y="1372"/>
                </a:lnTo>
                <a:lnTo>
                  <a:pt x="971" y="1368"/>
                </a:lnTo>
                <a:lnTo>
                  <a:pt x="971" y="1364"/>
                </a:lnTo>
                <a:lnTo>
                  <a:pt x="971" y="1361"/>
                </a:lnTo>
                <a:lnTo>
                  <a:pt x="975" y="1363"/>
                </a:lnTo>
                <a:lnTo>
                  <a:pt x="979" y="1365"/>
                </a:lnTo>
                <a:lnTo>
                  <a:pt x="986" y="1369"/>
                </a:lnTo>
                <a:lnTo>
                  <a:pt x="989" y="1366"/>
                </a:lnTo>
                <a:lnTo>
                  <a:pt x="991" y="1365"/>
                </a:lnTo>
                <a:lnTo>
                  <a:pt x="992" y="1364"/>
                </a:lnTo>
                <a:lnTo>
                  <a:pt x="991" y="1363"/>
                </a:lnTo>
                <a:lnTo>
                  <a:pt x="995" y="1364"/>
                </a:lnTo>
                <a:lnTo>
                  <a:pt x="1000" y="1363"/>
                </a:lnTo>
                <a:lnTo>
                  <a:pt x="1000" y="1368"/>
                </a:lnTo>
                <a:lnTo>
                  <a:pt x="1000" y="1372"/>
                </a:lnTo>
                <a:lnTo>
                  <a:pt x="1005" y="1372"/>
                </a:lnTo>
                <a:lnTo>
                  <a:pt x="1006" y="1374"/>
                </a:lnTo>
                <a:lnTo>
                  <a:pt x="1005" y="1376"/>
                </a:lnTo>
                <a:lnTo>
                  <a:pt x="1004" y="1380"/>
                </a:lnTo>
                <a:lnTo>
                  <a:pt x="1003" y="1384"/>
                </a:lnTo>
                <a:lnTo>
                  <a:pt x="1002" y="1385"/>
                </a:lnTo>
                <a:lnTo>
                  <a:pt x="1002" y="1386"/>
                </a:lnTo>
                <a:lnTo>
                  <a:pt x="1004" y="1388"/>
                </a:lnTo>
                <a:lnTo>
                  <a:pt x="1008" y="1391"/>
                </a:lnTo>
                <a:lnTo>
                  <a:pt x="1012" y="1395"/>
                </a:lnTo>
                <a:lnTo>
                  <a:pt x="1014" y="1397"/>
                </a:lnTo>
                <a:lnTo>
                  <a:pt x="1014" y="1399"/>
                </a:lnTo>
                <a:lnTo>
                  <a:pt x="1015" y="1402"/>
                </a:lnTo>
                <a:lnTo>
                  <a:pt x="1015" y="1406"/>
                </a:lnTo>
                <a:lnTo>
                  <a:pt x="1015" y="1410"/>
                </a:lnTo>
                <a:lnTo>
                  <a:pt x="1016" y="1414"/>
                </a:lnTo>
                <a:lnTo>
                  <a:pt x="1019" y="1416"/>
                </a:lnTo>
                <a:lnTo>
                  <a:pt x="1024" y="1420"/>
                </a:lnTo>
                <a:lnTo>
                  <a:pt x="1031" y="1425"/>
                </a:lnTo>
                <a:lnTo>
                  <a:pt x="1031" y="1426"/>
                </a:lnTo>
                <a:lnTo>
                  <a:pt x="1031" y="1428"/>
                </a:lnTo>
                <a:lnTo>
                  <a:pt x="1031" y="1431"/>
                </a:lnTo>
                <a:lnTo>
                  <a:pt x="1030" y="1434"/>
                </a:lnTo>
                <a:lnTo>
                  <a:pt x="1031" y="1436"/>
                </a:lnTo>
                <a:lnTo>
                  <a:pt x="1033" y="1436"/>
                </a:lnTo>
                <a:lnTo>
                  <a:pt x="1036" y="1438"/>
                </a:lnTo>
                <a:lnTo>
                  <a:pt x="1038" y="1440"/>
                </a:lnTo>
                <a:lnTo>
                  <a:pt x="1042" y="1445"/>
                </a:lnTo>
                <a:lnTo>
                  <a:pt x="1047" y="1456"/>
                </a:lnTo>
                <a:lnTo>
                  <a:pt x="1052" y="1456"/>
                </a:lnTo>
                <a:lnTo>
                  <a:pt x="1056" y="1456"/>
                </a:lnTo>
                <a:lnTo>
                  <a:pt x="1056" y="1457"/>
                </a:lnTo>
                <a:lnTo>
                  <a:pt x="1056" y="1458"/>
                </a:lnTo>
                <a:lnTo>
                  <a:pt x="1056" y="1462"/>
                </a:lnTo>
                <a:lnTo>
                  <a:pt x="1056" y="1465"/>
                </a:lnTo>
                <a:lnTo>
                  <a:pt x="1056" y="1467"/>
                </a:lnTo>
                <a:lnTo>
                  <a:pt x="1057" y="1468"/>
                </a:lnTo>
                <a:lnTo>
                  <a:pt x="1057" y="1469"/>
                </a:lnTo>
                <a:lnTo>
                  <a:pt x="1060" y="1469"/>
                </a:lnTo>
                <a:lnTo>
                  <a:pt x="1062" y="1469"/>
                </a:lnTo>
                <a:lnTo>
                  <a:pt x="1063" y="1470"/>
                </a:lnTo>
                <a:lnTo>
                  <a:pt x="1064" y="1470"/>
                </a:lnTo>
                <a:lnTo>
                  <a:pt x="1065" y="1471"/>
                </a:lnTo>
                <a:lnTo>
                  <a:pt x="1065" y="1472"/>
                </a:lnTo>
                <a:lnTo>
                  <a:pt x="1066" y="1476"/>
                </a:lnTo>
                <a:lnTo>
                  <a:pt x="1066" y="1479"/>
                </a:lnTo>
                <a:lnTo>
                  <a:pt x="1067" y="1481"/>
                </a:lnTo>
                <a:lnTo>
                  <a:pt x="1074" y="1484"/>
                </a:lnTo>
                <a:lnTo>
                  <a:pt x="1081" y="1487"/>
                </a:lnTo>
                <a:lnTo>
                  <a:pt x="1079" y="1489"/>
                </a:lnTo>
                <a:lnTo>
                  <a:pt x="1078" y="1492"/>
                </a:lnTo>
                <a:lnTo>
                  <a:pt x="1076" y="1494"/>
                </a:lnTo>
                <a:lnTo>
                  <a:pt x="1073" y="1496"/>
                </a:lnTo>
                <a:lnTo>
                  <a:pt x="1073" y="1500"/>
                </a:lnTo>
                <a:lnTo>
                  <a:pt x="1073" y="1504"/>
                </a:lnTo>
                <a:lnTo>
                  <a:pt x="1080" y="1509"/>
                </a:lnTo>
                <a:lnTo>
                  <a:pt x="1088" y="1514"/>
                </a:lnTo>
                <a:lnTo>
                  <a:pt x="1095" y="1520"/>
                </a:lnTo>
                <a:lnTo>
                  <a:pt x="1098" y="1523"/>
                </a:lnTo>
                <a:lnTo>
                  <a:pt x="1101" y="1527"/>
                </a:lnTo>
                <a:lnTo>
                  <a:pt x="1102" y="1528"/>
                </a:lnTo>
                <a:lnTo>
                  <a:pt x="1102" y="1530"/>
                </a:lnTo>
                <a:lnTo>
                  <a:pt x="1103" y="1534"/>
                </a:lnTo>
                <a:lnTo>
                  <a:pt x="1104" y="1538"/>
                </a:lnTo>
                <a:lnTo>
                  <a:pt x="1105" y="1539"/>
                </a:lnTo>
                <a:lnTo>
                  <a:pt x="1106" y="1541"/>
                </a:lnTo>
                <a:lnTo>
                  <a:pt x="1109" y="1541"/>
                </a:lnTo>
                <a:lnTo>
                  <a:pt x="1111" y="1541"/>
                </a:lnTo>
                <a:lnTo>
                  <a:pt x="1113" y="1542"/>
                </a:lnTo>
                <a:lnTo>
                  <a:pt x="1114" y="1542"/>
                </a:lnTo>
                <a:lnTo>
                  <a:pt x="1115" y="1543"/>
                </a:lnTo>
                <a:lnTo>
                  <a:pt x="1115" y="1546"/>
                </a:lnTo>
                <a:lnTo>
                  <a:pt x="1115" y="1548"/>
                </a:lnTo>
                <a:lnTo>
                  <a:pt x="1114" y="1550"/>
                </a:lnTo>
                <a:lnTo>
                  <a:pt x="1115" y="1552"/>
                </a:lnTo>
                <a:lnTo>
                  <a:pt x="1121" y="1552"/>
                </a:lnTo>
                <a:lnTo>
                  <a:pt x="1125" y="1559"/>
                </a:lnTo>
                <a:lnTo>
                  <a:pt x="1129" y="1566"/>
                </a:lnTo>
                <a:lnTo>
                  <a:pt x="1129" y="1568"/>
                </a:lnTo>
                <a:lnTo>
                  <a:pt x="1129" y="1570"/>
                </a:lnTo>
                <a:lnTo>
                  <a:pt x="1128" y="1572"/>
                </a:lnTo>
                <a:lnTo>
                  <a:pt x="1129" y="1574"/>
                </a:lnTo>
                <a:lnTo>
                  <a:pt x="1133" y="1580"/>
                </a:lnTo>
                <a:lnTo>
                  <a:pt x="1138" y="1585"/>
                </a:lnTo>
                <a:lnTo>
                  <a:pt x="1143" y="1591"/>
                </a:lnTo>
                <a:lnTo>
                  <a:pt x="1144" y="1594"/>
                </a:lnTo>
                <a:lnTo>
                  <a:pt x="1146" y="1597"/>
                </a:lnTo>
                <a:lnTo>
                  <a:pt x="1147" y="1602"/>
                </a:lnTo>
                <a:lnTo>
                  <a:pt x="1148" y="1607"/>
                </a:lnTo>
                <a:lnTo>
                  <a:pt x="1148" y="1611"/>
                </a:lnTo>
                <a:lnTo>
                  <a:pt x="1148" y="1615"/>
                </a:lnTo>
                <a:lnTo>
                  <a:pt x="1146" y="1623"/>
                </a:lnTo>
                <a:lnTo>
                  <a:pt x="1143" y="1630"/>
                </a:lnTo>
                <a:lnTo>
                  <a:pt x="1141" y="1637"/>
                </a:lnTo>
                <a:lnTo>
                  <a:pt x="1141" y="1640"/>
                </a:lnTo>
                <a:lnTo>
                  <a:pt x="1140" y="1644"/>
                </a:lnTo>
                <a:lnTo>
                  <a:pt x="1141" y="1647"/>
                </a:lnTo>
                <a:lnTo>
                  <a:pt x="1142" y="1651"/>
                </a:lnTo>
                <a:lnTo>
                  <a:pt x="1143" y="1655"/>
                </a:lnTo>
                <a:lnTo>
                  <a:pt x="1146" y="1659"/>
                </a:lnTo>
                <a:lnTo>
                  <a:pt x="1148" y="1661"/>
                </a:lnTo>
                <a:lnTo>
                  <a:pt x="1150" y="1662"/>
                </a:lnTo>
                <a:lnTo>
                  <a:pt x="1152" y="1663"/>
                </a:lnTo>
                <a:lnTo>
                  <a:pt x="1155" y="1663"/>
                </a:lnTo>
                <a:lnTo>
                  <a:pt x="1160" y="1665"/>
                </a:lnTo>
                <a:lnTo>
                  <a:pt x="1163" y="1666"/>
                </a:lnTo>
                <a:lnTo>
                  <a:pt x="1166" y="1667"/>
                </a:lnTo>
                <a:lnTo>
                  <a:pt x="1174" y="1680"/>
                </a:lnTo>
                <a:lnTo>
                  <a:pt x="1182" y="1692"/>
                </a:lnTo>
                <a:lnTo>
                  <a:pt x="1185" y="1694"/>
                </a:lnTo>
                <a:lnTo>
                  <a:pt x="1189" y="1695"/>
                </a:lnTo>
                <a:lnTo>
                  <a:pt x="1195" y="1696"/>
                </a:lnTo>
                <a:lnTo>
                  <a:pt x="1202" y="1696"/>
                </a:lnTo>
                <a:lnTo>
                  <a:pt x="1205" y="1697"/>
                </a:lnTo>
                <a:lnTo>
                  <a:pt x="1208" y="1698"/>
                </a:lnTo>
                <a:lnTo>
                  <a:pt x="1210" y="1700"/>
                </a:lnTo>
                <a:lnTo>
                  <a:pt x="1213" y="1702"/>
                </a:lnTo>
                <a:lnTo>
                  <a:pt x="1219" y="1708"/>
                </a:lnTo>
                <a:lnTo>
                  <a:pt x="1225" y="1714"/>
                </a:lnTo>
                <a:lnTo>
                  <a:pt x="1227" y="1716"/>
                </a:lnTo>
                <a:lnTo>
                  <a:pt x="1230" y="1718"/>
                </a:lnTo>
                <a:lnTo>
                  <a:pt x="1234" y="1719"/>
                </a:lnTo>
                <a:lnTo>
                  <a:pt x="1237" y="1720"/>
                </a:lnTo>
                <a:lnTo>
                  <a:pt x="1244" y="1721"/>
                </a:lnTo>
                <a:lnTo>
                  <a:pt x="1251" y="1721"/>
                </a:lnTo>
                <a:lnTo>
                  <a:pt x="1255" y="1722"/>
                </a:lnTo>
                <a:lnTo>
                  <a:pt x="1258" y="1723"/>
                </a:lnTo>
                <a:lnTo>
                  <a:pt x="1261" y="1726"/>
                </a:lnTo>
                <a:lnTo>
                  <a:pt x="1264" y="1729"/>
                </a:lnTo>
                <a:lnTo>
                  <a:pt x="1267" y="1733"/>
                </a:lnTo>
                <a:lnTo>
                  <a:pt x="1270" y="1735"/>
                </a:lnTo>
                <a:lnTo>
                  <a:pt x="1283" y="1738"/>
                </a:lnTo>
                <a:lnTo>
                  <a:pt x="1295" y="1740"/>
                </a:lnTo>
                <a:lnTo>
                  <a:pt x="1299" y="1740"/>
                </a:lnTo>
                <a:lnTo>
                  <a:pt x="1302" y="1740"/>
                </a:lnTo>
                <a:lnTo>
                  <a:pt x="1307" y="1738"/>
                </a:lnTo>
                <a:lnTo>
                  <a:pt x="1311" y="1736"/>
                </a:lnTo>
                <a:lnTo>
                  <a:pt x="1315" y="1735"/>
                </a:lnTo>
                <a:lnTo>
                  <a:pt x="1321" y="1734"/>
                </a:lnTo>
                <a:lnTo>
                  <a:pt x="1326" y="1733"/>
                </a:lnTo>
                <a:lnTo>
                  <a:pt x="1332" y="1733"/>
                </a:lnTo>
                <a:lnTo>
                  <a:pt x="1337" y="1733"/>
                </a:lnTo>
                <a:lnTo>
                  <a:pt x="1346" y="1735"/>
                </a:lnTo>
                <a:lnTo>
                  <a:pt x="1357" y="1738"/>
                </a:lnTo>
                <a:lnTo>
                  <a:pt x="1357" y="1735"/>
                </a:lnTo>
                <a:lnTo>
                  <a:pt x="1357" y="1733"/>
                </a:lnTo>
                <a:lnTo>
                  <a:pt x="1357" y="1732"/>
                </a:lnTo>
                <a:lnTo>
                  <a:pt x="1360" y="1732"/>
                </a:lnTo>
                <a:lnTo>
                  <a:pt x="1362" y="1733"/>
                </a:lnTo>
                <a:lnTo>
                  <a:pt x="1364" y="1735"/>
                </a:lnTo>
                <a:lnTo>
                  <a:pt x="1368" y="1739"/>
                </a:lnTo>
                <a:lnTo>
                  <a:pt x="1371" y="1744"/>
                </a:lnTo>
                <a:lnTo>
                  <a:pt x="1374" y="1749"/>
                </a:lnTo>
                <a:lnTo>
                  <a:pt x="1389" y="1766"/>
                </a:lnTo>
                <a:lnTo>
                  <a:pt x="1394" y="1770"/>
                </a:lnTo>
                <a:lnTo>
                  <a:pt x="1399" y="1775"/>
                </a:lnTo>
                <a:lnTo>
                  <a:pt x="1403" y="1778"/>
                </a:lnTo>
                <a:lnTo>
                  <a:pt x="1407" y="1780"/>
                </a:lnTo>
                <a:lnTo>
                  <a:pt x="1410" y="1780"/>
                </a:lnTo>
                <a:lnTo>
                  <a:pt x="1412" y="1779"/>
                </a:lnTo>
                <a:lnTo>
                  <a:pt x="1415" y="1778"/>
                </a:lnTo>
                <a:lnTo>
                  <a:pt x="1416" y="1779"/>
                </a:lnTo>
                <a:lnTo>
                  <a:pt x="1419" y="1780"/>
                </a:lnTo>
                <a:lnTo>
                  <a:pt x="1427" y="1791"/>
                </a:lnTo>
                <a:lnTo>
                  <a:pt x="1432" y="1792"/>
                </a:lnTo>
                <a:lnTo>
                  <a:pt x="1438" y="1791"/>
                </a:lnTo>
                <a:lnTo>
                  <a:pt x="1444" y="1791"/>
                </a:lnTo>
                <a:lnTo>
                  <a:pt x="1450" y="1791"/>
                </a:lnTo>
                <a:lnTo>
                  <a:pt x="1452" y="1792"/>
                </a:lnTo>
                <a:lnTo>
                  <a:pt x="1456" y="1794"/>
                </a:lnTo>
                <a:lnTo>
                  <a:pt x="1458" y="1795"/>
                </a:lnTo>
                <a:lnTo>
                  <a:pt x="1460" y="1796"/>
                </a:lnTo>
                <a:lnTo>
                  <a:pt x="1462" y="1797"/>
                </a:lnTo>
                <a:lnTo>
                  <a:pt x="1464" y="1797"/>
                </a:lnTo>
                <a:lnTo>
                  <a:pt x="1465" y="1796"/>
                </a:lnTo>
                <a:lnTo>
                  <a:pt x="1465" y="1795"/>
                </a:lnTo>
                <a:lnTo>
                  <a:pt x="1466" y="1794"/>
                </a:lnTo>
                <a:lnTo>
                  <a:pt x="1467" y="1793"/>
                </a:lnTo>
                <a:lnTo>
                  <a:pt x="1469" y="1793"/>
                </a:lnTo>
                <a:lnTo>
                  <a:pt x="1473" y="1790"/>
                </a:lnTo>
                <a:lnTo>
                  <a:pt x="1473" y="1797"/>
                </a:lnTo>
                <a:lnTo>
                  <a:pt x="1474" y="1799"/>
                </a:lnTo>
                <a:lnTo>
                  <a:pt x="1474" y="1800"/>
                </a:lnTo>
                <a:lnTo>
                  <a:pt x="1473" y="1801"/>
                </a:lnTo>
                <a:lnTo>
                  <a:pt x="1472" y="1802"/>
                </a:lnTo>
                <a:lnTo>
                  <a:pt x="1472" y="1803"/>
                </a:lnTo>
                <a:lnTo>
                  <a:pt x="1472" y="1805"/>
                </a:lnTo>
                <a:lnTo>
                  <a:pt x="1474" y="1807"/>
                </a:lnTo>
                <a:lnTo>
                  <a:pt x="1478" y="1809"/>
                </a:lnTo>
                <a:lnTo>
                  <a:pt x="1481" y="1812"/>
                </a:lnTo>
                <a:lnTo>
                  <a:pt x="1483" y="1813"/>
                </a:lnTo>
                <a:lnTo>
                  <a:pt x="1485" y="1816"/>
                </a:lnTo>
                <a:lnTo>
                  <a:pt x="1485" y="1818"/>
                </a:lnTo>
                <a:lnTo>
                  <a:pt x="1486" y="1822"/>
                </a:lnTo>
                <a:lnTo>
                  <a:pt x="1487" y="1826"/>
                </a:lnTo>
                <a:lnTo>
                  <a:pt x="1489" y="1830"/>
                </a:lnTo>
                <a:lnTo>
                  <a:pt x="1491" y="1832"/>
                </a:lnTo>
                <a:lnTo>
                  <a:pt x="1493" y="1833"/>
                </a:lnTo>
                <a:lnTo>
                  <a:pt x="1496" y="1835"/>
                </a:lnTo>
                <a:lnTo>
                  <a:pt x="1497" y="1836"/>
                </a:lnTo>
                <a:lnTo>
                  <a:pt x="1500" y="1840"/>
                </a:lnTo>
                <a:lnTo>
                  <a:pt x="1501" y="1845"/>
                </a:lnTo>
                <a:lnTo>
                  <a:pt x="1502" y="1849"/>
                </a:lnTo>
                <a:lnTo>
                  <a:pt x="1502" y="1853"/>
                </a:lnTo>
                <a:lnTo>
                  <a:pt x="1501" y="1857"/>
                </a:lnTo>
                <a:lnTo>
                  <a:pt x="1500" y="1861"/>
                </a:lnTo>
                <a:lnTo>
                  <a:pt x="1497" y="1870"/>
                </a:lnTo>
                <a:lnTo>
                  <a:pt x="1499" y="1871"/>
                </a:lnTo>
                <a:lnTo>
                  <a:pt x="1501" y="1872"/>
                </a:lnTo>
                <a:lnTo>
                  <a:pt x="1503" y="1874"/>
                </a:lnTo>
                <a:lnTo>
                  <a:pt x="1505" y="1877"/>
                </a:lnTo>
                <a:lnTo>
                  <a:pt x="1506" y="1878"/>
                </a:lnTo>
                <a:lnTo>
                  <a:pt x="1514" y="1875"/>
                </a:lnTo>
                <a:lnTo>
                  <a:pt x="1515" y="1872"/>
                </a:lnTo>
                <a:lnTo>
                  <a:pt x="1514" y="1870"/>
                </a:lnTo>
                <a:lnTo>
                  <a:pt x="1515" y="1869"/>
                </a:lnTo>
                <a:lnTo>
                  <a:pt x="1517" y="1867"/>
                </a:lnTo>
                <a:lnTo>
                  <a:pt x="1522" y="1873"/>
                </a:lnTo>
                <a:lnTo>
                  <a:pt x="1527" y="1878"/>
                </a:lnTo>
                <a:lnTo>
                  <a:pt x="1533" y="1882"/>
                </a:lnTo>
                <a:lnTo>
                  <a:pt x="1540" y="1887"/>
                </a:lnTo>
                <a:lnTo>
                  <a:pt x="1539" y="1895"/>
                </a:lnTo>
                <a:lnTo>
                  <a:pt x="1539" y="1898"/>
                </a:lnTo>
                <a:lnTo>
                  <a:pt x="1540" y="1901"/>
                </a:lnTo>
                <a:lnTo>
                  <a:pt x="1540" y="1906"/>
                </a:lnTo>
                <a:lnTo>
                  <a:pt x="1541" y="1907"/>
                </a:lnTo>
                <a:lnTo>
                  <a:pt x="1542" y="1907"/>
                </a:lnTo>
                <a:lnTo>
                  <a:pt x="1542" y="1905"/>
                </a:lnTo>
                <a:lnTo>
                  <a:pt x="1543" y="1904"/>
                </a:lnTo>
                <a:lnTo>
                  <a:pt x="1542" y="1898"/>
                </a:lnTo>
                <a:lnTo>
                  <a:pt x="1548" y="1898"/>
                </a:lnTo>
                <a:lnTo>
                  <a:pt x="1551" y="1909"/>
                </a:lnTo>
                <a:lnTo>
                  <a:pt x="1557" y="1909"/>
                </a:lnTo>
                <a:lnTo>
                  <a:pt x="1563" y="1909"/>
                </a:lnTo>
                <a:lnTo>
                  <a:pt x="1569" y="1909"/>
                </a:lnTo>
                <a:lnTo>
                  <a:pt x="1572" y="1910"/>
                </a:lnTo>
                <a:lnTo>
                  <a:pt x="1576" y="1912"/>
                </a:lnTo>
                <a:lnTo>
                  <a:pt x="1576" y="1916"/>
                </a:lnTo>
                <a:lnTo>
                  <a:pt x="1576" y="1920"/>
                </a:lnTo>
                <a:lnTo>
                  <a:pt x="1579" y="1921"/>
                </a:lnTo>
                <a:lnTo>
                  <a:pt x="1582" y="1920"/>
                </a:lnTo>
                <a:lnTo>
                  <a:pt x="1585" y="1920"/>
                </a:lnTo>
                <a:lnTo>
                  <a:pt x="1586" y="1920"/>
                </a:lnTo>
                <a:lnTo>
                  <a:pt x="1587" y="1920"/>
                </a:lnTo>
                <a:lnTo>
                  <a:pt x="1587" y="1926"/>
                </a:lnTo>
                <a:lnTo>
                  <a:pt x="1597" y="1928"/>
                </a:lnTo>
                <a:lnTo>
                  <a:pt x="1602" y="1929"/>
                </a:lnTo>
                <a:lnTo>
                  <a:pt x="1607" y="1929"/>
                </a:lnTo>
                <a:lnTo>
                  <a:pt x="1608" y="1929"/>
                </a:lnTo>
                <a:lnTo>
                  <a:pt x="1608" y="1928"/>
                </a:lnTo>
                <a:lnTo>
                  <a:pt x="1606" y="1927"/>
                </a:lnTo>
                <a:lnTo>
                  <a:pt x="1602" y="1926"/>
                </a:lnTo>
                <a:lnTo>
                  <a:pt x="1601" y="1927"/>
                </a:lnTo>
                <a:lnTo>
                  <a:pt x="1600" y="1928"/>
                </a:lnTo>
                <a:lnTo>
                  <a:pt x="1599" y="1927"/>
                </a:lnTo>
                <a:lnTo>
                  <a:pt x="1599" y="1926"/>
                </a:lnTo>
                <a:lnTo>
                  <a:pt x="1600" y="1925"/>
                </a:lnTo>
                <a:lnTo>
                  <a:pt x="1602" y="1924"/>
                </a:lnTo>
                <a:lnTo>
                  <a:pt x="1604" y="1923"/>
                </a:lnTo>
                <a:lnTo>
                  <a:pt x="1602" y="1918"/>
                </a:lnTo>
                <a:lnTo>
                  <a:pt x="1602" y="1915"/>
                </a:lnTo>
                <a:lnTo>
                  <a:pt x="1596" y="1915"/>
                </a:lnTo>
                <a:lnTo>
                  <a:pt x="1596" y="1909"/>
                </a:lnTo>
                <a:lnTo>
                  <a:pt x="1604" y="1905"/>
                </a:lnTo>
                <a:lnTo>
                  <a:pt x="1610" y="1901"/>
                </a:lnTo>
                <a:lnTo>
                  <a:pt x="1608" y="1901"/>
                </a:lnTo>
                <a:lnTo>
                  <a:pt x="1609" y="1899"/>
                </a:lnTo>
                <a:lnTo>
                  <a:pt x="1613" y="1895"/>
                </a:lnTo>
                <a:lnTo>
                  <a:pt x="1614" y="1895"/>
                </a:lnTo>
                <a:lnTo>
                  <a:pt x="1616" y="1894"/>
                </a:lnTo>
                <a:lnTo>
                  <a:pt x="1618" y="1892"/>
                </a:lnTo>
                <a:lnTo>
                  <a:pt x="1621" y="1897"/>
                </a:lnTo>
                <a:lnTo>
                  <a:pt x="1624" y="1902"/>
                </a:lnTo>
                <a:lnTo>
                  <a:pt x="1630" y="1912"/>
                </a:lnTo>
                <a:lnTo>
                  <a:pt x="1636" y="1910"/>
                </a:lnTo>
                <a:lnTo>
                  <a:pt x="1641" y="1909"/>
                </a:lnTo>
                <a:lnTo>
                  <a:pt x="1639" y="1913"/>
                </a:lnTo>
                <a:lnTo>
                  <a:pt x="1638" y="1915"/>
                </a:lnTo>
                <a:lnTo>
                  <a:pt x="1635" y="1932"/>
                </a:lnTo>
                <a:lnTo>
                  <a:pt x="1637" y="1933"/>
                </a:lnTo>
                <a:lnTo>
                  <a:pt x="1639" y="1936"/>
                </a:lnTo>
                <a:lnTo>
                  <a:pt x="1641" y="1939"/>
                </a:lnTo>
                <a:lnTo>
                  <a:pt x="1644" y="1940"/>
                </a:lnTo>
                <a:lnTo>
                  <a:pt x="1646" y="1940"/>
                </a:lnTo>
                <a:lnTo>
                  <a:pt x="1648" y="1940"/>
                </a:lnTo>
                <a:lnTo>
                  <a:pt x="1650" y="1940"/>
                </a:lnTo>
                <a:lnTo>
                  <a:pt x="1651" y="1940"/>
                </a:lnTo>
                <a:lnTo>
                  <a:pt x="1652" y="1940"/>
                </a:lnTo>
                <a:lnTo>
                  <a:pt x="1652" y="1955"/>
                </a:lnTo>
                <a:lnTo>
                  <a:pt x="1653" y="1959"/>
                </a:lnTo>
                <a:lnTo>
                  <a:pt x="1653" y="1962"/>
                </a:lnTo>
                <a:lnTo>
                  <a:pt x="1654" y="1964"/>
                </a:lnTo>
                <a:lnTo>
                  <a:pt x="1655" y="1965"/>
                </a:lnTo>
                <a:lnTo>
                  <a:pt x="1652" y="1976"/>
                </a:lnTo>
                <a:lnTo>
                  <a:pt x="1650" y="1988"/>
                </a:lnTo>
                <a:lnTo>
                  <a:pt x="1647" y="2000"/>
                </a:lnTo>
                <a:lnTo>
                  <a:pt x="1644" y="2013"/>
                </a:lnTo>
                <a:lnTo>
                  <a:pt x="1650" y="2016"/>
                </a:lnTo>
                <a:lnTo>
                  <a:pt x="1653" y="2017"/>
                </a:lnTo>
                <a:lnTo>
                  <a:pt x="1655" y="2019"/>
                </a:lnTo>
                <a:lnTo>
                  <a:pt x="1649" y="2026"/>
                </a:lnTo>
                <a:lnTo>
                  <a:pt x="1646" y="2029"/>
                </a:lnTo>
                <a:lnTo>
                  <a:pt x="1643" y="2032"/>
                </a:lnTo>
                <a:lnTo>
                  <a:pt x="1635" y="2037"/>
                </a:lnTo>
                <a:lnTo>
                  <a:pt x="1627" y="2041"/>
                </a:lnTo>
                <a:lnTo>
                  <a:pt x="1629" y="2043"/>
                </a:lnTo>
                <a:lnTo>
                  <a:pt x="1629" y="2045"/>
                </a:lnTo>
                <a:lnTo>
                  <a:pt x="1627" y="2047"/>
                </a:lnTo>
                <a:lnTo>
                  <a:pt x="1626" y="2049"/>
                </a:lnTo>
                <a:lnTo>
                  <a:pt x="1625" y="2051"/>
                </a:lnTo>
                <a:lnTo>
                  <a:pt x="1624" y="2052"/>
                </a:lnTo>
                <a:lnTo>
                  <a:pt x="1624" y="2053"/>
                </a:lnTo>
                <a:lnTo>
                  <a:pt x="1625" y="2054"/>
                </a:lnTo>
                <a:lnTo>
                  <a:pt x="1626" y="2056"/>
                </a:lnTo>
                <a:lnTo>
                  <a:pt x="1627" y="2057"/>
                </a:lnTo>
                <a:lnTo>
                  <a:pt x="1630" y="2058"/>
                </a:lnTo>
                <a:lnTo>
                  <a:pt x="1627" y="2059"/>
                </a:lnTo>
                <a:lnTo>
                  <a:pt x="1624" y="2059"/>
                </a:lnTo>
                <a:lnTo>
                  <a:pt x="1618" y="2058"/>
                </a:lnTo>
                <a:lnTo>
                  <a:pt x="1619" y="2060"/>
                </a:lnTo>
                <a:lnTo>
                  <a:pt x="1619" y="2062"/>
                </a:lnTo>
                <a:lnTo>
                  <a:pt x="1621" y="2067"/>
                </a:lnTo>
                <a:lnTo>
                  <a:pt x="1611" y="2074"/>
                </a:lnTo>
                <a:lnTo>
                  <a:pt x="1602" y="2081"/>
                </a:lnTo>
                <a:lnTo>
                  <a:pt x="1603" y="2083"/>
                </a:lnTo>
                <a:lnTo>
                  <a:pt x="1605" y="2085"/>
                </a:lnTo>
                <a:lnTo>
                  <a:pt x="1605" y="2087"/>
                </a:lnTo>
                <a:lnTo>
                  <a:pt x="1606" y="2089"/>
                </a:lnTo>
                <a:lnTo>
                  <a:pt x="1605" y="2093"/>
                </a:lnTo>
                <a:lnTo>
                  <a:pt x="1603" y="2097"/>
                </a:lnTo>
                <a:lnTo>
                  <a:pt x="1599" y="2103"/>
                </a:lnTo>
                <a:lnTo>
                  <a:pt x="1597" y="2105"/>
                </a:lnTo>
                <a:lnTo>
                  <a:pt x="1596" y="2106"/>
                </a:lnTo>
                <a:lnTo>
                  <a:pt x="1595" y="2109"/>
                </a:lnTo>
                <a:lnTo>
                  <a:pt x="1596" y="2111"/>
                </a:lnTo>
                <a:lnTo>
                  <a:pt x="1596" y="2112"/>
                </a:lnTo>
                <a:lnTo>
                  <a:pt x="1596" y="2113"/>
                </a:lnTo>
                <a:lnTo>
                  <a:pt x="1597" y="2115"/>
                </a:lnTo>
                <a:lnTo>
                  <a:pt x="1599" y="2119"/>
                </a:lnTo>
                <a:lnTo>
                  <a:pt x="1599" y="2121"/>
                </a:lnTo>
                <a:lnTo>
                  <a:pt x="1599" y="2123"/>
                </a:lnTo>
                <a:lnTo>
                  <a:pt x="1597" y="2125"/>
                </a:lnTo>
                <a:lnTo>
                  <a:pt x="1594" y="2127"/>
                </a:lnTo>
                <a:lnTo>
                  <a:pt x="1587" y="2131"/>
                </a:lnTo>
                <a:lnTo>
                  <a:pt x="1589" y="2134"/>
                </a:lnTo>
                <a:lnTo>
                  <a:pt x="1590" y="2135"/>
                </a:lnTo>
                <a:lnTo>
                  <a:pt x="1591" y="2135"/>
                </a:lnTo>
                <a:lnTo>
                  <a:pt x="1592" y="2135"/>
                </a:lnTo>
                <a:lnTo>
                  <a:pt x="1593" y="2134"/>
                </a:lnTo>
                <a:lnTo>
                  <a:pt x="1590" y="2143"/>
                </a:lnTo>
                <a:lnTo>
                  <a:pt x="1590" y="2144"/>
                </a:lnTo>
                <a:lnTo>
                  <a:pt x="1589" y="2148"/>
                </a:lnTo>
                <a:lnTo>
                  <a:pt x="1589" y="2151"/>
                </a:lnTo>
                <a:lnTo>
                  <a:pt x="1589" y="2152"/>
                </a:lnTo>
                <a:lnTo>
                  <a:pt x="1590" y="2153"/>
                </a:lnTo>
                <a:lnTo>
                  <a:pt x="1591" y="2154"/>
                </a:lnTo>
                <a:lnTo>
                  <a:pt x="1593" y="2154"/>
                </a:lnTo>
                <a:lnTo>
                  <a:pt x="1592" y="2156"/>
                </a:lnTo>
                <a:lnTo>
                  <a:pt x="1590" y="2160"/>
                </a:lnTo>
                <a:lnTo>
                  <a:pt x="1589" y="2163"/>
                </a:lnTo>
                <a:lnTo>
                  <a:pt x="1587" y="2165"/>
                </a:lnTo>
                <a:lnTo>
                  <a:pt x="1589" y="2166"/>
                </a:lnTo>
                <a:lnTo>
                  <a:pt x="1591" y="2166"/>
                </a:lnTo>
                <a:lnTo>
                  <a:pt x="1595" y="2168"/>
                </a:lnTo>
                <a:lnTo>
                  <a:pt x="1599" y="2169"/>
                </a:lnTo>
                <a:lnTo>
                  <a:pt x="1601" y="2170"/>
                </a:lnTo>
                <a:lnTo>
                  <a:pt x="1602" y="2171"/>
                </a:lnTo>
                <a:lnTo>
                  <a:pt x="1602" y="2172"/>
                </a:lnTo>
                <a:lnTo>
                  <a:pt x="1601" y="2174"/>
                </a:lnTo>
                <a:lnTo>
                  <a:pt x="1600" y="2176"/>
                </a:lnTo>
                <a:lnTo>
                  <a:pt x="1601" y="2178"/>
                </a:lnTo>
                <a:lnTo>
                  <a:pt x="1602" y="2179"/>
                </a:lnTo>
                <a:lnTo>
                  <a:pt x="1591" y="2189"/>
                </a:lnTo>
                <a:lnTo>
                  <a:pt x="1587" y="2193"/>
                </a:lnTo>
                <a:lnTo>
                  <a:pt x="1583" y="2197"/>
                </a:lnTo>
                <a:lnTo>
                  <a:pt x="1580" y="2201"/>
                </a:lnTo>
                <a:lnTo>
                  <a:pt x="1580" y="2203"/>
                </a:lnTo>
                <a:lnTo>
                  <a:pt x="1579" y="2205"/>
                </a:lnTo>
                <a:lnTo>
                  <a:pt x="1579" y="2207"/>
                </a:lnTo>
                <a:lnTo>
                  <a:pt x="1580" y="2209"/>
                </a:lnTo>
                <a:lnTo>
                  <a:pt x="1582" y="2213"/>
                </a:lnTo>
                <a:lnTo>
                  <a:pt x="1585" y="2219"/>
                </a:lnTo>
                <a:lnTo>
                  <a:pt x="1583" y="2219"/>
                </a:lnTo>
                <a:lnTo>
                  <a:pt x="1581" y="2220"/>
                </a:lnTo>
                <a:lnTo>
                  <a:pt x="1581" y="2221"/>
                </a:lnTo>
                <a:lnTo>
                  <a:pt x="1581" y="2222"/>
                </a:lnTo>
                <a:lnTo>
                  <a:pt x="1581" y="2223"/>
                </a:lnTo>
                <a:lnTo>
                  <a:pt x="1582" y="2224"/>
                </a:lnTo>
                <a:lnTo>
                  <a:pt x="1587" y="2227"/>
                </a:lnTo>
                <a:lnTo>
                  <a:pt x="1588" y="2229"/>
                </a:lnTo>
                <a:lnTo>
                  <a:pt x="1587" y="2231"/>
                </a:lnTo>
                <a:lnTo>
                  <a:pt x="1586" y="2235"/>
                </a:lnTo>
                <a:lnTo>
                  <a:pt x="1584" y="2238"/>
                </a:lnTo>
                <a:lnTo>
                  <a:pt x="1584" y="2239"/>
                </a:lnTo>
                <a:lnTo>
                  <a:pt x="1585" y="2241"/>
                </a:lnTo>
                <a:lnTo>
                  <a:pt x="1586" y="2243"/>
                </a:lnTo>
                <a:lnTo>
                  <a:pt x="1588" y="2244"/>
                </a:lnTo>
                <a:lnTo>
                  <a:pt x="1594" y="2248"/>
                </a:lnTo>
                <a:lnTo>
                  <a:pt x="1600" y="2252"/>
                </a:lnTo>
                <a:lnTo>
                  <a:pt x="1604" y="2255"/>
                </a:lnTo>
                <a:lnTo>
                  <a:pt x="1606" y="2258"/>
                </a:lnTo>
                <a:lnTo>
                  <a:pt x="1607" y="2262"/>
                </a:lnTo>
                <a:lnTo>
                  <a:pt x="1608" y="2266"/>
                </a:lnTo>
                <a:lnTo>
                  <a:pt x="1610" y="2269"/>
                </a:lnTo>
                <a:lnTo>
                  <a:pt x="1611" y="2270"/>
                </a:lnTo>
                <a:lnTo>
                  <a:pt x="1612" y="2271"/>
                </a:lnTo>
                <a:lnTo>
                  <a:pt x="1615" y="2272"/>
                </a:lnTo>
                <a:lnTo>
                  <a:pt x="1619" y="2273"/>
                </a:lnTo>
                <a:lnTo>
                  <a:pt x="1621" y="2275"/>
                </a:lnTo>
                <a:lnTo>
                  <a:pt x="1623" y="2278"/>
                </a:lnTo>
                <a:lnTo>
                  <a:pt x="1624" y="2282"/>
                </a:lnTo>
                <a:lnTo>
                  <a:pt x="1625" y="2286"/>
                </a:lnTo>
                <a:lnTo>
                  <a:pt x="1627" y="2289"/>
                </a:lnTo>
                <a:lnTo>
                  <a:pt x="1629" y="2291"/>
                </a:lnTo>
                <a:lnTo>
                  <a:pt x="1632" y="2293"/>
                </a:lnTo>
                <a:lnTo>
                  <a:pt x="1636" y="2295"/>
                </a:lnTo>
                <a:lnTo>
                  <a:pt x="1638" y="2297"/>
                </a:lnTo>
                <a:lnTo>
                  <a:pt x="1641" y="2303"/>
                </a:lnTo>
                <a:lnTo>
                  <a:pt x="1644" y="2308"/>
                </a:lnTo>
                <a:lnTo>
                  <a:pt x="1645" y="2314"/>
                </a:lnTo>
                <a:lnTo>
                  <a:pt x="1647" y="2319"/>
                </a:lnTo>
                <a:lnTo>
                  <a:pt x="1649" y="2332"/>
                </a:lnTo>
                <a:lnTo>
                  <a:pt x="1652" y="2345"/>
                </a:lnTo>
                <a:lnTo>
                  <a:pt x="1655" y="2352"/>
                </a:lnTo>
                <a:lnTo>
                  <a:pt x="1659" y="2361"/>
                </a:lnTo>
                <a:lnTo>
                  <a:pt x="1669" y="2382"/>
                </a:lnTo>
                <a:lnTo>
                  <a:pt x="1674" y="2393"/>
                </a:lnTo>
                <a:lnTo>
                  <a:pt x="1678" y="2403"/>
                </a:lnTo>
                <a:lnTo>
                  <a:pt x="1679" y="2408"/>
                </a:lnTo>
                <a:lnTo>
                  <a:pt x="1680" y="2412"/>
                </a:lnTo>
                <a:lnTo>
                  <a:pt x="1681" y="2415"/>
                </a:lnTo>
                <a:lnTo>
                  <a:pt x="1680" y="2418"/>
                </a:lnTo>
                <a:lnTo>
                  <a:pt x="1677" y="2424"/>
                </a:lnTo>
                <a:lnTo>
                  <a:pt x="1680" y="2427"/>
                </a:lnTo>
                <a:lnTo>
                  <a:pt x="1683" y="2430"/>
                </a:lnTo>
                <a:lnTo>
                  <a:pt x="1687" y="2433"/>
                </a:lnTo>
                <a:lnTo>
                  <a:pt x="1689" y="2435"/>
                </a:lnTo>
                <a:lnTo>
                  <a:pt x="1690" y="2438"/>
                </a:lnTo>
                <a:lnTo>
                  <a:pt x="1691" y="2440"/>
                </a:lnTo>
                <a:lnTo>
                  <a:pt x="1691" y="2444"/>
                </a:lnTo>
                <a:lnTo>
                  <a:pt x="1692" y="2448"/>
                </a:lnTo>
                <a:lnTo>
                  <a:pt x="1694" y="2452"/>
                </a:lnTo>
                <a:lnTo>
                  <a:pt x="1698" y="2455"/>
                </a:lnTo>
                <a:lnTo>
                  <a:pt x="1704" y="2458"/>
                </a:lnTo>
                <a:lnTo>
                  <a:pt x="1710" y="2461"/>
                </a:lnTo>
                <a:lnTo>
                  <a:pt x="1714" y="2463"/>
                </a:lnTo>
                <a:lnTo>
                  <a:pt x="1715" y="2465"/>
                </a:lnTo>
                <a:lnTo>
                  <a:pt x="1717" y="2468"/>
                </a:lnTo>
                <a:lnTo>
                  <a:pt x="1718" y="2470"/>
                </a:lnTo>
                <a:lnTo>
                  <a:pt x="1720" y="2472"/>
                </a:lnTo>
                <a:lnTo>
                  <a:pt x="1734" y="2480"/>
                </a:lnTo>
                <a:lnTo>
                  <a:pt x="1748" y="2488"/>
                </a:lnTo>
                <a:lnTo>
                  <a:pt x="1754" y="2492"/>
                </a:lnTo>
                <a:lnTo>
                  <a:pt x="1761" y="2497"/>
                </a:lnTo>
                <a:lnTo>
                  <a:pt x="1764" y="2499"/>
                </a:lnTo>
                <a:lnTo>
                  <a:pt x="1766" y="2502"/>
                </a:lnTo>
                <a:lnTo>
                  <a:pt x="1772" y="2508"/>
                </a:lnTo>
                <a:lnTo>
                  <a:pt x="1775" y="2512"/>
                </a:lnTo>
                <a:lnTo>
                  <a:pt x="1777" y="2517"/>
                </a:lnTo>
                <a:lnTo>
                  <a:pt x="1780" y="2522"/>
                </a:lnTo>
                <a:lnTo>
                  <a:pt x="1782" y="2528"/>
                </a:lnTo>
                <a:lnTo>
                  <a:pt x="1784" y="2539"/>
                </a:lnTo>
                <a:lnTo>
                  <a:pt x="1785" y="2551"/>
                </a:lnTo>
                <a:lnTo>
                  <a:pt x="1785" y="2563"/>
                </a:lnTo>
                <a:lnTo>
                  <a:pt x="1784" y="2575"/>
                </a:lnTo>
                <a:lnTo>
                  <a:pt x="1783" y="2602"/>
                </a:lnTo>
                <a:lnTo>
                  <a:pt x="1782" y="2616"/>
                </a:lnTo>
                <a:lnTo>
                  <a:pt x="1782" y="2630"/>
                </a:lnTo>
                <a:lnTo>
                  <a:pt x="1776" y="2630"/>
                </a:lnTo>
                <a:lnTo>
                  <a:pt x="1776" y="2633"/>
                </a:lnTo>
                <a:lnTo>
                  <a:pt x="1776" y="2635"/>
                </a:lnTo>
                <a:lnTo>
                  <a:pt x="1778" y="2638"/>
                </a:lnTo>
                <a:lnTo>
                  <a:pt x="1780" y="2640"/>
                </a:lnTo>
                <a:lnTo>
                  <a:pt x="1782" y="2642"/>
                </a:lnTo>
                <a:lnTo>
                  <a:pt x="1779" y="2649"/>
                </a:lnTo>
                <a:lnTo>
                  <a:pt x="1776" y="2656"/>
                </a:lnTo>
                <a:lnTo>
                  <a:pt x="1775" y="2660"/>
                </a:lnTo>
                <a:lnTo>
                  <a:pt x="1776" y="2665"/>
                </a:lnTo>
                <a:lnTo>
                  <a:pt x="1777" y="2674"/>
                </a:lnTo>
                <a:lnTo>
                  <a:pt x="1778" y="2682"/>
                </a:lnTo>
                <a:lnTo>
                  <a:pt x="1779" y="2686"/>
                </a:lnTo>
                <a:lnTo>
                  <a:pt x="1779" y="2689"/>
                </a:lnTo>
                <a:lnTo>
                  <a:pt x="1773" y="2698"/>
                </a:lnTo>
                <a:lnTo>
                  <a:pt x="1772" y="2705"/>
                </a:lnTo>
                <a:lnTo>
                  <a:pt x="1772" y="2714"/>
                </a:lnTo>
                <a:lnTo>
                  <a:pt x="1771" y="2725"/>
                </a:lnTo>
                <a:lnTo>
                  <a:pt x="1770" y="2737"/>
                </a:lnTo>
                <a:lnTo>
                  <a:pt x="1768" y="2748"/>
                </a:lnTo>
                <a:lnTo>
                  <a:pt x="1767" y="2753"/>
                </a:lnTo>
                <a:lnTo>
                  <a:pt x="1766" y="2758"/>
                </a:lnTo>
                <a:lnTo>
                  <a:pt x="1765" y="2762"/>
                </a:lnTo>
                <a:lnTo>
                  <a:pt x="1763" y="2766"/>
                </a:lnTo>
                <a:lnTo>
                  <a:pt x="1761" y="2769"/>
                </a:lnTo>
                <a:lnTo>
                  <a:pt x="1759" y="2771"/>
                </a:lnTo>
                <a:lnTo>
                  <a:pt x="1765" y="2788"/>
                </a:lnTo>
                <a:lnTo>
                  <a:pt x="1766" y="2789"/>
                </a:lnTo>
                <a:lnTo>
                  <a:pt x="1767" y="2791"/>
                </a:lnTo>
                <a:lnTo>
                  <a:pt x="1767" y="2794"/>
                </a:lnTo>
                <a:lnTo>
                  <a:pt x="1767" y="2797"/>
                </a:lnTo>
                <a:lnTo>
                  <a:pt x="1766" y="2800"/>
                </a:lnTo>
                <a:lnTo>
                  <a:pt x="1763" y="2807"/>
                </a:lnTo>
                <a:lnTo>
                  <a:pt x="1761" y="2811"/>
                </a:lnTo>
                <a:lnTo>
                  <a:pt x="1760" y="2814"/>
                </a:lnTo>
                <a:lnTo>
                  <a:pt x="1759" y="2818"/>
                </a:lnTo>
                <a:lnTo>
                  <a:pt x="1759" y="2822"/>
                </a:lnTo>
                <a:lnTo>
                  <a:pt x="1760" y="2825"/>
                </a:lnTo>
                <a:lnTo>
                  <a:pt x="1761" y="2829"/>
                </a:lnTo>
                <a:lnTo>
                  <a:pt x="1764" y="2839"/>
                </a:lnTo>
                <a:lnTo>
                  <a:pt x="1765" y="2845"/>
                </a:lnTo>
                <a:lnTo>
                  <a:pt x="1766" y="2852"/>
                </a:lnTo>
                <a:lnTo>
                  <a:pt x="1766" y="2858"/>
                </a:lnTo>
                <a:lnTo>
                  <a:pt x="1765" y="2864"/>
                </a:lnTo>
                <a:lnTo>
                  <a:pt x="1764" y="2865"/>
                </a:lnTo>
                <a:lnTo>
                  <a:pt x="1763" y="2866"/>
                </a:lnTo>
                <a:lnTo>
                  <a:pt x="1759" y="2868"/>
                </a:lnTo>
                <a:lnTo>
                  <a:pt x="1756" y="2870"/>
                </a:lnTo>
                <a:lnTo>
                  <a:pt x="1754" y="2871"/>
                </a:lnTo>
                <a:lnTo>
                  <a:pt x="1753" y="2872"/>
                </a:lnTo>
                <a:lnTo>
                  <a:pt x="1753" y="2877"/>
                </a:lnTo>
                <a:lnTo>
                  <a:pt x="1753" y="2883"/>
                </a:lnTo>
                <a:lnTo>
                  <a:pt x="1753" y="2895"/>
                </a:lnTo>
                <a:lnTo>
                  <a:pt x="1750" y="2896"/>
                </a:lnTo>
                <a:lnTo>
                  <a:pt x="1748" y="2898"/>
                </a:lnTo>
                <a:lnTo>
                  <a:pt x="1741" y="2924"/>
                </a:lnTo>
                <a:lnTo>
                  <a:pt x="1739" y="2935"/>
                </a:lnTo>
                <a:lnTo>
                  <a:pt x="1739" y="2936"/>
                </a:lnTo>
                <a:lnTo>
                  <a:pt x="1739" y="2934"/>
                </a:lnTo>
                <a:lnTo>
                  <a:pt x="1741" y="2936"/>
                </a:lnTo>
                <a:lnTo>
                  <a:pt x="1741" y="2937"/>
                </a:lnTo>
                <a:lnTo>
                  <a:pt x="1741" y="2938"/>
                </a:lnTo>
                <a:lnTo>
                  <a:pt x="1740" y="2939"/>
                </a:lnTo>
                <a:lnTo>
                  <a:pt x="1739" y="2940"/>
                </a:lnTo>
                <a:lnTo>
                  <a:pt x="1736" y="2951"/>
                </a:lnTo>
                <a:lnTo>
                  <a:pt x="1732" y="2967"/>
                </a:lnTo>
                <a:lnTo>
                  <a:pt x="1729" y="2974"/>
                </a:lnTo>
                <a:lnTo>
                  <a:pt x="1726" y="2980"/>
                </a:lnTo>
                <a:lnTo>
                  <a:pt x="1725" y="2982"/>
                </a:lnTo>
                <a:lnTo>
                  <a:pt x="1723" y="2984"/>
                </a:lnTo>
                <a:lnTo>
                  <a:pt x="1721" y="2985"/>
                </a:lnTo>
                <a:lnTo>
                  <a:pt x="1720" y="2985"/>
                </a:lnTo>
                <a:lnTo>
                  <a:pt x="1723" y="2986"/>
                </a:lnTo>
                <a:lnTo>
                  <a:pt x="1728" y="2988"/>
                </a:lnTo>
                <a:lnTo>
                  <a:pt x="1729" y="2993"/>
                </a:lnTo>
                <a:lnTo>
                  <a:pt x="1729" y="2997"/>
                </a:lnTo>
                <a:lnTo>
                  <a:pt x="1730" y="3002"/>
                </a:lnTo>
                <a:lnTo>
                  <a:pt x="1731" y="3007"/>
                </a:lnTo>
                <a:lnTo>
                  <a:pt x="1733" y="3021"/>
                </a:lnTo>
                <a:lnTo>
                  <a:pt x="1734" y="3034"/>
                </a:lnTo>
                <a:lnTo>
                  <a:pt x="1734" y="3044"/>
                </a:lnTo>
                <a:lnTo>
                  <a:pt x="1728" y="3044"/>
                </a:lnTo>
                <a:lnTo>
                  <a:pt x="1724" y="3063"/>
                </a:lnTo>
                <a:lnTo>
                  <a:pt x="1722" y="3072"/>
                </a:lnTo>
                <a:lnTo>
                  <a:pt x="1722" y="3076"/>
                </a:lnTo>
                <a:lnTo>
                  <a:pt x="1722" y="3079"/>
                </a:lnTo>
                <a:lnTo>
                  <a:pt x="1722" y="3082"/>
                </a:lnTo>
                <a:lnTo>
                  <a:pt x="1723" y="3085"/>
                </a:lnTo>
                <a:lnTo>
                  <a:pt x="1724" y="3086"/>
                </a:lnTo>
                <a:lnTo>
                  <a:pt x="1725" y="3087"/>
                </a:lnTo>
                <a:lnTo>
                  <a:pt x="1727" y="3088"/>
                </a:lnTo>
                <a:lnTo>
                  <a:pt x="1729" y="3089"/>
                </a:lnTo>
                <a:lnTo>
                  <a:pt x="1733" y="3090"/>
                </a:lnTo>
                <a:lnTo>
                  <a:pt x="1737" y="3090"/>
                </a:lnTo>
                <a:lnTo>
                  <a:pt x="1742" y="3089"/>
                </a:lnTo>
                <a:lnTo>
                  <a:pt x="1740" y="3106"/>
                </a:lnTo>
                <a:lnTo>
                  <a:pt x="1740" y="3115"/>
                </a:lnTo>
                <a:lnTo>
                  <a:pt x="1739" y="3126"/>
                </a:lnTo>
                <a:lnTo>
                  <a:pt x="1734" y="3128"/>
                </a:lnTo>
                <a:lnTo>
                  <a:pt x="1734" y="3132"/>
                </a:lnTo>
                <a:lnTo>
                  <a:pt x="1734" y="3134"/>
                </a:lnTo>
                <a:lnTo>
                  <a:pt x="1735" y="3136"/>
                </a:lnTo>
                <a:lnTo>
                  <a:pt x="1737" y="3138"/>
                </a:lnTo>
                <a:lnTo>
                  <a:pt x="1738" y="3140"/>
                </a:lnTo>
                <a:lnTo>
                  <a:pt x="1739" y="3142"/>
                </a:lnTo>
                <a:lnTo>
                  <a:pt x="1739" y="3145"/>
                </a:lnTo>
                <a:lnTo>
                  <a:pt x="1739" y="3148"/>
                </a:lnTo>
                <a:lnTo>
                  <a:pt x="1737" y="3151"/>
                </a:lnTo>
                <a:lnTo>
                  <a:pt x="1734" y="3153"/>
                </a:lnTo>
                <a:lnTo>
                  <a:pt x="1732" y="3154"/>
                </a:lnTo>
                <a:lnTo>
                  <a:pt x="1732" y="3155"/>
                </a:lnTo>
                <a:lnTo>
                  <a:pt x="1731" y="3156"/>
                </a:lnTo>
                <a:lnTo>
                  <a:pt x="1731" y="3157"/>
                </a:lnTo>
                <a:lnTo>
                  <a:pt x="1732" y="3157"/>
                </a:lnTo>
                <a:lnTo>
                  <a:pt x="1734" y="3156"/>
                </a:lnTo>
                <a:lnTo>
                  <a:pt x="1734" y="3162"/>
                </a:lnTo>
                <a:lnTo>
                  <a:pt x="1732" y="3162"/>
                </a:lnTo>
                <a:lnTo>
                  <a:pt x="1730" y="3160"/>
                </a:lnTo>
                <a:lnTo>
                  <a:pt x="1729" y="3159"/>
                </a:lnTo>
                <a:lnTo>
                  <a:pt x="1728" y="3159"/>
                </a:lnTo>
                <a:lnTo>
                  <a:pt x="1726" y="3167"/>
                </a:lnTo>
                <a:lnTo>
                  <a:pt x="1726" y="3174"/>
                </a:lnTo>
                <a:lnTo>
                  <a:pt x="1726" y="3186"/>
                </a:lnTo>
                <a:lnTo>
                  <a:pt x="1726" y="3199"/>
                </a:lnTo>
                <a:lnTo>
                  <a:pt x="1726" y="3207"/>
                </a:lnTo>
                <a:lnTo>
                  <a:pt x="1725" y="3216"/>
                </a:lnTo>
                <a:lnTo>
                  <a:pt x="1720" y="3212"/>
                </a:lnTo>
                <a:lnTo>
                  <a:pt x="1717" y="3210"/>
                </a:lnTo>
                <a:lnTo>
                  <a:pt x="1716" y="3210"/>
                </a:lnTo>
                <a:lnTo>
                  <a:pt x="1714" y="3210"/>
                </a:lnTo>
                <a:lnTo>
                  <a:pt x="1716" y="3211"/>
                </a:lnTo>
                <a:lnTo>
                  <a:pt x="1716" y="3212"/>
                </a:lnTo>
                <a:lnTo>
                  <a:pt x="1715" y="3213"/>
                </a:lnTo>
                <a:lnTo>
                  <a:pt x="1714" y="3214"/>
                </a:lnTo>
                <a:lnTo>
                  <a:pt x="1710" y="3215"/>
                </a:lnTo>
                <a:lnTo>
                  <a:pt x="1708" y="3216"/>
                </a:lnTo>
                <a:lnTo>
                  <a:pt x="1708" y="3214"/>
                </a:lnTo>
                <a:lnTo>
                  <a:pt x="1709" y="3213"/>
                </a:lnTo>
                <a:lnTo>
                  <a:pt x="1711" y="3210"/>
                </a:lnTo>
                <a:lnTo>
                  <a:pt x="1705" y="3207"/>
                </a:lnTo>
                <a:lnTo>
                  <a:pt x="1703" y="3206"/>
                </a:lnTo>
                <a:lnTo>
                  <a:pt x="1700" y="3204"/>
                </a:lnTo>
                <a:lnTo>
                  <a:pt x="1699" y="3206"/>
                </a:lnTo>
                <a:lnTo>
                  <a:pt x="1699" y="3207"/>
                </a:lnTo>
                <a:lnTo>
                  <a:pt x="1698" y="3207"/>
                </a:lnTo>
                <a:lnTo>
                  <a:pt x="1697" y="3206"/>
                </a:lnTo>
                <a:lnTo>
                  <a:pt x="1696" y="3206"/>
                </a:lnTo>
                <a:lnTo>
                  <a:pt x="1694" y="3207"/>
                </a:lnTo>
                <a:lnTo>
                  <a:pt x="1694" y="3213"/>
                </a:lnTo>
                <a:lnTo>
                  <a:pt x="1693" y="3219"/>
                </a:lnTo>
                <a:lnTo>
                  <a:pt x="1689" y="3230"/>
                </a:lnTo>
                <a:lnTo>
                  <a:pt x="1697" y="3224"/>
                </a:lnTo>
                <a:lnTo>
                  <a:pt x="1697" y="3228"/>
                </a:lnTo>
                <a:lnTo>
                  <a:pt x="1697" y="3232"/>
                </a:lnTo>
                <a:lnTo>
                  <a:pt x="1702" y="3232"/>
                </a:lnTo>
                <a:lnTo>
                  <a:pt x="1706" y="3232"/>
                </a:lnTo>
                <a:lnTo>
                  <a:pt x="1705" y="3232"/>
                </a:lnTo>
                <a:lnTo>
                  <a:pt x="1706" y="3231"/>
                </a:lnTo>
                <a:lnTo>
                  <a:pt x="1709" y="3228"/>
                </a:lnTo>
                <a:lnTo>
                  <a:pt x="1711" y="3228"/>
                </a:lnTo>
                <a:lnTo>
                  <a:pt x="1714" y="3228"/>
                </a:lnTo>
                <a:lnTo>
                  <a:pt x="1715" y="3229"/>
                </a:lnTo>
                <a:lnTo>
                  <a:pt x="1717" y="3232"/>
                </a:lnTo>
                <a:lnTo>
                  <a:pt x="1717" y="3236"/>
                </a:lnTo>
                <a:lnTo>
                  <a:pt x="1716" y="3240"/>
                </a:lnTo>
                <a:lnTo>
                  <a:pt x="1714" y="3244"/>
                </a:lnTo>
                <a:lnTo>
                  <a:pt x="1716" y="3245"/>
                </a:lnTo>
                <a:lnTo>
                  <a:pt x="1719" y="3249"/>
                </a:lnTo>
                <a:lnTo>
                  <a:pt x="1719" y="3250"/>
                </a:lnTo>
                <a:lnTo>
                  <a:pt x="1719" y="3251"/>
                </a:lnTo>
                <a:lnTo>
                  <a:pt x="1718" y="3252"/>
                </a:lnTo>
                <a:lnTo>
                  <a:pt x="1716" y="3252"/>
                </a:lnTo>
                <a:lnTo>
                  <a:pt x="1711" y="3252"/>
                </a:lnTo>
                <a:lnTo>
                  <a:pt x="1712" y="3265"/>
                </a:lnTo>
                <a:lnTo>
                  <a:pt x="1712" y="3275"/>
                </a:lnTo>
                <a:lnTo>
                  <a:pt x="1712" y="3285"/>
                </a:lnTo>
                <a:lnTo>
                  <a:pt x="1711" y="3297"/>
                </a:lnTo>
                <a:lnTo>
                  <a:pt x="1714" y="3294"/>
                </a:lnTo>
                <a:lnTo>
                  <a:pt x="1715" y="3292"/>
                </a:lnTo>
                <a:lnTo>
                  <a:pt x="1717" y="3292"/>
                </a:lnTo>
                <a:lnTo>
                  <a:pt x="1718" y="3292"/>
                </a:lnTo>
                <a:lnTo>
                  <a:pt x="1718" y="3293"/>
                </a:lnTo>
                <a:lnTo>
                  <a:pt x="1716" y="3297"/>
                </a:lnTo>
                <a:lnTo>
                  <a:pt x="1713" y="3301"/>
                </a:lnTo>
                <a:lnTo>
                  <a:pt x="1711" y="3303"/>
                </a:lnTo>
                <a:lnTo>
                  <a:pt x="1710" y="3305"/>
                </a:lnTo>
                <a:lnTo>
                  <a:pt x="1710" y="3309"/>
                </a:lnTo>
                <a:lnTo>
                  <a:pt x="1710" y="3312"/>
                </a:lnTo>
                <a:lnTo>
                  <a:pt x="1709" y="3313"/>
                </a:lnTo>
                <a:lnTo>
                  <a:pt x="1708" y="3314"/>
                </a:lnTo>
                <a:lnTo>
                  <a:pt x="1706" y="3315"/>
                </a:lnTo>
                <a:lnTo>
                  <a:pt x="1706" y="3314"/>
                </a:lnTo>
                <a:lnTo>
                  <a:pt x="1706" y="3312"/>
                </a:lnTo>
                <a:lnTo>
                  <a:pt x="1706" y="3311"/>
                </a:lnTo>
                <a:lnTo>
                  <a:pt x="1707" y="3298"/>
                </a:lnTo>
                <a:lnTo>
                  <a:pt x="1707" y="3285"/>
                </a:lnTo>
                <a:lnTo>
                  <a:pt x="1705" y="3273"/>
                </a:lnTo>
                <a:lnTo>
                  <a:pt x="1703" y="3261"/>
                </a:lnTo>
                <a:lnTo>
                  <a:pt x="1700" y="3261"/>
                </a:lnTo>
                <a:lnTo>
                  <a:pt x="1697" y="3261"/>
                </a:lnTo>
                <a:lnTo>
                  <a:pt x="1692" y="3261"/>
                </a:lnTo>
                <a:lnTo>
                  <a:pt x="1691" y="3262"/>
                </a:lnTo>
                <a:lnTo>
                  <a:pt x="1692" y="3262"/>
                </a:lnTo>
                <a:lnTo>
                  <a:pt x="1693" y="3264"/>
                </a:lnTo>
                <a:lnTo>
                  <a:pt x="1695" y="3265"/>
                </a:lnTo>
                <a:lnTo>
                  <a:pt x="1695" y="3266"/>
                </a:lnTo>
                <a:lnTo>
                  <a:pt x="1694" y="3266"/>
                </a:lnTo>
                <a:lnTo>
                  <a:pt x="1689" y="3270"/>
                </a:lnTo>
                <a:lnTo>
                  <a:pt x="1687" y="3271"/>
                </a:lnTo>
                <a:lnTo>
                  <a:pt x="1686" y="3273"/>
                </a:lnTo>
                <a:lnTo>
                  <a:pt x="1685" y="3276"/>
                </a:lnTo>
                <a:lnTo>
                  <a:pt x="1686" y="3279"/>
                </a:lnTo>
                <a:lnTo>
                  <a:pt x="1689" y="3285"/>
                </a:lnTo>
                <a:lnTo>
                  <a:pt x="1690" y="3287"/>
                </a:lnTo>
                <a:lnTo>
                  <a:pt x="1691" y="3288"/>
                </a:lnTo>
                <a:lnTo>
                  <a:pt x="1692" y="3292"/>
                </a:lnTo>
                <a:lnTo>
                  <a:pt x="1692" y="3296"/>
                </a:lnTo>
                <a:lnTo>
                  <a:pt x="1691" y="3298"/>
                </a:lnTo>
                <a:lnTo>
                  <a:pt x="1689" y="3298"/>
                </a:lnTo>
                <a:lnTo>
                  <a:pt x="1686" y="3300"/>
                </a:lnTo>
                <a:lnTo>
                  <a:pt x="1687" y="3303"/>
                </a:lnTo>
                <a:lnTo>
                  <a:pt x="1688" y="3305"/>
                </a:lnTo>
                <a:lnTo>
                  <a:pt x="1689" y="3308"/>
                </a:lnTo>
                <a:lnTo>
                  <a:pt x="1689" y="3311"/>
                </a:lnTo>
                <a:lnTo>
                  <a:pt x="1693" y="3312"/>
                </a:lnTo>
                <a:lnTo>
                  <a:pt x="1697" y="3313"/>
                </a:lnTo>
                <a:lnTo>
                  <a:pt x="1701" y="3313"/>
                </a:lnTo>
                <a:lnTo>
                  <a:pt x="1706" y="3314"/>
                </a:lnTo>
                <a:lnTo>
                  <a:pt x="1705" y="3318"/>
                </a:lnTo>
                <a:lnTo>
                  <a:pt x="1706" y="3322"/>
                </a:lnTo>
                <a:lnTo>
                  <a:pt x="1707" y="3323"/>
                </a:lnTo>
                <a:lnTo>
                  <a:pt x="1708" y="3323"/>
                </a:lnTo>
                <a:lnTo>
                  <a:pt x="1710" y="3322"/>
                </a:lnTo>
                <a:lnTo>
                  <a:pt x="1712" y="3322"/>
                </a:lnTo>
                <a:lnTo>
                  <a:pt x="1713" y="3322"/>
                </a:lnTo>
                <a:lnTo>
                  <a:pt x="1714" y="3322"/>
                </a:lnTo>
                <a:lnTo>
                  <a:pt x="1714" y="3324"/>
                </a:lnTo>
                <a:lnTo>
                  <a:pt x="1714" y="3326"/>
                </a:lnTo>
                <a:lnTo>
                  <a:pt x="1714" y="3329"/>
                </a:lnTo>
                <a:lnTo>
                  <a:pt x="1714" y="3331"/>
                </a:lnTo>
                <a:lnTo>
                  <a:pt x="1710" y="3328"/>
                </a:lnTo>
                <a:lnTo>
                  <a:pt x="1708" y="3326"/>
                </a:lnTo>
                <a:lnTo>
                  <a:pt x="1706" y="3325"/>
                </a:lnTo>
                <a:lnTo>
                  <a:pt x="1706" y="3326"/>
                </a:lnTo>
                <a:lnTo>
                  <a:pt x="1707" y="3326"/>
                </a:lnTo>
                <a:lnTo>
                  <a:pt x="1707" y="3328"/>
                </a:lnTo>
                <a:lnTo>
                  <a:pt x="1707" y="3333"/>
                </a:lnTo>
                <a:lnTo>
                  <a:pt x="1707" y="3336"/>
                </a:lnTo>
                <a:lnTo>
                  <a:pt x="1706" y="3336"/>
                </a:lnTo>
                <a:lnTo>
                  <a:pt x="1706" y="3334"/>
                </a:lnTo>
                <a:lnTo>
                  <a:pt x="1702" y="3332"/>
                </a:lnTo>
                <a:lnTo>
                  <a:pt x="1697" y="3331"/>
                </a:lnTo>
                <a:lnTo>
                  <a:pt x="1697" y="3339"/>
                </a:lnTo>
                <a:lnTo>
                  <a:pt x="1694" y="3339"/>
                </a:lnTo>
                <a:lnTo>
                  <a:pt x="1695" y="3348"/>
                </a:lnTo>
                <a:lnTo>
                  <a:pt x="1694" y="3356"/>
                </a:lnTo>
                <a:lnTo>
                  <a:pt x="1698" y="3356"/>
                </a:lnTo>
                <a:lnTo>
                  <a:pt x="1703" y="3356"/>
                </a:lnTo>
                <a:lnTo>
                  <a:pt x="1705" y="3351"/>
                </a:lnTo>
                <a:lnTo>
                  <a:pt x="1707" y="3347"/>
                </a:lnTo>
                <a:lnTo>
                  <a:pt x="1708" y="3345"/>
                </a:lnTo>
                <a:lnTo>
                  <a:pt x="1710" y="3349"/>
                </a:lnTo>
                <a:lnTo>
                  <a:pt x="1711" y="3351"/>
                </a:lnTo>
                <a:lnTo>
                  <a:pt x="1711" y="3344"/>
                </a:lnTo>
                <a:lnTo>
                  <a:pt x="1710" y="3341"/>
                </a:lnTo>
                <a:lnTo>
                  <a:pt x="1710" y="3340"/>
                </a:lnTo>
                <a:lnTo>
                  <a:pt x="1710" y="3339"/>
                </a:lnTo>
                <a:lnTo>
                  <a:pt x="1714" y="3337"/>
                </a:lnTo>
                <a:lnTo>
                  <a:pt x="1714" y="3331"/>
                </a:lnTo>
                <a:lnTo>
                  <a:pt x="1716" y="3332"/>
                </a:lnTo>
                <a:lnTo>
                  <a:pt x="1717" y="3333"/>
                </a:lnTo>
                <a:lnTo>
                  <a:pt x="1719" y="3334"/>
                </a:lnTo>
                <a:lnTo>
                  <a:pt x="1721" y="3334"/>
                </a:lnTo>
                <a:lnTo>
                  <a:pt x="1722" y="3334"/>
                </a:lnTo>
                <a:lnTo>
                  <a:pt x="1719" y="3337"/>
                </a:lnTo>
                <a:lnTo>
                  <a:pt x="1716" y="3341"/>
                </a:lnTo>
                <a:lnTo>
                  <a:pt x="1715" y="3343"/>
                </a:lnTo>
                <a:lnTo>
                  <a:pt x="1715" y="3346"/>
                </a:lnTo>
                <a:lnTo>
                  <a:pt x="1715" y="3347"/>
                </a:lnTo>
                <a:lnTo>
                  <a:pt x="1715" y="3348"/>
                </a:lnTo>
                <a:lnTo>
                  <a:pt x="1716" y="3349"/>
                </a:lnTo>
                <a:lnTo>
                  <a:pt x="1717" y="3348"/>
                </a:lnTo>
                <a:lnTo>
                  <a:pt x="1720" y="3348"/>
                </a:lnTo>
                <a:lnTo>
                  <a:pt x="1719" y="3354"/>
                </a:lnTo>
                <a:lnTo>
                  <a:pt x="1718" y="3357"/>
                </a:lnTo>
                <a:lnTo>
                  <a:pt x="1717" y="3357"/>
                </a:lnTo>
                <a:lnTo>
                  <a:pt x="1717" y="3356"/>
                </a:lnTo>
                <a:lnTo>
                  <a:pt x="1717" y="3362"/>
                </a:lnTo>
                <a:lnTo>
                  <a:pt x="1715" y="3362"/>
                </a:lnTo>
                <a:lnTo>
                  <a:pt x="1713" y="3362"/>
                </a:lnTo>
                <a:lnTo>
                  <a:pt x="1712" y="3361"/>
                </a:lnTo>
                <a:lnTo>
                  <a:pt x="1711" y="3359"/>
                </a:lnTo>
                <a:lnTo>
                  <a:pt x="1710" y="3359"/>
                </a:lnTo>
                <a:lnTo>
                  <a:pt x="1708" y="3359"/>
                </a:lnTo>
                <a:lnTo>
                  <a:pt x="1708" y="3365"/>
                </a:lnTo>
                <a:lnTo>
                  <a:pt x="1707" y="3365"/>
                </a:lnTo>
                <a:lnTo>
                  <a:pt x="1704" y="3364"/>
                </a:lnTo>
                <a:lnTo>
                  <a:pt x="1703" y="3364"/>
                </a:lnTo>
                <a:lnTo>
                  <a:pt x="1703" y="3363"/>
                </a:lnTo>
                <a:lnTo>
                  <a:pt x="1706" y="3362"/>
                </a:lnTo>
                <a:lnTo>
                  <a:pt x="1702" y="3363"/>
                </a:lnTo>
                <a:lnTo>
                  <a:pt x="1699" y="3362"/>
                </a:lnTo>
                <a:lnTo>
                  <a:pt x="1692" y="3362"/>
                </a:lnTo>
                <a:lnTo>
                  <a:pt x="1694" y="3368"/>
                </a:lnTo>
                <a:lnTo>
                  <a:pt x="1696" y="3373"/>
                </a:lnTo>
                <a:lnTo>
                  <a:pt x="1699" y="3384"/>
                </a:lnTo>
                <a:lnTo>
                  <a:pt x="1701" y="3388"/>
                </a:lnTo>
                <a:lnTo>
                  <a:pt x="1703" y="3390"/>
                </a:lnTo>
                <a:lnTo>
                  <a:pt x="1704" y="3392"/>
                </a:lnTo>
                <a:lnTo>
                  <a:pt x="1709" y="3396"/>
                </a:lnTo>
                <a:lnTo>
                  <a:pt x="1711" y="3397"/>
                </a:lnTo>
                <a:lnTo>
                  <a:pt x="1714" y="3398"/>
                </a:lnTo>
                <a:lnTo>
                  <a:pt x="1720" y="3399"/>
                </a:lnTo>
                <a:lnTo>
                  <a:pt x="1723" y="3399"/>
                </a:lnTo>
                <a:lnTo>
                  <a:pt x="1722" y="3398"/>
                </a:lnTo>
                <a:lnTo>
                  <a:pt x="1715" y="3394"/>
                </a:lnTo>
                <a:lnTo>
                  <a:pt x="1709" y="3390"/>
                </a:lnTo>
                <a:lnTo>
                  <a:pt x="1707" y="3388"/>
                </a:lnTo>
                <a:lnTo>
                  <a:pt x="1707" y="3387"/>
                </a:lnTo>
                <a:lnTo>
                  <a:pt x="1708" y="3387"/>
                </a:lnTo>
                <a:lnTo>
                  <a:pt x="1709" y="3386"/>
                </a:lnTo>
                <a:lnTo>
                  <a:pt x="1711" y="3386"/>
                </a:lnTo>
                <a:lnTo>
                  <a:pt x="1717" y="3387"/>
                </a:lnTo>
                <a:lnTo>
                  <a:pt x="1717" y="3383"/>
                </a:lnTo>
                <a:lnTo>
                  <a:pt x="1717" y="3379"/>
                </a:lnTo>
                <a:lnTo>
                  <a:pt x="1717" y="3374"/>
                </a:lnTo>
                <a:lnTo>
                  <a:pt x="1717" y="3370"/>
                </a:lnTo>
                <a:lnTo>
                  <a:pt x="1714" y="3368"/>
                </a:lnTo>
                <a:lnTo>
                  <a:pt x="1712" y="3367"/>
                </a:lnTo>
                <a:lnTo>
                  <a:pt x="1712" y="3366"/>
                </a:lnTo>
                <a:lnTo>
                  <a:pt x="1711" y="3365"/>
                </a:lnTo>
                <a:lnTo>
                  <a:pt x="1713" y="3365"/>
                </a:lnTo>
                <a:lnTo>
                  <a:pt x="1715" y="3364"/>
                </a:lnTo>
                <a:lnTo>
                  <a:pt x="1718" y="3363"/>
                </a:lnTo>
                <a:lnTo>
                  <a:pt x="1720" y="3362"/>
                </a:lnTo>
                <a:lnTo>
                  <a:pt x="1721" y="3362"/>
                </a:lnTo>
                <a:lnTo>
                  <a:pt x="1722" y="3362"/>
                </a:lnTo>
                <a:lnTo>
                  <a:pt x="1723" y="3364"/>
                </a:lnTo>
                <a:lnTo>
                  <a:pt x="1724" y="3365"/>
                </a:lnTo>
                <a:lnTo>
                  <a:pt x="1725" y="3366"/>
                </a:lnTo>
                <a:lnTo>
                  <a:pt x="1728" y="3367"/>
                </a:lnTo>
                <a:lnTo>
                  <a:pt x="1731" y="3363"/>
                </a:lnTo>
                <a:lnTo>
                  <a:pt x="1734" y="3359"/>
                </a:lnTo>
                <a:lnTo>
                  <a:pt x="1736" y="3359"/>
                </a:lnTo>
                <a:lnTo>
                  <a:pt x="1738" y="3359"/>
                </a:lnTo>
                <a:lnTo>
                  <a:pt x="1741" y="3361"/>
                </a:lnTo>
                <a:lnTo>
                  <a:pt x="1742" y="3362"/>
                </a:lnTo>
                <a:lnTo>
                  <a:pt x="1742" y="3363"/>
                </a:lnTo>
                <a:lnTo>
                  <a:pt x="1741" y="3364"/>
                </a:lnTo>
                <a:lnTo>
                  <a:pt x="1739" y="3365"/>
                </a:lnTo>
                <a:lnTo>
                  <a:pt x="1737" y="3368"/>
                </a:lnTo>
                <a:lnTo>
                  <a:pt x="1737" y="3367"/>
                </a:lnTo>
                <a:lnTo>
                  <a:pt x="1737" y="3366"/>
                </a:lnTo>
                <a:lnTo>
                  <a:pt x="1736" y="3364"/>
                </a:lnTo>
                <a:lnTo>
                  <a:pt x="1735" y="3364"/>
                </a:lnTo>
                <a:lnTo>
                  <a:pt x="1734" y="3365"/>
                </a:lnTo>
                <a:lnTo>
                  <a:pt x="1733" y="3367"/>
                </a:lnTo>
                <a:lnTo>
                  <a:pt x="1733" y="3370"/>
                </a:lnTo>
                <a:lnTo>
                  <a:pt x="1734" y="3376"/>
                </a:lnTo>
                <a:lnTo>
                  <a:pt x="1732" y="3375"/>
                </a:lnTo>
                <a:lnTo>
                  <a:pt x="1730" y="3373"/>
                </a:lnTo>
                <a:lnTo>
                  <a:pt x="1729" y="3371"/>
                </a:lnTo>
                <a:lnTo>
                  <a:pt x="1728" y="3370"/>
                </a:lnTo>
                <a:lnTo>
                  <a:pt x="1723" y="3374"/>
                </a:lnTo>
                <a:lnTo>
                  <a:pt x="1721" y="3376"/>
                </a:lnTo>
                <a:lnTo>
                  <a:pt x="1722" y="3376"/>
                </a:lnTo>
                <a:lnTo>
                  <a:pt x="1724" y="3387"/>
                </a:lnTo>
                <a:lnTo>
                  <a:pt x="1725" y="3396"/>
                </a:lnTo>
                <a:lnTo>
                  <a:pt x="1730" y="3395"/>
                </a:lnTo>
                <a:lnTo>
                  <a:pt x="1732" y="3396"/>
                </a:lnTo>
                <a:lnTo>
                  <a:pt x="1733" y="3397"/>
                </a:lnTo>
                <a:lnTo>
                  <a:pt x="1732" y="3398"/>
                </a:lnTo>
                <a:lnTo>
                  <a:pt x="1729" y="3398"/>
                </a:lnTo>
                <a:lnTo>
                  <a:pt x="1725" y="3398"/>
                </a:lnTo>
                <a:lnTo>
                  <a:pt x="1725" y="3403"/>
                </a:lnTo>
                <a:lnTo>
                  <a:pt x="1724" y="3406"/>
                </a:lnTo>
                <a:lnTo>
                  <a:pt x="1724" y="3409"/>
                </a:lnTo>
                <a:lnTo>
                  <a:pt x="1722" y="3412"/>
                </a:lnTo>
                <a:lnTo>
                  <a:pt x="1725" y="3414"/>
                </a:lnTo>
                <a:lnTo>
                  <a:pt x="1728" y="3415"/>
                </a:lnTo>
                <a:lnTo>
                  <a:pt x="1731" y="3415"/>
                </a:lnTo>
                <a:lnTo>
                  <a:pt x="1731" y="3416"/>
                </a:lnTo>
                <a:lnTo>
                  <a:pt x="1731" y="3415"/>
                </a:lnTo>
                <a:lnTo>
                  <a:pt x="1734" y="3415"/>
                </a:lnTo>
                <a:lnTo>
                  <a:pt x="1734" y="3421"/>
                </a:lnTo>
                <a:lnTo>
                  <a:pt x="1732" y="3420"/>
                </a:lnTo>
                <a:lnTo>
                  <a:pt x="1731" y="3421"/>
                </a:lnTo>
                <a:lnTo>
                  <a:pt x="1732" y="3422"/>
                </a:lnTo>
                <a:lnTo>
                  <a:pt x="1735" y="3423"/>
                </a:lnTo>
                <a:lnTo>
                  <a:pt x="1742" y="3427"/>
                </a:lnTo>
                <a:lnTo>
                  <a:pt x="1744" y="3426"/>
                </a:lnTo>
                <a:lnTo>
                  <a:pt x="1745" y="3425"/>
                </a:lnTo>
                <a:lnTo>
                  <a:pt x="1745" y="3424"/>
                </a:lnTo>
                <a:lnTo>
                  <a:pt x="1745" y="3422"/>
                </a:lnTo>
                <a:lnTo>
                  <a:pt x="1745" y="3421"/>
                </a:lnTo>
                <a:lnTo>
                  <a:pt x="1744" y="3420"/>
                </a:lnTo>
                <a:lnTo>
                  <a:pt x="1743" y="3419"/>
                </a:lnTo>
                <a:lnTo>
                  <a:pt x="1742" y="3418"/>
                </a:lnTo>
                <a:lnTo>
                  <a:pt x="1745" y="3410"/>
                </a:lnTo>
                <a:lnTo>
                  <a:pt x="1739" y="3409"/>
                </a:lnTo>
                <a:lnTo>
                  <a:pt x="1737" y="3408"/>
                </a:lnTo>
                <a:lnTo>
                  <a:pt x="1737" y="3407"/>
                </a:lnTo>
                <a:lnTo>
                  <a:pt x="1738" y="3406"/>
                </a:lnTo>
                <a:lnTo>
                  <a:pt x="1742" y="3404"/>
                </a:lnTo>
                <a:lnTo>
                  <a:pt x="1743" y="3404"/>
                </a:lnTo>
                <a:lnTo>
                  <a:pt x="1742" y="3404"/>
                </a:lnTo>
                <a:lnTo>
                  <a:pt x="1743" y="3402"/>
                </a:lnTo>
                <a:lnTo>
                  <a:pt x="1745" y="3401"/>
                </a:lnTo>
                <a:lnTo>
                  <a:pt x="1746" y="3401"/>
                </a:lnTo>
                <a:lnTo>
                  <a:pt x="1748" y="3401"/>
                </a:lnTo>
                <a:lnTo>
                  <a:pt x="1748" y="3403"/>
                </a:lnTo>
                <a:lnTo>
                  <a:pt x="1749" y="3407"/>
                </a:lnTo>
                <a:lnTo>
                  <a:pt x="1750" y="3410"/>
                </a:lnTo>
                <a:lnTo>
                  <a:pt x="1750" y="3412"/>
                </a:lnTo>
                <a:lnTo>
                  <a:pt x="1751" y="3412"/>
                </a:lnTo>
                <a:lnTo>
                  <a:pt x="1754" y="3414"/>
                </a:lnTo>
                <a:lnTo>
                  <a:pt x="1758" y="3414"/>
                </a:lnTo>
                <a:lnTo>
                  <a:pt x="1765" y="3415"/>
                </a:lnTo>
                <a:lnTo>
                  <a:pt x="1764" y="3419"/>
                </a:lnTo>
                <a:lnTo>
                  <a:pt x="1765" y="3424"/>
                </a:lnTo>
                <a:lnTo>
                  <a:pt x="1757" y="3421"/>
                </a:lnTo>
                <a:lnTo>
                  <a:pt x="1748" y="3418"/>
                </a:lnTo>
                <a:lnTo>
                  <a:pt x="1751" y="3423"/>
                </a:lnTo>
                <a:lnTo>
                  <a:pt x="1753" y="3429"/>
                </a:lnTo>
                <a:lnTo>
                  <a:pt x="1756" y="3429"/>
                </a:lnTo>
                <a:lnTo>
                  <a:pt x="1760" y="3428"/>
                </a:lnTo>
                <a:lnTo>
                  <a:pt x="1765" y="3427"/>
                </a:lnTo>
                <a:lnTo>
                  <a:pt x="1772" y="3427"/>
                </a:lnTo>
                <a:lnTo>
                  <a:pt x="1773" y="3427"/>
                </a:lnTo>
                <a:lnTo>
                  <a:pt x="1773" y="3428"/>
                </a:lnTo>
                <a:lnTo>
                  <a:pt x="1771" y="3429"/>
                </a:lnTo>
                <a:lnTo>
                  <a:pt x="1766" y="3431"/>
                </a:lnTo>
                <a:lnTo>
                  <a:pt x="1754" y="3434"/>
                </a:lnTo>
                <a:lnTo>
                  <a:pt x="1748" y="3435"/>
                </a:lnTo>
                <a:lnTo>
                  <a:pt x="1748" y="3443"/>
                </a:lnTo>
                <a:lnTo>
                  <a:pt x="1750" y="3443"/>
                </a:lnTo>
                <a:lnTo>
                  <a:pt x="1751" y="3443"/>
                </a:lnTo>
                <a:lnTo>
                  <a:pt x="1751" y="3442"/>
                </a:lnTo>
                <a:lnTo>
                  <a:pt x="1750" y="3440"/>
                </a:lnTo>
                <a:lnTo>
                  <a:pt x="1750" y="3439"/>
                </a:lnTo>
                <a:lnTo>
                  <a:pt x="1751" y="3438"/>
                </a:lnTo>
                <a:lnTo>
                  <a:pt x="1755" y="3439"/>
                </a:lnTo>
                <a:lnTo>
                  <a:pt x="1758" y="3439"/>
                </a:lnTo>
                <a:lnTo>
                  <a:pt x="1762" y="3440"/>
                </a:lnTo>
                <a:lnTo>
                  <a:pt x="1767" y="3441"/>
                </a:lnTo>
                <a:lnTo>
                  <a:pt x="1767" y="3446"/>
                </a:lnTo>
                <a:lnTo>
                  <a:pt x="1771" y="3446"/>
                </a:lnTo>
                <a:lnTo>
                  <a:pt x="1775" y="3446"/>
                </a:lnTo>
                <a:lnTo>
                  <a:pt x="1778" y="3446"/>
                </a:lnTo>
                <a:lnTo>
                  <a:pt x="1782" y="3446"/>
                </a:lnTo>
                <a:lnTo>
                  <a:pt x="1782" y="3447"/>
                </a:lnTo>
                <a:lnTo>
                  <a:pt x="1782" y="3449"/>
                </a:lnTo>
                <a:lnTo>
                  <a:pt x="1782" y="3450"/>
                </a:lnTo>
                <a:lnTo>
                  <a:pt x="1784" y="3452"/>
                </a:lnTo>
                <a:lnTo>
                  <a:pt x="1790" y="3449"/>
                </a:lnTo>
                <a:lnTo>
                  <a:pt x="1790" y="3450"/>
                </a:lnTo>
                <a:lnTo>
                  <a:pt x="1790" y="3452"/>
                </a:lnTo>
                <a:lnTo>
                  <a:pt x="1790" y="3453"/>
                </a:lnTo>
                <a:lnTo>
                  <a:pt x="1788" y="3454"/>
                </a:lnTo>
                <a:lnTo>
                  <a:pt x="1786" y="3454"/>
                </a:lnTo>
                <a:lnTo>
                  <a:pt x="1782" y="3455"/>
                </a:lnTo>
                <a:lnTo>
                  <a:pt x="1785" y="3459"/>
                </a:lnTo>
                <a:lnTo>
                  <a:pt x="1787" y="3463"/>
                </a:lnTo>
                <a:lnTo>
                  <a:pt x="1790" y="3464"/>
                </a:lnTo>
                <a:lnTo>
                  <a:pt x="1793" y="3464"/>
                </a:lnTo>
                <a:lnTo>
                  <a:pt x="1796" y="3466"/>
                </a:lnTo>
                <a:lnTo>
                  <a:pt x="1799" y="3466"/>
                </a:lnTo>
                <a:lnTo>
                  <a:pt x="1800" y="3466"/>
                </a:lnTo>
                <a:lnTo>
                  <a:pt x="1801" y="3465"/>
                </a:lnTo>
                <a:lnTo>
                  <a:pt x="1800" y="3463"/>
                </a:lnTo>
                <a:lnTo>
                  <a:pt x="1799" y="3462"/>
                </a:lnTo>
                <a:lnTo>
                  <a:pt x="1799" y="3460"/>
                </a:lnTo>
                <a:lnTo>
                  <a:pt x="1799" y="3459"/>
                </a:lnTo>
                <a:lnTo>
                  <a:pt x="1800" y="3458"/>
                </a:lnTo>
                <a:lnTo>
                  <a:pt x="1801" y="3457"/>
                </a:lnTo>
                <a:lnTo>
                  <a:pt x="1803" y="3457"/>
                </a:lnTo>
                <a:lnTo>
                  <a:pt x="1806" y="3457"/>
                </a:lnTo>
                <a:lnTo>
                  <a:pt x="1812" y="3458"/>
                </a:lnTo>
                <a:lnTo>
                  <a:pt x="1814" y="3458"/>
                </a:lnTo>
                <a:lnTo>
                  <a:pt x="1815" y="3458"/>
                </a:lnTo>
                <a:lnTo>
                  <a:pt x="1815" y="3457"/>
                </a:lnTo>
                <a:lnTo>
                  <a:pt x="1812" y="3455"/>
                </a:lnTo>
                <a:lnTo>
                  <a:pt x="1812" y="3449"/>
                </a:lnTo>
                <a:lnTo>
                  <a:pt x="1807" y="3448"/>
                </a:lnTo>
                <a:lnTo>
                  <a:pt x="1804" y="3446"/>
                </a:lnTo>
                <a:lnTo>
                  <a:pt x="1807" y="3447"/>
                </a:lnTo>
                <a:lnTo>
                  <a:pt x="1810" y="3446"/>
                </a:lnTo>
                <a:lnTo>
                  <a:pt x="1813" y="3446"/>
                </a:lnTo>
                <a:lnTo>
                  <a:pt x="1814" y="3446"/>
                </a:lnTo>
                <a:lnTo>
                  <a:pt x="1815" y="3446"/>
                </a:lnTo>
                <a:lnTo>
                  <a:pt x="1824" y="3460"/>
                </a:lnTo>
                <a:lnTo>
                  <a:pt x="1829" y="3460"/>
                </a:lnTo>
                <a:lnTo>
                  <a:pt x="1831" y="3459"/>
                </a:lnTo>
                <a:lnTo>
                  <a:pt x="1831" y="3457"/>
                </a:lnTo>
                <a:lnTo>
                  <a:pt x="1833" y="3455"/>
                </a:lnTo>
                <a:lnTo>
                  <a:pt x="1835" y="3455"/>
                </a:lnTo>
                <a:lnTo>
                  <a:pt x="1836" y="3450"/>
                </a:lnTo>
                <a:lnTo>
                  <a:pt x="1836" y="3448"/>
                </a:lnTo>
                <a:lnTo>
                  <a:pt x="1838" y="3446"/>
                </a:lnTo>
                <a:lnTo>
                  <a:pt x="1840" y="3445"/>
                </a:lnTo>
                <a:lnTo>
                  <a:pt x="1842" y="3445"/>
                </a:lnTo>
                <a:lnTo>
                  <a:pt x="1846" y="3444"/>
                </a:lnTo>
                <a:lnTo>
                  <a:pt x="1851" y="3444"/>
                </a:lnTo>
                <a:lnTo>
                  <a:pt x="1855" y="3444"/>
                </a:lnTo>
                <a:lnTo>
                  <a:pt x="1862" y="3446"/>
                </a:lnTo>
                <a:lnTo>
                  <a:pt x="1866" y="3446"/>
                </a:lnTo>
                <a:lnTo>
                  <a:pt x="1869" y="3446"/>
                </a:lnTo>
                <a:lnTo>
                  <a:pt x="1868" y="3445"/>
                </a:lnTo>
                <a:lnTo>
                  <a:pt x="1867" y="3442"/>
                </a:lnTo>
                <a:lnTo>
                  <a:pt x="1867" y="3439"/>
                </a:lnTo>
                <a:lnTo>
                  <a:pt x="1866" y="3438"/>
                </a:lnTo>
                <a:lnTo>
                  <a:pt x="1863" y="3437"/>
                </a:lnTo>
                <a:lnTo>
                  <a:pt x="1861" y="3436"/>
                </a:lnTo>
                <a:lnTo>
                  <a:pt x="1855" y="3436"/>
                </a:lnTo>
                <a:lnTo>
                  <a:pt x="1849" y="3436"/>
                </a:lnTo>
                <a:lnTo>
                  <a:pt x="1846" y="3436"/>
                </a:lnTo>
                <a:lnTo>
                  <a:pt x="1843" y="3435"/>
                </a:lnTo>
                <a:lnTo>
                  <a:pt x="1815" y="3410"/>
                </a:lnTo>
                <a:lnTo>
                  <a:pt x="1815" y="3407"/>
                </a:lnTo>
                <a:lnTo>
                  <a:pt x="1814" y="3404"/>
                </a:lnTo>
                <a:lnTo>
                  <a:pt x="1815" y="3398"/>
                </a:lnTo>
                <a:lnTo>
                  <a:pt x="1815" y="3393"/>
                </a:lnTo>
                <a:lnTo>
                  <a:pt x="1816" y="3391"/>
                </a:lnTo>
                <a:lnTo>
                  <a:pt x="1815" y="3390"/>
                </a:lnTo>
                <a:lnTo>
                  <a:pt x="1810" y="3387"/>
                </a:lnTo>
                <a:lnTo>
                  <a:pt x="1793" y="3382"/>
                </a:lnTo>
                <a:lnTo>
                  <a:pt x="1794" y="3380"/>
                </a:lnTo>
                <a:lnTo>
                  <a:pt x="1796" y="3376"/>
                </a:lnTo>
                <a:lnTo>
                  <a:pt x="1797" y="3373"/>
                </a:lnTo>
                <a:lnTo>
                  <a:pt x="1798" y="3370"/>
                </a:lnTo>
                <a:lnTo>
                  <a:pt x="1803" y="3370"/>
                </a:lnTo>
                <a:lnTo>
                  <a:pt x="1804" y="3371"/>
                </a:lnTo>
                <a:lnTo>
                  <a:pt x="1805" y="3371"/>
                </a:lnTo>
                <a:lnTo>
                  <a:pt x="1805" y="3372"/>
                </a:lnTo>
                <a:lnTo>
                  <a:pt x="1804" y="3373"/>
                </a:lnTo>
                <a:lnTo>
                  <a:pt x="1812" y="3373"/>
                </a:lnTo>
                <a:lnTo>
                  <a:pt x="1811" y="3372"/>
                </a:lnTo>
                <a:lnTo>
                  <a:pt x="1811" y="3368"/>
                </a:lnTo>
                <a:lnTo>
                  <a:pt x="1810" y="3359"/>
                </a:lnTo>
                <a:lnTo>
                  <a:pt x="1798" y="3359"/>
                </a:lnTo>
                <a:lnTo>
                  <a:pt x="1800" y="3358"/>
                </a:lnTo>
                <a:lnTo>
                  <a:pt x="1802" y="3357"/>
                </a:lnTo>
                <a:lnTo>
                  <a:pt x="1802" y="3356"/>
                </a:lnTo>
                <a:lnTo>
                  <a:pt x="1803" y="3355"/>
                </a:lnTo>
                <a:lnTo>
                  <a:pt x="1803" y="3351"/>
                </a:lnTo>
                <a:lnTo>
                  <a:pt x="1803" y="3347"/>
                </a:lnTo>
                <a:lnTo>
                  <a:pt x="1802" y="3343"/>
                </a:lnTo>
                <a:lnTo>
                  <a:pt x="1802" y="3338"/>
                </a:lnTo>
                <a:lnTo>
                  <a:pt x="1802" y="3336"/>
                </a:lnTo>
                <a:lnTo>
                  <a:pt x="1802" y="3334"/>
                </a:lnTo>
                <a:lnTo>
                  <a:pt x="1803" y="3333"/>
                </a:lnTo>
                <a:lnTo>
                  <a:pt x="1804" y="3331"/>
                </a:lnTo>
                <a:lnTo>
                  <a:pt x="1805" y="3330"/>
                </a:lnTo>
                <a:lnTo>
                  <a:pt x="1806" y="3329"/>
                </a:lnTo>
                <a:lnTo>
                  <a:pt x="1810" y="3328"/>
                </a:lnTo>
                <a:lnTo>
                  <a:pt x="1813" y="3327"/>
                </a:lnTo>
                <a:lnTo>
                  <a:pt x="1815" y="3325"/>
                </a:lnTo>
                <a:lnTo>
                  <a:pt x="1813" y="3321"/>
                </a:lnTo>
                <a:lnTo>
                  <a:pt x="1812" y="3320"/>
                </a:lnTo>
                <a:lnTo>
                  <a:pt x="1810" y="3319"/>
                </a:lnTo>
                <a:lnTo>
                  <a:pt x="1807" y="3317"/>
                </a:lnTo>
                <a:lnTo>
                  <a:pt x="1808" y="3314"/>
                </a:lnTo>
                <a:lnTo>
                  <a:pt x="1809" y="3311"/>
                </a:lnTo>
                <a:lnTo>
                  <a:pt x="1810" y="3309"/>
                </a:lnTo>
                <a:lnTo>
                  <a:pt x="1810" y="3306"/>
                </a:lnTo>
                <a:lnTo>
                  <a:pt x="1813" y="3308"/>
                </a:lnTo>
                <a:lnTo>
                  <a:pt x="1814" y="3310"/>
                </a:lnTo>
                <a:lnTo>
                  <a:pt x="1815" y="3311"/>
                </a:lnTo>
                <a:lnTo>
                  <a:pt x="1815" y="3317"/>
                </a:lnTo>
                <a:lnTo>
                  <a:pt x="1823" y="3314"/>
                </a:lnTo>
                <a:lnTo>
                  <a:pt x="1826" y="3314"/>
                </a:lnTo>
                <a:lnTo>
                  <a:pt x="1829" y="3314"/>
                </a:lnTo>
                <a:lnTo>
                  <a:pt x="1829" y="3308"/>
                </a:lnTo>
                <a:lnTo>
                  <a:pt x="1829" y="3303"/>
                </a:lnTo>
                <a:lnTo>
                  <a:pt x="1829" y="3299"/>
                </a:lnTo>
                <a:lnTo>
                  <a:pt x="1830" y="3295"/>
                </a:lnTo>
                <a:lnTo>
                  <a:pt x="1831" y="3291"/>
                </a:lnTo>
                <a:lnTo>
                  <a:pt x="1833" y="3287"/>
                </a:lnTo>
                <a:lnTo>
                  <a:pt x="1835" y="3284"/>
                </a:lnTo>
                <a:lnTo>
                  <a:pt x="1838" y="3281"/>
                </a:lnTo>
                <a:lnTo>
                  <a:pt x="1843" y="3275"/>
                </a:lnTo>
                <a:lnTo>
                  <a:pt x="1850" y="3270"/>
                </a:lnTo>
                <a:lnTo>
                  <a:pt x="1866" y="3258"/>
                </a:lnTo>
                <a:lnTo>
                  <a:pt x="1864" y="3256"/>
                </a:lnTo>
                <a:lnTo>
                  <a:pt x="1862" y="3254"/>
                </a:lnTo>
                <a:lnTo>
                  <a:pt x="1861" y="3252"/>
                </a:lnTo>
                <a:lnTo>
                  <a:pt x="1860" y="3251"/>
                </a:lnTo>
                <a:lnTo>
                  <a:pt x="1860" y="3248"/>
                </a:lnTo>
                <a:lnTo>
                  <a:pt x="1861" y="3245"/>
                </a:lnTo>
                <a:lnTo>
                  <a:pt x="1862" y="3242"/>
                </a:lnTo>
                <a:lnTo>
                  <a:pt x="1862" y="3239"/>
                </a:lnTo>
                <a:lnTo>
                  <a:pt x="1861" y="3237"/>
                </a:lnTo>
                <a:lnTo>
                  <a:pt x="1861" y="3236"/>
                </a:lnTo>
                <a:lnTo>
                  <a:pt x="1859" y="3234"/>
                </a:lnTo>
                <a:lnTo>
                  <a:pt x="1857" y="3232"/>
                </a:lnTo>
                <a:lnTo>
                  <a:pt x="1856" y="3232"/>
                </a:lnTo>
                <a:lnTo>
                  <a:pt x="1855" y="3232"/>
                </a:lnTo>
                <a:lnTo>
                  <a:pt x="1852" y="3232"/>
                </a:lnTo>
                <a:lnTo>
                  <a:pt x="1849" y="3233"/>
                </a:lnTo>
                <a:lnTo>
                  <a:pt x="1846" y="3232"/>
                </a:lnTo>
                <a:lnTo>
                  <a:pt x="1845" y="3231"/>
                </a:lnTo>
                <a:lnTo>
                  <a:pt x="1843" y="3228"/>
                </a:lnTo>
                <a:lnTo>
                  <a:pt x="1841" y="3224"/>
                </a:lnTo>
                <a:lnTo>
                  <a:pt x="1835" y="3219"/>
                </a:lnTo>
                <a:lnTo>
                  <a:pt x="1831" y="3215"/>
                </a:lnTo>
                <a:lnTo>
                  <a:pt x="1830" y="3213"/>
                </a:lnTo>
                <a:lnTo>
                  <a:pt x="1830" y="3212"/>
                </a:lnTo>
                <a:lnTo>
                  <a:pt x="1829" y="3208"/>
                </a:lnTo>
                <a:lnTo>
                  <a:pt x="1830" y="3207"/>
                </a:lnTo>
                <a:lnTo>
                  <a:pt x="1831" y="3205"/>
                </a:lnTo>
                <a:lnTo>
                  <a:pt x="1832" y="3203"/>
                </a:lnTo>
                <a:lnTo>
                  <a:pt x="1833" y="3201"/>
                </a:lnTo>
                <a:lnTo>
                  <a:pt x="1841" y="3193"/>
                </a:lnTo>
                <a:lnTo>
                  <a:pt x="1855" y="3176"/>
                </a:lnTo>
                <a:lnTo>
                  <a:pt x="1857" y="3176"/>
                </a:lnTo>
                <a:lnTo>
                  <a:pt x="1859" y="3176"/>
                </a:lnTo>
                <a:lnTo>
                  <a:pt x="1863" y="3178"/>
                </a:lnTo>
                <a:lnTo>
                  <a:pt x="1866" y="3179"/>
                </a:lnTo>
                <a:lnTo>
                  <a:pt x="1867" y="3180"/>
                </a:lnTo>
                <a:lnTo>
                  <a:pt x="1869" y="3179"/>
                </a:lnTo>
                <a:lnTo>
                  <a:pt x="1869" y="3175"/>
                </a:lnTo>
                <a:lnTo>
                  <a:pt x="1869" y="3171"/>
                </a:lnTo>
                <a:lnTo>
                  <a:pt x="1868" y="3171"/>
                </a:lnTo>
                <a:lnTo>
                  <a:pt x="1867" y="3171"/>
                </a:lnTo>
                <a:lnTo>
                  <a:pt x="1866" y="3169"/>
                </a:lnTo>
                <a:lnTo>
                  <a:pt x="1865" y="3167"/>
                </a:lnTo>
                <a:lnTo>
                  <a:pt x="1865" y="3166"/>
                </a:lnTo>
                <a:lnTo>
                  <a:pt x="1866" y="3165"/>
                </a:lnTo>
                <a:lnTo>
                  <a:pt x="1868" y="3164"/>
                </a:lnTo>
                <a:lnTo>
                  <a:pt x="1869" y="3163"/>
                </a:lnTo>
                <a:lnTo>
                  <a:pt x="1874" y="3162"/>
                </a:lnTo>
                <a:lnTo>
                  <a:pt x="1875" y="3144"/>
                </a:lnTo>
                <a:lnTo>
                  <a:pt x="1875" y="3140"/>
                </a:lnTo>
                <a:lnTo>
                  <a:pt x="1875" y="3136"/>
                </a:lnTo>
                <a:lnTo>
                  <a:pt x="1876" y="3132"/>
                </a:lnTo>
                <a:lnTo>
                  <a:pt x="1877" y="3128"/>
                </a:lnTo>
                <a:lnTo>
                  <a:pt x="1883" y="3126"/>
                </a:lnTo>
                <a:lnTo>
                  <a:pt x="1885" y="3125"/>
                </a:lnTo>
                <a:lnTo>
                  <a:pt x="1888" y="3124"/>
                </a:lnTo>
                <a:lnTo>
                  <a:pt x="1889" y="3123"/>
                </a:lnTo>
                <a:lnTo>
                  <a:pt x="1890" y="3121"/>
                </a:lnTo>
                <a:lnTo>
                  <a:pt x="1890" y="3120"/>
                </a:lnTo>
                <a:lnTo>
                  <a:pt x="1889" y="3119"/>
                </a:lnTo>
                <a:lnTo>
                  <a:pt x="1888" y="3118"/>
                </a:lnTo>
                <a:lnTo>
                  <a:pt x="1885" y="3117"/>
                </a:lnTo>
                <a:lnTo>
                  <a:pt x="1880" y="3117"/>
                </a:lnTo>
                <a:lnTo>
                  <a:pt x="1882" y="3114"/>
                </a:lnTo>
                <a:lnTo>
                  <a:pt x="1883" y="3112"/>
                </a:lnTo>
                <a:lnTo>
                  <a:pt x="1883" y="3111"/>
                </a:lnTo>
                <a:lnTo>
                  <a:pt x="1885" y="3112"/>
                </a:lnTo>
                <a:lnTo>
                  <a:pt x="1888" y="3112"/>
                </a:lnTo>
                <a:lnTo>
                  <a:pt x="1891" y="3111"/>
                </a:lnTo>
                <a:lnTo>
                  <a:pt x="1894" y="3111"/>
                </a:lnTo>
                <a:lnTo>
                  <a:pt x="1896" y="3113"/>
                </a:lnTo>
                <a:lnTo>
                  <a:pt x="1897" y="3114"/>
                </a:lnTo>
                <a:lnTo>
                  <a:pt x="1898" y="3118"/>
                </a:lnTo>
                <a:lnTo>
                  <a:pt x="1899" y="3119"/>
                </a:lnTo>
                <a:lnTo>
                  <a:pt x="1900" y="3119"/>
                </a:lnTo>
                <a:lnTo>
                  <a:pt x="1902" y="3119"/>
                </a:lnTo>
                <a:lnTo>
                  <a:pt x="1905" y="3117"/>
                </a:lnTo>
                <a:lnTo>
                  <a:pt x="1907" y="3116"/>
                </a:lnTo>
                <a:lnTo>
                  <a:pt x="1907" y="3114"/>
                </a:lnTo>
                <a:lnTo>
                  <a:pt x="1907" y="3112"/>
                </a:lnTo>
                <a:lnTo>
                  <a:pt x="1907" y="3110"/>
                </a:lnTo>
                <a:lnTo>
                  <a:pt x="1906" y="3107"/>
                </a:lnTo>
                <a:lnTo>
                  <a:pt x="1905" y="3105"/>
                </a:lnTo>
                <a:lnTo>
                  <a:pt x="1905" y="3103"/>
                </a:lnTo>
                <a:lnTo>
                  <a:pt x="1901" y="3105"/>
                </a:lnTo>
                <a:lnTo>
                  <a:pt x="1897" y="3106"/>
                </a:lnTo>
                <a:lnTo>
                  <a:pt x="1894" y="3106"/>
                </a:lnTo>
                <a:lnTo>
                  <a:pt x="1888" y="3104"/>
                </a:lnTo>
                <a:lnTo>
                  <a:pt x="1883" y="3103"/>
                </a:lnTo>
                <a:lnTo>
                  <a:pt x="1883" y="3089"/>
                </a:lnTo>
                <a:lnTo>
                  <a:pt x="1882" y="3088"/>
                </a:lnTo>
                <a:lnTo>
                  <a:pt x="1879" y="3087"/>
                </a:lnTo>
                <a:lnTo>
                  <a:pt x="1877" y="3087"/>
                </a:lnTo>
                <a:lnTo>
                  <a:pt x="1874" y="3086"/>
                </a:lnTo>
                <a:lnTo>
                  <a:pt x="1880" y="3066"/>
                </a:lnTo>
                <a:lnTo>
                  <a:pt x="1881" y="3067"/>
                </a:lnTo>
                <a:lnTo>
                  <a:pt x="1883" y="3068"/>
                </a:lnTo>
                <a:lnTo>
                  <a:pt x="1886" y="3068"/>
                </a:lnTo>
                <a:lnTo>
                  <a:pt x="1888" y="3068"/>
                </a:lnTo>
                <a:lnTo>
                  <a:pt x="1890" y="3068"/>
                </a:lnTo>
                <a:lnTo>
                  <a:pt x="1891" y="3069"/>
                </a:lnTo>
                <a:lnTo>
                  <a:pt x="1893" y="3071"/>
                </a:lnTo>
                <a:lnTo>
                  <a:pt x="1893" y="3073"/>
                </a:lnTo>
                <a:lnTo>
                  <a:pt x="1893" y="3075"/>
                </a:lnTo>
                <a:lnTo>
                  <a:pt x="1894" y="3078"/>
                </a:lnTo>
                <a:lnTo>
                  <a:pt x="1903" y="3078"/>
                </a:lnTo>
                <a:lnTo>
                  <a:pt x="1909" y="3078"/>
                </a:lnTo>
                <a:lnTo>
                  <a:pt x="1911" y="3078"/>
                </a:lnTo>
                <a:lnTo>
                  <a:pt x="1913" y="3076"/>
                </a:lnTo>
                <a:lnTo>
                  <a:pt x="1919" y="3072"/>
                </a:lnTo>
                <a:lnTo>
                  <a:pt x="1924" y="3069"/>
                </a:lnTo>
                <a:lnTo>
                  <a:pt x="1926" y="3068"/>
                </a:lnTo>
                <a:lnTo>
                  <a:pt x="1928" y="3066"/>
                </a:lnTo>
                <a:lnTo>
                  <a:pt x="1929" y="3050"/>
                </a:lnTo>
                <a:lnTo>
                  <a:pt x="1930" y="3038"/>
                </a:lnTo>
                <a:lnTo>
                  <a:pt x="1931" y="3030"/>
                </a:lnTo>
                <a:lnTo>
                  <a:pt x="1926" y="3027"/>
                </a:lnTo>
                <a:lnTo>
                  <a:pt x="1922" y="3024"/>
                </a:lnTo>
                <a:lnTo>
                  <a:pt x="1922" y="3022"/>
                </a:lnTo>
                <a:lnTo>
                  <a:pt x="1922" y="3020"/>
                </a:lnTo>
                <a:lnTo>
                  <a:pt x="1923" y="3017"/>
                </a:lnTo>
                <a:lnTo>
                  <a:pt x="1925" y="3015"/>
                </a:lnTo>
                <a:lnTo>
                  <a:pt x="1925" y="3014"/>
                </a:lnTo>
                <a:lnTo>
                  <a:pt x="1925" y="3013"/>
                </a:lnTo>
                <a:lnTo>
                  <a:pt x="1927" y="3015"/>
                </a:lnTo>
                <a:lnTo>
                  <a:pt x="1929" y="3017"/>
                </a:lnTo>
                <a:lnTo>
                  <a:pt x="1931" y="3020"/>
                </a:lnTo>
                <a:lnTo>
                  <a:pt x="1933" y="3021"/>
                </a:lnTo>
                <a:lnTo>
                  <a:pt x="1935" y="3021"/>
                </a:lnTo>
                <a:lnTo>
                  <a:pt x="1938" y="3019"/>
                </a:lnTo>
                <a:lnTo>
                  <a:pt x="1942" y="3016"/>
                </a:lnTo>
                <a:lnTo>
                  <a:pt x="1951" y="3014"/>
                </a:lnTo>
                <a:lnTo>
                  <a:pt x="1959" y="3013"/>
                </a:lnTo>
                <a:lnTo>
                  <a:pt x="1974" y="3011"/>
                </a:lnTo>
                <a:lnTo>
                  <a:pt x="1981" y="3010"/>
                </a:lnTo>
                <a:lnTo>
                  <a:pt x="1987" y="3008"/>
                </a:lnTo>
                <a:lnTo>
                  <a:pt x="1994" y="3005"/>
                </a:lnTo>
                <a:lnTo>
                  <a:pt x="2001" y="3002"/>
                </a:lnTo>
                <a:lnTo>
                  <a:pt x="2004" y="3000"/>
                </a:lnTo>
                <a:lnTo>
                  <a:pt x="2007" y="2997"/>
                </a:lnTo>
                <a:lnTo>
                  <a:pt x="2009" y="2995"/>
                </a:lnTo>
                <a:lnTo>
                  <a:pt x="2011" y="2992"/>
                </a:lnTo>
                <a:lnTo>
                  <a:pt x="2015" y="2987"/>
                </a:lnTo>
                <a:lnTo>
                  <a:pt x="2018" y="2981"/>
                </a:lnTo>
                <a:lnTo>
                  <a:pt x="2020" y="2974"/>
                </a:lnTo>
                <a:lnTo>
                  <a:pt x="2022" y="2967"/>
                </a:lnTo>
                <a:lnTo>
                  <a:pt x="2026" y="2951"/>
                </a:lnTo>
                <a:lnTo>
                  <a:pt x="2024" y="2950"/>
                </a:lnTo>
                <a:lnTo>
                  <a:pt x="2022" y="2950"/>
                </a:lnTo>
                <a:lnTo>
                  <a:pt x="2018" y="2949"/>
                </a:lnTo>
                <a:lnTo>
                  <a:pt x="2014" y="2948"/>
                </a:lnTo>
                <a:lnTo>
                  <a:pt x="2013" y="2947"/>
                </a:lnTo>
                <a:lnTo>
                  <a:pt x="2012" y="2945"/>
                </a:lnTo>
                <a:lnTo>
                  <a:pt x="2011" y="2943"/>
                </a:lnTo>
                <a:lnTo>
                  <a:pt x="2011" y="2940"/>
                </a:lnTo>
                <a:lnTo>
                  <a:pt x="2012" y="2938"/>
                </a:lnTo>
                <a:lnTo>
                  <a:pt x="2013" y="2936"/>
                </a:lnTo>
                <a:lnTo>
                  <a:pt x="2015" y="2933"/>
                </a:lnTo>
                <a:lnTo>
                  <a:pt x="2015" y="2931"/>
                </a:lnTo>
                <a:lnTo>
                  <a:pt x="2015" y="2929"/>
                </a:lnTo>
                <a:lnTo>
                  <a:pt x="2014" y="2927"/>
                </a:lnTo>
                <a:lnTo>
                  <a:pt x="2012" y="2924"/>
                </a:lnTo>
                <a:lnTo>
                  <a:pt x="2007" y="2919"/>
                </a:lnTo>
                <a:lnTo>
                  <a:pt x="2002" y="2914"/>
                </a:lnTo>
                <a:lnTo>
                  <a:pt x="1998" y="2909"/>
                </a:lnTo>
                <a:lnTo>
                  <a:pt x="1993" y="2899"/>
                </a:lnTo>
                <a:lnTo>
                  <a:pt x="1990" y="2892"/>
                </a:lnTo>
                <a:lnTo>
                  <a:pt x="1990" y="2890"/>
                </a:lnTo>
                <a:lnTo>
                  <a:pt x="1990" y="2889"/>
                </a:lnTo>
                <a:lnTo>
                  <a:pt x="1991" y="2889"/>
                </a:lnTo>
                <a:lnTo>
                  <a:pt x="1992" y="2888"/>
                </a:lnTo>
                <a:lnTo>
                  <a:pt x="1993" y="2886"/>
                </a:lnTo>
                <a:lnTo>
                  <a:pt x="1993" y="2884"/>
                </a:lnTo>
                <a:lnTo>
                  <a:pt x="1993" y="2879"/>
                </a:lnTo>
                <a:lnTo>
                  <a:pt x="1992" y="2875"/>
                </a:lnTo>
                <a:lnTo>
                  <a:pt x="1995" y="2869"/>
                </a:lnTo>
                <a:lnTo>
                  <a:pt x="1994" y="2869"/>
                </a:lnTo>
                <a:lnTo>
                  <a:pt x="1994" y="2867"/>
                </a:lnTo>
                <a:lnTo>
                  <a:pt x="1995" y="2866"/>
                </a:lnTo>
                <a:lnTo>
                  <a:pt x="1995" y="2865"/>
                </a:lnTo>
                <a:lnTo>
                  <a:pt x="1998" y="2861"/>
                </a:lnTo>
                <a:lnTo>
                  <a:pt x="1999" y="2863"/>
                </a:lnTo>
                <a:lnTo>
                  <a:pt x="2001" y="2868"/>
                </a:lnTo>
                <a:lnTo>
                  <a:pt x="2001" y="2870"/>
                </a:lnTo>
                <a:lnTo>
                  <a:pt x="2001" y="2872"/>
                </a:lnTo>
                <a:lnTo>
                  <a:pt x="2000" y="2873"/>
                </a:lnTo>
                <a:lnTo>
                  <a:pt x="1998" y="2872"/>
                </a:lnTo>
                <a:lnTo>
                  <a:pt x="1999" y="2888"/>
                </a:lnTo>
                <a:lnTo>
                  <a:pt x="2001" y="2900"/>
                </a:lnTo>
                <a:lnTo>
                  <a:pt x="2004" y="2901"/>
                </a:lnTo>
                <a:lnTo>
                  <a:pt x="2008" y="2902"/>
                </a:lnTo>
                <a:lnTo>
                  <a:pt x="2011" y="2902"/>
                </a:lnTo>
                <a:lnTo>
                  <a:pt x="2013" y="2902"/>
                </a:lnTo>
                <a:lnTo>
                  <a:pt x="2015" y="2903"/>
                </a:lnTo>
                <a:lnTo>
                  <a:pt x="2016" y="2905"/>
                </a:lnTo>
                <a:lnTo>
                  <a:pt x="2018" y="2907"/>
                </a:lnTo>
                <a:lnTo>
                  <a:pt x="2019" y="2910"/>
                </a:lnTo>
                <a:lnTo>
                  <a:pt x="2021" y="2912"/>
                </a:lnTo>
                <a:lnTo>
                  <a:pt x="2025" y="2914"/>
                </a:lnTo>
                <a:lnTo>
                  <a:pt x="2029" y="2915"/>
                </a:lnTo>
                <a:lnTo>
                  <a:pt x="2032" y="2916"/>
                </a:lnTo>
                <a:lnTo>
                  <a:pt x="2035" y="2916"/>
                </a:lnTo>
                <a:lnTo>
                  <a:pt x="2041" y="2914"/>
                </a:lnTo>
                <a:lnTo>
                  <a:pt x="2049" y="2912"/>
                </a:lnTo>
                <a:lnTo>
                  <a:pt x="2055" y="2914"/>
                </a:lnTo>
                <a:lnTo>
                  <a:pt x="2061" y="2915"/>
                </a:lnTo>
                <a:lnTo>
                  <a:pt x="2063" y="2915"/>
                </a:lnTo>
                <a:lnTo>
                  <a:pt x="2066" y="2915"/>
                </a:lnTo>
                <a:lnTo>
                  <a:pt x="2068" y="2913"/>
                </a:lnTo>
                <a:lnTo>
                  <a:pt x="2071" y="2911"/>
                </a:lnTo>
                <a:lnTo>
                  <a:pt x="2078" y="2903"/>
                </a:lnTo>
                <a:lnTo>
                  <a:pt x="2086" y="2892"/>
                </a:lnTo>
                <a:lnTo>
                  <a:pt x="2093" y="2881"/>
                </a:lnTo>
                <a:close/>
                <a:moveTo>
                  <a:pt x="1759" y="1684"/>
                </a:moveTo>
                <a:lnTo>
                  <a:pt x="1760" y="1687"/>
                </a:lnTo>
                <a:lnTo>
                  <a:pt x="1761" y="1689"/>
                </a:lnTo>
                <a:lnTo>
                  <a:pt x="1761" y="1690"/>
                </a:lnTo>
                <a:lnTo>
                  <a:pt x="1762" y="1691"/>
                </a:lnTo>
                <a:lnTo>
                  <a:pt x="1765" y="1692"/>
                </a:lnTo>
                <a:lnTo>
                  <a:pt x="1765" y="1690"/>
                </a:lnTo>
                <a:lnTo>
                  <a:pt x="1767" y="1689"/>
                </a:lnTo>
                <a:lnTo>
                  <a:pt x="1770" y="1687"/>
                </a:lnTo>
                <a:lnTo>
                  <a:pt x="1768" y="1681"/>
                </a:lnTo>
                <a:lnTo>
                  <a:pt x="1767" y="1679"/>
                </a:lnTo>
                <a:lnTo>
                  <a:pt x="1767" y="1676"/>
                </a:lnTo>
                <a:lnTo>
                  <a:pt x="1779" y="1681"/>
                </a:lnTo>
                <a:lnTo>
                  <a:pt x="1782" y="1683"/>
                </a:lnTo>
                <a:lnTo>
                  <a:pt x="1784" y="1684"/>
                </a:lnTo>
                <a:lnTo>
                  <a:pt x="1787" y="1684"/>
                </a:lnTo>
                <a:lnTo>
                  <a:pt x="1788" y="1683"/>
                </a:lnTo>
                <a:lnTo>
                  <a:pt x="1790" y="1680"/>
                </a:lnTo>
                <a:lnTo>
                  <a:pt x="1793" y="1676"/>
                </a:lnTo>
                <a:lnTo>
                  <a:pt x="1810" y="1676"/>
                </a:lnTo>
                <a:lnTo>
                  <a:pt x="1809" y="1676"/>
                </a:lnTo>
                <a:lnTo>
                  <a:pt x="1812" y="1677"/>
                </a:lnTo>
                <a:lnTo>
                  <a:pt x="1818" y="1678"/>
                </a:lnTo>
                <a:lnTo>
                  <a:pt x="1816" y="1673"/>
                </a:lnTo>
                <a:lnTo>
                  <a:pt x="1815" y="1669"/>
                </a:lnTo>
                <a:lnTo>
                  <a:pt x="1813" y="1665"/>
                </a:lnTo>
                <a:lnTo>
                  <a:pt x="1812" y="1663"/>
                </a:lnTo>
                <a:lnTo>
                  <a:pt x="1810" y="1662"/>
                </a:lnTo>
                <a:lnTo>
                  <a:pt x="1808" y="1662"/>
                </a:lnTo>
                <a:lnTo>
                  <a:pt x="1804" y="1662"/>
                </a:lnTo>
                <a:lnTo>
                  <a:pt x="1800" y="1662"/>
                </a:lnTo>
                <a:lnTo>
                  <a:pt x="1798" y="1662"/>
                </a:lnTo>
                <a:lnTo>
                  <a:pt x="1796" y="1662"/>
                </a:lnTo>
                <a:lnTo>
                  <a:pt x="1793" y="1660"/>
                </a:lnTo>
                <a:lnTo>
                  <a:pt x="1791" y="1659"/>
                </a:lnTo>
                <a:lnTo>
                  <a:pt x="1786" y="1654"/>
                </a:lnTo>
                <a:lnTo>
                  <a:pt x="1781" y="1650"/>
                </a:lnTo>
                <a:lnTo>
                  <a:pt x="1778" y="1648"/>
                </a:lnTo>
                <a:lnTo>
                  <a:pt x="1776" y="1647"/>
                </a:lnTo>
                <a:lnTo>
                  <a:pt x="1770" y="1647"/>
                </a:lnTo>
                <a:lnTo>
                  <a:pt x="1764" y="1647"/>
                </a:lnTo>
                <a:lnTo>
                  <a:pt x="1758" y="1647"/>
                </a:lnTo>
                <a:lnTo>
                  <a:pt x="1752" y="1647"/>
                </a:lnTo>
                <a:lnTo>
                  <a:pt x="1742" y="1648"/>
                </a:lnTo>
                <a:lnTo>
                  <a:pt x="1736" y="1648"/>
                </a:lnTo>
                <a:lnTo>
                  <a:pt x="1731" y="1647"/>
                </a:lnTo>
                <a:lnTo>
                  <a:pt x="1734" y="1649"/>
                </a:lnTo>
                <a:lnTo>
                  <a:pt x="1739" y="1650"/>
                </a:lnTo>
                <a:lnTo>
                  <a:pt x="1737" y="1655"/>
                </a:lnTo>
                <a:lnTo>
                  <a:pt x="1737" y="1657"/>
                </a:lnTo>
                <a:lnTo>
                  <a:pt x="1737" y="1659"/>
                </a:lnTo>
                <a:lnTo>
                  <a:pt x="1738" y="1662"/>
                </a:lnTo>
                <a:lnTo>
                  <a:pt x="1739" y="1664"/>
                </a:lnTo>
                <a:lnTo>
                  <a:pt x="1739" y="1667"/>
                </a:lnTo>
                <a:lnTo>
                  <a:pt x="1742" y="1667"/>
                </a:lnTo>
                <a:lnTo>
                  <a:pt x="1743" y="1668"/>
                </a:lnTo>
                <a:lnTo>
                  <a:pt x="1744" y="1670"/>
                </a:lnTo>
                <a:lnTo>
                  <a:pt x="1744" y="1672"/>
                </a:lnTo>
                <a:lnTo>
                  <a:pt x="1743" y="1676"/>
                </a:lnTo>
                <a:lnTo>
                  <a:pt x="1742" y="1678"/>
                </a:lnTo>
                <a:lnTo>
                  <a:pt x="1722" y="1676"/>
                </a:lnTo>
                <a:lnTo>
                  <a:pt x="1718" y="1675"/>
                </a:lnTo>
                <a:lnTo>
                  <a:pt x="1715" y="1673"/>
                </a:lnTo>
                <a:lnTo>
                  <a:pt x="1708" y="1670"/>
                </a:lnTo>
                <a:lnTo>
                  <a:pt x="1706" y="1681"/>
                </a:lnTo>
                <a:lnTo>
                  <a:pt x="1710" y="1683"/>
                </a:lnTo>
                <a:lnTo>
                  <a:pt x="1712" y="1684"/>
                </a:lnTo>
                <a:lnTo>
                  <a:pt x="1711" y="1684"/>
                </a:lnTo>
                <a:lnTo>
                  <a:pt x="1759" y="1684"/>
                </a:lnTo>
                <a:close/>
                <a:moveTo>
                  <a:pt x="3045" y="1071"/>
                </a:moveTo>
                <a:lnTo>
                  <a:pt x="3037" y="1071"/>
                </a:lnTo>
                <a:lnTo>
                  <a:pt x="3030" y="1071"/>
                </a:lnTo>
                <a:lnTo>
                  <a:pt x="3022" y="1070"/>
                </a:lnTo>
                <a:lnTo>
                  <a:pt x="3014" y="1069"/>
                </a:lnTo>
                <a:lnTo>
                  <a:pt x="2997" y="1067"/>
                </a:lnTo>
                <a:lnTo>
                  <a:pt x="2981" y="1065"/>
                </a:lnTo>
                <a:lnTo>
                  <a:pt x="2971" y="1065"/>
                </a:lnTo>
                <a:lnTo>
                  <a:pt x="2961" y="1066"/>
                </a:lnTo>
                <a:lnTo>
                  <a:pt x="2956" y="1066"/>
                </a:lnTo>
                <a:lnTo>
                  <a:pt x="2951" y="1066"/>
                </a:lnTo>
                <a:lnTo>
                  <a:pt x="2946" y="1066"/>
                </a:lnTo>
                <a:lnTo>
                  <a:pt x="2941" y="1065"/>
                </a:lnTo>
                <a:lnTo>
                  <a:pt x="2938" y="1062"/>
                </a:lnTo>
                <a:lnTo>
                  <a:pt x="2935" y="1060"/>
                </a:lnTo>
                <a:lnTo>
                  <a:pt x="2933" y="1059"/>
                </a:lnTo>
                <a:lnTo>
                  <a:pt x="2930" y="1060"/>
                </a:lnTo>
                <a:lnTo>
                  <a:pt x="2928" y="1061"/>
                </a:lnTo>
                <a:lnTo>
                  <a:pt x="2925" y="1063"/>
                </a:lnTo>
                <a:lnTo>
                  <a:pt x="2923" y="1065"/>
                </a:lnTo>
                <a:lnTo>
                  <a:pt x="2920" y="1069"/>
                </a:lnTo>
                <a:lnTo>
                  <a:pt x="2919" y="1071"/>
                </a:lnTo>
                <a:lnTo>
                  <a:pt x="2917" y="1071"/>
                </a:lnTo>
                <a:lnTo>
                  <a:pt x="2915" y="1071"/>
                </a:lnTo>
                <a:lnTo>
                  <a:pt x="2912" y="1071"/>
                </a:lnTo>
                <a:lnTo>
                  <a:pt x="2908" y="1070"/>
                </a:lnTo>
                <a:lnTo>
                  <a:pt x="2905" y="1071"/>
                </a:lnTo>
                <a:lnTo>
                  <a:pt x="2903" y="1072"/>
                </a:lnTo>
                <a:lnTo>
                  <a:pt x="2900" y="1075"/>
                </a:lnTo>
                <a:lnTo>
                  <a:pt x="2898" y="1077"/>
                </a:lnTo>
                <a:lnTo>
                  <a:pt x="2897" y="1078"/>
                </a:lnTo>
                <a:lnTo>
                  <a:pt x="2896" y="1079"/>
                </a:lnTo>
                <a:lnTo>
                  <a:pt x="2900" y="1086"/>
                </a:lnTo>
                <a:lnTo>
                  <a:pt x="2902" y="1090"/>
                </a:lnTo>
                <a:lnTo>
                  <a:pt x="2904" y="1095"/>
                </a:lnTo>
                <a:lnTo>
                  <a:pt x="2904" y="1099"/>
                </a:lnTo>
                <a:lnTo>
                  <a:pt x="2905" y="1103"/>
                </a:lnTo>
                <a:lnTo>
                  <a:pt x="2905" y="1108"/>
                </a:lnTo>
                <a:lnTo>
                  <a:pt x="2907" y="1115"/>
                </a:lnTo>
                <a:lnTo>
                  <a:pt x="2909" y="1124"/>
                </a:lnTo>
                <a:lnTo>
                  <a:pt x="2910" y="1129"/>
                </a:lnTo>
                <a:lnTo>
                  <a:pt x="2911" y="1134"/>
                </a:lnTo>
                <a:lnTo>
                  <a:pt x="2911" y="1139"/>
                </a:lnTo>
                <a:lnTo>
                  <a:pt x="2910" y="1144"/>
                </a:lnTo>
                <a:lnTo>
                  <a:pt x="2905" y="1147"/>
                </a:lnTo>
                <a:lnTo>
                  <a:pt x="2903" y="1153"/>
                </a:lnTo>
                <a:lnTo>
                  <a:pt x="2901" y="1159"/>
                </a:lnTo>
                <a:lnTo>
                  <a:pt x="2899" y="1169"/>
                </a:lnTo>
                <a:lnTo>
                  <a:pt x="2896" y="1169"/>
                </a:lnTo>
                <a:lnTo>
                  <a:pt x="2896" y="1173"/>
                </a:lnTo>
                <a:lnTo>
                  <a:pt x="2896" y="1178"/>
                </a:lnTo>
                <a:lnTo>
                  <a:pt x="2896" y="1186"/>
                </a:lnTo>
                <a:lnTo>
                  <a:pt x="2899" y="1184"/>
                </a:lnTo>
                <a:lnTo>
                  <a:pt x="2901" y="1183"/>
                </a:lnTo>
                <a:lnTo>
                  <a:pt x="2902" y="1183"/>
                </a:lnTo>
                <a:lnTo>
                  <a:pt x="2902" y="1185"/>
                </a:lnTo>
                <a:lnTo>
                  <a:pt x="2902" y="1187"/>
                </a:lnTo>
                <a:lnTo>
                  <a:pt x="2901" y="1189"/>
                </a:lnTo>
                <a:lnTo>
                  <a:pt x="2899" y="1191"/>
                </a:lnTo>
                <a:lnTo>
                  <a:pt x="2899" y="1192"/>
                </a:lnTo>
                <a:lnTo>
                  <a:pt x="2899" y="1195"/>
                </a:lnTo>
                <a:lnTo>
                  <a:pt x="2905" y="1200"/>
                </a:lnTo>
                <a:lnTo>
                  <a:pt x="2905" y="1204"/>
                </a:lnTo>
                <a:lnTo>
                  <a:pt x="2906" y="1207"/>
                </a:lnTo>
                <a:lnTo>
                  <a:pt x="2905" y="1214"/>
                </a:lnTo>
                <a:lnTo>
                  <a:pt x="2903" y="1221"/>
                </a:lnTo>
                <a:lnTo>
                  <a:pt x="2902" y="1228"/>
                </a:lnTo>
                <a:lnTo>
                  <a:pt x="2911" y="1229"/>
                </a:lnTo>
                <a:lnTo>
                  <a:pt x="2921" y="1229"/>
                </a:lnTo>
                <a:lnTo>
                  <a:pt x="2931" y="1228"/>
                </a:lnTo>
                <a:lnTo>
                  <a:pt x="2936" y="1227"/>
                </a:lnTo>
                <a:lnTo>
                  <a:pt x="2941" y="1225"/>
                </a:lnTo>
                <a:lnTo>
                  <a:pt x="2950" y="1238"/>
                </a:lnTo>
                <a:lnTo>
                  <a:pt x="2958" y="1251"/>
                </a:lnTo>
                <a:lnTo>
                  <a:pt x="2965" y="1249"/>
                </a:lnTo>
                <a:lnTo>
                  <a:pt x="2971" y="1248"/>
                </a:lnTo>
                <a:lnTo>
                  <a:pt x="2977" y="1247"/>
                </a:lnTo>
                <a:lnTo>
                  <a:pt x="2980" y="1246"/>
                </a:lnTo>
                <a:lnTo>
                  <a:pt x="2984" y="1245"/>
                </a:lnTo>
                <a:lnTo>
                  <a:pt x="2986" y="1240"/>
                </a:lnTo>
                <a:lnTo>
                  <a:pt x="2989" y="1239"/>
                </a:lnTo>
                <a:lnTo>
                  <a:pt x="2991" y="1239"/>
                </a:lnTo>
                <a:lnTo>
                  <a:pt x="2995" y="1239"/>
                </a:lnTo>
                <a:lnTo>
                  <a:pt x="3004" y="1241"/>
                </a:lnTo>
                <a:lnTo>
                  <a:pt x="3008" y="1242"/>
                </a:lnTo>
                <a:lnTo>
                  <a:pt x="3013" y="1243"/>
                </a:lnTo>
                <a:lnTo>
                  <a:pt x="3017" y="1242"/>
                </a:lnTo>
                <a:lnTo>
                  <a:pt x="3023" y="1240"/>
                </a:lnTo>
                <a:lnTo>
                  <a:pt x="3023" y="1237"/>
                </a:lnTo>
                <a:lnTo>
                  <a:pt x="3025" y="1235"/>
                </a:lnTo>
                <a:lnTo>
                  <a:pt x="3026" y="1233"/>
                </a:lnTo>
                <a:lnTo>
                  <a:pt x="3029" y="1229"/>
                </a:lnTo>
                <a:lnTo>
                  <a:pt x="3031" y="1224"/>
                </a:lnTo>
                <a:lnTo>
                  <a:pt x="3033" y="1221"/>
                </a:lnTo>
                <a:lnTo>
                  <a:pt x="3034" y="1220"/>
                </a:lnTo>
                <a:lnTo>
                  <a:pt x="3039" y="1217"/>
                </a:lnTo>
                <a:lnTo>
                  <a:pt x="3044" y="1216"/>
                </a:lnTo>
                <a:lnTo>
                  <a:pt x="3050" y="1214"/>
                </a:lnTo>
                <a:lnTo>
                  <a:pt x="3052" y="1213"/>
                </a:lnTo>
                <a:lnTo>
                  <a:pt x="3054" y="1211"/>
                </a:lnTo>
                <a:lnTo>
                  <a:pt x="3054" y="1210"/>
                </a:lnTo>
                <a:lnTo>
                  <a:pt x="3054" y="1209"/>
                </a:lnTo>
                <a:lnTo>
                  <a:pt x="3054" y="1206"/>
                </a:lnTo>
                <a:lnTo>
                  <a:pt x="3054" y="1203"/>
                </a:lnTo>
                <a:lnTo>
                  <a:pt x="3054" y="1200"/>
                </a:lnTo>
                <a:lnTo>
                  <a:pt x="3056" y="1197"/>
                </a:lnTo>
                <a:lnTo>
                  <a:pt x="3060" y="1193"/>
                </a:lnTo>
                <a:lnTo>
                  <a:pt x="3068" y="1186"/>
                </a:lnTo>
                <a:lnTo>
                  <a:pt x="3071" y="1183"/>
                </a:lnTo>
                <a:lnTo>
                  <a:pt x="3071" y="1180"/>
                </a:lnTo>
                <a:lnTo>
                  <a:pt x="3070" y="1178"/>
                </a:lnTo>
                <a:lnTo>
                  <a:pt x="3067" y="1175"/>
                </a:lnTo>
                <a:lnTo>
                  <a:pt x="3066" y="1173"/>
                </a:lnTo>
                <a:lnTo>
                  <a:pt x="3065" y="1170"/>
                </a:lnTo>
                <a:lnTo>
                  <a:pt x="3065" y="1167"/>
                </a:lnTo>
                <a:lnTo>
                  <a:pt x="3065" y="1164"/>
                </a:lnTo>
                <a:lnTo>
                  <a:pt x="3066" y="1162"/>
                </a:lnTo>
                <a:lnTo>
                  <a:pt x="3069" y="1161"/>
                </a:lnTo>
                <a:lnTo>
                  <a:pt x="3072" y="1159"/>
                </a:lnTo>
                <a:lnTo>
                  <a:pt x="3074" y="1158"/>
                </a:lnTo>
                <a:lnTo>
                  <a:pt x="3079" y="1149"/>
                </a:lnTo>
                <a:lnTo>
                  <a:pt x="3085" y="1140"/>
                </a:lnTo>
                <a:lnTo>
                  <a:pt x="3088" y="1135"/>
                </a:lnTo>
                <a:lnTo>
                  <a:pt x="3091" y="1131"/>
                </a:lnTo>
                <a:lnTo>
                  <a:pt x="3095" y="1127"/>
                </a:lnTo>
                <a:lnTo>
                  <a:pt x="3099" y="1124"/>
                </a:lnTo>
                <a:lnTo>
                  <a:pt x="3105" y="1121"/>
                </a:lnTo>
                <a:lnTo>
                  <a:pt x="3114" y="1118"/>
                </a:lnTo>
                <a:lnTo>
                  <a:pt x="3122" y="1114"/>
                </a:lnTo>
                <a:lnTo>
                  <a:pt x="3125" y="1112"/>
                </a:lnTo>
                <a:lnTo>
                  <a:pt x="3127" y="1110"/>
                </a:lnTo>
                <a:lnTo>
                  <a:pt x="3128" y="1106"/>
                </a:lnTo>
                <a:lnTo>
                  <a:pt x="3128" y="1101"/>
                </a:lnTo>
                <a:lnTo>
                  <a:pt x="3127" y="1090"/>
                </a:lnTo>
                <a:lnTo>
                  <a:pt x="3126" y="1087"/>
                </a:lnTo>
                <a:lnTo>
                  <a:pt x="3126" y="1084"/>
                </a:lnTo>
                <a:lnTo>
                  <a:pt x="3126" y="1082"/>
                </a:lnTo>
                <a:lnTo>
                  <a:pt x="3127" y="1079"/>
                </a:lnTo>
                <a:lnTo>
                  <a:pt x="3128" y="1077"/>
                </a:lnTo>
                <a:lnTo>
                  <a:pt x="3131" y="1075"/>
                </a:lnTo>
                <a:lnTo>
                  <a:pt x="3134" y="1073"/>
                </a:lnTo>
                <a:lnTo>
                  <a:pt x="3135" y="1071"/>
                </a:lnTo>
                <a:lnTo>
                  <a:pt x="3139" y="1070"/>
                </a:lnTo>
                <a:lnTo>
                  <a:pt x="3142" y="1069"/>
                </a:lnTo>
                <a:lnTo>
                  <a:pt x="3145" y="1068"/>
                </a:lnTo>
                <a:lnTo>
                  <a:pt x="3149" y="1068"/>
                </a:lnTo>
                <a:lnTo>
                  <a:pt x="3152" y="1068"/>
                </a:lnTo>
                <a:lnTo>
                  <a:pt x="3154" y="1069"/>
                </a:lnTo>
                <a:lnTo>
                  <a:pt x="3158" y="1071"/>
                </a:lnTo>
                <a:lnTo>
                  <a:pt x="3166" y="1075"/>
                </a:lnTo>
                <a:lnTo>
                  <a:pt x="3171" y="1078"/>
                </a:lnTo>
                <a:lnTo>
                  <a:pt x="3173" y="1079"/>
                </a:lnTo>
                <a:lnTo>
                  <a:pt x="3175" y="1079"/>
                </a:lnTo>
                <a:lnTo>
                  <a:pt x="3178" y="1080"/>
                </a:lnTo>
                <a:lnTo>
                  <a:pt x="3180" y="1080"/>
                </a:lnTo>
                <a:lnTo>
                  <a:pt x="3186" y="1079"/>
                </a:lnTo>
                <a:lnTo>
                  <a:pt x="3188" y="1078"/>
                </a:lnTo>
                <a:lnTo>
                  <a:pt x="3189" y="1076"/>
                </a:lnTo>
                <a:lnTo>
                  <a:pt x="3193" y="1071"/>
                </a:lnTo>
                <a:lnTo>
                  <a:pt x="3195" y="1067"/>
                </a:lnTo>
                <a:lnTo>
                  <a:pt x="3196" y="1066"/>
                </a:lnTo>
                <a:lnTo>
                  <a:pt x="3197" y="1065"/>
                </a:lnTo>
                <a:lnTo>
                  <a:pt x="3199" y="1064"/>
                </a:lnTo>
                <a:lnTo>
                  <a:pt x="3201" y="1064"/>
                </a:lnTo>
                <a:lnTo>
                  <a:pt x="3206" y="1064"/>
                </a:lnTo>
                <a:lnTo>
                  <a:pt x="3210" y="1064"/>
                </a:lnTo>
                <a:lnTo>
                  <a:pt x="3214" y="1062"/>
                </a:lnTo>
                <a:lnTo>
                  <a:pt x="3216" y="1061"/>
                </a:lnTo>
                <a:lnTo>
                  <a:pt x="3217" y="1059"/>
                </a:lnTo>
                <a:lnTo>
                  <a:pt x="3218" y="1055"/>
                </a:lnTo>
                <a:lnTo>
                  <a:pt x="3219" y="1053"/>
                </a:lnTo>
                <a:lnTo>
                  <a:pt x="3220" y="1051"/>
                </a:lnTo>
                <a:lnTo>
                  <a:pt x="3221" y="1049"/>
                </a:lnTo>
                <a:lnTo>
                  <a:pt x="3223" y="1048"/>
                </a:lnTo>
                <a:lnTo>
                  <a:pt x="3223" y="1045"/>
                </a:lnTo>
                <a:lnTo>
                  <a:pt x="3225" y="1045"/>
                </a:lnTo>
                <a:lnTo>
                  <a:pt x="3228" y="1046"/>
                </a:lnTo>
                <a:lnTo>
                  <a:pt x="3231" y="1046"/>
                </a:lnTo>
                <a:lnTo>
                  <a:pt x="3233" y="1046"/>
                </a:lnTo>
                <a:lnTo>
                  <a:pt x="3234" y="1045"/>
                </a:lnTo>
                <a:lnTo>
                  <a:pt x="3239" y="1049"/>
                </a:lnTo>
                <a:lnTo>
                  <a:pt x="3243" y="1052"/>
                </a:lnTo>
                <a:lnTo>
                  <a:pt x="3247" y="1056"/>
                </a:lnTo>
                <a:lnTo>
                  <a:pt x="3250" y="1059"/>
                </a:lnTo>
                <a:lnTo>
                  <a:pt x="3253" y="1063"/>
                </a:lnTo>
                <a:lnTo>
                  <a:pt x="3255" y="1067"/>
                </a:lnTo>
                <a:lnTo>
                  <a:pt x="3259" y="1076"/>
                </a:lnTo>
                <a:lnTo>
                  <a:pt x="3263" y="1085"/>
                </a:lnTo>
                <a:lnTo>
                  <a:pt x="3267" y="1094"/>
                </a:lnTo>
                <a:lnTo>
                  <a:pt x="3272" y="1102"/>
                </a:lnTo>
                <a:lnTo>
                  <a:pt x="3275" y="1106"/>
                </a:lnTo>
                <a:lnTo>
                  <a:pt x="3279" y="1110"/>
                </a:lnTo>
                <a:lnTo>
                  <a:pt x="3284" y="1110"/>
                </a:lnTo>
                <a:lnTo>
                  <a:pt x="3294" y="1121"/>
                </a:lnTo>
                <a:lnTo>
                  <a:pt x="3302" y="1128"/>
                </a:lnTo>
                <a:lnTo>
                  <a:pt x="3305" y="1131"/>
                </a:lnTo>
                <a:lnTo>
                  <a:pt x="3307" y="1133"/>
                </a:lnTo>
                <a:lnTo>
                  <a:pt x="3313" y="1135"/>
                </a:lnTo>
                <a:lnTo>
                  <a:pt x="3319" y="1136"/>
                </a:lnTo>
                <a:lnTo>
                  <a:pt x="3324" y="1138"/>
                </a:lnTo>
                <a:lnTo>
                  <a:pt x="3327" y="1139"/>
                </a:lnTo>
                <a:lnTo>
                  <a:pt x="3329" y="1141"/>
                </a:lnTo>
                <a:lnTo>
                  <a:pt x="3329" y="1147"/>
                </a:lnTo>
                <a:lnTo>
                  <a:pt x="3335" y="1147"/>
                </a:lnTo>
                <a:lnTo>
                  <a:pt x="3337" y="1148"/>
                </a:lnTo>
                <a:lnTo>
                  <a:pt x="3337" y="1149"/>
                </a:lnTo>
                <a:lnTo>
                  <a:pt x="3338" y="1150"/>
                </a:lnTo>
                <a:lnTo>
                  <a:pt x="3338" y="1151"/>
                </a:lnTo>
                <a:lnTo>
                  <a:pt x="3338" y="1154"/>
                </a:lnTo>
                <a:lnTo>
                  <a:pt x="3337" y="1156"/>
                </a:lnTo>
                <a:lnTo>
                  <a:pt x="3338" y="1158"/>
                </a:lnTo>
                <a:lnTo>
                  <a:pt x="3340" y="1159"/>
                </a:lnTo>
                <a:lnTo>
                  <a:pt x="3342" y="1160"/>
                </a:lnTo>
                <a:lnTo>
                  <a:pt x="3347" y="1162"/>
                </a:lnTo>
                <a:lnTo>
                  <a:pt x="3351" y="1163"/>
                </a:lnTo>
                <a:lnTo>
                  <a:pt x="3353" y="1165"/>
                </a:lnTo>
                <a:lnTo>
                  <a:pt x="3355" y="1166"/>
                </a:lnTo>
                <a:lnTo>
                  <a:pt x="3356" y="1169"/>
                </a:lnTo>
                <a:lnTo>
                  <a:pt x="3357" y="1173"/>
                </a:lnTo>
                <a:lnTo>
                  <a:pt x="3358" y="1184"/>
                </a:lnTo>
                <a:lnTo>
                  <a:pt x="3358" y="1189"/>
                </a:lnTo>
                <a:lnTo>
                  <a:pt x="3358" y="1193"/>
                </a:lnTo>
                <a:lnTo>
                  <a:pt x="3357" y="1194"/>
                </a:lnTo>
                <a:lnTo>
                  <a:pt x="3357" y="1195"/>
                </a:lnTo>
                <a:lnTo>
                  <a:pt x="3356" y="1195"/>
                </a:lnTo>
                <a:lnTo>
                  <a:pt x="3355" y="1195"/>
                </a:lnTo>
                <a:lnTo>
                  <a:pt x="3354" y="1197"/>
                </a:lnTo>
                <a:lnTo>
                  <a:pt x="3353" y="1199"/>
                </a:lnTo>
                <a:lnTo>
                  <a:pt x="3353" y="1203"/>
                </a:lnTo>
                <a:lnTo>
                  <a:pt x="3352" y="1211"/>
                </a:lnTo>
                <a:lnTo>
                  <a:pt x="3345" y="1212"/>
                </a:lnTo>
                <a:lnTo>
                  <a:pt x="3338" y="1213"/>
                </a:lnTo>
                <a:lnTo>
                  <a:pt x="3330" y="1213"/>
                </a:lnTo>
                <a:lnTo>
                  <a:pt x="3322" y="1213"/>
                </a:lnTo>
                <a:lnTo>
                  <a:pt x="3307" y="1212"/>
                </a:lnTo>
                <a:lnTo>
                  <a:pt x="3296" y="1211"/>
                </a:lnTo>
                <a:lnTo>
                  <a:pt x="3296" y="1212"/>
                </a:lnTo>
                <a:lnTo>
                  <a:pt x="3297" y="1213"/>
                </a:lnTo>
                <a:lnTo>
                  <a:pt x="3297" y="1216"/>
                </a:lnTo>
                <a:lnTo>
                  <a:pt x="3298" y="1218"/>
                </a:lnTo>
                <a:lnTo>
                  <a:pt x="3298" y="1219"/>
                </a:lnTo>
                <a:lnTo>
                  <a:pt x="3299" y="1220"/>
                </a:lnTo>
                <a:lnTo>
                  <a:pt x="3303" y="1223"/>
                </a:lnTo>
                <a:lnTo>
                  <a:pt x="3308" y="1226"/>
                </a:lnTo>
                <a:lnTo>
                  <a:pt x="3319" y="1232"/>
                </a:lnTo>
                <a:lnTo>
                  <a:pt x="3341" y="1242"/>
                </a:lnTo>
                <a:lnTo>
                  <a:pt x="3342" y="1235"/>
                </a:lnTo>
                <a:lnTo>
                  <a:pt x="3344" y="1226"/>
                </a:lnTo>
                <a:lnTo>
                  <a:pt x="3344" y="1219"/>
                </a:lnTo>
                <a:lnTo>
                  <a:pt x="3344" y="1218"/>
                </a:lnTo>
                <a:lnTo>
                  <a:pt x="3344" y="1220"/>
                </a:lnTo>
                <a:lnTo>
                  <a:pt x="3344" y="1214"/>
                </a:lnTo>
                <a:lnTo>
                  <a:pt x="3345" y="1214"/>
                </a:lnTo>
                <a:lnTo>
                  <a:pt x="3347" y="1214"/>
                </a:lnTo>
                <a:lnTo>
                  <a:pt x="3352" y="1214"/>
                </a:lnTo>
                <a:lnTo>
                  <a:pt x="3360" y="1217"/>
                </a:lnTo>
                <a:lnTo>
                  <a:pt x="3371" y="1198"/>
                </a:lnTo>
                <a:lnTo>
                  <a:pt x="3374" y="1193"/>
                </a:lnTo>
                <a:lnTo>
                  <a:pt x="3376" y="1187"/>
                </a:lnTo>
                <a:lnTo>
                  <a:pt x="3378" y="1182"/>
                </a:lnTo>
                <a:lnTo>
                  <a:pt x="3378" y="1180"/>
                </a:lnTo>
                <a:lnTo>
                  <a:pt x="3377" y="1178"/>
                </a:lnTo>
                <a:lnTo>
                  <a:pt x="3376" y="1176"/>
                </a:lnTo>
                <a:lnTo>
                  <a:pt x="3373" y="1174"/>
                </a:lnTo>
                <a:lnTo>
                  <a:pt x="3370" y="1171"/>
                </a:lnTo>
                <a:lnTo>
                  <a:pt x="3369" y="1169"/>
                </a:lnTo>
                <a:lnTo>
                  <a:pt x="3368" y="1164"/>
                </a:lnTo>
                <a:lnTo>
                  <a:pt x="3369" y="1161"/>
                </a:lnTo>
                <a:lnTo>
                  <a:pt x="3370" y="1158"/>
                </a:lnTo>
                <a:lnTo>
                  <a:pt x="3371" y="1155"/>
                </a:lnTo>
                <a:lnTo>
                  <a:pt x="3373" y="1152"/>
                </a:lnTo>
                <a:lnTo>
                  <a:pt x="3374" y="1151"/>
                </a:lnTo>
                <a:lnTo>
                  <a:pt x="3376" y="1151"/>
                </a:lnTo>
                <a:lnTo>
                  <a:pt x="3379" y="1151"/>
                </a:lnTo>
                <a:lnTo>
                  <a:pt x="3382" y="1152"/>
                </a:lnTo>
                <a:lnTo>
                  <a:pt x="3386" y="1154"/>
                </a:lnTo>
                <a:lnTo>
                  <a:pt x="3394" y="1158"/>
                </a:lnTo>
                <a:lnTo>
                  <a:pt x="3394" y="1164"/>
                </a:lnTo>
                <a:lnTo>
                  <a:pt x="3396" y="1164"/>
                </a:lnTo>
                <a:lnTo>
                  <a:pt x="3398" y="1164"/>
                </a:lnTo>
                <a:lnTo>
                  <a:pt x="3398" y="1163"/>
                </a:lnTo>
                <a:lnTo>
                  <a:pt x="3399" y="1162"/>
                </a:lnTo>
                <a:lnTo>
                  <a:pt x="3399" y="1159"/>
                </a:lnTo>
                <a:lnTo>
                  <a:pt x="3398" y="1155"/>
                </a:lnTo>
                <a:lnTo>
                  <a:pt x="3394" y="1148"/>
                </a:lnTo>
                <a:lnTo>
                  <a:pt x="3391" y="1144"/>
                </a:lnTo>
                <a:lnTo>
                  <a:pt x="3388" y="1141"/>
                </a:lnTo>
                <a:lnTo>
                  <a:pt x="3385" y="1138"/>
                </a:lnTo>
                <a:lnTo>
                  <a:pt x="3377" y="1133"/>
                </a:lnTo>
                <a:lnTo>
                  <a:pt x="3376" y="1132"/>
                </a:lnTo>
                <a:lnTo>
                  <a:pt x="3373" y="1132"/>
                </a:lnTo>
                <a:lnTo>
                  <a:pt x="3369" y="1133"/>
                </a:lnTo>
                <a:lnTo>
                  <a:pt x="3367" y="1130"/>
                </a:lnTo>
                <a:lnTo>
                  <a:pt x="3365" y="1128"/>
                </a:lnTo>
                <a:lnTo>
                  <a:pt x="3360" y="1124"/>
                </a:lnTo>
                <a:lnTo>
                  <a:pt x="3362" y="1123"/>
                </a:lnTo>
                <a:lnTo>
                  <a:pt x="3362" y="1122"/>
                </a:lnTo>
                <a:lnTo>
                  <a:pt x="3362" y="1118"/>
                </a:lnTo>
                <a:lnTo>
                  <a:pt x="3360" y="1113"/>
                </a:lnTo>
                <a:lnTo>
                  <a:pt x="3347" y="1111"/>
                </a:lnTo>
                <a:lnTo>
                  <a:pt x="3342" y="1110"/>
                </a:lnTo>
                <a:lnTo>
                  <a:pt x="3338" y="1109"/>
                </a:lnTo>
                <a:lnTo>
                  <a:pt x="3334" y="1107"/>
                </a:lnTo>
                <a:lnTo>
                  <a:pt x="3330" y="1104"/>
                </a:lnTo>
                <a:lnTo>
                  <a:pt x="3327" y="1100"/>
                </a:lnTo>
                <a:lnTo>
                  <a:pt x="3324" y="1096"/>
                </a:lnTo>
                <a:lnTo>
                  <a:pt x="3323" y="1094"/>
                </a:lnTo>
                <a:lnTo>
                  <a:pt x="3322" y="1091"/>
                </a:lnTo>
                <a:lnTo>
                  <a:pt x="3321" y="1087"/>
                </a:lnTo>
                <a:lnTo>
                  <a:pt x="3320" y="1082"/>
                </a:lnTo>
                <a:lnTo>
                  <a:pt x="3319" y="1079"/>
                </a:lnTo>
                <a:lnTo>
                  <a:pt x="3318" y="1076"/>
                </a:lnTo>
                <a:lnTo>
                  <a:pt x="3316" y="1073"/>
                </a:lnTo>
                <a:lnTo>
                  <a:pt x="3313" y="1070"/>
                </a:lnTo>
                <a:lnTo>
                  <a:pt x="3309" y="1067"/>
                </a:lnTo>
                <a:lnTo>
                  <a:pt x="3304" y="1064"/>
                </a:lnTo>
                <a:lnTo>
                  <a:pt x="3295" y="1058"/>
                </a:lnTo>
                <a:lnTo>
                  <a:pt x="3287" y="1054"/>
                </a:lnTo>
                <a:lnTo>
                  <a:pt x="3288" y="1051"/>
                </a:lnTo>
                <a:lnTo>
                  <a:pt x="3287" y="1048"/>
                </a:lnTo>
                <a:lnTo>
                  <a:pt x="3287" y="1045"/>
                </a:lnTo>
                <a:lnTo>
                  <a:pt x="3287" y="1043"/>
                </a:lnTo>
                <a:lnTo>
                  <a:pt x="3289" y="1040"/>
                </a:lnTo>
                <a:lnTo>
                  <a:pt x="3291" y="1036"/>
                </a:lnTo>
                <a:lnTo>
                  <a:pt x="3296" y="1029"/>
                </a:lnTo>
                <a:lnTo>
                  <a:pt x="3293" y="1026"/>
                </a:lnTo>
                <a:lnTo>
                  <a:pt x="3291" y="1025"/>
                </a:lnTo>
                <a:lnTo>
                  <a:pt x="3290" y="1026"/>
                </a:lnTo>
                <a:lnTo>
                  <a:pt x="3290" y="1020"/>
                </a:lnTo>
                <a:lnTo>
                  <a:pt x="3297" y="1018"/>
                </a:lnTo>
                <a:lnTo>
                  <a:pt x="3303" y="1017"/>
                </a:lnTo>
                <a:lnTo>
                  <a:pt x="3309" y="1016"/>
                </a:lnTo>
                <a:lnTo>
                  <a:pt x="3315" y="1014"/>
                </a:lnTo>
                <a:lnTo>
                  <a:pt x="3314" y="1016"/>
                </a:lnTo>
                <a:lnTo>
                  <a:pt x="3313" y="1019"/>
                </a:lnTo>
                <a:lnTo>
                  <a:pt x="3312" y="1022"/>
                </a:lnTo>
                <a:lnTo>
                  <a:pt x="3313" y="1024"/>
                </a:lnTo>
                <a:lnTo>
                  <a:pt x="3314" y="1026"/>
                </a:lnTo>
                <a:lnTo>
                  <a:pt x="3315" y="1028"/>
                </a:lnTo>
                <a:lnTo>
                  <a:pt x="3314" y="1031"/>
                </a:lnTo>
                <a:lnTo>
                  <a:pt x="3314" y="1033"/>
                </a:lnTo>
                <a:lnTo>
                  <a:pt x="3313" y="1036"/>
                </a:lnTo>
                <a:lnTo>
                  <a:pt x="3313" y="1038"/>
                </a:lnTo>
                <a:lnTo>
                  <a:pt x="3314" y="1040"/>
                </a:lnTo>
                <a:lnTo>
                  <a:pt x="3315" y="1043"/>
                </a:lnTo>
                <a:lnTo>
                  <a:pt x="3317" y="1042"/>
                </a:lnTo>
                <a:lnTo>
                  <a:pt x="3321" y="1041"/>
                </a:lnTo>
                <a:lnTo>
                  <a:pt x="3322" y="1040"/>
                </a:lnTo>
                <a:lnTo>
                  <a:pt x="3323" y="1040"/>
                </a:lnTo>
                <a:lnTo>
                  <a:pt x="3323" y="1039"/>
                </a:lnTo>
                <a:lnTo>
                  <a:pt x="3323" y="1038"/>
                </a:lnTo>
                <a:lnTo>
                  <a:pt x="3321" y="1037"/>
                </a:lnTo>
                <a:lnTo>
                  <a:pt x="3322" y="1036"/>
                </a:lnTo>
                <a:lnTo>
                  <a:pt x="3324" y="1035"/>
                </a:lnTo>
                <a:lnTo>
                  <a:pt x="3327" y="1035"/>
                </a:lnTo>
                <a:lnTo>
                  <a:pt x="3329" y="1034"/>
                </a:lnTo>
                <a:lnTo>
                  <a:pt x="3331" y="1027"/>
                </a:lnTo>
                <a:lnTo>
                  <a:pt x="3332" y="1023"/>
                </a:lnTo>
                <a:lnTo>
                  <a:pt x="3333" y="1024"/>
                </a:lnTo>
                <a:lnTo>
                  <a:pt x="3333" y="1025"/>
                </a:lnTo>
                <a:lnTo>
                  <a:pt x="3334" y="1026"/>
                </a:lnTo>
                <a:lnTo>
                  <a:pt x="3338" y="1029"/>
                </a:lnTo>
                <a:lnTo>
                  <a:pt x="3335" y="1037"/>
                </a:lnTo>
                <a:lnTo>
                  <a:pt x="3335" y="1041"/>
                </a:lnTo>
                <a:lnTo>
                  <a:pt x="3335" y="1043"/>
                </a:lnTo>
                <a:lnTo>
                  <a:pt x="3335" y="1045"/>
                </a:lnTo>
                <a:lnTo>
                  <a:pt x="3346" y="1054"/>
                </a:lnTo>
                <a:lnTo>
                  <a:pt x="3346" y="1056"/>
                </a:lnTo>
                <a:lnTo>
                  <a:pt x="3346" y="1057"/>
                </a:lnTo>
                <a:lnTo>
                  <a:pt x="3345" y="1059"/>
                </a:lnTo>
                <a:lnTo>
                  <a:pt x="3343" y="1061"/>
                </a:lnTo>
                <a:lnTo>
                  <a:pt x="3344" y="1062"/>
                </a:lnTo>
                <a:lnTo>
                  <a:pt x="3360" y="1074"/>
                </a:lnTo>
                <a:lnTo>
                  <a:pt x="3363" y="1074"/>
                </a:lnTo>
                <a:lnTo>
                  <a:pt x="3366" y="1073"/>
                </a:lnTo>
                <a:lnTo>
                  <a:pt x="3369" y="1073"/>
                </a:lnTo>
                <a:lnTo>
                  <a:pt x="3372" y="1074"/>
                </a:lnTo>
                <a:lnTo>
                  <a:pt x="3375" y="1076"/>
                </a:lnTo>
                <a:lnTo>
                  <a:pt x="3377" y="1080"/>
                </a:lnTo>
                <a:lnTo>
                  <a:pt x="3380" y="1085"/>
                </a:lnTo>
                <a:lnTo>
                  <a:pt x="3383" y="1088"/>
                </a:lnTo>
                <a:lnTo>
                  <a:pt x="3387" y="1089"/>
                </a:lnTo>
                <a:lnTo>
                  <a:pt x="3392" y="1090"/>
                </a:lnTo>
                <a:lnTo>
                  <a:pt x="3396" y="1091"/>
                </a:lnTo>
                <a:lnTo>
                  <a:pt x="3398" y="1092"/>
                </a:lnTo>
                <a:lnTo>
                  <a:pt x="3400" y="1093"/>
                </a:lnTo>
                <a:lnTo>
                  <a:pt x="3401" y="1095"/>
                </a:lnTo>
                <a:lnTo>
                  <a:pt x="3401" y="1097"/>
                </a:lnTo>
                <a:lnTo>
                  <a:pt x="3402" y="1100"/>
                </a:lnTo>
                <a:lnTo>
                  <a:pt x="3402" y="1101"/>
                </a:lnTo>
                <a:lnTo>
                  <a:pt x="3403" y="1102"/>
                </a:lnTo>
                <a:lnTo>
                  <a:pt x="3420" y="1109"/>
                </a:lnTo>
                <a:lnTo>
                  <a:pt x="3422" y="1112"/>
                </a:lnTo>
                <a:lnTo>
                  <a:pt x="3423" y="1114"/>
                </a:lnTo>
                <a:lnTo>
                  <a:pt x="3423" y="1115"/>
                </a:lnTo>
                <a:lnTo>
                  <a:pt x="3424" y="1116"/>
                </a:lnTo>
                <a:lnTo>
                  <a:pt x="3424" y="1119"/>
                </a:lnTo>
                <a:lnTo>
                  <a:pt x="3424" y="1122"/>
                </a:lnTo>
                <a:lnTo>
                  <a:pt x="3424" y="1124"/>
                </a:lnTo>
                <a:lnTo>
                  <a:pt x="3423" y="1129"/>
                </a:lnTo>
                <a:lnTo>
                  <a:pt x="3420" y="1140"/>
                </a:lnTo>
                <a:lnTo>
                  <a:pt x="3419" y="1145"/>
                </a:lnTo>
                <a:lnTo>
                  <a:pt x="3420" y="1150"/>
                </a:lnTo>
                <a:lnTo>
                  <a:pt x="3437" y="1173"/>
                </a:lnTo>
                <a:lnTo>
                  <a:pt x="3448" y="1186"/>
                </a:lnTo>
                <a:lnTo>
                  <a:pt x="3448" y="1189"/>
                </a:lnTo>
                <a:lnTo>
                  <a:pt x="3450" y="1189"/>
                </a:lnTo>
                <a:lnTo>
                  <a:pt x="3452" y="1189"/>
                </a:lnTo>
                <a:lnTo>
                  <a:pt x="3454" y="1188"/>
                </a:lnTo>
                <a:lnTo>
                  <a:pt x="3456" y="1189"/>
                </a:lnTo>
                <a:lnTo>
                  <a:pt x="3456" y="1190"/>
                </a:lnTo>
                <a:lnTo>
                  <a:pt x="3456" y="1192"/>
                </a:lnTo>
                <a:lnTo>
                  <a:pt x="3456" y="1193"/>
                </a:lnTo>
                <a:lnTo>
                  <a:pt x="3453" y="1192"/>
                </a:lnTo>
                <a:lnTo>
                  <a:pt x="3454" y="1201"/>
                </a:lnTo>
                <a:lnTo>
                  <a:pt x="3453" y="1209"/>
                </a:lnTo>
                <a:lnTo>
                  <a:pt x="3455" y="1208"/>
                </a:lnTo>
                <a:lnTo>
                  <a:pt x="3457" y="1206"/>
                </a:lnTo>
                <a:lnTo>
                  <a:pt x="3458" y="1204"/>
                </a:lnTo>
                <a:lnTo>
                  <a:pt x="3459" y="1203"/>
                </a:lnTo>
                <a:lnTo>
                  <a:pt x="3464" y="1202"/>
                </a:lnTo>
                <a:lnTo>
                  <a:pt x="3468" y="1202"/>
                </a:lnTo>
                <a:lnTo>
                  <a:pt x="3472" y="1204"/>
                </a:lnTo>
                <a:lnTo>
                  <a:pt x="3476" y="1206"/>
                </a:lnTo>
                <a:lnTo>
                  <a:pt x="3482" y="1211"/>
                </a:lnTo>
                <a:lnTo>
                  <a:pt x="3485" y="1213"/>
                </a:lnTo>
                <a:lnTo>
                  <a:pt x="3487" y="1214"/>
                </a:lnTo>
                <a:lnTo>
                  <a:pt x="3482" y="1213"/>
                </a:lnTo>
                <a:lnTo>
                  <a:pt x="3478" y="1212"/>
                </a:lnTo>
                <a:lnTo>
                  <a:pt x="3475" y="1211"/>
                </a:lnTo>
                <a:lnTo>
                  <a:pt x="3472" y="1211"/>
                </a:lnTo>
                <a:lnTo>
                  <a:pt x="3467" y="1212"/>
                </a:lnTo>
                <a:lnTo>
                  <a:pt x="3459" y="1211"/>
                </a:lnTo>
                <a:lnTo>
                  <a:pt x="3462" y="1225"/>
                </a:lnTo>
                <a:lnTo>
                  <a:pt x="3464" y="1230"/>
                </a:lnTo>
                <a:lnTo>
                  <a:pt x="3464" y="1233"/>
                </a:lnTo>
                <a:lnTo>
                  <a:pt x="3465" y="1237"/>
                </a:lnTo>
                <a:lnTo>
                  <a:pt x="3475" y="1237"/>
                </a:lnTo>
                <a:lnTo>
                  <a:pt x="3487" y="1237"/>
                </a:lnTo>
                <a:lnTo>
                  <a:pt x="3485" y="1233"/>
                </a:lnTo>
                <a:lnTo>
                  <a:pt x="3483" y="1230"/>
                </a:lnTo>
                <a:lnTo>
                  <a:pt x="3484" y="1229"/>
                </a:lnTo>
                <a:lnTo>
                  <a:pt x="3484" y="1228"/>
                </a:lnTo>
                <a:lnTo>
                  <a:pt x="3486" y="1228"/>
                </a:lnTo>
                <a:lnTo>
                  <a:pt x="3487" y="1228"/>
                </a:lnTo>
                <a:lnTo>
                  <a:pt x="3491" y="1228"/>
                </a:lnTo>
                <a:lnTo>
                  <a:pt x="3495" y="1229"/>
                </a:lnTo>
                <a:lnTo>
                  <a:pt x="3497" y="1229"/>
                </a:lnTo>
                <a:lnTo>
                  <a:pt x="3498" y="1228"/>
                </a:lnTo>
                <a:lnTo>
                  <a:pt x="3495" y="1220"/>
                </a:lnTo>
                <a:lnTo>
                  <a:pt x="3494" y="1220"/>
                </a:lnTo>
                <a:lnTo>
                  <a:pt x="3491" y="1219"/>
                </a:lnTo>
                <a:lnTo>
                  <a:pt x="3490" y="1219"/>
                </a:lnTo>
                <a:lnTo>
                  <a:pt x="3491" y="1218"/>
                </a:lnTo>
                <a:lnTo>
                  <a:pt x="3493" y="1217"/>
                </a:lnTo>
                <a:lnTo>
                  <a:pt x="3496" y="1216"/>
                </a:lnTo>
                <a:lnTo>
                  <a:pt x="3498" y="1215"/>
                </a:lnTo>
                <a:lnTo>
                  <a:pt x="3501" y="1216"/>
                </a:lnTo>
                <a:lnTo>
                  <a:pt x="3504" y="1218"/>
                </a:lnTo>
                <a:lnTo>
                  <a:pt x="3506" y="1219"/>
                </a:lnTo>
                <a:lnTo>
                  <a:pt x="3510" y="1220"/>
                </a:lnTo>
                <a:lnTo>
                  <a:pt x="3510" y="1209"/>
                </a:lnTo>
                <a:lnTo>
                  <a:pt x="3504" y="1206"/>
                </a:lnTo>
                <a:lnTo>
                  <a:pt x="3506" y="1206"/>
                </a:lnTo>
                <a:lnTo>
                  <a:pt x="3509" y="1206"/>
                </a:lnTo>
                <a:lnTo>
                  <a:pt x="3512" y="1205"/>
                </a:lnTo>
                <a:lnTo>
                  <a:pt x="3515" y="1206"/>
                </a:lnTo>
                <a:lnTo>
                  <a:pt x="3517" y="1208"/>
                </a:lnTo>
                <a:lnTo>
                  <a:pt x="3520" y="1213"/>
                </a:lnTo>
                <a:lnTo>
                  <a:pt x="3521" y="1215"/>
                </a:lnTo>
                <a:lnTo>
                  <a:pt x="3521" y="1214"/>
                </a:lnTo>
                <a:lnTo>
                  <a:pt x="3521" y="1211"/>
                </a:lnTo>
                <a:lnTo>
                  <a:pt x="3520" y="1205"/>
                </a:lnTo>
                <a:lnTo>
                  <a:pt x="3519" y="1203"/>
                </a:lnTo>
                <a:lnTo>
                  <a:pt x="3518" y="1200"/>
                </a:lnTo>
                <a:lnTo>
                  <a:pt x="3516" y="1199"/>
                </a:lnTo>
                <a:lnTo>
                  <a:pt x="3513" y="1198"/>
                </a:lnTo>
                <a:lnTo>
                  <a:pt x="3509" y="1198"/>
                </a:lnTo>
                <a:lnTo>
                  <a:pt x="3507" y="1197"/>
                </a:lnTo>
                <a:lnTo>
                  <a:pt x="3505" y="1195"/>
                </a:lnTo>
                <a:lnTo>
                  <a:pt x="3503" y="1191"/>
                </a:lnTo>
                <a:lnTo>
                  <a:pt x="3500" y="1188"/>
                </a:lnTo>
                <a:lnTo>
                  <a:pt x="3499" y="1187"/>
                </a:lnTo>
                <a:lnTo>
                  <a:pt x="3498" y="1186"/>
                </a:lnTo>
                <a:lnTo>
                  <a:pt x="3496" y="1186"/>
                </a:lnTo>
                <a:lnTo>
                  <a:pt x="3495" y="1186"/>
                </a:lnTo>
                <a:lnTo>
                  <a:pt x="3494" y="1187"/>
                </a:lnTo>
                <a:lnTo>
                  <a:pt x="3493" y="1187"/>
                </a:lnTo>
                <a:lnTo>
                  <a:pt x="3492" y="1189"/>
                </a:lnTo>
                <a:lnTo>
                  <a:pt x="3491" y="1189"/>
                </a:lnTo>
                <a:lnTo>
                  <a:pt x="3490" y="1189"/>
                </a:lnTo>
                <a:lnTo>
                  <a:pt x="3489" y="1188"/>
                </a:lnTo>
                <a:lnTo>
                  <a:pt x="3489" y="1186"/>
                </a:lnTo>
                <a:lnTo>
                  <a:pt x="3489" y="1185"/>
                </a:lnTo>
                <a:lnTo>
                  <a:pt x="3487" y="1183"/>
                </a:lnTo>
                <a:lnTo>
                  <a:pt x="3487" y="1178"/>
                </a:lnTo>
                <a:lnTo>
                  <a:pt x="3492" y="1178"/>
                </a:lnTo>
                <a:lnTo>
                  <a:pt x="3493" y="1178"/>
                </a:lnTo>
                <a:lnTo>
                  <a:pt x="3494" y="1178"/>
                </a:lnTo>
                <a:lnTo>
                  <a:pt x="3494" y="1177"/>
                </a:lnTo>
                <a:lnTo>
                  <a:pt x="3494" y="1176"/>
                </a:lnTo>
                <a:lnTo>
                  <a:pt x="3493" y="1173"/>
                </a:lnTo>
                <a:lnTo>
                  <a:pt x="3491" y="1170"/>
                </a:lnTo>
                <a:lnTo>
                  <a:pt x="3489" y="1167"/>
                </a:lnTo>
                <a:lnTo>
                  <a:pt x="3484" y="1161"/>
                </a:lnTo>
                <a:lnTo>
                  <a:pt x="3481" y="1155"/>
                </a:lnTo>
                <a:lnTo>
                  <a:pt x="3488" y="1145"/>
                </a:lnTo>
                <a:lnTo>
                  <a:pt x="3490" y="1143"/>
                </a:lnTo>
                <a:lnTo>
                  <a:pt x="3491" y="1142"/>
                </a:lnTo>
                <a:lnTo>
                  <a:pt x="3491" y="1144"/>
                </a:lnTo>
                <a:lnTo>
                  <a:pt x="3490" y="1150"/>
                </a:lnTo>
                <a:lnTo>
                  <a:pt x="3492" y="1150"/>
                </a:lnTo>
                <a:lnTo>
                  <a:pt x="3493" y="1151"/>
                </a:lnTo>
                <a:lnTo>
                  <a:pt x="3494" y="1152"/>
                </a:lnTo>
                <a:lnTo>
                  <a:pt x="3494" y="1155"/>
                </a:lnTo>
                <a:lnTo>
                  <a:pt x="3495" y="1158"/>
                </a:lnTo>
                <a:lnTo>
                  <a:pt x="3498" y="1157"/>
                </a:lnTo>
                <a:lnTo>
                  <a:pt x="3498" y="1156"/>
                </a:lnTo>
                <a:lnTo>
                  <a:pt x="3498" y="1155"/>
                </a:lnTo>
                <a:lnTo>
                  <a:pt x="3498" y="1152"/>
                </a:lnTo>
                <a:lnTo>
                  <a:pt x="3508" y="1151"/>
                </a:lnTo>
                <a:lnTo>
                  <a:pt x="3511" y="1151"/>
                </a:lnTo>
                <a:lnTo>
                  <a:pt x="3513" y="1150"/>
                </a:lnTo>
                <a:lnTo>
                  <a:pt x="3513" y="1148"/>
                </a:lnTo>
                <a:lnTo>
                  <a:pt x="3512" y="1146"/>
                </a:lnTo>
                <a:lnTo>
                  <a:pt x="3504" y="1135"/>
                </a:lnTo>
                <a:lnTo>
                  <a:pt x="3517" y="1136"/>
                </a:lnTo>
                <a:lnTo>
                  <a:pt x="3526" y="1137"/>
                </a:lnTo>
                <a:lnTo>
                  <a:pt x="3535" y="1136"/>
                </a:lnTo>
                <a:lnTo>
                  <a:pt x="3546" y="1135"/>
                </a:lnTo>
                <a:lnTo>
                  <a:pt x="3547" y="1140"/>
                </a:lnTo>
                <a:lnTo>
                  <a:pt x="3549" y="1144"/>
                </a:lnTo>
                <a:lnTo>
                  <a:pt x="3549" y="1147"/>
                </a:lnTo>
                <a:lnTo>
                  <a:pt x="3550" y="1151"/>
                </a:lnTo>
                <a:lnTo>
                  <a:pt x="3552" y="1153"/>
                </a:lnTo>
                <a:lnTo>
                  <a:pt x="3554" y="1152"/>
                </a:lnTo>
                <a:lnTo>
                  <a:pt x="3557" y="1150"/>
                </a:lnTo>
                <a:lnTo>
                  <a:pt x="3563" y="1147"/>
                </a:lnTo>
                <a:lnTo>
                  <a:pt x="3560" y="1150"/>
                </a:lnTo>
                <a:lnTo>
                  <a:pt x="3557" y="1154"/>
                </a:lnTo>
                <a:lnTo>
                  <a:pt x="3552" y="1161"/>
                </a:lnTo>
                <a:lnTo>
                  <a:pt x="3550" y="1160"/>
                </a:lnTo>
                <a:lnTo>
                  <a:pt x="3549" y="1161"/>
                </a:lnTo>
                <a:lnTo>
                  <a:pt x="3549" y="1162"/>
                </a:lnTo>
                <a:lnTo>
                  <a:pt x="3549" y="1164"/>
                </a:lnTo>
                <a:lnTo>
                  <a:pt x="3549" y="1169"/>
                </a:lnTo>
                <a:lnTo>
                  <a:pt x="3549" y="1172"/>
                </a:lnTo>
                <a:lnTo>
                  <a:pt x="3555" y="1173"/>
                </a:lnTo>
                <a:lnTo>
                  <a:pt x="3558" y="1174"/>
                </a:lnTo>
                <a:lnTo>
                  <a:pt x="3560" y="1175"/>
                </a:lnTo>
                <a:lnTo>
                  <a:pt x="3561" y="1178"/>
                </a:lnTo>
                <a:lnTo>
                  <a:pt x="3562" y="1181"/>
                </a:lnTo>
                <a:lnTo>
                  <a:pt x="3561" y="1183"/>
                </a:lnTo>
                <a:lnTo>
                  <a:pt x="3561" y="1185"/>
                </a:lnTo>
                <a:lnTo>
                  <a:pt x="3560" y="1190"/>
                </a:lnTo>
                <a:lnTo>
                  <a:pt x="3560" y="1192"/>
                </a:lnTo>
                <a:lnTo>
                  <a:pt x="3560" y="1195"/>
                </a:lnTo>
                <a:lnTo>
                  <a:pt x="3563" y="1197"/>
                </a:lnTo>
                <a:lnTo>
                  <a:pt x="3565" y="1198"/>
                </a:lnTo>
                <a:lnTo>
                  <a:pt x="3565" y="1199"/>
                </a:lnTo>
                <a:lnTo>
                  <a:pt x="3566" y="1200"/>
                </a:lnTo>
                <a:lnTo>
                  <a:pt x="3561" y="1201"/>
                </a:lnTo>
                <a:lnTo>
                  <a:pt x="3558" y="1201"/>
                </a:lnTo>
                <a:lnTo>
                  <a:pt x="3552" y="1203"/>
                </a:lnTo>
                <a:lnTo>
                  <a:pt x="3553" y="1204"/>
                </a:lnTo>
                <a:lnTo>
                  <a:pt x="3553" y="1205"/>
                </a:lnTo>
                <a:lnTo>
                  <a:pt x="3554" y="1208"/>
                </a:lnTo>
                <a:lnTo>
                  <a:pt x="3555" y="1211"/>
                </a:lnTo>
                <a:lnTo>
                  <a:pt x="3556" y="1211"/>
                </a:lnTo>
                <a:lnTo>
                  <a:pt x="3558" y="1210"/>
                </a:lnTo>
                <a:lnTo>
                  <a:pt x="3563" y="1209"/>
                </a:lnTo>
                <a:lnTo>
                  <a:pt x="3564" y="1216"/>
                </a:lnTo>
                <a:lnTo>
                  <a:pt x="3565" y="1222"/>
                </a:lnTo>
                <a:lnTo>
                  <a:pt x="3566" y="1234"/>
                </a:lnTo>
                <a:lnTo>
                  <a:pt x="3567" y="1234"/>
                </a:lnTo>
                <a:lnTo>
                  <a:pt x="3569" y="1234"/>
                </a:lnTo>
                <a:lnTo>
                  <a:pt x="3573" y="1234"/>
                </a:lnTo>
                <a:lnTo>
                  <a:pt x="3577" y="1233"/>
                </a:lnTo>
                <a:lnTo>
                  <a:pt x="3578" y="1233"/>
                </a:lnTo>
                <a:lnTo>
                  <a:pt x="3580" y="1234"/>
                </a:lnTo>
                <a:lnTo>
                  <a:pt x="3580" y="1242"/>
                </a:lnTo>
                <a:lnTo>
                  <a:pt x="3581" y="1243"/>
                </a:lnTo>
                <a:lnTo>
                  <a:pt x="3583" y="1243"/>
                </a:lnTo>
                <a:lnTo>
                  <a:pt x="3585" y="1242"/>
                </a:lnTo>
                <a:lnTo>
                  <a:pt x="3591" y="1240"/>
                </a:lnTo>
                <a:lnTo>
                  <a:pt x="3600" y="1251"/>
                </a:lnTo>
                <a:lnTo>
                  <a:pt x="3605" y="1257"/>
                </a:lnTo>
                <a:lnTo>
                  <a:pt x="3611" y="1262"/>
                </a:lnTo>
                <a:lnTo>
                  <a:pt x="3612" y="1261"/>
                </a:lnTo>
                <a:lnTo>
                  <a:pt x="3614" y="1261"/>
                </a:lnTo>
                <a:lnTo>
                  <a:pt x="3616" y="1261"/>
                </a:lnTo>
                <a:lnTo>
                  <a:pt x="3619" y="1260"/>
                </a:lnTo>
                <a:lnTo>
                  <a:pt x="3620" y="1260"/>
                </a:lnTo>
                <a:lnTo>
                  <a:pt x="3622" y="1259"/>
                </a:lnTo>
                <a:lnTo>
                  <a:pt x="3624" y="1258"/>
                </a:lnTo>
                <a:lnTo>
                  <a:pt x="3625" y="1256"/>
                </a:lnTo>
                <a:lnTo>
                  <a:pt x="3627" y="1252"/>
                </a:lnTo>
                <a:lnTo>
                  <a:pt x="3629" y="1249"/>
                </a:lnTo>
                <a:lnTo>
                  <a:pt x="3631" y="1246"/>
                </a:lnTo>
                <a:lnTo>
                  <a:pt x="3632" y="1244"/>
                </a:lnTo>
                <a:lnTo>
                  <a:pt x="3633" y="1244"/>
                </a:lnTo>
                <a:lnTo>
                  <a:pt x="3635" y="1243"/>
                </a:lnTo>
                <a:lnTo>
                  <a:pt x="3638" y="1244"/>
                </a:lnTo>
                <a:lnTo>
                  <a:pt x="3640" y="1244"/>
                </a:lnTo>
                <a:lnTo>
                  <a:pt x="3644" y="1246"/>
                </a:lnTo>
                <a:lnTo>
                  <a:pt x="3653" y="1251"/>
                </a:lnTo>
                <a:lnTo>
                  <a:pt x="3659" y="1257"/>
                </a:lnTo>
                <a:lnTo>
                  <a:pt x="3662" y="1260"/>
                </a:lnTo>
                <a:lnTo>
                  <a:pt x="3663" y="1261"/>
                </a:lnTo>
                <a:lnTo>
                  <a:pt x="3664" y="1262"/>
                </a:lnTo>
                <a:lnTo>
                  <a:pt x="3668" y="1262"/>
                </a:lnTo>
                <a:lnTo>
                  <a:pt x="3671" y="1262"/>
                </a:lnTo>
                <a:lnTo>
                  <a:pt x="3677" y="1261"/>
                </a:lnTo>
                <a:lnTo>
                  <a:pt x="3683" y="1259"/>
                </a:lnTo>
                <a:lnTo>
                  <a:pt x="3688" y="1255"/>
                </a:lnTo>
                <a:lnTo>
                  <a:pt x="3692" y="1252"/>
                </a:lnTo>
                <a:lnTo>
                  <a:pt x="3696" y="1249"/>
                </a:lnTo>
                <a:lnTo>
                  <a:pt x="3699" y="1246"/>
                </a:lnTo>
                <a:lnTo>
                  <a:pt x="3701" y="1245"/>
                </a:lnTo>
                <a:lnTo>
                  <a:pt x="3702" y="1245"/>
                </a:lnTo>
                <a:lnTo>
                  <a:pt x="3703" y="1246"/>
                </a:lnTo>
                <a:lnTo>
                  <a:pt x="3705" y="1247"/>
                </a:lnTo>
                <a:lnTo>
                  <a:pt x="3708" y="1248"/>
                </a:lnTo>
                <a:lnTo>
                  <a:pt x="3710" y="1249"/>
                </a:lnTo>
                <a:lnTo>
                  <a:pt x="3712" y="1248"/>
                </a:lnTo>
                <a:lnTo>
                  <a:pt x="3713" y="1247"/>
                </a:lnTo>
                <a:lnTo>
                  <a:pt x="3714" y="1246"/>
                </a:lnTo>
                <a:lnTo>
                  <a:pt x="3716" y="1243"/>
                </a:lnTo>
                <a:lnTo>
                  <a:pt x="3718" y="1239"/>
                </a:lnTo>
                <a:lnTo>
                  <a:pt x="3720" y="1237"/>
                </a:lnTo>
                <a:lnTo>
                  <a:pt x="3720" y="1238"/>
                </a:lnTo>
                <a:lnTo>
                  <a:pt x="3721" y="1239"/>
                </a:lnTo>
                <a:lnTo>
                  <a:pt x="3722" y="1242"/>
                </a:lnTo>
                <a:lnTo>
                  <a:pt x="3723" y="1246"/>
                </a:lnTo>
                <a:lnTo>
                  <a:pt x="3723" y="1251"/>
                </a:lnTo>
                <a:lnTo>
                  <a:pt x="3718" y="1254"/>
                </a:lnTo>
                <a:lnTo>
                  <a:pt x="3719" y="1261"/>
                </a:lnTo>
                <a:lnTo>
                  <a:pt x="3721" y="1267"/>
                </a:lnTo>
                <a:lnTo>
                  <a:pt x="3722" y="1272"/>
                </a:lnTo>
                <a:lnTo>
                  <a:pt x="3723" y="1279"/>
                </a:lnTo>
                <a:lnTo>
                  <a:pt x="3723" y="1281"/>
                </a:lnTo>
                <a:lnTo>
                  <a:pt x="3723" y="1284"/>
                </a:lnTo>
                <a:lnTo>
                  <a:pt x="3722" y="1287"/>
                </a:lnTo>
                <a:lnTo>
                  <a:pt x="3721" y="1290"/>
                </a:lnTo>
                <a:lnTo>
                  <a:pt x="3720" y="1292"/>
                </a:lnTo>
                <a:lnTo>
                  <a:pt x="3720" y="1293"/>
                </a:lnTo>
                <a:lnTo>
                  <a:pt x="3723" y="1294"/>
                </a:lnTo>
                <a:lnTo>
                  <a:pt x="3725" y="1295"/>
                </a:lnTo>
                <a:lnTo>
                  <a:pt x="3726" y="1297"/>
                </a:lnTo>
                <a:lnTo>
                  <a:pt x="3726" y="1301"/>
                </a:lnTo>
                <a:lnTo>
                  <a:pt x="3725" y="1306"/>
                </a:lnTo>
                <a:lnTo>
                  <a:pt x="3723" y="1310"/>
                </a:lnTo>
                <a:lnTo>
                  <a:pt x="3720" y="1315"/>
                </a:lnTo>
                <a:lnTo>
                  <a:pt x="3715" y="1323"/>
                </a:lnTo>
                <a:lnTo>
                  <a:pt x="3712" y="1330"/>
                </a:lnTo>
                <a:lnTo>
                  <a:pt x="3711" y="1332"/>
                </a:lnTo>
                <a:lnTo>
                  <a:pt x="3712" y="1333"/>
                </a:lnTo>
                <a:lnTo>
                  <a:pt x="3712" y="1334"/>
                </a:lnTo>
                <a:lnTo>
                  <a:pt x="3713" y="1335"/>
                </a:lnTo>
                <a:lnTo>
                  <a:pt x="3714" y="1336"/>
                </a:lnTo>
                <a:lnTo>
                  <a:pt x="3715" y="1336"/>
                </a:lnTo>
                <a:lnTo>
                  <a:pt x="3715" y="1338"/>
                </a:lnTo>
                <a:lnTo>
                  <a:pt x="3711" y="1342"/>
                </a:lnTo>
                <a:lnTo>
                  <a:pt x="3708" y="1345"/>
                </a:lnTo>
                <a:lnTo>
                  <a:pt x="3706" y="1346"/>
                </a:lnTo>
                <a:lnTo>
                  <a:pt x="3706" y="1349"/>
                </a:lnTo>
                <a:lnTo>
                  <a:pt x="3707" y="1352"/>
                </a:lnTo>
                <a:lnTo>
                  <a:pt x="3707" y="1355"/>
                </a:lnTo>
                <a:lnTo>
                  <a:pt x="3706" y="1358"/>
                </a:lnTo>
                <a:lnTo>
                  <a:pt x="3704" y="1360"/>
                </a:lnTo>
                <a:lnTo>
                  <a:pt x="3702" y="1361"/>
                </a:lnTo>
                <a:lnTo>
                  <a:pt x="3700" y="1363"/>
                </a:lnTo>
                <a:lnTo>
                  <a:pt x="3697" y="1363"/>
                </a:lnTo>
                <a:lnTo>
                  <a:pt x="3690" y="1364"/>
                </a:lnTo>
                <a:lnTo>
                  <a:pt x="3683" y="1364"/>
                </a:lnTo>
                <a:lnTo>
                  <a:pt x="3676" y="1363"/>
                </a:lnTo>
                <a:lnTo>
                  <a:pt x="3670" y="1363"/>
                </a:lnTo>
                <a:lnTo>
                  <a:pt x="3665" y="1366"/>
                </a:lnTo>
                <a:lnTo>
                  <a:pt x="3661" y="1368"/>
                </a:lnTo>
                <a:lnTo>
                  <a:pt x="3659" y="1369"/>
                </a:lnTo>
                <a:lnTo>
                  <a:pt x="3658" y="1369"/>
                </a:lnTo>
                <a:lnTo>
                  <a:pt x="3657" y="1368"/>
                </a:lnTo>
                <a:lnTo>
                  <a:pt x="3655" y="1365"/>
                </a:lnTo>
                <a:lnTo>
                  <a:pt x="3653" y="1361"/>
                </a:lnTo>
                <a:lnTo>
                  <a:pt x="3651" y="1360"/>
                </a:lnTo>
                <a:lnTo>
                  <a:pt x="3649" y="1361"/>
                </a:lnTo>
                <a:lnTo>
                  <a:pt x="3646" y="1361"/>
                </a:lnTo>
                <a:lnTo>
                  <a:pt x="3645" y="1361"/>
                </a:lnTo>
                <a:lnTo>
                  <a:pt x="3646" y="1361"/>
                </a:lnTo>
                <a:lnTo>
                  <a:pt x="3646" y="1364"/>
                </a:lnTo>
                <a:lnTo>
                  <a:pt x="3647" y="1369"/>
                </a:lnTo>
                <a:lnTo>
                  <a:pt x="3644" y="1368"/>
                </a:lnTo>
                <a:lnTo>
                  <a:pt x="3643" y="1367"/>
                </a:lnTo>
                <a:lnTo>
                  <a:pt x="3643" y="1366"/>
                </a:lnTo>
                <a:lnTo>
                  <a:pt x="3642" y="1364"/>
                </a:lnTo>
                <a:lnTo>
                  <a:pt x="3642" y="1363"/>
                </a:lnTo>
                <a:lnTo>
                  <a:pt x="3640" y="1363"/>
                </a:lnTo>
                <a:lnTo>
                  <a:pt x="3637" y="1364"/>
                </a:lnTo>
                <a:lnTo>
                  <a:pt x="3631" y="1366"/>
                </a:lnTo>
                <a:lnTo>
                  <a:pt x="3626" y="1370"/>
                </a:lnTo>
                <a:lnTo>
                  <a:pt x="3622" y="1372"/>
                </a:lnTo>
                <a:lnTo>
                  <a:pt x="3605" y="1369"/>
                </a:lnTo>
                <a:lnTo>
                  <a:pt x="3602" y="1369"/>
                </a:lnTo>
                <a:lnTo>
                  <a:pt x="3594" y="1369"/>
                </a:lnTo>
                <a:lnTo>
                  <a:pt x="3594" y="1372"/>
                </a:lnTo>
                <a:lnTo>
                  <a:pt x="3591" y="1370"/>
                </a:lnTo>
                <a:lnTo>
                  <a:pt x="3588" y="1367"/>
                </a:lnTo>
                <a:lnTo>
                  <a:pt x="3587" y="1366"/>
                </a:lnTo>
                <a:lnTo>
                  <a:pt x="3586" y="1366"/>
                </a:lnTo>
                <a:lnTo>
                  <a:pt x="3584" y="1366"/>
                </a:lnTo>
                <a:lnTo>
                  <a:pt x="3583" y="1366"/>
                </a:lnTo>
                <a:lnTo>
                  <a:pt x="3582" y="1368"/>
                </a:lnTo>
                <a:lnTo>
                  <a:pt x="3582" y="1370"/>
                </a:lnTo>
                <a:lnTo>
                  <a:pt x="3583" y="1373"/>
                </a:lnTo>
                <a:lnTo>
                  <a:pt x="3583" y="1375"/>
                </a:lnTo>
                <a:lnTo>
                  <a:pt x="3569" y="1383"/>
                </a:lnTo>
                <a:lnTo>
                  <a:pt x="3563" y="1380"/>
                </a:lnTo>
                <a:lnTo>
                  <a:pt x="3557" y="1375"/>
                </a:lnTo>
                <a:lnTo>
                  <a:pt x="3551" y="1371"/>
                </a:lnTo>
                <a:lnTo>
                  <a:pt x="3548" y="1370"/>
                </a:lnTo>
                <a:lnTo>
                  <a:pt x="3546" y="1369"/>
                </a:lnTo>
                <a:lnTo>
                  <a:pt x="3543" y="1369"/>
                </a:lnTo>
                <a:lnTo>
                  <a:pt x="3541" y="1369"/>
                </a:lnTo>
                <a:lnTo>
                  <a:pt x="3539" y="1370"/>
                </a:lnTo>
                <a:lnTo>
                  <a:pt x="3537" y="1370"/>
                </a:lnTo>
                <a:lnTo>
                  <a:pt x="3533" y="1372"/>
                </a:lnTo>
                <a:lnTo>
                  <a:pt x="3531" y="1372"/>
                </a:lnTo>
                <a:lnTo>
                  <a:pt x="3529" y="1372"/>
                </a:lnTo>
                <a:lnTo>
                  <a:pt x="3529" y="1369"/>
                </a:lnTo>
                <a:lnTo>
                  <a:pt x="3518" y="1362"/>
                </a:lnTo>
                <a:lnTo>
                  <a:pt x="3507" y="1355"/>
                </a:lnTo>
                <a:lnTo>
                  <a:pt x="3504" y="1355"/>
                </a:lnTo>
                <a:lnTo>
                  <a:pt x="3502" y="1355"/>
                </a:lnTo>
                <a:lnTo>
                  <a:pt x="3497" y="1355"/>
                </a:lnTo>
                <a:lnTo>
                  <a:pt x="3491" y="1356"/>
                </a:lnTo>
                <a:lnTo>
                  <a:pt x="3489" y="1356"/>
                </a:lnTo>
                <a:lnTo>
                  <a:pt x="3487" y="1355"/>
                </a:lnTo>
                <a:lnTo>
                  <a:pt x="3484" y="1344"/>
                </a:lnTo>
                <a:lnTo>
                  <a:pt x="3468" y="1339"/>
                </a:lnTo>
                <a:lnTo>
                  <a:pt x="3456" y="1335"/>
                </a:lnTo>
                <a:lnTo>
                  <a:pt x="3454" y="1335"/>
                </a:lnTo>
                <a:lnTo>
                  <a:pt x="3452" y="1336"/>
                </a:lnTo>
                <a:lnTo>
                  <a:pt x="3447" y="1338"/>
                </a:lnTo>
                <a:lnTo>
                  <a:pt x="3443" y="1341"/>
                </a:lnTo>
                <a:lnTo>
                  <a:pt x="3439" y="1345"/>
                </a:lnTo>
                <a:lnTo>
                  <a:pt x="3431" y="1353"/>
                </a:lnTo>
                <a:lnTo>
                  <a:pt x="3425" y="1361"/>
                </a:lnTo>
                <a:lnTo>
                  <a:pt x="3427" y="1363"/>
                </a:lnTo>
                <a:lnTo>
                  <a:pt x="3430" y="1365"/>
                </a:lnTo>
                <a:lnTo>
                  <a:pt x="3432" y="1367"/>
                </a:lnTo>
                <a:lnTo>
                  <a:pt x="3434" y="1369"/>
                </a:lnTo>
                <a:lnTo>
                  <a:pt x="3434" y="1372"/>
                </a:lnTo>
                <a:lnTo>
                  <a:pt x="3433" y="1375"/>
                </a:lnTo>
                <a:lnTo>
                  <a:pt x="3433" y="1378"/>
                </a:lnTo>
                <a:lnTo>
                  <a:pt x="3433" y="1379"/>
                </a:lnTo>
                <a:lnTo>
                  <a:pt x="3434" y="1380"/>
                </a:lnTo>
                <a:lnTo>
                  <a:pt x="3429" y="1385"/>
                </a:lnTo>
                <a:lnTo>
                  <a:pt x="3424" y="1389"/>
                </a:lnTo>
                <a:lnTo>
                  <a:pt x="3414" y="1397"/>
                </a:lnTo>
                <a:lnTo>
                  <a:pt x="3412" y="1396"/>
                </a:lnTo>
                <a:lnTo>
                  <a:pt x="3409" y="1393"/>
                </a:lnTo>
                <a:lnTo>
                  <a:pt x="3407" y="1390"/>
                </a:lnTo>
                <a:lnTo>
                  <a:pt x="3405" y="1389"/>
                </a:lnTo>
                <a:lnTo>
                  <a:pt x="3399" y="1386"/>
                </a:lnTo>
                <a:lnTo>
                  <a:pt x="3393" y="1385"/>
                </a:lnTo>
                <a:lnTo>
                  <a:pt x="3381" y="1382"/>
                </a:lnTo>
                <a:lnTo>
                  <a:pt x="3374" y="1381"/>
                </a:lnTo>
                <a:lnTo>
                  <a:pt x="3369" y="1380"/>
                </a:lnTo>
                <a:lnTo>
                  <a:pt x="3363" y="1377"/>
                </a:lnTo>
                <a:lnTo>
                  <a:pt x="3358" y="1375"/>
                </a:lnTo>
                <a:lnTo>
                  <a:pt x="3354" y="1372"/>
                </a:lnTo>
                <a:lnTo>
                  <a:pt x="3351" y="1368"/>
                </a:lnTo>
                <a:lnTo>
                  <a:pt x="3345" y="1360"/>
                </a:lnTo>
                <a:lnTo>
                  <a:pt x="3342" y="1356"/>
                </a:lnTo>
                <a:lnTo>
                  <a:pt x="3339" y="1352"/>
                </a:lnTo>
                <a:lnTo>
                  <a:pt x="3336" y="1349"/>
                </a:lnTo>
                <a:lnTo>
                  <a:pt x="3332" y="1346"/>
                </a:lnTo>
                <a:lnTo>
                  <a:pt x="3328" y="1345"/>
                </a:lnTo>
                <a:lnTo>
                  <a:pt x="3323" y="1344"/>
                </a:lnTo>
                <a:lnTo>
                  <a:pt x="3314" y="1343"/>
                </a:lnTo>
                <a:lnTo>
                  <a:pt x="3303" y="1343"/>
                </a:lnTo>
                <a:lnTo>
                  <a:pt x="3297" y="1343"/>
                </a:lnTo>
                <a:lnTo>
                  <a:pt x="3290" y="1341"/>
                </a:lnTo>
                <a:lnTo>
                  <a:pt x="3290" y="1335"/>
                </a:lnTo>
                <a:lnTo>
                  <a:pt x="3287" y="1334"/>
                </a:lnTo>
                <a:lnTo>
                  <a:pt x="3283" y="1334"/>
                </a:lnTo>
                <a:lnTo>
                  <a:pt x="3279" y="1334"/>
                </a:lnTo>
                <a:lnTo>
                  <a:pt x="3278" y="1333"/>
                </a:lnTo>
                <a:lnTo>
                  <a:pt x="3276" y="1332"/>
                </a:lnTo>
                <a:lnTo>
                  <a:pt x="3275" y="1332"/>
                </a:lnTo>
                <a:lnTo>
                  <a:pt x="3275" y="1330"/>
                </a:lnTo>
                <a:lnTo>
                  <a:pt x="3275" y="1327"/>
                </a:lnTo>
                <a:lnTo>
                  <a:pt x="3274" y="1323"/>
                </a:lnTo>
                <a:lnTo>
                  <a:pt x="3273" y="1321"/>
                </a:lnTo>
                <a:lnTo>
                  <a:pt x="3272" y="1321"/>
                </a:lnTo>
                <a:lnTo>
                  <a:pt x="3270" y="1322"/>
                </a:lnTo>
                <a:lnTo>
                  <a:pt x="3268" y="1324"/>
                </a:lnTo>
                <a:lnTo>
                  <a:pt x="3264" y="1319"/>
                </a:lnTo>
                <a:lnTo>
                  <a:pt x="3261" y="1317"/>
                </a:lnTo>
                <a:lnTo>
                  <a:pt x="3259" y="1315"/>
                </a:lnTo>
                <a:lnTo>
                  <a:pt x="3259" y="1312"/>
                </a:lnTo>
                <a:lnTo>
                  <a:pt x="3258" y="1309"/>
                </a:lnTo>
                <a:lnTo>
                  <a:pt x="3257" y="1306"/>
                </a:lnTo>
                <a:lnTo>
                  <a:pt x="3256" y="1305"/>
                </a:lnTo>
                <a:lnTo>
                  <a:pt x="3256" y="1304"/>
                </a:lnTo>
                <a:lnTo>
                  <a:pt x="3257" y="1304"/>
                </a:lnTo>
                <a:lnTo>
                  <a:pt x="3258" y="1303"/>
                </a:lnTo>
                <a:lnTo>
                  <a:pt x="3260" y="1301"/>
                </a:lnTo>
                <a:lnTo>
                  <a:pt x="3263" y="1300"/>
                </a:lnTo>
                <a:lnTo>
                  <a:pt x="3265" y="1299"/>
                </a:lnTo>
                <a:lnTo>
                  <a:pt x="3266" y="1297"/>
                </a:lnTo>
                <a:lnTo>
                  <a:pt x="3266" y="1293"/>
                </a:lnTo>
                <a:lnTo>
                  <a:pt x="3268" y="1283"/>
                </a:lnTo>
                <a:lnTo>
                  <a:pt x="3270" y="1270"/>
                </a:lnTo>
                <a:lnTo>
                  <a:pt x="3269" y="1270"/>
                </a:lnTo>
                <a:lnTo>
                  <a:pt x="3266" y="1271"/>
                </a:lnTo>
                <a:lnTo>
                  <a:pt x="3264" y="1271"/>
                </a:lnTo>
                <a:lnTo>
                  <a:pt x="3262" y="1270"/>
                </a:lnTo>
                <a:lnTo>
                  <a:pt x="3261" y="1268"/>
                </a:lnTo>
                <a:lnTo>
                  <a:pt x="3262" y="1265"/>
                </a:lnTo>
                <a:lnTo>
                  <a:pt x="3262" y="1262"/>
                </a:lnTo>
                <a:lnTo>
                  <a:pt x="3262" y="1259"/>
                </a:lnTo>
                <a:lnTo>
                  <a:pt x="3269" y="1248"/>
                </a:lnTo>
                <a:lnTo>
                  <a:pt x="3276" y="1237"/>
                </a:lnTo>
                <a:lnTo>
                  <a:pt x="3270" y="1237"/>
                </a:lnTo>
                <a:lnTo>
                  <a:pt x="3267" y="1239"/>
                </a:lnTo>
                <a:lnTo>
                  <a:pt x="3263" y="1240"/>
                </a:lnTo>
                <a:lnTo>
                  <a:pt x="3261" y="1240"/>
                </a:lnTo>
                <a:lnTo>
                  <a:pt x="3259" y="1240"/>
                </a:lnTo>
                <a:lnTo>
                  <a:pt x="3259" y="1231"/>
                </a:lnTo>
                <a:lnTo>
                  <a:pt x="3251" y="1228"/>
                </a:lnTo>
                <a:lnTo>
                  <a:pt x="3249" y="1228"/>
                </a:lnTo>
                <a:lnTo>
                  <a:pt x="3246" y="1229"/>
                </a:lnTo>
                <a:lnTo>
                  <a:pt x="3241" y="1232"/>
                </a:lnTo>
                <a:lnTo>
                  <a:pt x="3235" y="1235"/>
                </a:lnTo>
                <a:lnTo>
                  <a:pt x="3231" y="1237"/>
                </a:lnTo>
                <a:lnTo>
                  <a:pt x="3228" y="1237"/>
                </a:lnTo>
                <a:lnTo>
                  <a:pt x="3226" y="1237"/>
                </a:lnTo>
                <a:lnTo>
                  <a:pt x="3221" y="1237"/>
                </a:lnTo>
                <a:lnTo>
                  <a:pt x="3217" y="1235"/>
                </a:lnTo>
                <a:lnTo>
                  <a:pt x="3213" y="1234"/>
                </a:lnTo>
                <a:lnTo>
                  <a:pt x="3208" y="1232"/>
                </a:lnTo>
                <a:lnTo>
                  <a:pt x="3203" y="1231"/>
                </a:lnTo>
                <a:lnTo>
                  <a:pt x="3200" y="1237"/>
                </a:lnTo>
                <a:lnTo>
                  <a:pt x="3199" y="1240"/>
                </a:lnTo>
                <a:lnTo>
                  <a:pt x="3197" y="1242"/>
                </a:lnTo>
                <a:lnTo>
                  <a:pt x="3195" y="1240"/>
                </a:lnTo>
                <a:lnTo>
                  <a:pt x="3193" y="1237"/>
                </a:lnTo>
                <a:lnTo>
                  <a:pt x="3189" y="1231"/>
                </a:lnTo>
                <a:lnTo>
                  <a:pt x="3184" y="1233"/>
                </a:lnTo>
                <a:lnTo>
                  <a:pt x="3179" y="1233"/>
                </a:lnTo>
                <a:lnTo>
                  <a:pt x="3171" y="1234"/>
                </a:lnTo>
                <a:lnTo>
                  <a:pt x="3152" y="1234"/>
                </a:lnTo>
                <a:lnTo>
                  <a:pt x="3149" y="1234"/>
                </a:lnTo>
                <a:lnTo>
                  <a:pt x="3146" y="1235"/>
                </a:lnTo>
                <a:lnTo>
                  <a:pt x="3137" y="1238"/>
                </a:lnTo>
                <a:lnTo>
                  <a:pt x="3129" y="1241"/>
                </a:lnTo>
                <a:lnTo>
                  <a:pt x="3124" y="1242"/>
                </a:lnTo>
                <a:lnTo>
                  <a:pt x="3119" y="1242"/>
                </a:lnTo>
                <a:lnTo>
                  <a:pt x="3113" y="1240"/>
                </a:lnTo>
                <a:lnTo>
                  <a:pt x="3110" y="1240"/>
                </a:lnTo>
                <a:lnTo>
                  <a:pt x="3106" y="1239"/>
                </a:lnTo>
                <a:lnTo>
                  <a:pt x="3102" y="1239"/>
                </a:lnTo>
                <a:lnTo>
                  <a:pt x="3099" y="1240"/>
                </a:lnTo>
                <a:lnTo>
                  <a:pt x="3095" y="1242"/>
                </a:lnTo>
                <a:lnTo>
                  <a:pt x="3091" y="1245"/>
                </a:lnTo>
                <a:lnTo>
                  <a:pt x="3088" y="1249"/>
                </a:lnTo>
                <a:lnTo>
                  <a:pt x="3085" y="1251"/>
                </a:lnTo>
                <a:lnTo>
                  <a:pt x="3082" y="1251"/>
                </a:lnTo>
                <a:lnTo>
                  <a:pt x="3079" y="1251"/>
                </a:lnTo>
                <a:lnTo>
                  <a:pt x="3076" y="1250"/>
                </a:lnTo>
                <a:lnTo>
                  <a:pt x="3075" y="1250"/>
                </a:lnTo>
                <a:lnTo>
                  <a:pt x="3074" y="1251"/>
                </a:lnTo>
                <a:lnTo>
                  <a:pt x="3072" y="1252"/>
                </a:lnTo>
                <a:lnTo>
                  <a:pt x="3071" y="1255"/>
                </a:lnTo>
                <a:lnTo>
                  <a:pt x="3069" y="1258"/>
                </a:lnTo>
                <a:lnTo>
                  <a:pt x="3068" y="1259"/>
                </a:lnTo>
                <a:lnTo>
                  <a:pt x="3065" y="1260"/>
                </a:lnTo>
                <a:lnTo>
                  <a:pt x="3063" y="1260"/>
                </a:lnTo>
                <a:lnTo>
                  <a:pt x="3058" y="1260"/>
                </a:lnTo>
                <a:lnTo>
                  <a:pt x="3053" y="1261"/>
                </a:lnTo>
                <a:lnTo>
                  <a:pt x="3051" y="1261"/>
                </a:lnTo>
                <a:lnTo>
                  <a:pt x="3048" y="1262"/>
                </a:lnTo>
                <a:lnTo>
                  <a:pt x="3046" y="1264"/>
                </a:lnTo>
                <a:lnTo>
                  <a:pt x="3044" y="1266"/>
                </a:lnTo>
                <a:lnTo>
                  <a:pt x="3040" y="1271"/>
                </a:lnTo>
                <a:lnTo>
                  <a:pt x="3035" y="1276"/>
                </a:lnTo>
                <a:lnTo>
                  <a:pt x="3032" y="1278"/>
                </a:lnTo>
                <a:lnTo>
                  <a:pt x="3029" y="1279"/>
                </a:lnTo>
                <a:lnTo>
                  <a:pt x="3026" y="1279"/>
                </a:lnTo>
                <a:lnTo>
                  <a:pt x="3024" y="1278"/>
                </a:lnTo>
                <a:lnTo>
                  <a:pt x="3022" y="1277"/>
                </a:lnTo>
                <a:lnTo>
                  <a:pt x="3020" y="1275"/>
                </a:lnTo>
                <a:lnTo>
                  <a:pt x="3018" y="1272"/>
                </a:lnTo>
                <a:lnTo>
                  <a:pt x="3017" y="1270"/>
                </a:lnTo>
                <a:lnTo>
                  <a:pt x="3016" y="1271"/>
                </a:lnTo>
                <a:lnTo>
                  <a:pt x="3015" y="1271"/>
                </a:lnTo>
                <a:lnTo>
                  <a:pt x="3014" y="1273"/>
                </a:lnTo>
                <a:lnTo>
                  <a:pt x="3013" y="1275"/>
                </a:lnTo>
                <a:lnTo>
                  <a:pt x="3012" y="1276"/>
                </a:lnTo>
                <a:lnTo>
                  <a:pt x="3004" y="1278"/>
                </a:lnTo>
                <a:lnTo>
                  <a:pt x="2996" y="1278"/>
                </a:lnTo>
                <a:lnTo>
                  <a:pt x="2988" y="1278"/>
                </a:lnTo>
                <a:lnTo>
                  <a:pt x="2981" y="1279"/>
                </a:lnTo>
                <a:lnTo>
                  <a:pt x="2969" y="1262"/>
                </a:lnTo>
                <a:lnTo>
                  <a:pt x="2958" y="1265"/>
                </a:lnTo>
                <a:lnTo>
                  <a:pt x="2956" y="1271"/>
                </a:lnTo>
                <a:lnTo>
                  <a:pt x="2954" y="1277"/>
                </a:lnTo>
                <a:lnTo>
                  <a:pt x="2951" y="1288"/>
                </a:lnTo>
                <a:lnTo>
                  <a:pt x="2950" y="1294"/>
                </a:lnTo>
                <a:lnTo>
                  <a:pt x="2948" y="1299"/>
                </a:lnTo>
                <a:lnTo>
                  <a:pt x="2945" y="1304"/>
                </a:lnTo>
                <a:lnTo>
                  <a:pt x="2941" y="1310"/>
                </a:lnTo>
                <a:lnTo>
                  <a:pt x="2938" y="1313"/>
                </a:lnTo>
                <a:lnTo>
                  <a:pt x="2932" y="1318"/>
                </a:lnTo>
                <a:lnTo>
                  <a:pt x="2926" y="1322"/>
                </a:lnTo>
                <a:lnTo>
                  <a:pt x="2922" y="1324"/>
                </a:lnTo>
                <a:lnTo>
                  <a:pt x="2919" y="1324"/>
                </a:lnTo>
                <a:lnTo>
                  <a:pt x="2916" y="1324"/>
                </a:lnTo>
                <a:lnTo>
                  <a:pt x="2913" y="1323"/>
                </a:lnTo>
                <a:lnTo>
                  <a:pt x="2910" y="1324"/>
                </a:lnTo>
                <a:lnTo>
                  <a:pt x="2909" y="1325"/>
                </a:lnTo>
                <a:lnTo>
                  <a:pt x="2906" y="1328"/>
                </a:lnTo>
                <a:lnTo>
                  <a:pt x="2901" y="1335"/>
                </a:lnTo>
                <a:lnTo>
                  <a:pt x="2896" y="1341"/>
                </a:lnTo>
                <a:lnTo>
                  <a:pt x="2894" y="1346"/>
                </a:lnTo>
                <a:lnTo>
                  <a:pt x="2893" y="1348"/>
                </a:lnTo>
                <a:lnTo>
                  <a:pt x="2895" y="1350"/>
                </a:lnTo>
                <a:lnTo>
                  <a:pt x="2896" y="1352"/>
                </a:lnTo>
                <a:lnTo>
                  <a:pt x="2896" y="1353"/>
                </a:lnTo>
                <a:lnTo>
                  <a:pt x="2896" y="1355"/>
                </a:lnTo>
                <a:lnTo>
                  <a:pt x="2896" y="1357"/>
                </a:lnTo>
                <a:lnTo>
                  <a:pt x="2894" y="1359"/>
                </a:lnTo>
                <a:lnTo>
                  <a:pt x="2891" y="1364"/>
                </a:lnTo>
                <a:lnTo>
                  <a:pt x="2887" y="1369"/>
                </a:lnTo>
                <a:lnTo>
                  <a:pt x="2886" y="1372"/>
                </a:lnTo>
                <a:lnTo>
                  <a:pt x="2885" y="1375"/>
                </a:lnTo>
                <a:lnTo>
                  <a:pt x="2885" y="1377"/>
                </a:lnTo>
                <a:lnTo>
                  <a:pt x="2886" y="1380"/>
                </a:lnTo>
                <a:lnTo>
                  <a:pt x="2887" y="1384"/>
                </a:lnTo>
                <a:lnTo>
                  <a:pt x="2889" y="1388"/>
                </a:lnTo>
                <a:lnTo>
                  <a:pt x="2891" y="1391"/>
                </a:lnTo>
                <a:lnTo>
                  <a:pt x="2891" y="1398"/>
                </a:lnTo>
                <a:lnTo>
                  <a:pt x="2891" y="1405"/>
                </a:lnTo>
                <a:lnTo>
                  <a:pt x="2890" y="1412"/>
                </a:lnTo>
                <a:lnTo>
                  <a:pt x="2888" y="1418"/>
                </a:lnTo>
                <a:lnTo>
                  <a:pt x="2885" y="1423"/>
                </a:lnTo>
                <a:lnTo>
                  <a:pt x="2883" y="1428"/>
                </a:lnTo>
                <a:lnTo>
                  <a:pt x="2877" y="1436"/>
                </a:lnTo>
                <a:lnTo>
                  <a:pt x="2873" y="1440"/>
                </a:lnTo>
                <a:lnTo>
                  <a:pt x="2870" y="1443"/>
                </a:lnTo>
                <a:lnTo>
                  <a:pt x="2862" y="1448"/>
                </a:lnTo>
                <a:lnTo>
                  <a:pt x="2853" y="1453"/>
                </a:lnTo>
                <a:lnTo>
                  <a:pt x="2849" y="1456"/>
                </a:lnTo>
                <a:lnTo>
                  <a:pt x="2846" y="1459"/>
                </a:lnTo>
                <a:lnTo>
                  <a:pt x="2845" y="1460"/>
                </a:lnTo>
                <a:lnTo>
                  <a:pt x="2844" y="1461"/>
                </a:lnTo>
                <a:lnTo>
                  <a:pt x="2844" y="1462"/>
                </a:lnTo>
                <a:lnTo>
                  <a:pt x="2843" y="1463"/>
                </a:lnTo>
                <a:lnTo>
                  <a:pt x="2840" y="1470"/>
                </a:lnTo>
                <a:lnTo>
                  <a:pt x="2836" y="1471"/>
                </a:lnTo>
                <a:lnTo>
                  <a:pt x="2832" y="1471"/>
                </a:lnTo>
                <a:lnTo>
                  <a:pt x="2829" y="1471"/>
                </a:lnTo>
                <a:lnTo>
                  <a:pt x="2828" y="1472"/>
                </a:lnTo>
                <a:lnTo>
                  <a:pt x="2826" y="1473"/>
                </a:lnTo>
                <a:lnTo>
                  <a:pt x="2825" y="1475"/>
                </a:lnTo>
                <a:lnTo>
                  <a:pt x="2824" y="1477"/>
                </a:lnTo>
                <a:lnTo>
                  <a:pt x="2823" y="1481"/>
                </a:lnTo>
                <a:lnTo>
                  <a:pt x="2822" y="1486"/>
                </a:lnTo>
                <a:lnTo>
                  <a:pt x="2821" y="1488"/>
                </a:lnTo>
                <a:lnTo>
                  <a:pt x="2820" y="1490"/>
                </a:lnTo>
                <a:lnTo>
                  <a:pt x="2817" y="1493"/>
                </a:lnTo>
                <a:lnTo>
                  <a:pt x="2813" y="1495"/>
                </a:lnTo>
                <a:lnTo>
                  <a:pt x="2809" y="1498"/>
                </a:lnTo>
                <a:lnTo>
                  <a:pt x="2807" y="1500"/>
                </a:lnTo>
                <a:lnTo>
                  <a:pt x="2806" y="1501"/>
                </a:lnTo>
                <a:lnTo>
                  <a:pt x="2804" y="1506"/>
                </a:lnTo>
                <a:lnTo>
                  <a:pt x="2802" y="1511"/>
                </a:lnTo>
                <a:lnTo>
                  <a:pt x="2799" y="1522"/>
                </a:lnTo>
                <a:lnTo>
                  <a:pt x="2796" y="1533"/>
                </a:lnTo>
                <a:lnTo>
                  <a:pt x="2795" y="1538"/>
                </a:lnTo>
                <a:lnTo>
                  <a:pt x="2792" y="1543"/>
                </a:lnTo>
                <a:lnTo>
                  <a:pt x="2789" y="1547"/>
                </a:lnTo>
                <a:lnTo>
                  <a:pt x="2785" y="1550"/>
                </a:lnTo>
                <a:lnTo>
                  <a:pt x="2781" y="1554"/>
                </a:lnTo>
                <a:lnTo>
                  <a:pt x="2780" y="1555"/>
                </a:lnTo>
                <a:lnTo>
                  <a:pt x="2778" y="1557"/>
                </a:lnTo>
                <a:lnTo>
                  <a:pt x="2776" y="1562"/>
                </a:lnTo>
                <a:lnTo>
                  <a:pt x="2775" y="1566"/>
                </a:lnTo>
                <a:lnTo>
                  <a:pt x="2773" y="1575"/>
                </a:lnTo>
                <a:lnTo>
                  <a:pt x="2771" y="1583"/>
                </a:lnTo>
                <a:lnTo>
                  <a:pt x="2769" y="1587"/>
                </a:lnTo>
                <a:lnTo>
                  <a:pt x="2767" y="1591"/>
                </a:lnTo>
                <a:lnTo>
                  <a:pt x="2765" y="1593"/>
                </a:lnTo>
                <a:lnTo>
                  <a:pt x="2763" y="1594"/>
                </a:lnTo>
                <a:lnTo>
                  <a:pt x="2760" y="1595"/>
                </a:lnTo>
                <a:lnTo>
                  <a:pt x="2759" y="1597"/>
                </a:lnTo>
                <a:lnTo>
                  <a:pt x="2757" y="1603"/>
                </a:lnTo>
                <a:lnTo>
                  <a:pt x="2756" y="1608"/>
                </a:lnTo>
                <a:lnTo>
                  <a:pt x="2756" y="1612"/>
                </a:lnTo>
                <a:lnTo>
                  <a:pt x="2756" y="1613"/>
                </a:lnTo>
                <a:lnTo>
                  <a:pt x="2756" y="1615"/>
                </a:lnTo>
                <a:lnTo>
                  <a:pt x="2757" y="1618"/>
                </a:lnTo>
                <a:lnTo>
                  <a:pt x="2759" y="1620"/>
                </a:lnTo>
                <a:lnTo>
                  <a:pt x="2762" y="1623"/>
                </a:lnTo>
                <a:lnTo>
                  <a:pt x="2765" y="1627"/>
                </a:lnTo>
                <a:lnTo>
                  <a:pt x="2766" y="1629"/>
                </a:lnTo>
                <a:lnTo>
                  <a:pt x="2767" y="1631"/>
                </a:lnTo>
                <a:lnTo>
                  <a:pt x="2767" y="1636"/>
                </a:lnTo>
                <a:lnTo>
                  <a:pt x="2766" y="1645"/>
                </a:lnTo>
                <a:lnTo>
                  <a:pt x="2765" y="1653"/>
                </a:lnTo>
                <a:lnTo>
                  <a:pt x="2764" y="1656"/>
                </a:lnTo>
                <a:lnTo>
                  <a:pt x="2766" y="1664"/>
                </a:lnTo>
                <a:lnTo>
                  <a:pt x="2768" y="1671"/>
                </a:lnTo>
                <a:lnTo>
                  <a:pt x="2770" y="1686"/>
                </a:lnTo>
                <a:lnTo>
                  <a:pt x="2771" y="1694"/>
                </a:lnTo>
                <a:lnTo>
                  <a:pt x="2771" y="1701"/>
                </a:lnTo>
                <a:lnTo>
                  <a:pt x="2770" y="1709"/>
                </a:lnTo>
                <a:lnTo>
                  <a:pt x="2769" y="1718"/>
                </a:lnTo>
                <a:lnTo>
                  <a:pt x="2767" y="1726"/>
                </a:lnTo>
                <a:lnTo>
                  <a:pt x="2761" y="1726"/>
                </a:lnTo>
                <a:lnTo>
                  <a:pt x="2761" y="1734"/>
                </a:lnTo>
                <a:lnTo>
                  <a:pt x="2761" y="1742"/>
                </a:lnTo>
                <a:lnTo>
                  <a:pt x="2760" y="1748"/>
                </a:lnTo>
                <a:lnTo>
                  <a:pt x="2760" y="1751"/>
                </a:lnTo>
                <a:lnTo>
                  <a:pt x="2759" y="1754"/>
                </a:lnTo>
                <a:lnTo>
                  <a:pt x="2756" y="1757"/>
                </a:lnTo>
                <a:lnTo>
                  <a:pt x="2753" y="1760"/>
                </a:lnTo>
                <a:lnTo>
                  <a:pt x="2749" y="1763"/>
                </a:lnTo>
                <a:lnTo>
                  <a:pt x="2748" y="1765"/>
                </a:lnTo>
                <a:lnTo>
                  <a:pt x="2747" y="1766"/>
                </a:lnTo>
                <a:lnTo>
                  <a:pt x="2747" y="1768"/>
                </a:lnTo>
                <a:lnTo>
                  <a:pt x="2748" y="1770"/>
                </a:lnTo>
                <a:lnTo>
                  <a:pt x="2750" y="1776"/>
                </a:lnTo>
                <a:lnTo>
                  <a:pt x="2757" y="1788"/>
                </a:lnTo>
                <a:lnTo>
                  <a:pt x="2760" y="1795"/>
                </a:lnTo>
                <a:lnTo>
                  <a:pt x="2761" y="1800"/>
                </a:lnTo>
                <a:lnTo>
                  <a:pt x="2760" y="1801"/>
                </a:lnTo>
                <a:lnTo>
                  <a:pt x="2759" y="1802"/>
                </a:lnTo>
                <a:lnTo>
                  <a:pt x="2758" y="1803"/>
                </a:lnTo>
                <a:lnTo>
                  <a:pt x="2758" y="1804"/>
                </a:lnTo>
                <a:lnTo>
                  <a:pt x="2758" y="1807"/>
                </a:lnTo>
                <a:lnTo>
                  <a:pt x="2759" y="1810"/>
                </a:lnTo>
                <a:lnTo>
                  <a:pt x="2762" y="1816"/>
                </a:lnTo>
                <a:lnTo>
                  <a:pt x="2764" y="1819"/>
                </a:lnTo>
                <a:lnTo>
                  <a:pt x="2764" y="1825"/>
                </a:lnTo>
                <a:lnTo>
                  <a:pt x="2765" y="1826"/>
                </a:lnTo>
                <a:lnTo>
                  <a:pt x="2767" y="1827"/>
                </a:lnTo>
                <a:lnTo>
                  <a:pt x="2771" y="1828"/>
                </a:lnTo>
                <a:lnTo>
                  <a:pt x="2775" y="1829"/>
                </a:lnTo>
                <a:lnTo>
                  <a:pt x="2778" y="1830"/>
                </a:lnTo>
                <a:lnTo>
                  <a:pt x="2779" y="1832"/>
                </a:lnTo>
                <a:lnTo>
                  <a:pt x="2779" y="1833"/>
                </a:lnTo>
                <a:lnTo>
                  <a:pt x="2780" y="1837"/>
                </a:lnTo>
                <a:lnTo>
                  <a:pt x="2780" y="1841"/>
                </a:lnTo>
                <a:lnTo>
                  <a:pt x="2781" y="1844"/>
                </a:lnTo>
                <a:lnTo>
                  <a:pt x="2787" y="1844"/>
                </a:lnTo>
                <a:lnTo>
                  <a:pt x="2789" y="1845"/>
                </a:lnTo>
                <a:lnTo>
                  <a:pt x="2790" y="1845"/>
                </a:lnTo>
                <a:lnTo>
                  <a:pt x="2790" y="1844"/>
                </a:lnTo>
                <a:lnTo>
                  <a:pt x="2791" y="1847"/>
                </a:lnTo>
                <a:lnTo>
                  <a:pt x="2792" y="1848"/>
                </a:lnTo>
                <a:lnTo>
                  <a:pt x="2793" y="1851"/>
                </a:lnTo>
                <a:lnTo>
                  <a:pt x="2796" y="1858"/>
                </a:lnTo>
                <a:lnTo>
                  <a:pt x="2801" y="1870"/>
                </a:lnTo>
                <a:lnTo>
                  <a:pt x="2809" y="1870"/>
                </a:lnTo>
                <a:lnTo>
                  <a:pt x="2809" y="1872"/>
                </a:lnTo>
                <a:lnTo>
                  <a:pt x="2807" y="1875"/>
                </a:lnTo>
                <a:lnTo>
                  <a:pt x="2806" y="1879"/>
                </a:lnTo>
                <a:lnTo>
                  <a:pt x="2806" y="1884"/>
                </a:lnTo>
                <a:lnTo>
                  <a:pt x="2807" y="1885"/>
                </a:lnTo>
                <a:lnTo>
                  <a:pt x="2808" y="1887"/>
                </a:lnTo>
                <a:lnTo>
                  <a:pt x="2812" y="1890"/>
                </a:lnTo>
                <a:lnTo>
                  <a:pt x="2818" y="1892"/>
                </a:lnTo>
                <a:lnTo>
                  <a:pt x="2819" y="1897"/>
                </a:lnTo>
                <a:lnTo>
                  <a:pt x="2820" y="1902"/>
                </a:lnTo>
                <a:lnTo>
                  <a:pt x="2821" y="1912"/>
                </a:lnTo>
                <a:lnTo>
                  <a:pt x="2822" y="1916"/>
                </a:lnTo>
                <a:lnTo>
                  <a:pt x="2823" y="1920"/>
                </a:lnTo>
                <a:lnTo>
                  <a:pt x="2824" y="1922"/>
                </a:lnTo>
                <a:lnTo>
                  <a:pt x="2825" y="1924"/>
                </a:lnTo>
                <a:lnTo>
                  <a:pt x="2829" y="1926"/>
                </a:lnTo>
                <a:lnTo>
                  <a:pt x="2830" y="1927"/>
                </a:lnTo>
                <a:lnTo>
                  <a:pt x="2828" y="1928"/>
                </a:lnTo>
                <a:lnTo>
                  <a:pt x="2826" y="1929"/>
                </a:lnTo>
                <a:lnTo>
                  <a:pt x="2826" y="1930"/>
                </a:lnTo>
                <a:lnTo>
                  <a:pt x="2826" y="1932"/>
                </a:lnTo>
                <a:lnTo>
                  <a:pt x="2827" y="1933"/>
                </a:lnTo>
                <a:lnTo>
                  <a:pt x="2828" y="1933"/>
                </a:lnTo>
                <a:lnTo>
                  <a:pt x="2828" y="1932"/>
                </a:lnTo>
                <a:lnTo>
                  <a:pt x="2829" y="1930"/>
                </a:lnTo>
                <a:lnTo>
                  <a:pt x="2829" y="1929"/>
                </a:lnTo>
                <a:lnTo>
                  <a:pt x="2835" y="1938"/>
                </a:lnTo>
                <a:lnTo>
                  <a:pt x="2839" y="1943"/>
                </a:lnTo>
                <a:lnTo>
                  <a:pt x="2841" y="1945"/>
                </a:lnTo>
                <a:lnTo>
                  <a:pt x="2843" y="1946"/>
                </a:lnTo>
                <a:lnTo>
                  <a:pt x="2845" y="1946"/>
                </a:lnTo>
                <a:lnTo>
                  <a:pt x="2847" y="1945"/>
                </a:lnTo>
                <a:lnTo>
                  <a:pt x="2850" y="1945"/>
                </a:lnTo>
                <a:lnTo>
                  <a:pt x="2851" y="1946"/>
                </a:lnTo>
                <a:lnTo>
                  <a:pt x="2853" y="1948"/>
                </a:lnTo>
                <a:lnTo>
                  <a:pt x="2854" y="1951"/>
                </a:lnTo>
                <a:lnTo>
                  <a:pt x="2855" y="1954"/>
                </a:lnTo>
                <a:lnTo>
                  <a:pt x="2857" y="1957"/>
                </a:lnTo>
                <a:lnTo>
                  <a:pt x="2859" y="1959"/>
                </a:lnTo>
                <a:lnTo>
                  <a:pt x="2862" y="1961"/>
                </a:lnTo>
                <a:lnTo>
                  <a:pt x="2865" y="1963"/>
                </a:lnTo>
                <a:lnTo>
                  <a:pt x="2868" y="1964"/>
                </a:lnTo>
                <a:lnTo>
                  <a:pt x="2874" y="1967"/>
                </a:lnTo>
                <a:lnTo>
                  <a:pt x="2877" y="1969"/>
                </a:lnTo>
                <a:lnTo>
                  <a:pt x="2879" y="1971"/>
                </a:lnTo>
                <a:lnTo>
                  <a:pt x="2884" y="1975"/>
                </a:lnTo>
                <a:lnTo>
                  <a:pt x="2889" y="1981"/>
                </a:lnTo>
                <a:lnTo>
                  <a:pt x="2894" y="1987"/>
                </a:lnTo>
                <a:lnTo>
                  <a:pt x="2899" y="1993"/>
                </a:lnTo>
                <a:lnTo>
                  <a:pt x="2902" y="1996"/>
                </a:lnTo>
                <a:lnTo>
                  <a:pt x="2905" y="1999"/>
                </a:lnTo>
                <a:lnTo>
                  <a:pt x="2909" y="2001"/>
                </a:lnTo>
                <a:lnTo>
                  <a:pt x="2913" y="2003"/>
                </a:lnTo>
                <a:lnTo>
                  <a:pt x="2916" y="2004"/>
                </a:lnTo>
                <a:lnTo>
                  <a:pt x="2921" y="2005"/>
                </a:lnTo>
                <a:lnTo>
                  <a:pt x="2925" y="2005"/>
                </a:lnTo>
                <a:lnTo>
                  <a:pt x="2930" y="2005"/>
                </a:lnTo>
                <a:lnTo>
                  <a:pt x="2932" y="2004"/>
                </a:lnTo>
                <a:lnTo>
                  <a:pt x="2933" y="2004"/>
                </a:lnTo>
                <a:lnTo>
                  <a:pt x="2937" y="2001"/>
                </a:lnTo>
                <a:lnTo>
                  <a:pt x="2944" y="1995"/>
                </a:lnTo>
                <a:lnTo>
                  <a:pt x="2950" y="1989"/>
                </a:lnTo>
                <a:lnTo>
                  <a:pt x="2953" y="1986"/>
                </a:lnTo>
                <a:lnTo>
                  <a:pt x="2955" y="1985"/>
                </a:lnTo>
                <a:lnTo>
                  <a:pt x="2962" y="1984"/>
                </a:lnTo>
                <a:lnTo>
                  <a:pt x="2968" y="1983"/>
                </a:lnTo>
                <a:lnTo>
                  <a:pt x="2974" y="1984"/>
                </a:lnTo>
                <a:lnTo>
                  <a:pt x="2979" y="1986"/>
                </a:lnTo>
                <a:lnTo>
                  <a:pt x="2983" y="1987"/>
                </a:lnTo>
                <a:lnTo>
                  <a:pt x="2988" y="1989"/>
                </a:lnTo>
                <a:lnTo>
                  <a:pt x="2993" y="1991"/>
                </a:lnTo>
                <a:lnTo>
                  <a:pt x="2997" y="1993"/>
                </a:lnTo>
                <a:lnTo>
                  <a:pt x="3003" y="1994"/>
                </a:lnTo>
                <a:lnTo>
                  <a:pt x="3006" y="1994"/>
                </a:lnTo>
                <a:lnTo>
                  <a:pt x="3009" y="1994"/>
                </a:lnTo>
                <a:lnTo>
                  <a:pt x="3011" y="1992"/>
                </a:lnTo>
                <a:lnTo>
                  <a:pt x="3016" y="1989"/>
                </a:lnTo>
                <a:lnTo>
                  <a:pt x="3020" y="1987"/>
                </a:lnTo>
                <a:lnTo>
                  <a:pt x="3023" y="1985"/>
                </a:lnTo>
                <a:lnTo>
                  <a:pt x="3026" y="1985"/>
                </a:lnTo>
                <a:lnTo>
                  <a:pt x="3029" y="1985"/>
                </a:lnTo>
                <a:lnTo>
                  <a:pt x="3032" y="1985"/>
                </a:lnTo>
                <a:lnTo>
                  <a:pt x="3033" y="1985"/>
                </a:lnTo>
                <a:lnTo>
                  <a:pt x="3034" y="1985"/>
                </a:lnTo>
                <a:lnTo>
                  <a:pt x="3038" y="1981"/>
                </a:lnTo>
                <a:lnTo>
                  <a:pt x="3041" y="1978"/>
                </a:lnTo>
                <a:lnTo>
                  <a:pt x="3043" y="1977"/>
                </a:lnTo>
                <a:lnTo>
                  <a:pt x="3047" y="1976"/>
                </a:lnTo>
                <a:lnTo>
                  <a:pt x="3052" y="1975"/>
                </a:lnTo>
                <a:lnTo>
                  <a:pt x="3060" y="1976"/>
                </a:lnTo>
                <a:lnTo>
                  <a:pt x="3068" y="1976"/>
                </a:lnTo>
                <a:lnTo>
                  <a:pt x="3072" y="1975"/>
                </a:lnTo>
                <a:lnTo>
                  <a:pt x="3076" y="1974"/>
                </a:lnTo>
                <a:lnTo>
                  <a:pt x="3077" y="1972"/>
                </a:lnTo>
                <a:lnTo>
                  <a:pt x="3079" y="1968"/>
                </a:lnTo>
                <a:lnTo>
                  <a:pt x="3080" y="1966"/>
                </a:lnTo>
                <a:lnTo>
                  <a:pt x="3081" y="1964"/>
                </a:lnTo>
                <a:lnTo>
                  <a:pt x="3083" y="1963"/>
                </a:lnTo>
                <a:lnTo>
                  <a:pt x="3084" y="1963"/>
                </a:lnTo>
                <a:lnTo>
                  <a:pt x="3085" y="1963"/>
                </a:lnTo>
                <a:lnTo>
                  <a:pt x="3086" y="1963"/>
                </a:lnTo>
                <a:lnTo>
                  <a:pt x="3087" y="1963"/>
                </a:lnTo>
                <a:lnTo>
                  <a:pt x="3087" y="1964"/>
                </a:lnTo>
                <a:lnTo>
                  <a:pt x="3087" y="1965"/>
                </a:lnTo>
                <a:lnTo>
                  <a:pt x="3087" y="1967"/>
                </a:lnTo>
                <a:lnTo>
                  <a:pt x="3086" y="1969"/>
                </a:lnTo>
                <a:lnTo>
                  <a:pt x="3086" y="1971"/>
                </a:lnTo>
                <a:lnTo>
                  <a:pt x="3086" y="1972"/>
                </a:lnTo>
                <a:lnTo>
                  <a:pt x="3087" y="1972"/>
                </a:lnTo>
                <a:lnTo>
                  <a:pt x="3090" y="1971"/>
                </a:lnTo>
                <a:lnTo>
                  <a:pt x="3092" y="1970"/>
                </a:lnTo>
                <a:lnTo>
                  <a:pt x="3093" y="1968"/>
                </a:lnTo>
                <a:lnTo>
                  <a:pt x="3096" y="1964"/>
                </a:lnTo>
                <a:lnTo>
                  <a:pt x="3099" y="1960"/>
                </a:lnTo>
                <a:lnTo>
                  <a:pt x="3100" y="1958"/>
                </a:lnTo>
                <a:lnTo>
                  <a:pt x="3102" y="1957"/>
                </a:lnTo>
                <a:lnTo>
                  <a:pt x="3104" y="1956"/>
                </a:lnTo>
                <a:lnTo>
                  <a:pt x="3108" y="1955"/>
                </a:lnTo>
                <a:lnTo>
                  <a:pt x="3116" y="1953"/>
                </a:lnTo>
                <a:lnTo>
                  <a:pt x="3124" y="1952"/>
                </a:lnTo>
                <a:lnTo>
                  <a:pt x="3131" y="1952"/>
                </a:lnTo>
                <a:lnTo>
                  <a:pt x="3138" y="1953"/>
                </a:lnTo>
                <a:lnTo>
                  <a:pt x="3141" y="1953"/>
                </a:lnTo>
                <a:lnTo>
                  <a:pt x="3144" y="1954"/>
                </a:lnTo>
                <a:lnTo>
                  <a:pt x="3149" y="1957"/>
                </a:lnTo>
                <a:lnTo>
                  <a:pt x="3156" y="1963"/>
                </a:lnTo>
                <a:lnTo>
                  <a:pt x="3163" y="1969"/>
                </a:lnTo>
                <a:lnTo>
                  <a:pt x="3165" y="1972"/>
                </a:lnTo>
                <a:lnTo>
                  <a:pt x="3166" y="1974"/>
                </a:lnTo>
                <a:lnTo>
                  <a:pt x="3167" y="1977"/>
                </a:lnTo>
                <a:lnTo>
                  <a:pt x="3167" y="1979"/>
                </a:lnTo>
                <a:lnTo>
                  <a:pt x="3166" y="1981"/>
                </a:lnTo>
                <a:lnTo>
                  <a:pt x="3165" y="1982"/>
                </a:lnTo>
                <a:lnTo>
                  <a:pt x="3164" y="1984"/>
                </a:lnTo>
                <a:lnTo>
                  <a:pt x="3163" y="1986"/>
                </a:lnTo>
                <a:lnTo>
                  <a:pt x="3163" y="1988"/>
                </a:lnTo>
                <a:lnTo>
                  <a:pt x="3164" y="1991"/>
                </a:lnTo>
                <a:lnTo>
                  <a:pt x="3165" y="1994"/>
                </a:lnTo>
                <a:lnTo>
                  <a:pt x="3169" y="1998"/>
                </a:lnTo>
                <a:lnTo>
                  <a:pt x="3172" y="2002"/>
                </a:lnTo>
                <a:lnTo>
                  <a:pt x="3175" y="2005"/>
                </a:lnTo>
                <a:lnTo>
                  <a:pt x="3189" y="2002"/>
                </a:lnTo>
                <a:lnTo>
                  <a:pt x="3203" y="1999"/>
                </a:lnTo>
                <a:lnTo>
                  <a:pt x="3203" y="1994"/>
                </a:lnTo>
                <a:lnTo>
                  <a:pt x="3206" y="1993"/>
                </a:lnTo>
                <a:lnTo>
                  <a:pt x="3208" y="1994"/>
                </a:lnTo>
                <a:lnTo>
                  <a:pt x="3209" y="1994"/>
                </a:lnTo>
                <a:lnTo>
                  <a:pt x="3210" y="1996"/>
                </a:lnTo>
                <a:lnTo>
                  <a:pt x="3211" y="1998"/>
                </a:lnTo>
                <a:lnTo>
                  <a:pt x="3211" y="1999"/>
                </a:lnTo>
                <a:lnTo>
                  <a:pt x="3213" y="1998"/>
                </a:lnTo>
                <a:lnTo>
                  <a:pt x="3215" y="1997"/>
                </a:lnTo>
                <a:lnTo>
                  <a:pt x="3217" y="1994"/>
                </a:lnTo>
                <a:lnTo>
                  <a:pt x="3218" y="1995"/>
                </a:lnTo>
                <a:lnTo>
                  <a:pt x="3219" y="1997"/>
                </a:lnTo>
                <a:lnTo>
                  <a:pt x="3219" y="1998"/>
                </a:lnTo>
                <a:lnTo>
                  <a:pt x="3220" y="1999"/>
                </a:lnTo>
                <a:lnTo>
                  <a:pt x="3221" y="1999"/>
                </a:lnTo>
                <a:lnTo>
                  <a:pt x="3223" y="1999"/>
                </a:lnTo>
                <a:lnTo>
                  <a:pt x="3223" y="1998"/>
                </a:lnTo>
                <a:lnTo>
                  <a:pt x="3223" y="1995"/>
                </a:lnTo>
                <a:lnTo>
                  <a:pt x="3224" y="1993"/>
                </a:lnTo>
                <a:lnTo>
                  <a:pt x="3225" y="1993"/>
                </a:lnTo>
                <a:lnTo>
                  <a:pt x="3226" y="1993"/>
                </a:lnTo>
                <a:lnTo>
                  <a:pt x="3228" y="1994"/>
                </a:lnTo>
                <a:lnTo>
                  <a:pt x="3225" y="2005"/>
                </a:lnTo>
                <a:lnTo>
                  <a:pt x="3228" y="2006"/>
                </a:lnTo>
                <a:lnTo>
                  <a:pt x="3231" y="2006"/>
                </a:lnTo>
                <a:lnTo>
                  <a:pt x="3234" y="2006"/>
                </a:lnTo>
                <a:lnTo>
                  <a:pt x="3237" y="2008"/>
                </a:lnTo>
                <a:lnTo>
                  <a:pt x="3237" y="2010"/>
                </a:lnTo>
                <a:lnTo>
                  <a:pt x="3237" y="2012"/>
                </a:lnTo>
                <a:lnTo>
                  <a:pt x="3238" y="2014"/>
                </a:lnTo>
                <a:lnTo>
                  <a:pt x="3241" y="2018"/>
                </a:lnTo>
                <a:lnTo>
                  <a:pt x="3243" y="2021"/>
                </a:lnTo>
                <a:lnTo>
                  <a:pt x="3245" y="2024"/>
                </a:lnTo>
                <a:lnTo>
                  <a:pt x="3245" y="2029"/>
                </a:lnTo>
                <a:lnTo>
                  <a:pt x="3245" y="2034"/>
                </a:lnTo>
                <a:lnTo>
                  <a:pt x="3244" y="2039"/>
                </a:lnTo>
                <a:lnTo>
                  <a:pt x="3244" y="2040"/>
                </a:lnTo>
                <a:lnTo>
                  <a:pt x="3243" y="2050"/>
                </a:lnTo>
                <a:lnTo>
                  <a:pt x="3242" y="2055"/>
                </a:lnTo>
                <a:lnTo>
                  <a:pt x="3242" y="2059"/>
                </a:lnTo>
                <a:lnTo>
                  <a:pt x="3241" y="2061"/>
                </a:lnTo>
                <a:lnTo>
                  <a:pt x="3239" y="2064"/>
                </a:lnTo>
                <a:lnTo>
                  <a:pt x="3236" y="2068"/>
                </a:lnTo>
                <a:lnTo>
                  <a:pt x="3234" y="2072"/>
                </a:lnTo>
                <a:lnTo>
                  <a:pt x="3235" y="2075"/>
                </a:lnTo>
                <a:lnTo>
                  <a:pt x="3238" y="2080"/>
                </a:lnTo>
                <a:lnTo>
                  <a:pt x="3240" y="2085"/>
                </a:lnTo>
                <a:lnTo>
                  <a:pt x="3241" y="2088"/>
                </a:lnTo>
                <a:lnTo>
                  <a:pt x="3239" y="2089"/>
                </a:lnTo>
                <a:lnTo>
                  <a:pt x="3238" y="2090"/>
                </a:lnTo>
                <a:lnTo>
                  <a:pt x="3237" y="2091"/>
                </a:lnTo>
                <a:lnTo>
                  <a:pt x="3235" y="2095"/>
                </a:lnTo>
                <a:lnTo>
                  <a:pt x="3232" y="2106"/>
                </a:lnTo>
                <a:lnTo>
                  <a:pt x="3229" y="2118"/>
                </a:lnTo>
                <a:lnTo>
                  <a:pt x="3225" y="2129"/>
                </a:lnTo>
                <a:lnTo>
                  <a:pt x="3230" y="2131"/>
                </a:lnTo>
                <a:lnTo>
                  <a:pt x="3232" y="2133"/>
                </a:lnTo>
                <a:lnTo>
                  <a:pt x="3235" y="2136"/>
                </a:lnTo>
                <a:lnTo>
                  <a:pt x="3236" y="2138"/>
                </a:lnTo>
                <a:lnTo>
                  <a:pt x="3236" y="2140"/>
                </a:lnTo>
                <a:lnTo>
                  <a:pt x="3236" y="2141"/>
                </a:lnTo>
                <a:lnTo>
                  <a:pt x="3235" y="2143"/>
                </a:lnTo>
                <a:lnTo>
                  <a:pt x="3231" y="2145"/>
                </a:lnTo>
                <a:lnTo>
                  <a:pt x="3238" y="2151"/>
                </a:lnTo>
                <a:lnTo>
                  <a:pt x="3248" y="2158"/>
                </a:lnTo>
                <a:lnTo>
                  <a:pt x="3256" y="2165"/>
                </a:lnTo>
                <a:lnTo>
                  <a:pt x="3260" y="2168"/>
                </a:lnTo>
                <a:lnTo>
                  <a:pt x="3262" y="2171"/>
                </a:lnTo>
                <a:lnTo>
                  <a:pt x="3259" y="2179"/>
                </a:lnTo>
                <a:lnTo>
                  <a:pt x="3263" y="2182"/>
                </a:lnTo>
                <a:lnTo>
                  <a:pt x="3268" y="2186"/>
                </a:lnTo>
                <a:lnTo>
                  <a:pt x="3273" y="2190"/>
                </a:lnTo>
                <a:lnTo>
                  <a:pt x="3275" y="2191"/>
                </a:lnTo>
                <a:lnTo>
                  <a:pt x="3276" y="2193"/>
                </a:lnTo>
                <a:lnTo>
                  <a:pt x="3277" y="2196"/>
                </a:lnTo>
                <a:lnTo>
                  <a:pt x="3277" y="2198"/>
                </a:lnTo>
                <a:lnTo>
                  <a:pt x="3278" y="2199"/>
                </a:lnTo>
                <a:lnTo>
                  <a:pt x="3279" y="2200"/>
                </a:lnTo>
                <a:lnTo>
                  <a:pt x="3284" y="2210"/>
                </a:lnTo>
                <a:lnTo>
                  <a:pt x="3285" y="2212"/>
                </a:lnTo>
                <a:lnTo>
                  <a:pt x="3285" y="2213"/>
                </a:lnTo>
                <a:lnTo>
                  <a:pt x="3284" y="2215"/>
                </a:lnTo>
                <a:lnTo>
                  <a:pt x="3283" y="2216"/>
                </a:lnTo>
                <a:lnTo>
                  <a:pt x="3282" y="2217"/>
                </a:lnTo>
                <a:lnTo>
                  <a:pt x="3281" y="2218"/>
                </a:lnTo>
                <a:lnTo>
                  <a:pt x="3282" y="2219"/>
                </a:lnTo>
                <a:lnTo>
                  <a:pt x="3283" y="2221"/>
                </a:lnTo>
                <a:lnTo>
                  <a:pt x="3285" y="2223"/>
                </a:lnTo>
                <a:lnTo>
                  <a:pt x="3287" y="2228"/>
                </a:lnTo>
                <a:lnTo>
                  <a:pt x="3289" y="2233"/>
                </a:lnTo>
                <a:lnTo>
                  <a:pt x="3290" y="2239"/>
                </a:lnTo>
                <a:lnTo>
                  <a:pt x="3293" y="2250"/>
                </a:lnTo>
                <a:lnTo>
                  <a:pt x="3294" y="2251"/>
                </a:lnTo>
                <a:lnTo>
                  <a:pt x="3297" y="2254"/>
                </a:lnTo>
                <a:lnTo>
                  <a:pt x="3301" y="2258"/>
                </a:lnTo>
                <a:lnTo>
                  <a:pt x="3303" y="2262"/>
                </a:lnTo>
                <a:lnTo>
                  <a:pt x="3304" y="2266"/>
                </a:lnTo>
                <a:lnTo>
                  <a:pt x="3304" y="2269"/>
                </a:lnTo>
                <a:lnTo>
                  <a:pt x="3304" y="2272"/>
                </a:lnTo>
                <a:lnTo>
                  <a:pt x="3304" y="2277"/>
                </a:lnTo>
                <a:lnTo>
                  <a:pt x="3304" y="2283"/>
                </a:lnTo>
                <a:lnTo>
                  <a:pt x="3310" y="2289"/>
                </a:lnTo>
                <a:lnTo>
                  <a:pt x="3310" y="2294"/>
                </a:lnTo>
                <a:lnTo>
                  <a:pt x="3309" y="2299"/>
                </a:lnTo>
                <a:lnTo>
                  <a:pt x="3306" y="2310"/>
                </a:lnTo>
                <a:lnTo>
                  <a:pt x="3304" y="2320"/>
                </a:lnTo>
                <a:lnTo>
                  <a:pt x="3304" y="2324"/>
                </a:lnTo>
                <a:lnTo>
                  <a:pt x="3304" y="2326"/>
                </a:lnTo>
                <a:lnTo>
                  <a:pt x="3304" y="2328"/>
                </a:lnTo>
                <a:lnTo>
                  <a:pt x="3307" y="2330"/>
                </a:lnTo>
                <a:lnTo>
                  <a:pt x="3309" y="2330"/>
                </a:lnTo>
                <a:lnTo>
                  <a:pt x="3310" y="2331"/>
                </a:lnTo>
                <a:lnTo>
                  <a:pt x="3313" y="2342"/>
                </a:lnTo>
                <a:lnTo>
                  <a:pt x="3314" y="2347"/>
                </a:lnTo>
                <a:lnTo>
                  <a:pt x="3315" y="2353"/>
                </a:lnTo>
                <a:lnTo>
                  <a:pt x="3315" y="2365"/>
                </a:lnTo>
                <a:lnTo>
                  <a:pt x="3314" y="2371"/>
                </a:lnTo>
                <a:lnTo>
                  <a:pt x="3313" y="2373"/>
                </a:lnTo>
                <a:lnTo>
                  <a:pt x="3313" y="2376"/>
                </a:lnTo>
                <a:lnTo>
                  <a:pt x="3310" y="2380"/>
                </a:lnTo>
                <a:lnTo>
                  <a:pt x="3307" y="2384"/>
                </a:lnTo>
                <a:lnTo>
                  <a:pt x="3303" y="2387"/>
                </a:lnTo>
                <a:lnTo>
                  <a:pt x="3302" y="2389"/>
                </a:lnTo>
                <a:lnTo>
                  <a:pt x="3301" y="2390"/>
                </a:lnTo>
                <a:lnTo>
                  <a:pt x="3301" y="2392"/>
                </a:lnTo>
                <a:lnTo>
                  <a:pt x="3302" y="2394"/>
                </a:lnTo>
                <a:lnTo>
                  <a:pt x="3302" y="2397"/>
                </a:lnTo>
                <a:lnTo>
                  <a:pt x="3302" y="2398"/>
                </a:lnTo>
                <a:lnTo>
                  <a:pt x="3301" y="2399"/>
                </a:lnTo>
                <a:lnTo>
                  <a:pt x="3300" y="2400"/>
                </a:lnTo>
                <a:lnTo>
                  <a:pt x="3297" y="2400"/>
                </a:lnTo>
                <a:lnTo>
                  <a:pt x="3294" y="2401"/>
                </a:lnTo>
                <a:lnTo>
                  <a:pt x="3293" y="2401"/>
                </a:lnTo>
                <a:lnTo>
                  <a:pt x="3291" y="2406"/>
                </a:lnTo>
                <a:lnTo>
                  <a:pt x="3290" y="2410"/>
                </a:lnTo>
                <a:lnTo>
                  <a:pt x="3290" y="2414"/>
                </a:lnTo>
                <a:lnTo>
                  <a:pt x="3290" y="2417"/>
                </a:lnTo>
                <a:lnTo>
                  <a:pt x="3291" y="2424"/>
                </a:lnTo>
                <a:lnTo>
                  <a:pt x="3291" y="2428"/>
                </a:lnTo>
                <a:lnTo>
                  <a:pt x="3290" y="2432"/>
                </a:lnTo>
                <a:lnTo>
                  <a:pt x="3288" y="2437"/>
                </a:lnTo>
                <a:lnTo>
                  <a:pt x="3283" y="2443"/>
                </a:lnTo>
                <a:lnTo>
                  <a:pt x="3278" y="2450"/>
                </a:lnTo>
                <a:lnTo>
                  <a:pt x="3277" y="2453"/>
                </a:lnTo>
                <a:lnTo>
                  <a:pt x="3276" y="2455"/>
                </a:lnTo>
                <a:lnTo>
                  <a:pt x="3276" y="2461"/>
                </a:lnTo>
                <a:lnTo>
                  <a:pt x="3275" y="2469"/>
                </a:lnTo>
                <a:lnTo>
                  <a:pt x="3276" y="2492"/>
                </a:lnTo>
                <a:lnTo>
                  <a:pt x="3277" y="2510"/>
                </a:lnTo>
                <a:lnTo>
                  <a:pt x="3278" y="2516"/>
                </a:lnTo>
                <a:lnTo>
                  <a:pt x="3279" y="2520"/>
                </a:lnTo>
                <a:lnTo>
                  <a:pt x="3284" y="2520"/>
                </a:lnTo>
                <a:lnTo>
                  <a:pt x="3301" y="2539"/>
                </a:lnTo>
                <a:lnTo>
                  <a:pt x="3303" y="2543"/>
                </a:lnTo>
                <a:lnTo>
                  <a:pt x="3303" y="2547"/>
                </a:lnTo>
                <a:lnTo>
                  <a:pt x="3303" y="2555"/>
                </a:lnTo>
                <a:lnTo>
                  <a:pt x="3303" y="2563"/>
                </a:lnTo>
                <a:lnTo>
                  <a:pt x="3303" y="2566"/>
                </a:lnTo>
                <a:lnTo>
                  <a:pt x="3304" y="2570"/>
                </a:lnTo>
                <a:lnTo>
                  <a:pt x="3305" y="2573"/>
                </a:lnTo>
                <a:lnTo>
                  <a:pt x="3307" y="2575"/>
                </a:lnTo>
                <a:lnTo>
                  <a:pt x="3311" y="2579"/>
                </a:lnTo>
                <a:lnTo>
                  <a:pt x="3316" y="2583"/>
                </a:lnTo>
                <a:lnTo>
                  <a:pt x="3317" y="2585"/>
                </a:lnTo>
                <a:lnTo>
                  <a:pt x="3318" y="2587"/>
                </a:lnTo>
                <a:lnTo>
                  <a:pt x="3319" y="2589"/>
                </a:lnTo>
                <a:lnTo>
                  <a:pt x="3319" y="2591"/>
                </a:lnTo>
                <a:lnTo>
                  <a:pt x="3318" y="2594"/>
                </a:lnTo>
                <a:lnTo>
                  <a:pt x="3318" y="2598"/>
                </a:lnTo>
                <a:lnTo>
                  <a:pt x="3318" y="2602"/>
                </a:lnTo>
                <a:lnTo>
                  <a:pt x="3319" y="2603"/>
                </a:lnTo>
                <a:lnTo>
                  <a:pt x="3320" y="2605"/>
                </a:lnTo>
                <a:lnTo>
                  <a:pt x="3324" y="2607"/>
                </a:lnTo>
                <a:lnTo>
                  <a:pt x="3328" y="2610"/>
                </a:lnTo>
                <a:lnTo>
                  <a:pt x="3329" y="2612"/>
                </a:lnTo>
                <a:lnTo>
                  <a:pt x="3329" y="2613"/>
                </a:lnTo>
                <a:lnTo>
                  <a:pt x="3330" y="2617"/>
                </a:lnTo>
                <a:lnTo>
                  <a:pt x="3330" y="2622"/>
                </a:lnTo>
                <a:lnTo>
                  <a:pt x="3329" y="2631"/>
                </a:lnTo>
                <a:lnTo>
                  <a:pt x="3327" y="2640"/>
                </a:lnTo>
                <a:lnTo>
                  <a:pt x="3327" y="2644"/>
                </a:lnTo>
                <a:lnTo>
                  <a:pt x="3327" y="2647"/>
                </a:lnTo>
                <a:lnTo>
                  <a:pt x="3327" y="2649"/>
                </a:lnTo>
                <a:lnTo>
                  <a:pt x="3328" y="2652"/>
                </a:lnTo>
                <a:lnTo>
                  <a:pt x="3331" y="2659"/>
                </a:lnTo>
                <a:lnTo>
                  <a:pt x="3335" y="2670"/>
                </a:lnTo>
                <a:lnTo>
                  <a:pt x="3336" y="2679"/>
                </a:lnTo>
                <a:lnTo>
                  <a:pt x="3336" y="2688"/>
                </a:lnTo>
                <a:lnTo>
                  <a:pt x="3336" y="2702"/>
                </a:lnTo>
                <a:lnTo>
                  <a:pt x="3336" y="2709"/>
                </a:lnTo>
                <a:lnTo>
                  <a:pt x="3337" y="2717"/>
                </a:lnTo>
                <a:lnTo>
                  <a:pt x="3338" y="2725"/>
                </a:lnTo>
                <a:lnTo>
                  <a:pt x="3341" y="2734"/>
                </a:lnTo>
                <a:lnTo>
                  <a:pt x="3342" y="2738"/>
                </a:lnTo>
                <a:lnTo>
                  <a:pt x="3346" y="2743"/>
                </a:lnTo>
                <a:lnTo>
                  <a:pt x="3349" y="2749"/>
                </a:lnTo>
                <a:lnTo>
                  <a:pt x="3352" y="2751"/>
                </a:lnTo>
                <a:lnTo>
                  <a:pt x="3354" y="2751"/>
                </a:lnTo>
                <a:lnTo>
                  <a:pt x="3356" y="2751"/>
                </a:lnTo>
                <a:lnTo>
                  <a:pt x="3359" y="2751"/>
                </a:lnTo>
                <a:lnTo>
                  <a:pt x="3360" y="2751"/>
                </a:lnTo>
                <a:lnTo>
                  <a:pt x="3362" y="2755"/>
                </a:lnTo>
                <a:lnTo>
                  <a:pt x="3362" y="2758"/>
                </a:lnTo>
                <a:lnTo>
                  <a:pt x="3362" y="2762"/>
                </a:lnTo>
                <a:lnTo>
                  <a:pt x="3363" y="2764"/>
                </a:lnTo>
                <a:lnTo>
                  <a:pt x="3363" y="2765"/>
                </a:lnTo>
                <a:lnTo>
                  <a:pt x="3364" y="2767"/>
                </a:lnTo>
                <a:lnTo>
                  <a:pt x="3365" y="2768"/>
                </a:lnTo>
                <a:lnTo>
                  <a:pt x="3369" y="2771"/>
                </a:lnTo>
                <a:lnTo>
                  <a:pt x="3372" y="2774"/>
                </a:lnTo>
                <a:lnTo>
                  <a:pt x="3374" y="2777"/>
                </a:lnTo>
                <a:lnTo>
                  <a:pt x="3375" y="2781"/>
                </a:lnTo>
                <a:lnTo>
                  <a:pt x="3375" y="2788"/>
                </a:lnTo>
                <a:lnTo>
                  <a:pt x="3375" y="2797"/>
                </a:lnTo>
                <a:lnTo>
                  <a:pt x="3376" y="2801"/>
                </a:lnTo>
                <a:lnTo>
                  <a:pt x="3377" y="2805"/>
                </a:lnTo>
                <a:lnTo>
                  <a:pt x="3379" y="2807"/>
                </a:lnTo>
                <a:lnTo>
                  <a:pt x="3382" y="2808"/>
                </a:lnTo>
                <a:lnTo>
                  <a:pt x="3386" y="2810"/>
                </a:lnTo>
                <a:lnTo>
                  <a:pt x="3389" y="2817"/>
                </a:lnTo>
                <a:lnTo>
                  <a:pt x="3392" y="2828"/>
                </a:lnTo>
                <a:lnTo>
                  <a:pt x="3394" y="2838"/>
                </a:lnTo>
                <a:lnTo>
                  <a:pt x="3394" y="2843"/>
                </a:lnTo>
                <a:lnTo>
                  <a:pt x="3394" y="2847"/>
                </a:lnTo>
                <a:lnTo>
                  <a:pt x="3393" y="2851"/>
                </a:lnTo>
                <a:lnTo>
                  <a:pt x="3392" y="2853"/>
                </a:lnTo>
                <a:lnTo>
                  <a:pt x="3390" y="2855"/>
                </a:lnTo>
                <a:lnTo>
                  <a:pt x="3388" y="2856"/>
                </a:lnTo>
                <a:lnTo>
                  <a:pt x="3385" y="2859"/>
                </a:lnTo>
                <a:lnTo>
                  <a:pt x="3384" y="2861"/>
                </a:lnTo>
                <a:lnTo>
                  <a:pt x="3383" y="2864"/>
                </a:lnTo>
                <a:lnTo>
                  <a:pt x="3389" y="2867"/>
                </a:lnTo>
                <a:lnTo>
                  <a:pt x="3389" y="2881"/>
                </a:lnTo>
                <a:lnTo>
                  <a:pt x="3390" y="2886"/>
                </a:lnTo>
                <a:lnTo>
                  <a:pt x="3391" y="2891"/>
                </a:lnTo>
                <a:lnTo>
                  <a:pt x="3392" y="2895"/>
                </a:lnTo>
                <a:lnTo>
                  <a:pt x="3393" y="2897"/>
                </a:lnTo>
                <a:lnTo>
                  <a:pt x="3394" y="2898"/>
                </a:lnTo>
                <a:lnTo>
                  <a:pt x="3394" y="2900"/>
                </a:lnTo>
                <a:lnTo>
                  <a:pt x="3403" y="2895"/>
                </a:lnTo>
                <a:lnTo>
                  <a:pt x="3403" y="2900"/>
                </a:lnTo>
                <a:lnTo>
                  <a:pt x="3405" y="2901"/>
                </a:lnTo>
                <a:lnTo>
                  <a:pt x="3407" y="2901"/>
                </a:lnTo>
                <a:lnTo>
                  <a:pt x="3411" y="2900"/>
                </a:lnTo>
                <a:lnTo>
                  <a:pt x="3414" y="2906"/>
                </a:lnTo>
                <a:lnTo>
                  <a:pt x="3416" y="2906"/>
                </a:lnTo>
                <a:lnTo>
                  <a:pt x="3419" y="2906"/>
                </a:lnTo>
                <a:lnTo>
                  <a:pt x="3423" y="2906"/>
                </a:lnTo>
                <a:lnTo>
                  <a:pt x="3428" y="2904"/>
                </a:lnTo>
                <a:lnTo>
                  <a:pt x="3431" y="2902"/>
                </a:lnTo>
                <a:lnTo>
                  <a:pt x="3438" y="2897"/>
                </a:lnTo>
                <a:lnTo>
                  <a:pt x="3440" y="2896"/>
                </a:lnTo>
                <a:lnTo>
                  <a:pt x="3442" y="2895"/>
                </a:lnTo>
                <a:lnTo>
                  <a:pt x="3445" y="2894"/>
                </a:lnTo>
                <a:lnTo>
                  <a:pt x="3448" y="2895"/>
                </a:lnTo>
                <a:lnTo>
                  <a:pt x="3453" y="2896"/>
                </a:lnTo>
                <a:lnTo>
                  <a:pt x="3457" y="2897"/>
                </a:lnTo>
                <a:lnTo>
                  <a:pt x="3460" y="2898"/>
                </a:lnTo>
                <a:lnTo>
                  <a:pt x="3462" y="2898"/>
                </a:lnTo>
                <a:lnTo>
                  <a:pt x="3466" y="2893"/>
                </a:lnTo>
                <a:lnTo>
                  <a:pt x="3468" y="2891"/>
                </a:lnTo>
                <a:lnTo>
                  <a:pt x="3470" y="2889"/>
                </a:lnTo>
                <a:lnTo>
                  <a:pt x="3478" y="2888"/>
                </a:lnTo>
                <a:lnTo>
                  <a:pt x="3484" y="2887"/>
                </a:lnTo>
                <a:lnTo>
                  <a:pt x="3489" y="2888"/>
                </a:lnTo>
                <a:lnTo>
                  <a:pt x="3494" y="2889"/>
                </a:lnTo>
                <a:lnTo>
                  <a:pt x="3504" y="2891"/>
                </a:lnTo>
                <a:lnTo>
                  <a:pt x="3509" y="2892"/>
                </a:lnTo>
                <a:lnTo>
                  <a:pt x="3515" y="2892"/>
                </a:lnTo>
                <a:lnTo>
                  <a:pt x="3518" y="2886"/>
                </a:lnTo>
                <a:lnTo>
                  <a:pt x="3526" y="2887"/>
                </a:lnTo>
                <a:lnTo>
                  <a:pt x="3535" y="2886"/>
                </a:lnTo>
                <a:lnTo>
                  <a:pt x="3535" y="2881"/>
                </a:lnTo>
                <a:lnTo>
                  <a:pt x="3537" y="2880"/>
                </a:lnTo>
                <a:lnTo>
                  <a:pt x="3538" y="2880"/>
                </a:lnTo>
                <a:lnTo>
                  <a:pt x="3542" y="2881"/>
                </a:lnTo>
                <a:lnTo>
                  <a:pt x="3545" y="2881"/>
                </a:lnTo>
                <a:lnTo>
                  <a:pt x="3549" y="2881"/>
                </a:lnTo>
                <a:lnTo>
                  <a:pt x="3553" y="2879"/>
                </a:lnTo>
                <a:lnTo>
                  <a:pt x="3556" y="2878"/>
                </a:lnTo>
                <a:lnTo>
                  <a:pt x="3564" y="2872"/>
                </a:lnTo>
                <a:lnTo>
                  <a:pt x="3567" y="2869"/>
                </a:lnTo>
                <a:lnTo>
                  <a:pt x="3571" y="2865"/>
                </a:lnTo>
                <a:lnTo>
                  <a:pt x="3578" y="2858"/>
                </a:lnTo>
                <a:lnTo>
                  <a:pt x="3591" y="2841"/>
                </a:lnTo>
                <a:lnTo>
                  <a:pt x="3597" y="2834"/>
                </a:lnTo>
                <a:lnTo>
                  <a:pt x="3602" y="2827"/>
                </a:lnTo>
                <a:lnTo>
                  <a:pt x="3605" y="2824"/>
                </a:lnTo>
                <a:lnTo>
                  <a:pt x="3610" y="2822"/>
                </a:lnTo>
                <a:lnTo>
                  <a:pt x="3613" y="2819"/>
                </a:lnTo>
                <a:lnTo>
                  <a:pt x="3616" y="2816"/>
                </a:lnTo>
                <a:lnTo>
                  <a:pt x="3617" y="2815"/>
                </a:lnTo>
                <a:lnTo>
                  <a:pt x="3617" y="2814"/>
                </a:lnTo>
                <a:lnTo>
                  <a:pt x="3617" y="2812"/>
                </a:lnTo>
                <a:lnTo>
                  <a:pt x="3616" y="2810"/>
                </a:lnTo>
                <a:lnTo>
                  <a:pt x="3616" y="2808"/>
                </a:lnTo>
                <a:lnTo>
                  <a:pt x="3619" y="2808"/>
                </a:lnTo>
                <a:lnTo>
                  <a:pt x="3626" y="2792"/>
                </a:lnTo>
                <a:lnTo>
                  <a:pt x="3629" y="2783"/>
                </a:lnTo>
                <a:lnTo>
                  <a:pt x="3633" y="2777"/>
                </a:lnTo>
                <a:lnTo>
                  <a:pt x="3637" y="2774"/>
                </a:lnTo>
                <a:lnTo>
                  <a:pt x="3644" y="2770"/>
                </a:lnTo>
                <a:lnTo>
                  <a:pt x="3656" y="2763"/>
                </a:lnTo>
                <a:lnTo>
                  <a:pt x="3650" y="2757"/>
                </a:lnTo>
                <a:lnTo>
                  <a:pt x="3651" y="2755"/>
                </a:lnTo>
                <a:lnTo>
                  <a:pt x="3650" y="2753"/>
                </a:lnTo>
                <a:lnTo>
                  <a:pt x="3650" y="2749"/>
                </a:lnTo>
                <a:lnTo>
                  <a:pt x="3659" y="2749"/>
                </a:lnTo>
                <a:lnTo>
                  <a:pt x="3660" y="2735"/>
                </a:lnTo>
                <a:lnTo>
                  <a:pt x="3661" y="2713"/>
                </a:lnTo>
                <a:lnTo>
                  <a:pt x="3661" y="2706"/>
                </a:lnTo>
                <a:lnTo>
                  <a:pt x="3660" y="2705"/>
                </a:lnTo>
                <a:lnTo>
                  <a:pt x="3657" y="2703"/>
                </a:lnTo>
                <a:lnTo>
                  <a:pt x="3655" y="2700"/>
                </a:lnTo>
                <a:lnTo>
                  <a:pt x="3653" y="2698"/>
                </a:lnTo>
                <a:lnTo>
                  <a:pt x="3668" y="2687"/>
                </a:lnTo>
                <a:lnTo>
                  <a:pt x="3676" y="2682"/>
                </a:lnTo>
                <a:lnTo>
                  <a:pt x="3680" y="2680"/>
                </a:lnTo>
                <a:lnTo>
                  <a:pt x="3684" y="2678"/>
                </a:lnTo>
                <a:lnTo>
                  <a:pt x="3689" y="2677"/>
                </a:lnTo>
                <a:lnTo>
                  <a:pt x="3694" y="2676"/>
                </a:lnTo>
                <a:lnTo>
                  <a:pt x="3699" y="2675"/>
                </a:lnTo>
                <a:lnTo>
                  <a:pt x="3701" y="2674"/>
                </a:lnTo>
                <a:lnTo>
                  <a:pt x="3704" y="2673"/>
                </a:lnTo>
                <a:lnTo>
                  <a:pt x="3706" y="2670"/>
                </a:lnTo>
                <a:lnTo>
                  <a:pt x="3707" y="2666"/>
                </a:lnTo>
                <a:lnTo>
                  <a:pt x="3708" y="2661"/>
                </a:lnTo>
                <a:lnTo>
                  <a:pt x="3709" y="2656"/>
                </a:lnTo>
                <a:lnTo>
                  <a:pt x="3709" y="2649"/>
                </a:lnTo>
                <a:lnTo>
                  <a:pt x="3709" y="2642"/>
                </a:lnTo>
                <a:lnTo>
                  <a:pt x="3707" y="2628"/>
                </a:lnTo>
                <a:lnTo>
                  <a:pt x="3703" y="2598"/>
                </a:lnTo>
                <a:lnTo>
                  <a:pt x="3702" y="2587"/>
                </a:lnTo>
                <a:lnTo>
                  <a:pt x="3701" y="2579"/>
                </a:lnTo>
                <a:lnTo>
                  <a:pt x="3695" y="2579"/>
                </a:lnTo>
                <a:lnTo>
                  <a:pt x="3694" y="2572"/>
                </a:lnTo>
                <a:lnTo>
                  <a:pt x="3694" y="2567"/>
                </a:lnTo>
                <a:lnTo>
                  <a:pt x="3695" y="2559"/>
                </a:lnTo>
                <a:lnTo>
                  <a:pt x="3695" y="2553"/>
                </a:lnTo>
                <a:lnTo>
                  <a:pt x="3697" y="2552"/>
                </a:lnTo>
                <a:lnTo>
                  <a:pt x="3699" y="2552"/>
                </a:lnTo>
                <a:lnTo>
                  <a:pt x="3702" y="2552"/>
                </a:lnTo>
                <a:lnTo>
                  <a:pt x="3704" y="2551"/>
                </a:lnTo>
                <a:lnTo>
                  <a:pt x="3705" y="2548"/>
                </a:lnTo>
                <a:lnTo>
                  <a:pt x="3706" y="2543"/>
                </a:lnTo>
                <a:lnTo>
                  <a:pt x="3708" y="2539"/>
                </a:lnTo>
                <a:lnTo>
                  <a:pt x="3708" y="2537"/>
                </a:lnTo>
                <a:lnTo>
                  <a:pt x="3709" y="2537"/>
                </a:lnTo>
                <a:lnTo>
                  <a:pt x="3715" y="2537"/>
                </a:lnTo>
                <a:lnTo>
                  <a:pt x="3718" y="2525"/>
                </a:lnTo>
                <a:lnTo>
                  <a:pt x="3720" y="2514"/>
                </a:lnTo>
                <a:lnTo>
                  <a:pt x="3722" y="2513"/>
                </a:lnTo>
                <a:lnTo>
                  <a:pt x="3725" y="2512"/>
                </a:lnTo>
                <a:lnTo>
                  <a:pt x="3730" y="2512"/>
                </a:lnTo>
                <a:lnTo>
                  <a:pt x="3736" y="2512"/>
                </a:lnTo>
                <a:lnTo>
                  <a:pt x="3738" y="2512"/>
                </a:lnTo>
                <a:lnTo>
                  <a:pt x="3740" y="2511"/>
                </a:lnTo>
                <a:lnTo>
                  <a:pt x="3743" y="2509"/>
                </a:lnTo>
                <a:lnTo>
                  <a:pt x="3746" y="2506"/>
                </a:lnTo>
                <a:lnTo>
                  <a:pt x="3749" y="2502"/>
                </a:lnTo>
                <a:lnTo>
                  <a:pt x="3751" y="2500"/>
                </a:lnTo>
                <a:lnTo>
                  <a:pt x="3753" y="2499"/>
                </a:lnTo>
                <a:lnTo>
                  <a:pt x="3755" y="2499"/>
                </a:lnTo>
                <a:lnTo>
                  <a:pt x="3760" y="2499"/>
                </a:lnTo>
                <a:lnTo>
                  <a:pt x="3764" y="2498"/>
                </a:lnTo>
                <a:lnTo>
                  <a:pt x="3766" y="2498"/>
                </a:lnTo>
                <a:lnTo>
                  <a:pt x="3768" y="2497"/>
                </a:lnTo>
                <a:lnTo>
                  <a:pt x="3770" y="2496"/>
                </a:lnTo>
                <a:lnTo>
                  <a:pt x="3772" y="2495"/>
                </a:lnTo>
                <a:lnTo>
                  <a:pt x="3777" y="2490"/>
                </a:lnTo>
                <a:lnTo>
                  <a:pt x="3782" y="2484"/>
                </a:lnTo>
                <a:lnTo>
                  <a:pt x="3788" y="2477"/>
                </a:lnTo>
                <a:lnTo>
                  <a:pt x="3793" y="2470"/>
                </a:lnTo>
                <a:lnTo>
                  <a:pt x="3797" y="2463"/>
                </a:lnTo>
                <a:lnTo>
                  <a:pt x="3801" y="2457"/>
                </a:lnTo>
                <a:lnTo>
                  <a:pt x="3802" y="2452"/>
                </a:lnTo>
                <a:lnTo>
                  <a:pt x="3802" y="2450"/>
                </a:lnTo>
                <a:lnTo>
                  <a:pt x="3802" y="2448"/>
                </a:lnTo>
                <a:lnTo>
                  <a:pt x="3801" y="2443"/>
                </a:lnTo>
                <a:lnTo>
                  <a:pt x="3800" y="2438"/>
                </a:lnTo>
                <a:lnTo>
                  <a:pt x="3799" y="2435"/>
                </a:lnTo>
                <a:lnTo>
                  <a:pt x="3799" y="2432"/>
                </a:lnTo>
                <a:lnTo>
                  <a:pt x="3800" y="2428"/>
                </a:lnTo>
                <a:lnTo>
                  <a:pt x="3800" y="2424"/>
                </a:lnTo>
                <a:lnTo>
                  <a:pt x="3802" y="2415"/>
                </a:lnTo>
                <a:lnTo>
                  <a:pt x="3804" y="2407"/>
                </a:lnTo>
                <a:lnTo>
                  <a:pt x="3805" y="2401"/>
                </a:lnTo>
                <a:lnTo>
                  <a:pt x="3804" y="2394"/>
                </a:lnTo>
                <a:lnTo>
                  <a:pt x="3802" y="2383"/>
                </a:lnTo>
                <a:lnTo>
                  <a:pt x="3800" y="2372"/>
                </a:lnTo>
                <a:lnTo>
                  <a:pt x="3799" y="2365"/>
                </a:lnTo>
                <a:lnTo>
                  <a:pt x="3800" y="2358"/>
                </a:lnTo>
                <a:lnTo>
                  <a:pt x="3801" y="2352"/>
                </a:lnTo>
                <a:lnTo>
                  <a:pt x="3802" y="2345"/>
                </a:lnTo>
                <a:lnTo>
                  <a:pt x="3802" y="2342"/>
                </a:lnTo>
                <a:lnTo>
                  <a:pt x="3802" y="2340"/>
                </a:lnTo>
                <a:lnTo>
                  <a:pt x="3801" y="2337"/>
                </a:lnTo>
                <a:lnTo>
                  <a:pt x="3798" y="2334"/>
                </a:lnTo>
                <a:lnTo>
                  <a:pt x="3792" y="2329"/>
                </a:lnTo>
                <a:lnTo>
                  <a:pt x="3786" y="2324"/>
                </a:lnTo>
                <a:lnTo>
                  <a:pt x="3784" y="2321"/>
                </a:lnTo>
                <a:lnTo>
                  <a:pt x="3783" y="2319"/>
                </a:lnTo>
                <a:lnTo>
                  <a:pt x="3782" y="2317"/>
                </a:lnTo>
                <a:lnTo>
                  <a:pt x="3782" y="2299"/>
                </a:lnTo>
                <a:lnTo>
                  <a:pt x="3782" y="2286"/>
                </a:lnTo>
                <a:lnTo>
                  <a:pt x="3782" y="2278"/>
                </a:lnTo>
                <a:lnTo>
                  <a:pt x="3785" y="2272"/>
                </a:lnTo>
                <a:lnTo>
                  <a:pt x="3787" y="2269"/>
                </a:lnTo>
                <a:lnTo>
                  <a:pt x="3788" y="2266"/>
                </a:lnTo>
                <a:lnTo>
                  <a:pt x="3787" y="2264"/>
                </a:lnTo>
                <a:lnTo>
                  <a:pt x="3785" y="2262"/>
                </a:lnTo>
                <a:lnTo>
                  <a:pt x="3780" y="2257"/>
                </a:lnTo>
                <a:lnTo>
                  <a:pt x="3774" y="2252"/>
                </a:lnTo>
                <a:lnTo>
                  <a:pt x="3772" y="2249"/>
                </a:lnTo>
                <a:lnTo>
                  <a:pt x="3771" y="2247"/>
                </a:lnTo>
                <a:lnTo>
                  <a:pt x="3771" y="2244"/>
                </a:lnTo>
                <a:lnTo>
                  <a:pt x="3771" y="2241"/>
                </a:lnTo>
                <a:lnTo>
                  <a:pt x="3772" y="2235"/>
                </a:lnTo>
                <a:lnTo>
                  <a:pt x="3774" y="2229"/>
                </a:lnTo>
                <a:lnTo>
                  <a:pt x="3776" y="2224"/>
                </a:lnTo>
                <a:lnTo>
                  <a:pt x="3782" y="2213"/>
                </a:lnTo>
                <a:lnTo>
                  <a:pt x="3784" y="2209"/>
                </a:lnTo>
                <a:lnTo>
                  <a:pt x="3785" y="2205"/>
                </a:lnTo>
                <a:lnTo>
                  <a:pt x="3786" y="2202"/>
                </a:lnTo>
                <a:lnTo>
                  <a:pt x="3785" y="2199"/>
                </a:lnTo>
                <a:lnTo>
                  <a:pt x="3785" y="2193"/>
                </a:lnTo>
                <a:lnTo>
                  <a:pt x="3784" y="2187"/>
                </a:lnTo>
                <a:lnTo>
                  <a:pt x="3785" y="2185"/>
                </a:lnTo>
                <a:lnTo>
                  <a:pt x="3785" y="2182"/>
                </a:lnTo>
                <a:lnTo>
                  <a:pt x="3791" y="2182"/>
                </a:lnTo>
                <a:lnTo>
                  <a:pt x="3791" y="2179"/>
                </a:lnTo>
                <a:lnTo>
                  <a:pt x="3791" y="2177"/>
                </a:lnTo>
                <a:lnTo>
                  <a:pt x="3792" y="2175"/>
                </a:lnTo>
                <a:lnTo>
                  <a:pt x="3794" y="2172"/>
                </a:lnTo>
                <a:lnTo>
                  <a:pt x="3799" y="2165"/>
                </a:lnTo>
                <a:lnTo>
                  <a:pt x="3803" y="2165"/>
                </a:lnTo>
                <a:lnTo>
                  <a:pt x="3808" y="2165"/>
                </a:lnTo>
                <a:lnTo>
                  <a:pt x="3809" y="2162"/>
                </a:lnTo>
                <a:lnTo>
                  <a:pt x="3810" y="2158"/>
                </a:lnTo>
                <a:lnTo>
                  <a:pt x="3812" y="2154"/>
                </a:lnTo>
                <a:lnTo>
                  <a:pt x="3812" y="2152"/>
                </a:lnTo>
                <a:lnTo>
                  <a:pt x="3813" y="2151"/>
                </a:lnTo>
                <a:lnTo>
                  <a:pt x="3815" y="2150"/>
                </a:lnTo>
                <a:lnTo>
                  <a:pt x="3816" y="2150"/>
                </a:lnTo>
                <a:lnTo>
                  <a:pt x="3819" y="2150"/>
                </a:lnTo>
                <a:lnTo>
                  <a:pt x="3822" y="2150"/>
                </a:lnTo>
                <a:lnTo>
                  <a:pt x="3823" y="2149"/>
                </a:lnTo>
                <a:lnTo>
                  <a:pt x="3825" y="2148"/>
                </a:lnTo>
                <a:lnTo>
                  <a:pt x="3825" y="2147"/>
                </a:lnTo>
                <a:lnTo>
                  <a:pt x="3825" y="2146"/>
                </a:lnTo>
                <a:lnTo>
                  <a:pt x="3825" y="2143"/>
                </a:lnTo>
                <a:lnTo>
                  <a:pt x="3824" y="2140"/>
                </a:lnTo>
                <a:lnTo>
                  <a:pt x="3825" y="2137"/>
                </a:lnTo>
                <a:lnTo>
                  <a:pt x="3825" y="2136"/>
                </a:lnTo>
                <a:lnTo>
                  <a:pt x="3826" y="2135"/>
                </a:lnTo>
                <a:lnTo>
                  <a:pt x="3829" y="2132"/>
                </a:lnTo>
                <a:lnTo>
                  <a:pt x="3831" y="2130"/>
                </a:lnTo>
                <a:lnTo>
                  <a:pt x="3833" y="2129"/>
                </a:lnTo>
                <a:lnTo>
                  <a:pt x="3835" y="2124"/>
                </a:lnTo>
                <a:lnTo>
                  <a:pt x="3835" y="2120"/>
                </a:lnTo>
                <a:lnTo>
                  <a:pt x="3835" y="2115"/>
                </a:lnTo>
                <a:lnTo>
                  <a:pt x="3836" y="2111"/>
                </a:lnTo>
                <a:lnTo>
                  <a:pt x="3837" y="2109"/>
                </a:lnTo>
                <a:lnTo>
                  <a:pt x="3839" y="2106"/>
                </a:lnTo>
                <a:lnTo>
                  <a:pt x="3844" y="2106"/>
                </a:lnTo>
                <a:lnTo>
                  <a:pt x="3847" y="2102"/>
                </a:lnTo>
                <a:lnTo>
                  <a:pt x="3851" y="2094"/>
                </a:lnTo>
                <a:lnTo>
                  <a:pt x="3858" y="2081"/>
                </a:lnTo>
                <a:lnTo>
                  <a:pt x="3861" y="2080"/>
                </a:lnTo>
                <a:lnTo>
                  <a:pt x="3864" y="2079"/>
                </a:lnTo>
                <a:lnTo>
                  <a:pt x="3867" y="2079"/>
                </a:lnTo>
                <a:lnTo>
                  <a:pt x="3870" y="2078"/>
                </a:lnTo>
                <a:lnTo>
                  <a:pt x="3871" y="2077"/>
                </a:lnTo>
                <a:lnTo>
                  <a:pt x="3872" y="2075"/>
                </a:lnTo>
                <a:lnTo>
                  <a:pt x="3875" y="2071"/>
                </a:lnTo>
                <a:lnTo>
                  <a:pt x="3878" y="2066"/>
                </a:lnTo>
                <a:lnTo>
                  <a:pt x="3879" y="2065"/>
                </a:lnTo>
                <a:lnTo>
                  <a:pt x="3881" y="2064"/>
                </a:lnTo>
                <a:lnTo>
                  <a:pt x="3883" y="2064"/>
                </a:lnTo>
                <a:lnTo>
                  <a:pt x="3885" y="2064"/>
                </a:lnTo>
                <a:lnTo>
                  <a:pt x="3887" y="2064"/>
                </a:lnTo>
                <a:lnTo>
                  <a:pt x="3889" y="2064"/>
                </a:lnTo>
                <a:lnTo>
                  <a:pt x="3894" y="2060"/>
                </a:lnTo>
                <a:lnTo>
                  <a:pt x="3900" y="2055"/>
                </a:lnTo>
                <a:lnTo>
                  <a:pt x="3905" y="2049"/>
                </a:lnTo>
                <a:lnTo>
                  <a:pt x="3909" y="2044"/>
                </a:lnTo>
                <a:lnTo>
                  <a:pt x="3910" y="2042"/>
                </a:lnTo>
                <a:lnTo>
                  <a:pt x="3910" y="2038"/>
                </a:lnTo>
                <a:lnTo>
                  <a:pt x="3911" y="2035"/>
                </a:lnTo>
                <a:lnTo>
                  <a:pt x="3911" y="2034"/>
                </a:lnTo>
                <a:lnTo>
                  <a:pt x="3912" y="2033"/>
                </a:lnTo>
                <a:lnTo>
                  <a:pt x="3913" y="2032"/>
                </a:lnTo>
                <a:lnTo>
                  <a:pt x="3915" y="2031"/>
                </a:lnTo>
                <a:lnTo>
                  <a:pt x="3919" y="2030"/>
                </a:lnTo>
                <a:lnTo>
                  <a:pt x="3923" y="2030"/>
                </a:lnTo>
                <a:lnTo>
                  <a:pt x="3924" y="2029"/>
                </a:lnTo>
                <a:lnTo>
                  <a:pt x="3926" y="2027"/>
                </a:lnTo>
                <a:lnTo>
                  <a:pt x="3926" y="2026"/>
                </a:lnTo>
                <a:lnTo>
                  <a:pt x="3926" y="2025"/>
                </a:lnTo>
                <a:lnTo>
                  <a:pt x="3926" y="2022"/>
                </a:lnTo>
                <a:lnTo>
                  <a:pt x="3926" y="2019"/>
                </a:lnTo>
                <a:lnTo>
                  <a:pt x="3926" y="2016"/>
                </a:lnTo>
                <a:lnTo>
                  <a:pt x="3927" y="2015"/>
                </a:lnTo>
                <a:lnTo>
                  <a:pt x="3928" y="2014"/>
                </a:lnTo>
                <a:lnTo>
                  <a:pt x="3932" y="2012"/>
                </a:lnTo>
                <a:lnTo>
                  <a:pt x="3937" y="2010"/>
                </a:lnTo>
                <a:lnTo>
                  <a:pt x="3939" y="2009"/>
                </a:lnTo>
                <a:lnTo>
                  <a:pt x="3940" y="2008"/>
                </a:lnTo>
                <a:lnTo>
                  <a:pt x="3941" y="2004"/>
                </a:lnTo>
                <a:lnTo>
                  <a:pt x="3942" y="2001"/>
                </a:lnTo>
                <a:lnTo>
                  <a:pt x="3942" y="1997"/>
                </a:lnTo>
                <a:lnTo>
                  <a:pt x="3943" y="1994"/>
                </a:lnTo>
                <a:lnTo>
                  <a:pt x="3944" y="1992"/>
                </a:lnTo>
                <a:lnTo>
                  <a:pt x="3947" y="1989"/>
                </a:lnTo>
                <a:lnTo>
                  <a:pt x="3951" y="1985"/>
                </a:lnTo>
                <a:lnTo>
                  <a:pt x="3953" y="1981"/>
                </a:lnTo>
                <a:lnTo>
                  <a:pt x="3954" y="1977"/>
                </a:lnTo>
                <a:lnTo>
                  <a:pt x="3956" y="1970"/>
                </a:lnTo>
                <a:lnTo>
                  <a:pt x="3957" y="1962"/>
                </a:lnTo>
                <a:lnTo>
                  <a:pt x="3960" y="1954"/>
                </a:lnTo>
                <a:lnTo>
                  <a:pt x="3965" y="1954"/>
                </a:lnTo>
                <a:lnTo>
                  <a:pt x="3966" y="1952"/>
                </a:lnTo>
                <a:lnTo>
                  <a:pt x="3967" y="1950"/>
                </a:lnTo>
                <a:lnTo>
                  <a:pt x="3968" y="1945"/>
                </a:lnTo>
                <a:lnTo>
                  <a:pt x="3969" y="1936"/>
                </a:lnTo>
                <a:lnTo>
                  <a:pt x="3971" y="1927"/>
                </a:lnTo>
                <a:lnTo>
                  <a:pt x="3972" y="1922"/>
                </a:lnTo>
                <a:lnTo>
                  <a:pt x="3974" y="1918"/>
                </a:lnTo>
                <a:lnTo>
                  <a:pt x="3975" y="1914"/>
                </a:lnTo>
                <a:lnTo>
                  <a:pt x="3977" y="1911"/>
                </a:lnTo>
                <a:lnTo>
                  <a:pt x="3982" y="1904"/>
                </a:lnTo>
                <a:lnTo>
                  <a:pt x="3987" y="1898"/>
                </a:lnTo>
                <a:lnTo>
                  <a:pt x="3990" y="1892"/>
                </a:lnTo>
                <a:lnTo>
                  <a:pt x="3991" y="1890"/>
                </a:lnTo>
                <a:lnTo>
                  <a:pt x="3991" y="1887"/>
                </a:lnTo>
                <a:lnTo>
                  <a:pt x="3990" y="1884"/>
                </a:lnTo>
                <a:lnTo>
                  <a:pt x="3990" y="1881"/>
                </a:lnTo>
                <a:lnTo>
                  <a:pt x="3996" y="1878"/>
                </a:lnTo>
                <a:lnTo>
                  <a:pt x="3997" y="1876"/>
                </a:lnTo>
                <a:lnTo>
                  <a:pt x="3997" y="1874"/>
                </a:lnTo>
                <a:lnTo>
                  <a:pt x="3996" y="1870"/>
                </a:lnTo>
                <a:lnTo>
                  <a:pt x="3996" y="1865"/>
                </a:lnTo>
                <a:lnTo>
                  <a:pt x="3996" y="1861"/>
                </a:lnTo>
                <a:lnTo>
                  <a:pt x="4002" y="1856"/>
                </a:lnTo>
                <a:lnTo>
                  <a:pt x="4005" y="1828"/>
                </a:lnTo>
                <a:lnTo>
                  <a:pt x="4002" y="1819"/>
                </a:lnTo>
                <a:lnTo>
                  <a:pt x="3996" y="1819"/>
                </a:lnTo>
                <a:lnTo>
                  <a:pt x="3995" y="1820"/>
                </a:lnTo>
                <a:lnTo>
                  <a:pt x="3993" y="1821"/>
                </a:lnTo>
                <a:lnTo>
                  <a:pt x="3988" y="1825"/>
                </a:lnTo>
                <a:lnTo>
                  <a:pt x="3983" y="1828"/>
                </a:lnTo>
                <a:lnTo>
                  <a:pt x="3981" y="1830"/>
                </a:lnTo>
                <a:lnTo>
                  <a:pt x="3979" y="1830"/>
                </a:lnTo>
                <a:lnTo>
                  <a:pt x="3973" y="1831"/>
                </a:lnTo>
                <a:lnTo>
                  <a:pt x="3968" y="1832"/>
                </a:lnTo>
                <a:lnTo>
                  <a:pt x="3957" y="1832"/>
                </a:lnTo>
                <a:lnTo>
                  <a:pt x="3947" y="1833"/>
                </a:lnTo>
                <a:lnTo>
                  <a:pt x="3942" y="1834"/>
                </a:lnTo>
                <a:lnTo>
                  <a:pt x="3937" y="1836"/>
                </a:lnTo>
                <a:lnTo>
                  <a:pt x="3934" y="1838"/>
                </a:lnTo>
                <a:lnTo>
                  <a:pt x="3931" y="1842"/>
                </a:lnTo>
                <a:lnTo>
                  <a:pt x="3927" y="1845"/>
                </a:lnTo>
                <a:lnTo>
                  <a:pt x="3925" y="1847"/>
                </a:lnTo>
                <a:lnTo>
                  <a:pt x="3923" y="1847"/>
                </a:lnTo>
                <a:lnTo>
                  <a:pt x="3919" y="1847"/>
                </a:lnTo>
                <a:lnTo>
                  <a:pt x="3916" y="1847"/>
                </a:lnTo>
                <a:lnTo>
                  <a:pt x="3909" y="1845"/>
                </a:lnTo>
                <a:lnTo>
                  <a:pt x="3901" y="1844"/>
                </a:lnTo>
                <a:lnTo>
                  <a:pt x="3896" y="1844"/>
                </a:lnTo>
                <a:lnTo>
                  <a:pt x="3892" y="1844"/>
                </a:lnTo>
                <a:lnTo>
                  <a:pt x="3887" y="1847"/>
                </a:lnTo>
                <a:lnTo>
                  <a:pt x="3883" y="1849"/>
                </a:lnTo>
                <a:lnTo>
                  <a:pt x="3881" y="1850"/>
                </a:lnTo>
                <a:lnTo>
                  <a:pt x="3879" y="1849"/>
                </a:lnTo>
                <a:lnTo>
                  <a:pt x="3877" y="1848"/>
                </a:lnTo>
                <a:lnTo>
                  <a:pt x="3873" y="1844"/>
                </a:lnTo>
                <a:lnTo>
                  <a:pt x="3870" y="1839"/>
                </a:lnTo>
                <a:lnTo>
                  <a:pt x="3866" y="1834"/>
                </a:lnTo>
                <a:lnTo>
                  <a:pt x="3862" y="1826"/>
                </a:lnTo>
                <a:lnTo>
                  <a:pt x="3860" y="1823"/>
                </a:lnTo>
                <a:lnTo>
                  <a:pt x="3859" y="1822"/>
                </a:lnTo>
                <a:lnTo>
                  <a:pt x="3858" y="1822"/>
                </a:lnTo>
                <a:lnTo>
                  <a:pt x="3853" y="1822"/>
                </a:lnTo>
                <a:lnTo>
                  <a:pt x="3855" y="1819"/>
                </a:lnTo>
                <a:lnTo>
                  <a:pt x="3857" y="1816"/>
                </a:lnTo>
                <a:lnTo>
                  <a:pt x="3860" y="1813"/>
                </a:lnTo>
                <a:lnTo>
                  <a:pt x="3861" y="1811"/>
                </a:lnTo>
                <a:lnTo>
                  <a:pt x="3861" y="1808"/>
                </a:lnTo>
                <a:lnTo>
                  <a:pt x="3861" y="1805"/>
                </a:lnTo>
                <a:lnTo>
                  <a:pt x="3861" y="1802"/>
                </a:lnTo>
                <a:lnTo>
                  <a:pt x="3861" y="1801"/>
                </a:lnTo>
                <a:lnTo>
                  <a:pt x="3861" y="1799"/>
                </a:lnTo>
                <a:lnTo>
                  <a:pt x="3856" y="1796"/>
                </a:lnTo>
                <a:lnTo>
                  <a:pt x="3850" y="1793"/>
                </a:lnTo>
                <a:lnTo>
                  <a:pt x="3845" y="1790"/>
                </a:lnTo>
                <a:lnTo>
                  <a:pt x="3843" y="1788"/>
                </a:lnTo>
                <a:lnTo>
                  <a:pt x="3841" y="1785"/>
                </a:lnTo>
                <a:lnTo>
                  <a:pt x="3841" y="1783"/>
                </a:lnTo>
                <a:lnTo>
                  <a:pt x="3840" y="1781"/>
                </a:lnTo>
                <a:lnTo>
                  <a:pt x="3840" y="1778"/>
                </a:lnTo>
                <a:lnTo>
                  <a:pt x="3840" y="1774"/>
                </a:lnTo>
                <a:lnTo>
                  <a:pt x="3840" y="1773"/>
                </a:lnTo>
                <a:lnTo>
                  <a:pt x="3839" y="1771"/>
                </a:lnTo>
                <a:lnTo>
                  <a:pt x="3835" y="1770"/>
                </a:lnTo>
                <a:lnTo>
                  <a:pt x="3831" y="1769"/>
                </a:lnTo>
                <a:lnTo>
                  <a:pt x="3827" y="1768"/>
                </a:lnTo>
                <a:lnTo>
                  <a:pt x="3826" y="1767"/>
                </a:lnTo>
                <a:lnTo>
                  <a:pt x="3825" y="1766"/>
                </a:lnTo>
                <a:lnTo>
                  <a:pt x="3823" y="1764"/>
                </a:lnTo>
                <a:lnTo>
                  <a:pt x="3823" y="1762"/>
                </a:lnTo>
                <a:lnTo>
                  <a:pt x="3822" y="1757"/>
                </a:lnTo>
                <a:lnTo>
                  <a:pt x="3821" y="1752"/>
                </a:lnTo>
                <a:lnTo>
                  <a:pt x="3819" y="1749"/>
                </a:lnTo>
                <a:lnTo>
                  <a:pt x="3817" y="1748"/>
                </a:lnTo>
                <a:lnTo>
                  <a:pt x="3815" y="1748"/>
                </a:lnTo>
                <a:lnTo>
                  <a:pt x="3812" y="1749"/>
                </a:lnTo>
                <a:lnTo>
                  <a:pt x="3810" y="1749"/>
                </a:lnTo>
                <a:lnTo>
                  <a:pt x="3809" y="1748"/>
                </a:lnTo>
                <a:lnTo>
                  <a:pt x="3808" y="1746"/>
                </a:lnTo>
                <a:lnTo>
                  <a:pt x="3804" y="1741"/>
                </a:lnTo>
                <a:lnTo>
                  <a:pt x="3799" y="1732"/>
                </a:lnTo>
                <a:lnTo>
                  <a:pt x="3797" y="1734"/>
                </a:lnTo>
                <a:lnTo>
                  <a:pt x="3795" y="1735"/>
                </a:lnTo>
                <a:lnTo>
                  <a:pt x="3794" y="1735"/>
                </a:lnTo>
                <a:lnTo>
                  <a:pt x="3794" y="1732"/>
                </a:lnTo>
                <a:lnTo>
                  <a:pt x="3790" y="1731"/>
                </a:lnTo>
                <a:lnTo>
                  <a:pt x="3789" y="1730"/>
                </a:lnTo>
                <a:lnTo>
                  <a:pt x="3788" y="1729"/>
                </a:lnTo>
                <a:lnTo>
                  <a:pt x="3786" y="1723"/>
                </a:lnTo>
                <a:lnTo>
                  <a:pt x="3785" y="1716"/>
                </a:lnTo>
                <a:lnTo>
                  <a:pt x="3784" y="1700"/>
                </a:lnTo>
                <a:lnTo>
                  <a:pt x="3783" y="1685"/>
                </a:lnTo>
                <a:lnTo>
                  <a:pt x="3782" y="1678"/>
                </a:lnTo>
                <a:lnTo>
                  <a:pt x="3781" y="1675"/>
                </a:lnTo>
                <a:lnTo>
                  <a:pt x="3780" y="1673"/>
                </a:lnTo>
                <a:lnTo>
                  <a:pt x="3774" y="1673"/>
                </a:lnTo>
                <a:lnTo>
                  <a:pt x="3761" y="1659"/>
                </a:lnTo>
                <a:lnTo>
                  <a:pt x="3753" y="1650"/>
                </a:lnTo>
                <a:lnTo>
                  <a:pt x="3749" y="1645"/>
                </a:lnTo>
                <a:lnTo>
                  <a:pt x="3747" y="1638"/>
                </a:lnTo>
                <a:lnTo>
                  <a:pt x="3747" y="1631"/>
                </a:lnTo>
                <a:lnTo>
                  <a:pt x="3748" y="1625"/>
                </a:lnTo>
                <a:lnTo>
                  <a:pt x="3749" y="1619"/>
                </a:lnTo>
                <a:lnTo>
                  <a:pt x="3750" y="1607"/>
                </a:lnTo>
                <a:lnTo>
                  <a:pt x="3750" y="1601"/>
                </a:lnTo>
                <a:lnTo>
                  <a:pt x="3749" y="1598"/>
                </a:lnTo>
                <a:lnTo>
                  <a:pt x="3749" y="1594"/>
                </a:lnTo>
                <a:lnTo>
                  <a:pt x="3743" y="1591"/>
                </a:lnTo>
                <a:lnTo>
                  <a:pt x="3743" y="1589"/>
                </a:lnTo>
                <a:lnTo>
                  <a:pt x="3742" y="1588"/>
                </a:lnTo>
                <a:lnTo>
                  <a:pt x="3743" y="1584"/>
                </a:lnTo>
                <a:lnTo>
                  <a:pt x="3743" y="1581"/>
                </a:lnTo>
                <a:lnTo>
                  <a:pt x="3743" y="1579"/>
                </a:lnTo>
                <a:lnTo>
                  <a:pt x="3743" y="1577"/>
                </a:lnTo>
                <a:lnTo>
                  <a:pt x="3740" y="1575"/>
                </a:lnTo>
                <a:lnTo>
                  <a:pt x="3734" y="1571"/>
                </a:lnTo>
                <a:lnTo>
                  <a:pt x="3727" y="1566"/>
                </a:lnTo>
                <a:lnTo>
                  <a:pt x="3725" y="1565"/>
                </a:lnTo>
                <a:lnTo>
                  <a:pt x="3723" y="1563"/>
                </a:lnTo>
                <a:lnTo>
                  <a:pt x="3722" y="1562"/>
                </a:lnTo>
                <a:lnTo>
                  <a:pt x="3722" y="1560"/>
                </a:lnTo>
                <a:lnTo>
                  <a:pt x="3720" y="1556"/>
                </a:lnTo>
                <a:lnTo>
                  <a:pt x="3718" y="1549"/>
                </a:lnTo>
                <a:lnTo>
                  <a:pt x="3717" y="1542"/>
                </a:lnTo>
                <a:lnTo>
                  <a:pt x="3715" y="1535"/>
                </a:lnTo>
                <a:lnTo>
                  <a:pt x="3717" y="1534"/>
                </a:lnTo>
                <a:lnTo>
                  <a:pt x="3720" y="1534"/>
                </a:lnTo>
                <a:lnTo>
                  <a:pt x="3721" y="1533"/>
                </a:lnTo>
                <a:lnTo>
                  <a:pt x="3721" y="1532"/>
                </a:lnTo>
                <a:lnTo>
                  <a:pt x="3720" y="1529"/>
                </a:lnTo>
                <a:lnTo>
                  <a:pt x="3720" y="1527"/>
                </a:lnTo>
                <a:lnTo>
                  <a:pt x="3718" y="1524"/>
                </a:lnTo>
                <a:lnTo>
                  <a:pt x="3714" y="1518"/>
                </a:lnTo>
                <a:lnTo>
                  <a:pt x="3710" y="1512"/>
                </a:lnTo>
                <a:lnTo>
                  <a:pt x="3706" y="1507"/>
                </a:lnTo>
                <a:lnTo>
                  <a:pt x="3702" y="1497"/>
                </a:lnTo>
                <a:lnTo>
                  <a:pt x="3699" y="1488"/>
                </a:lnTo>
                <a:lnTo>
                  <a:pt x="3696" y="1479"/>
                </a:lnTo>
                <a:lnTo>
                  <a:pt x="3692" y="1467"/>
                </a:lnTo>
                <a:lnTo>
                  <a:pt x="3692" y="1466"/>
                </a:lnTo>
                <a:lnTo>
                  <a:pt x="3690" y="1464"/>
                </a:lnTo>
                <a:lnTo>
                  <a:pt x="3687" y="1459"/>
                </a:lnTo>
                <a:lnTo>
                  <a:pt x="3683" y="1454"/>
                </a:lnTo>
                <a:lnTo>
                  <a:pt x="3682" y="1452"/>
                </a:lnTo>
                <a:lnTo>
                  <a:pt x="3681" y="1451"/>
                </a:lnTo>
                <a:lnTo>
                  <a:pt x="3681" y="1448"/>
                </a:lnTo>
                <a:lnTo>
                  <a:pt x="3681" y="1445"/>
                </a:lnTo>
                <a:lnTo>
                  <a:pt x="3682" y="1442"/>
                </a:lnTo>
                <a:lnTo>
                  <a:pt x="3681" y="1440"/>
                </a:lnTo>
                <a:lnTo>
                  <a:pt x="3681" y="1439"/>
                </a:lnTo>
                <a:lnTo>
                  <a:pt x="3679" y="1435"/>
                </a:lnTo>
                <a:lnTo>
                  <a:pt x="3675" y="1432"/>
                </a:lnTo>
                <a:lnTo>
                  <a:pt x="3674" y="1430"/>
                </a:lnTo>
                <a:lnTo>
                  <a:pt x="3672" y="1428"/>
                </a:lnTo>
                <a:lnTo>
                  <a:pt x="3670" y="1422"/>
                </a:lnTo>
                <a:lnTo>
                  <a:pt x="3667" y="1415"/>
                </a:lnTo>
                <a:lnTo>
                  <a:pt x="3667" y="1412"/>
                </a:lnTo>
                <a:lnTo>
                  <a:pt x="3667" y="1411"/>
                </a:lnTo>
                <a:lnTo>
                  <a:pt x="3667" y="1410"/>
                </a:lnTo>
                <a:lnTo>
                  <a:pt x="3668" y="1410"/>
                </a:lnTo>
                <a:lnTo>
                  <a:pt x="3670" y="1411"/>
                </a:lnTo>
                <a:lnTo>
                  <a:pt x="3672" y="1413"/>
                </a:lnTo>
                <a:lnTo>
                  <a:pt x="3673" y="1415"/>
                </a:lnTo>
                <a:lnTo>
                  <a:pt x="3675" y="1420"/>
                </a:lnTo>
                <a:lnTo>
                  <a:pt x="3676" y="1425"/>
                </a:lnTo>
                <a:lnTo>
                  <a:pt x="3677" y="1428"/>
                </a:lnTo>
                <a:lnTo>
                  <a:pt x="3677" y="1429"/>
                </a:lnTo>
                <a:lnTo>
                  <a:pt x="3678" y="1431"/>
                </a:lnTo>
                <a:lnTo>
                  <a:pt x="3681" y="1434"/>
                </a:lnTo>
                <a:lnTo>
                  <a:pt x="3685" y="1438"/>
                </a:lnTo>
                <a:lnTo>
                  <a:pt x="3692" y="1445"/>
                </a:lnTo>
                <a:lnTo>
                  <a:pt x="3694" y="1444"/>
                </a:lnTo>
                <a:lnTo>
                  <a:pt x="3696" y="1443"/>
                </a:lnTo>
                <a:lnTo>
                  <a:pt x="3701" y="1442"/>
                </a:lnTo>
                <a:lnTo>
                  <a:pt x="3701" y="1438"/>
                </a:lnTo>
                <a:lnTo>
                  <a:pt x="3701" y="1434"/>
                </a:lnTo>
                <a:lnTo>
                  <a:pt x="3710" y="1439"/>
                </a:lnTo>
                <a:lnTo>
                  <a:pt x="3716" y="1444"/>
                </a:lnTo>
                <a:lnTo>
                  <a:pt x="3720" y="1449"/>
                </a:lnTo>
                <a:lnTo>
                  <a:pt x="3722" y="1453"/>
                </a:lnTo>
                <a:lnTo>
                  <a:pt x="3726" y="1464"/>
                </a:lnTo>
                <a:lnTo>
                  <a:pt x="3730" y="1471"/>
                </a:lnTo>
                <a:lnTo>
                  <a:pt x="3735" y="1479"/>
                </a:lnTo>
                <a:lnTo>
                  <a:pt x="3736" y="1480"/>
                </a:lnTo>
                <a:lnTo>
                  <a:pt x="3738" y="1481"/>
                </a:lnTo>
                <a:lnTo>
                  <a:pt x="3742" y="1484"/>
                </a:lnTo>
                <a:lnTo>
                  <a:pt x="3746" y="1487"/>
                </a:lnTo>
                <a:lnTo>
                  <a:pt x="3749" y="1490"/>
                </a:lnTo>
                <a:lnTo>
                  <a:pt x="3750" y="1494"/>
                </a:lnTo>
                <a:lnTo>
                  <a:pt x="3751" y="1498"/>
                </a:lnTo>
                <a:lnTo>
                  <a:pt x="3751" y="1506"/>
                </a:lnTo>
                <a:lnTo>
                  <a:pt x="3752" y="1514"/>
                </a:lnTo>
                <a:lnTo>
                  <a:pt x="3753" y="1517"/>
                </a:lnTo>
                <a:lnTo>
                  <a:pt x="3754" y="1521"/>
                </a:lnTo>
                <a:lnTo>
                  <a:pt x="3757" y="1524"/>
                </a:lnTo>
                <a:lnTo>
                  <a:pt x="3760" y="1527"/>
                </a:lnTo>
                <a:lnTo>
                  <a:pt x="3767" y="1533"/>
                </a:lnTo>
                <a:lnTo>
                  <a:pt x="3771" y="1536"/>
                </a:lnTo>
                <a:lnTo>
                  <a:pt x="3773" y="1538"/>
                </a:lnTo>
                <a:lnTo>
                  <a:pt x="3775" y="1540"/>
                </a:lnTo>
                <a:lnTo>
                  <a:pt x="3778" y="1544"/>
                </a:lnTo>
                <a:lnTo>
                  <a:pt x="3779" y="1546"/>
                </a:lnTo>
                <a:lnTo>
                  <a:pt x="3780" y="1549"/>
                </a:lnTo>
                <a:lnTo>
                  <a:pt x="3780" y="1552"/>
                </a:lnTo>
                <a:lnTo>
                  <a:pt x="3779" y="1556"/>
                </a:lnTo>
                <a:lnTo>
                  <a:pt x="3778" y="1559"/>
                </a:lnTo>
                <a:lnTo>
                  <a:pt x="3777" y="1563"/>
                </a:lnTo>
                <a:lnTo>
                  <a:pt x="3777" y="1567"/>
                </a:lnTo>
                <a:lnTo>
                  <a:pt x="3778" y="1577"/>
                </a:lnTo>
                <a:lnTo>
                  <a:pt x="3778" y="1582"/>
                </a:lnTo>
                <a:lnTo>
                  <a:pt x="3779" y="1586"/>
                </a:lnTo>
                <a:lnTo>
                  <a:pt x="3781" y="1588"/>
                </a:lnTo>
                <a:lnTo>
                  <a:pt x="3781" y="1589"/>
                </a:lnTo>
                <a:lnTo>
                  <a:pt x="3782" y="1588"/>
                </a:lnTo>
                <a:lnTo>
                  <a:pt x="3783" y="1597"/>
                </a:lnTo>
                <a:lnTo>
                  <a:pt x="3783" y="1605"/>
                </a:lnTo>
                <a:lnTo>
                  <a:pt x="3783" y="1612"/>
                </a:lnTo>
                <a:lnTo>
                  <a:pt x="3784" y="1616"/>
                </a:lnTo>
                <a:lnTo>
                  <a:pt x="3785" y="1619"/>
                </a:lnTo>
                <a:lnTo>
                  <a:pt x="3788" y="1624"/>
                </a:lnTo>
                <a:lnTo>
                  <a:pt x="3791" y="1627"/>
                </a:lnTo>
                <a:lnTo>
                  <a:pt x="3795" y="1630"/>
                </a:lnTo>
                <a:lnTo>
                  <a:pt x="3800" y="1633"/>
                </a:lnTo>
                <a:lnTo>
                  <a:pt x="3804" y="1635"/>
                </a:lnTo>
                <a:lnTo>
                  <a:pt x="3809" y="1638"/>
                </a:lnTo>
                <a:lnTo>
                  <a:pt x="3813" y="1641"/>
                </a:lnTo>
                <a:lnTo>
                  <a:pt x="3815" y="1643"/>
                </a:lnTo>
                <a:lnTo>
                  <a:pt x="3816" y="1645"/>
                </a:lnTo>
                <a:lnTo>
                  <a:pt x="3818" y="1648"/>
                </a:lnTo>
                <a:lnTo>
                  <a:pt x="3819" y="1653"/>
                </a:lnTo>
                <a:lnTo>
                  <a:pt x="3821" y="1662"/>
                </a:lnTo>
                <a:lnTo>
                  <a:pt x="3822" y="1671"/>
                </a:lnTo>
                <a:lnTo>
                  <a:pt x="3823" y="1675"/>
                </a:lnTo>
                <a:lnTo>
                  <a:pt x="3825" y="1678"/>
                </a:lnTo>
                <a:lnTo>
                  <a:pt x="3830" y="1681"/>
                </a:lnTo>
                <a:lnTo>
                  <a:pt x="3836" y="1684"/>
                </a:lnTo>
                <a:lnTo>
                  <a:pt x="3850" y="1707"/>
                </a:lnTo>
                <a:lnTo>
                  <a:pt x="3850" y="1709"/>
                </a:lnTo>
                <a:lnTo>
                  <a:pt x="3850" y="1712"/>
                </a:lnTo>
                <a:lnTo>
                  <a:pt x="3849" y="1718"/>
                </a:lnTo>
                <a:lnTo>
                  <a:pt x="3847" y="1723"/>
                </a:lnTo>
                <a:lnTo>
                  <a:pt x="3847" y="1729"/>
                </a:lnTo>
                <a:lnTo>
                  <a:pt x="3848" y="1730"/>
                </a:lnTo>
                <a:lnTo>
                  <a:pt x="3848" y="1733"/>
                </a:lnTo>
                <a:lnTo>
                  <a:pt x="3849" y="1742"/>
                </a:lnTo>
                <a:lnTo>
                  <a:pt x="3851" y="1754"/>
                </a:lnTo>
                <a:lnTo>
                  <a:pt x="3852" y="1759"/>
                </a:lnTo>
                <a:lnTo>
                  <a:pt x="3853" y="1763"/>
                </a:lnTo>
                <a:lnTo>
                  <a:pt x="3852" y="1762"/>
                </a:lnTo>
                <a:lnTo>
                  <a:pt x="3851" y="1761"/>
                </a:lnTo>
                <a:lnTo>
                  <a:pt x="3851" y="1762"/>
                </a:lnTo>
                <a:lnTo>
                  <a:pt x="3850" y="1763"/>
                </a:lnTo>
                <a:lnTo>
                  <a:pt x="3850" y="1765"/>
                </a:lnTo>
                <a:lnTo>
                  <a:pt x="3850" y="1766"/>
                </a:lnTo>
                <a:lnTo>
                  <a:pt x="3854" y="1770"/>
                </a:lnTo>
                <a:lnTo>
                  <a:pt x="3857" y="1772"/>
                </a:lnTo>
                <a:lnTo>
                  <a:pt x="3858" y="1774"/>
                </a:lnTo>
                <a:lnTo>
                  <a:pt x="3860" y="1780"/>
                </a:lnTo>
                <a:lnTo>
                  <a:pt x="3860" y="1786"/>
                </a:lnTo>
                <a:lnTo>
                  <a:pt x="3861" y="1790"/>
                </a:lnTo>
                <a:lnTo>
                  <a:pt x="3861" y="1794"/>
                </a:lnTo>
                <a:lnTo>
                  <a:pt x="3862" y="1796"/>
                </a:lnTo>
                <a:lnTo>
                  <a:pt x="3863" y="1797"/>
                </a:lnTo>
                <a:lnTo>
                  <a:pt x="3865" y="1798"/>
                </a:lnTo>
                <a:lnTo>
                  <a:pt x="3867" y="1799"/>
                </a:lnTo>
                <a:lnTo>
                  <a:pt x="3869" y="1799"/>
                </a:lnTo>
                <a:lnTo>
                  <a:pt x="3872" y="1800"/>
                </a:lnTo>
                <a:lnTo>
                  <a:pt x="3881" y="1799"/>
                </a:lnTo>
                <a:lnTo>
                  <a:pt x="3885" y="1798"/>
                </a:lnTo>
                <a:lnTo>
                  <a:pt x="3889" y="1797"/>
                </a:lnTo>
                <a:lnTo>
                  <a:pt x="3893" y="1794"/>
                </a:lnTo>
                <a:lnTo>
                  <a:pt x="3896" y="1792"/>
                </a:lnTo>
                <a:lnTo>
                  <a:pt x="3899" y="1789"/>
                </a:lnTo>
                <a:lnTo>
                  <a:pt x="3902" y="1786"/>
                </a:lnTo>
                <a:lnTo>
                  <a:pt x="3905" y="1784"/>
                </a:lnTo>
                <a:lnTo>
                  <a:pt x="3909" y="1783"/>
                </a:lnTo>
                <a:lnTo>
                  <a:pt x="3911" y="1782"/>
                </a:lnTo>
                <a:lnTo>
                  <a:pt x="3913" y="1782"/>
                </a:lnTo>
                <a:lnTo>
                  <a:pt x="3917" y="1782"/>
                </a:lnTo>
                <a:lnTo>
                  <a:pt x="3922" y="1783"/>
                </a:lnTo>
                <a:lnTo>
                  <a:pt x="3926" y="1783"/>
                </a:lnTo>
                <a:lnTo>
                  <a:pt x="3929" y="1780"/>
                </a:lnTo>
                <a:lnTo>
                  <a:pt x="3932" y="1778"/>
                </a:lnTo>
                <a:lnTo>
                  <a:pt x="3934" y="1777"/>
                </a:lnTo>
                <a:lnTo>
                  <a:pt x="3938" y="1779"/>
                </a:lnTo>
                <a:lnTo>
                  <a:pt x="3941" y="1781"/>
                </a:lnTo>
                <a:lnTo>
                  <a:pt x="3943" y="1782"/>
                </a:lnTo>
                <a:lnTo>
                  <a:pt x="3946" y="1782"/>
                </a:lnTo>
                <a:lnTo>
                  <a:pt x="3950" y="1781"/>
                </a:lnTo>
                <a:lnTo>
                  <a:pt x="3954" y="1780"/>
                </a:lnTo>
                <a:lnTo>
                  <a:pt x="3955" y="1779"/>
                </a:lnTo>
                <a:lnTo>
                  <a:pt x="3956" y="1778"/>
                </a:lnTo>
                <a:lnTo>
                  <a:pt x="3958" y="1774"/>
                </a:lnTo>
                <a:lnTo>
                  <a:pt x="3960" y="1771"/>
                </a:lnTo>
                <a:lnTo>
                  <a:pt x="3962" y="1768"/>
                </a:lnTo>
                <a:lnTo>
                  <a:pt x="3968" y="1765"/>
                </a:lnTo>
                <a:lnTo>
                  <a:pt x="3974" y="1763"/>
                </a:lnTo>
                <a:lnTo>
                  <a:pt x="3987" y="1759"/>
                </a:lnTo>
                <a:lnTo>
                  <a:pt x="3999" y="1755"/>
                </a:lnTo>
                <a:lnTo>
                  <a:pt x="4005" y="1752"/>
                </a:lnTo>
                <a:lnTo>
                  <a:pt x="4010" y="1749"/>
                </a:lnTo>
                <a:lnTo>
                  <a:pt x="4010" y="1746"/>
                </a:lnTo>
                <a:lnTo>
                  <a:pt x="4013" y="1746"/>
                </a:lnTo>
                <a:lnTo>
                  <a:pt x="4016" y="1738"/>
                </a:lnTo>
                <a:lnTo>
                  <a:pt x="4021" y="1738"/>
                </a:lnTo>
                <a:lnTo>
                  <a:pt x="4022" y="1736"/>
                </a:lnTo>
                <a:lnTo>
                  <a:pt x="4021" y="1735"/>
                </a:lnTo>
                <a:lnTo>
                  <a:pt x="4020" y="1731"/>
                </a:lnTo>
                <a:lnTo>
                  <a:pt x="4019" y="1729"/>
                </a:lnTo>
                <a:lnTo>
                  <a:pt x="4019" y="1727"/>
                </a:lnTo>
                <a:lnTo>
                  <a:pt x="4020" y="1725"/>
                </a:lnTo>
                <a:lnTo>
                  <a:pt x="4021" y="1723"/>
                </a:lnTo>
                <a:lnTo>
                  <a:pt x="4024" y="1722"/>
                </a:lnTo>
                <a:lnTo>
                  <a:pt x="4026" y="1720"/>
                </a:lnTo>
                <a:lnTo>
                  <a:pt x="4031" y="1719"/>
                </a:lnTo>
                <a:lnTo>
                  <a:pt x="4043" y="1717"/>
                </a:lnTo>
                <a:lnTo>
                  <a:pt x="4050" y="1715"/>
                </a:lnTo>
                <a:lnTo>
                  <a:pt x="4053" y="1711"/>
                </a:lnTo>
                <a:lnTo>
                  <a:pt x="4056" y="1708"/>
                </a:lnTo>
                <a:lnTo>
                  <a:pt x="4058" y="1707"/>
                </a:lnTo>
                <a:lnTo>
                  <a:pt x="4059" y="1706"/>
                </a:lnTo>
                <a:lnTo>
                  <a:pt x="4060" y="1707"/>
                </a:lnTo>
                <a:lnTo>
                  <a:pt x="4063" y="1708"/>
                </a:lnTo>
                <a:lnTo>
                  <a:pt x="4066" y="1708"/>
                </a:lnTo>
                <a:lnTo>
                  <a:pt x="4067" y="1708"/>
                </a:lnTo>
                <a:lnTo>
                  <a:pt x="4069" y="1707"/>
                </a:lnTo>
                <a:lnTo>
                  <a:pt x="4072" y="1703"/>
                </a:lnTo>
                <a:lnTo>
                  <a:pt x="4073" y="1698"/>
                </a:lnTo>
                <a:lnTo>
                  <a:pt x="4075" y="1693"/>
                </a:lnTo>
                <a:lnTo>
                  <a:pt x="4076" y="1691"/>
                </a:lnTo>
                <a:lnTo>
                  <a:pt x="4078" y="1690"/>
                </a:lnTo>
                <a:lnTo>
                  <a:pt x="4079" y="1689"/>
                </a:lnTo>
                <a:lnTo>
                  <a:pt x="4081" y="1689"/>
                </a:lnTo>
                <a:lnTo>
                  <a:pt x="4087" y="1689"/>
                </a:lnTo>
                <a:lnTo>
                  <a:pt x="4096" y="1690"/>
                </a:lnTo>
                <a:lnTo>
                  <a:pt x="4101" y="1679"/>
                </a:lnTo>
                <a:lnTo>
                  <a:pt x="4103" y="1676"/>
                </a:lnTo>
                <a:lnTo>
                  <a:pt x="4105" y="1674"/>
                </a:lnTo>
                <a:lnTo>
                  <a:pt x="4111" y="1671"/>
                </a:lnTo>
                <a:lnTo>
                  <a:pt x="4124" y="1667"/>
                </a:lnTo>
                <a:lnTo>
                  <a:pt x="4123" y="1666"/>
                </a:lnTo>
                <a:lnTo>
                  <a:pt x="4122" y="1665"/>
                </a:lnTo>
                <a:lnTo>
                  <a:pt x="4122" y="1662"/>
                </a:lnTo>
                <a:lnTo>
                  <a:pt x="4122" y="1652"/>
                </a:lnTo>
                <a:lnTo>
                  <a:pt x="4125" y="1643"/>
                </a:lnTo>
                <a:lnTo>
                  <a:pt x="4126" y="1636"/>
                </a:lnTo>
                <a:lnTo>
                  <a:pt x="4131" y="1636"/>
                </a:lnTo>
                <a:lnTo>
                  <a:pt x="4135" y="1636"/>
                </a:lnTo>
                <a:lnTo>
                  <a:pt x="4137" y="1631"/>
                </a:lnTo>
                <a:lnTo>
                  <a:pt x="4138" y="1625"/>
                </a:lnTo>
                <a:lnTo>
                  <a:pt x="4139" y="1619"/>
                </a:lnTo>
                <a:lnTo>
                  <a:pt x="4139" y="1617"/>
                </a:lnTo>
                <a:lnTo>
                  <a:pt x="4141" y="1614"/>
                </a:lnTo>
                <a:lnTo>
                  <a:pt x="4143" y="1610"/>
                </a:lnTo>
                <a:lnTo>
                  <a:pt x="4145" y="1607"/>
                </a:lnTo>
                <a:lnTo>
                  <a:pt x="4152" y="1599"/>
                </a:lnTo>
                <a:lnTo>
                  <a:pt x="4154" y="1595"/>
                </a:lnTo>
                <a:lnTo>
                  <a:pt x="4157" y="1590"/>
                </a:lnTo>
                <a:lnTo>
                  <a:pt x="4157" y="1588"/>
                </a:lnTo>
                <a:lnTo>
                  <a:pt x="4158" y="1585"/>
                </a:lnTo>
                <a:lnTo>
                  <a:pt x="4158" y="1583"/>
                </a:lnTo>
                <a:lnTo>
                  <a:pt x="4157" y="1580"/>
                </a:lnTo>
                <a:lnTo>
                  <a:pt x="4157" y="1579"/>
                </a:lnTo>
                <a:lnTo>
                  <a:pt x="4156" y="1579"/>
                </a:lnTo>
                <a:lnTo>
                  <a:pt x="4154" y="1578"/>
                </a:lnTo>
                <a:lnTo>
                  <a:pt x="4151" y="1578"/>
                </a:lnTo>
                <a:lnTo>
                  <a:pt x="4149" y="1577"/>
                </a:lnTo>
                <a:lnTo>
                  <a:pt x="4148" y="1576"/>
                </a:lnTo>
                <a:lnTo>
                  <a:pt x="4147" y="1573"/>
                </a:lnTo>
                <a:lnTo>
                  <a:pt x="4145" y="1566"/>
                </a:lnTo>
                <a:lnTo>
                  <a:pt x="4143" y="1559"/>
                </a:lnTo>
                <a:lnTo>
                  <a:pt x="4142" y="1556"/>
                </a:lnTo>
                <a:lnTo>
                  <a:pt x="4141" y="1555"/>
                </a:lnTo>
                <a:lnTo>
                  <a:pt x="4138" y="1553"/>
                </a:lnTo>
                <a:lnTo>
                  <a:pt x="4136" y="1552"/>
                </a:lnTo>
                <a:lnTo>
                  <a:pt x="4133" y="1551"/>
                </a:lnTo>
                <a:lnTo>
                  <a:pt x="4130" y="1550"/>
                </a:lnTo>
                <a:lnTo>
                  <a:pt x="4124" y="1549"/>
                </a:lnTo>
                <a:lnTo>
                  <a:pt x="4121" y="1548"/>
                </a:lnTo>
                <a:lnTo>
                  <a:pt x="4118" y="1546"/>
                </a:lnTo>
                <a:lnTo>
                  <a:pt x="4115" y="1544"/>
                </a:lnTo>
                <a:lnTo>
                  <a:pt x="4112" y="1541"/>
                </a:lnTo>
                <a:lnTo>
                  <a:pt x="4109" y="1539"/>
                </a:lnTo>
                <a:lnTo>
                  <a:pt x="4106" y="1535"/>
                </a:lnTo>
                <a:lnTo>
                  <a:pt x="4102" y="1528"/>
                </a:lnTo>
                <a:lnTo>
                  <a:pt x="4098" y="1520"/>
                </a:lnTo>
                <a:lnTo>
                  <a:pt x="4096" y="1515"/>
                </a:lnTo>
                <a:lnTo>
                  <a:pt x="4095" y="1510"/>
                </a:lnTo>
                <a:lnTo>
                  <a:pt x="4093" y="1504"/>
                </a:lnTo>
                <a:lnTo>
                  <a:pt x="4093" y="1498"/>
                </a:lnTo>
                <a:lnTo>
                  <a:pt x="4089" y="1502"/>
                </a:lnTo>
                <a:lnTo>
                  <a:pt x="4086" y="1505"/>
                </a:lnTo>
                <a:lnTo>
                  <a:pt x="4080" y="1514"/>
                </a:lnTo>
                <a:lnTo>
                  <a:pt x="4077" y="1518"/>
                </a:lnTo>
                <a:lnTo>
                  <a:pt x="4073" y="1521"/>
                </a:lnTo>
                <a:lnTo>
                  <a:pt x="4069" y="1525"/>
                </a:lnTo>
                <a:lnTo>
                  <a:pt x="4065" y="1529"/>
                </a:lnTo>
                <a:lnTo>
                  <a:pt x="4059" y="1532"/>
                </a:lnTo>
                <a:lnTo>
                  <a:pt x="4052" y="1535"/>
                </a:lnTo>
                <a:lnTo>
                  <a:pt x="4050" y="1541"/>
                </a:lnTo>
                <a:lnTo>
                  <a:pt x="4047" y="1541"/>
                </a:lnTo>
                <a:lnTo>
                  <a:pt x="4044" y="1540"/>
                </a:lnTo>
                <a:lnTo>
                  <a:pt x="4041" y="1538"/>
                </a:lnTo>
                <a:lnTo>
                  <a:pt x="4038" y="1536"/>
                </a:lnTo>
                <a:lnTo>
                  <a:pt x="4037" y="1535"/>
                </a:lnTo>
                <a:lnTo>
                  <a:pt x="4035" y="1535"/>
                </a:lnTo>
                <a:lnTo>
                  <a:pt x="4029" y="1535"/>
                </a:lnTo>
                <a:lnTo>
                  <a:pt x="4025" y="1536"/>
                </a:lnTo>
                <a:lnTo>
                  <a:pt x="4021" y="1537"/>
                </a:lnTo>
                <a:lnTo>
                  <a:pt x="4019" y="1537"/>
                </a:lnTo>
                <a:lnTo>
                  <a:pt x="4016" y="1537"/>
                </a:lnTo>
                <a:lnTo>
                  <a:pt x="4005" y="1535"/>
                </a:lnTo>
                <a:lnTo>
                  <a:pt x="4006" y="1524"/>
                </a:lnTo>
                <a:lnTo>
                  <a:pt x="4006" y="1514"/>
                </a:lnTo>
                <a:lnTo>
                  <a:pt x="4006" y="1505"/>
                </a:lnTo>
                <a:lnTo>
                  <a:pt x="4006" y="1501"/>
                </a:lnTo>
                <a:lnTo>
                  <a:pt x="4005" y="1499"/>
                </a:lnTo>
                <a:lnTo>
                  <a:pt x="4004" y="1498"/>
                </a:lnTo>
                <a:lnTo>
                  <a:pt x="4003" y="1498"/>
                </a:lnTo>
                <a:lnTo>
                  <a:pt x="4002" y="1498"/>
                </a:lnTo>
                <a:lnTo>
                  <a:pt x="4000" y="1500"/>
                </a:lnTo>
                <a:lnTo>
                  <a:pt x="3999" y="1502"/>
                </a:lnTo>
                <a:lnTo>
                  <a:pt x="3997" y="1507"/>
                </a:lnTo>
                <a:lnTo>
                  <a:pt x="3993" y="1518"/>
                </a:lnTo>
                <a:lnTo>
                  <a:pt x="3988" y="1518"/>
                </a:lnTo>
                <a:lnTo>
                  <a:pt x="3985" y="1509"/>
                </a:lnTo>
                <a:lnTo>
                  <a:pt x="3982" y="1501"/>
                </a:lnTo>
                <a:lnTo>
                  <a:pt x="3982" y="1499"/>
                </a:lnTo>
                <a:lnTo>
                  <a:pt x="3983" y="1497"/>
                </a:lnTo>
                <a:lnTo>
                  <a:pt x="3984" y="1494"/>
                </a:lnTo>
                <a:lnTo>
                  <a:pt x="3985" y="1491"/>
                </a:lnTo>
                <a:lnTo>
                  <a:pt x="3985" y="1489"/>
                </a:lnTo>
                <a:lnTo>
                  <a:pt x="3985" y="1487"/>
                </a:lnTo>
                <a:lnTo>
                  <a:pt x="3984" y="1486"/>
                </a:lnTo>
                <a:lnTo>
                  <a:pt x="3982" y="1484"/>
                </a:lnTo>
                <a:lnTo>
                  <a:pt x="3978" y="1481"/>
                </a:lnTo>
                <a:lnTo>
                  <a:pt x="3974" y="1479"/>
                </a:lnTo>
                <a:lnTo>
                  <a:pt x="3972" y="1477"/>
                </a:lnTo>
                <a:lnTo>
                  <a:pt x="3971" y="1476"/>
                </a:lnTo>
                <a:lnTo>
                  <a:pt x="3970" y="1474"/>
                </a:lnTo>
                <a:lnTo>
                  <a:pt x="3969" y="1472"/>
                </a:lnTo>
                <a:lnTo>
                  <a:pt x="3968" y="1467"/>
                </a:lnTo>
                <a:lnTo>
                  <a:pt x="3967" y="1463"/>
                </a:lnTo>
                <a:lnTo>
                  <a:pt x="3965" y="1459"/>
                </a:lnTo>
                <a:lnTo>
                  <a:pt x="3963" y="1457"/>
                </a:lnTo>
                <a:lnTo>
                  <a:pt x="3959" y="1455"/>
                </a:lnTo>
                <a:lnTo>
                  <a:pt x="3956" y="1453"/>
                </a:lnTo>
                <a:lnTo>
                  <a:pt x="3954" y="1451"/>
                </a:lnTo>
                <a:lnTo>
                  <a:pt x="3953" y="1448"/>
                </a:lnTo>
                <a:lnTo>
                  <a:pt x="3953" y="1446"/>
                </a:lnTo>
                <a:lnTo>
                  <a:pt x="3952" y="1441"/>
                </a:lnTo>
                <a:lnTo>
                  <a:pt x="3952" y="1436"/>
                </a:lnTo>
                <a:lnTo>
                  <a:pt x="3951" y="1431"/>
                </a:lnTo>
                <a:lnTo>
                  <a:pt x="3949" y="1427"/>
                </a:lnTo>
                <a:lnTo>
                  <a:pt x="3946" y="1424"/>
                </a:lnTo>
                <a:lnTo>
                  <a:pt x="3942" y="1420"/>
                </a:lnTo>
                <a:lnTo>
                  <a:pt x="3940" y="1417"/>
                </a:lnTo>
                <a:lnTo>
                  <a:pt x="3941" y="1415"/>
                </a:lnTo>
                <a:lnTo>
                  <a:pt x="3942" y="1414"/>
                </a:lnTo>
                <a:lnTo>
                  <a:pt x="3942" y="1411"/>
                </a:lnTo>
                <a:lnTo>
                  <a:pt x="3942" y="1407"/>
                </a:lnTo>
                <a:lnTo>
                  <a:pt x="3943" y="1403"/>
                </a:lnTo>
                <a:lnTo>
                  <a:pt x="3948" y="1404"/>
                </a:lnTo>
                <a:lnTo>
                  <a:pt x="3951" y="1404"/>
                </a:lnTo>
                <a:lnTo>
                  <a:pt x="3952" y="1403"/>
                </a:lnTo>
                <a:lnTo>
                  <a:pt x="3952" y="1402"/>
                </a:lnTo>
                <a:lnTo>
                  <a:pt x="3951" y="1400"/>
                </a:lnTo>
                <a:lnTo>
                  <a:pt x="3950" y="1398"/>
                </a:lnTo>
                <a:lnTo>
                  <a:pt x="3945" y="1391"/>
                </a:lnTo>
                <a:lnTo>
                  <a:pt x="3953" y="1395"/>
                </a:lnTo>
                <a:lnTo>
                  <a:pt x="3960" y="1400"/>
                </a:lnTo>
                <a:lnTo>
                  <a:pt x="3960" y="1398"/>
                </a:lnTo>
                <a:lnTo>
                  <a:pt x="3959" y="1396"/>
                </a:lnTo>
                <a:lnTo>
                  <a:pt x="3959" y="1395"/>
                </a:lnTo>
                <a:lnTo>
                  <a:pt x="3960" y="1394"/>
                </a:lnTo>
                <a:lnTo>
                  <a:pt x="3962" y="1394"/>
                </a:lnTo>
                <a:lnTo>
                  <a:pt x="3965" y="1396"/>
                </a:lnTo>
                <a:lnTo>
                  <a:pt x="3969" y="1399"/>
                </a:lnTo>
                <a:lnTo>
                  <a:pt x="3973" y="1402"/>
                </a:lnTo>
                <a:lnTo>
                  <a:pt x="3975" y="1402"/>
                </a:lnTo>
                <a:lnTo>
                  <a:pt x="3976" y="1403"/>
                </a:lnTo>
                <a:lnTo>
                  <a:pt x="3978" y="1402"/>
                </a:lnTo>
                <a:lnTo>
                  <a:pt x="3980" y="1400"/>
                </a:lnTo>
                <a:lnTo>
                  <a:pt x="3983" y="1398"/>
                </a:lnTo>
                <a:lnTo>
                  <a:pt x="3985" y="1397"/>
                </a:lnTo>
                <a:lnTo>
                  <a:pt x="3989" y="1406"/>
                </a:lnTo>
                <a:lnTo>
                  <a:pt x="3992" y="1415"/>
                </a:lnTo>
                <a:lnTo>
                  <a:pt x="3999" y="1434"/>
                </a:lnTo>
                <a:lnTo>
                  <a:pt x="4005" y="1436"/>
                </a:lnTo>
                <a:lnTo>
                  <a:pt x="4005" y="1438"/>
                </a:lnTo>
                <a:lnTo>
                  <a:pt x="4004" y="1441"/>
                </a:lnTo>
                <a:lnTo>
                  <a:pt x="4004" y="1443"/>
                </a:lnTo>
                <a:lnTo>
                  <a:pt x="4005" y="1445"/>
                </a:lnTo>
                <a:lnTo>
                  <a:pt x="4007" y="1446"/>
                </a:lnTo>
                <a:lnTo>
                  <a:pt x="4009" y="1446"/>
                </a:lnTo>
                <a:lnTo>
                  <a:pt x="4011" y="1446"/>
                </a:lnTo>
                <a:lnTo>
                  <a:pt x="4012" y="1447"/>
                </a:lnTo>
                <a:lnTo>
                  <a:pt x="4013" y="1448"/>
                </a:lnTo>
                <a:lnTo>
                  <a:pt x="4013" y="1450"/>
                </a:lnTo>
                <a:lnTo>
                  <a:pt x="4013" y="1453"/>
                </a:lnTo>
                <a:lnTo>
                  <a:pt x="4012" y="1456"/>
                </a:lnTo>
                <a:lnTo>
                  <a:pt x="4013" y="1458"/>
                </a:lnTo>
                <a:lnTo>
                  <a:pt x="4013" y="1459"/>
                </a:lnTo>
                <a:lnTo>
                  <a:pt x="4015" y="1460"/>
                </a:lnTo>
                <a:lnTo>
                  <a:pt x="4018" y="1462"/>
                </a:lnTo>
                <a:lnTo>
                  <a:pt x="4022" y="1463"/>
                </a:lnTo>
                <a:lnTo>
                  <a:pt x="4024" y="1465"/>
                </a:lnTo>
                <a:lnTo>
                  <a:pt x="4025" y="1466"/>
                </a:lnTo>
                <a:lnTo>
                  <a:pt x="4024" y="1469"/>
                </a:lnTo>
                <a:lnTo>
                  <a:pt x="4024" y="1471"/>
                </a:lnTo>
                <a:lnTo>
                  <a:pt x="4024" y="1473"/>
                </a:lnTo>
                <a:lnTo>
                  <a:pt x="4038" y="1484"/>
                </a:lnTo>
                <a:lnTo>
                  <a:pt x="4042" y="1486"/>
                </a:lnTo>
                <a:lnTo>
                  <a:pt x="4047" y="1487"/>
                </a:lnTo>
                <a:lnTo>
                  <a:pt x="4057" y="1489"/>
                </a:lnTo>
                <a:lnTo>
                  <a:pt x="4069" y="1490"/>
                </a:lnTo>
                <a:lnTo>
                  <a:pt x="4076" y="1486"/>
                </a:lnTo>
                <a:lnTo>
                  <a:pt x="4084" y="1483"/>
                </a:lnTo>
                <a:lnTo>
                  <a:pt x="4098" y="1476"/>
                </a:lnTo>
                <a:lnTo>
                  <a:pt x="4097" y="1475"/>
                </a:lnTo>
                <a:lnTo>
                  <a:pt x="4097" y="1474"/>
                </a:lnTo>
                <a:lnTo>
                  <a:pt x="4098" y="1473"/>
                </a:lnTo>
                <a:lnTo>
                  <a:pt x="4101" y="1473"/>
                </a:lnTo>
                <a:lnTo>
                  <a:pt x="4102" y="1474"/>
                </a:lnTo>
                <a:lnTo>
                  <a:pt x="4104" y="1475"/>
                </a:lnTo>
                <a:lnTo>
                  <a:pt x="4107" y="1477"/>
                </a:lnTo>
                <a:lnTo>
                  <a:pt x="4110" y="1479"/>
                </a:lnTo>
                <a:lnTo>
                  <a:pt x="4111" y="1480"/>
                </a:lnTo>
                <a:lnTo>
                  <a:pt x="4112" y="1481"/>
                </a:lnTo>
                <a:lnTo>
                  <a:pt x="4114" y="1485"/>
                </a:lnTo>
                <a:lnTo>
                  <a:pt x="4114" y="1488"/>
                </a:lnTo>
                <a:lnTo>
                  <a:pt x="4115" y="1495"/>
                </a:lnTo>
                <a:lnTo>
                  <a:pt x="4115" y="1498"/>
                </a:lnTo>
                <a:lnTo>
                  <a:pt x="4115" y="1502"/>
                </a:lnTo>
                <a:lnTo>
                  <a:pt x="4116" y="1504"/>
                </a:lnTo>
                <a:lnTo>
                  <a:pt x="4118" y="1507"/>
                </a:lnTo>
                <a:lnTo>
                  <a:pt x="4121" y="1509"/>
                </a:lnTo>
                <a:lnTo>
                  <a:pt x="4124" y="1511"/>
                </a:lnTo>
                <a:lnTo>
                  <a:pt x="4128" y="1513"/>
                </a:lnTo>
                <a:lnTo>
                  <a:pt x="4131" y="1514"/>
                </a:lnTo>
                <a:lnTo>
                  <a:pt x="4139" y="1515"/>
                </a:lnTo>
                <a:lnTo>
                  <a:pt x="4147" y="1515"/>
                </a:lnTo>
                <a:lnTo>
                  <a:pt x="4155" y="1515"/>
                </a:lnTo>
                <a:lnTo>
                  <a:pt x="4162" y="1515"/>
                </a:lnTo>
                <a:lnTo>
                  <a:pt x="4169" y="1515"/>
                </a:lnTo>
                <a:lnTo>
                  <a:pt x="4174" y="1515"/>
                </a:lnTo>
                <a:lnTo>
                  <a:pt x="4175" y="1516"/>
                </a:lnTo>
                <a:lnTo>
                  <a:pt x="4176" y="1517"/>
                </a:lnTo>
                <a:lnTo>
                  <a:pt x="4179" y="1520"/>
                </a:lnTo>
                <a:lnTo>
                  <a:pt x="4183" y="1524"/>
                </a:lnTo>
                <a:lnTo>
                  <a:pt x="4184" y="1524"/>
                </a:lnTo>
                <a:lnTo>
                  <a:pt x="4187" y="1523"/>
                </a:lnTo>
                <a:lnTo>
                  <a:pt x="4194" y="1523"/>
                </a:lnTo>
                <a:lnTo>
                  <a:pt x="4204" y="1521"/>
                </a:lnTo>
                <a:lnTo>
                  <a:pt x="4230" y="1517"/>
                </a:lnTo>
                <a:lnTo>
                  <a:pt x="4244" y="1514"/>
                </a:lnTo>
                <a:lnTo>
                  <a:pt x="4250" y="1514"/>
                </a:lnTo>
                <a:lnTo>
                  <a:pt x="4256" y="1513"/>
                </a:lnTo>
                <a:lnTo>
                  <a:pt x="4267" y="1513"/>
                </a:lnTo>
                <a:lnTo>
                  <a:pt x="4272" y="1514"/>
                </a:lnTo>
                <a:lnTo>
                  <a:pt x="4276" y="1515"/>
                </a:lnTo>
                <a:lnTo>
                  <a:pt x="4284" y="1527"/>
                </a:lnTo>
                <a:lnTo>
                  <a:pt x="4284" y="1528"/>
                </a:lnTo>
                <a:lnTo>
                  <a:pt x="4282" y="1530"/>
                </a:lnTo>
                <a:lnTo>
                  <a:pt x="4280" y="1532"/>
                </a:lnTo>
                <a:lnTo>
                  <a:pt x="4280" y="1534"/>
                </a:lnTo>
                <a:lnTo>
                  <a:pt x="4281" y="1535"/>
                </a:lnTo>
                <a:lnTo>
                  <a:pt x="4282" y="1535"/>
                </a:lnTo>
                <a:lnTo>
                  <a:pt x="4283" y="1536"/>
                </a:lnTo>
                <a:lnTo>
                  <a:pt x="4287" y="1535"/>
                </a:lnTo>
                <a:lnTo>
                  <a:pt x="4290" y="1535"/>
                </a:lnTo>
                <a:lnTo>
                  <a:pt x="4292" y="1535"/>
                </a:lnTo>
                <a:lnTo>
                  <a:pt x="4297" y="1538"/>
                </a:lnTo>
                <a:lnTo>
                  <a:pt x="4299" y="1539"/>
                </a:lnTo>
                <a:lnTo>
                  <a:pt x="4300" y="1540"/>
                </a:lnTo>
                <a:lnTo>
                  <a:pt x="4300" y="1544"/>
                </a:lnTo>
                <a:lnTo>
                  <a:pt x="4299" y="1548"/>
                </a:lnTo>
                <a:lnTo>
                  <a:pt x="4300" y="1550"/>
                </a:lnTo>
                <a:lnTo>
                  <a:pt x="4301" y="1552"/>
                </a:lnTo>
                <a:lnTo>
                  <a:pt x="4318" y="1557"/>
                </a:lnTo>
                <a:lnTo>
                  <a:pt x="4319" y="1559"/>
                </a:lnTo>
                <a:lnTo>
                  <a:pt x="4319" y="1561"/>
                </a:lnTo>
                <a:lnTo>
                  <a:pt x="4320" y="1565"/>
                </a:lnTo>
                <a:lnTo>
                  <a:pt x="4320" y="1570"/>
                </a:lnTo>
                <a:lnTo>
                  <a:pt x="4321" y="1574"/>
                </a:lnTo>
                <a:lnTo>
                  <a:pt x="4334" y="1578"/>
                </a:lnTo>
                <a:lnTo>
                  <a:pt x="4339" y="1579"/>
                </a:lnTo>
                <a:lnTo>
                  <a:pt x="4344" y="1579"/>
                </a:lnTo>
                <a:lnTo>
                  <a:pt x="4348" y="1578"/>
                </a:lnTo>
                <a:lnTo>
                  <a:pt x="4352" y="1576"/>
                </a:lnTo>
                <a:lnTo>
                  <a:pt x="4357" y="1573"/>
                </a:lnTo>
                <a:lnTo>
                  <a:pt x="4363" y="1569"/>
                </a:lnTo>
                <a:lnTo>
                  <a:pt x="4360" y="1574"/>
                </a:lnTo>
                <a:lnTo>
                  <a:pt x="4356" y="1581"/>
                </a:lnTo>
                <a:lnTo>
                  <a:pt x="4353" y="1587"/>
                </a:lnTo>
                <a:lnTo>
                  <a:pt x="4351" y="1589"/>
                </a:lnTo>
                <a:lnTo>
                  <a:pt x="4349" y="1591"/>
                </a:lnTo>
                <a:lnTo>
                  <a:pt x="4345" y="1593"/>
                </a:lnTo>
                <a:lnTo>
                  <a:pt x="4341" y="1593"/>
                </a:lnTo>
                <a:lnTo>
                  <a:pt x="4336" y="1593"/>
                </a:lnTo>
                <a:lnTo>
                  <a:pt x="4332" y="1594"/>
                </a:lnTo>
                <a:lnTo>
                  <a:pt x="4331" y="1596"/>
                </a:lnTo>
                <a:lnTo>
                  <a:pt x="4329" y="1599"/>
                </a:lnTo>
                <a:lnTo>
                  <a:pt x="4329" y="1601"/>
                </a:lnTo>
                <a:lnTo>
                  <a:pt x="4329" y="1602"/>
                </a:lnTo>
                <a:lnTo>
                  <a:pt x="4330" y="1603"/>
                </a:lnTo>
                <a:lnTo>
                  <a:pt x="4332" y="1602"/>
                </a:lnTo>
                <a:lnTo>
                  <a:pt x="4337" y="1611"/>
                </a:lnTo>
                <a:lnTo>
                  <a:pt x="4343" y="1619"/>
                </a:lnTo>
                <a:lnTo>
                  <a:pt x="4350" y="1626"/>
                </a:lnTo>
                <a:lnTo>
                  <a:pt x="4357" y="1633"/>
                </a:lnTo>
                <a:lnTo>
                  <a:pt x="4361" y="1632"/>
                </a:lnTo>
                <a:lnTo>
                  <a:pt x="4365" y="1630"/>
                </a:lnTo>
                <a:lnTo>
                  <a:pt x="4374" y="1627"/>
                </a:lnTo>
                <a:lnTo>
                  <a:pt x="4378" y="1625"/>
                </a:lnTo>
                <a:lnTo>
                  <a:pt x="4381" y="1623"/>
                </a:lnTo>
                <a:lnTo>
                  <a:pt x="4384" y="1620"/>
                </a:lnTo>
                <a:lnTo>
                  <a:pt x="4385" y="1617"/>
                </a:lnTo>
                <a:lnTo>
                  <a:pt x="4386" y="1614"/>
                </a:lnTo>
                <a:lnTo>
                  <a:pt x="4386" y="1612"/>
                </a:lnTo>
                <a:lnTo>
                  <a:pt x="4385" y="1607"/>
                </a:lnTo>
                <a:lnTo>
                  <a:pt x="4385" y="1602"/>
                </a:lnTo>
                <a:lnTo>
                  <a:pt x="4385" y="1599"/>
                </a:lnTo>
                <a:lnTo>
                  <a:pt x="4385" y="1597"/>
                </a:lnTo>
                <a:lnTo>
                  <a:pt x="4394" y="1591"/>
                </a:lnTo>
                <a:lnTo>
                  <a:pt x="4394" y="1594"/>
                </a:lnTo>
                <a:lnTo>
                  <a:pt x="4393" y="1596"/>
                </a:lnTo>
                <a:lnTo>
                  <a:pt x="4392" y="1599"/>
                </a:lnTo>
                <a:lnTo>
                  <a:pt x="4391" y="1603"/>
                </a:lnTo>
                <a:lnTo>
                  <a:pt x="4391" y="1605"/>
                </a:lnTo>
                <a:lnTo>
                  <a:pt x="4396" y="1608"/>
                </a:lnTo>
                <a:lnTo>
                  <a:pt x="4395" y="1612"/>
                </a:lnTo>
                <a:lnTo>
                  <a:pt x="4394" y="1616"/>
                </a:lnTo>
                <a:lnTo>
                  <a:pt x="4394" y="1619"/>
                </a:lnTo>
                <a:lnTo>
                  <a:pt x="4395" y="1621"/>
                </a:lnTo>
                <a:lnTo>
                  <a:pt x="4397" y="1623"/>
                </a:lnTo>
                <a:lnTo>
                  <a:pt x="4399" y="1626"/>
                </a:lnTo>
                <a:lnTo>
                  <a:pt x="4399" y="1628"/>
                </a:lnTo>
                <a:lnTo>
                  <a:pt x="4399" y="1631"/>
                </a:lnTo>
                <a:lnTo>
                  <a:pt x="4399" y="1633"/>
                </a:lnTo>
                <a:lnTo>
                  <a:pt x="4398" y="1636"/>
                </a:lnTo>
                <a:lnTo>
                  <a:pt x="4395" y="1642"/>
                </a:lnTo>
                <a:lnTo>
                  <a:pt x="4392" y="1649"/>
                </a:lnTo>
                <a:lnTo>
                  <a:pt x="4391" y="1652"/>
                </a:lnTo>
                <a:lnTo>
                  <a:pt x="4391" y="1656"/>
                </a:lnTo>
                <a:lnTo>
                  <a:pt x="4395" y="1664"/>
                </a:lnTo>
                <a:lnTo>
                  <a:pt x="4399" y="1673"/>
                </a:lnTo>
                <a:lnTo>
                  <a:pt x="4398" y="1673"/>
                </a:lnTo>
                <a:lnTo>
                  <a:pt x="4398" y="1674"/>
                </a:lnTo>
                <a:lnTo>
                  <a:pt x="4397" y="1676"/>
                </a:lnTo>
                <a:lnTo>
                  <a:pt x="4397" y="1680"/>
                </a:lnTo>
                <a:lnTo>
                  <a:pt x="4398" y="1685"/>
                </a:lnTo>
                <a:lnTo>
                  <a:pt x="4399" y="1690"/>
                </a:lnTo>
                <a:lnTo>
                  <a:pt x="4403" y="1704"/>
                </a:lnTo>
                <a:lnTo>
                  <a:pt x="4408" y="1726"/>
                </a:lnTo>
                <a:lnTo>
                  <a:pt x="4408" y="1730"/>
                </a:lnTo>
                <a:lnTo>
                  <a:pt x="4408" y="1735"/>
                </a:lnTo>
                <a:lnTo>
                  <a:pt x="4407" y="1739"/>
                </a:lnTo>
                <a:lnTo>
                  <a:pt x="4408" y="1743"/>
                </a:lnTo>
                <a:lnTo>
                  <a:pt x="4409" y="1748"/>
                </a:lnTo>
                <a:lnTo>
                  <a:pt x="4411" y="1752"/>
                </a:lnTo>
                <a:lnTo>
                  <a:pt x="4416" y="1761"/>
                </a:lnTo>
                <a:lnTo>
                  <a:pt x="4421" y="1771"/>
                </a:lnTo>
                <a:lnTo>
                  <a:pt x="4425" y="1780"/>
                </a:lnTo>
                <a:lnTo>
                  <a:pt x="4427" y="1792"/>
                </a:lnTo>
                <a:lnTo>
                  <a:pt x="4428" y="1804"/>
                </a:lnTo>
                <a:lnTo>
                  <a:pt x="4429" y="1810"/>
                </a:lnTo>
                <a:lnTo>
                  <a:pt x="4430" y="1816"/>
                </a:lnTo>
                <a:lnTo>
                  <a:pt x="4431" y="1822"/>
                </a:lnTo>
                <a:lnTo>
                  <a:pt x="4433" y="1828"/>
                </a:lnTo>
                <a:lnTo>
                  <a:pt x="4437" y="1833"/>
                </a:lnTo>
                <a:lnTo>
                  <a:pt x="4441" y="1840"/>
                </a:lnTo>
                <a:lnTo>
                  <a:pt x="4446" y="1846"/>
                </a:lnTo>
                <a:lnTo>
                  <a:pt x="4450" y="1853"/>
                </a:lnTo>
                <a:lnTo>
                  <a:pt x="4452" y="1858"/>
                </a:lnTo>
                <a:lnTo>
                  <a:pt x="4452" y="1863"/>
                </a:lnTo>
                <a:lnTo>
                  <a:pt x="4453" y="1868"/>
                </a:lnTo>
                <a:lnTo>
                  <a:pt x="4456" y="1873"/>
                </a:lnTo>
                <a:lnTo>
                  <a:pt x="4461" y="1875"/>
                </a:lnTo>
                <a:lnTo>
                  <a:pt x="4462" y="1878"/>
                </a:lnTo>
                <a:lnTo>
                  <a:pt x="4462" y="1880"/>
                </a:lnTo>
                <a:lnTo>
                  <a:pt x="4461" y="1882"/>
                </a:lnTo>
                <a:lnTo>
                  <a:pt x="4460" y="1883"/>
                </a:lnTo>
                <a:lnTo>
                  <a:pt x="4459" y="1885"/>
                </a:lnTo>
                <a:lnTo>
                  <a:pt x="4458" y="1887"/>
                </a:lnTo>
                <a:lnTo>
                  <a:pt x="4458" y="1889"/>
                </a:lnTo>
                <a:lnTo>
                  <a:pt x="4459" y="1890"/>
                </a:lnTo>
                <a:lnTo>
                  <a:pt x="4460" y="1892"/>
                </a:lnTo>
                <a:lnTo>
                  <a:pt x="4464" y="1896"/>
                </a:lnTo>
                <a:lnTo>
                  <a:pt x="4470" y="1903"/>
                </a:lnTo>
                <a:lnTo>
                  <a:pt x="4473" y="1908"/>
                </a:lnTo>
                <a:lnTo>
                  <a:pt x="4475" y="1912"/>
                </a:lnTo>
                <a:lnTo>
                  <a:pt x="4476" y="1914"/>
                </a:lnTo>
                <a:lnTo>
                  <a:pt x="4477" y="1916"/>
                </a:lnTo>
                <a:lnTo>
                  <a:pt x="4477" y="1918"/>
                </a:lnTo>
                <a:lnTo>
                  <a:pt x="4478" y="1920"/>
                </a:lnTo>
                <a:lnTo>
                  <a:pt x="4482" y="1920"/>
                </a:lnTo>
                <a:lnTo>
                  <a:pt x="4486" y="1920"/>
                </a:lnTo>
                <a:lnTo>
                  <a:pt x="4490" y="1912"/>
                </a:lnTo>
                <a:lnTo>
                  <a:pt x="4493" y="1906"/>
                </a:lnTo>
                <a:lnTo>
                  <a:pt x="4495" y="1903"/>
                </a:lnTo>
                <a:lnTo>
                  <a:pt x="4497" y="1903"/>
                </a:lnTo>
                <a:lnTo>
                  <a:pt x="4499" y="1902"/>
                </a:lnTo>
                <a:lnTo>
                  <a:pt x="4502" y="1902"/>
                </a:lnTo>
                <a:lnTo>
                  <a:pt x="4503" y="1902"/>
                </a:lnTo>
                <a:lnTo>
                  <a:pt x="4503" y="1901"/>
                </a:lnTo>
                <a:lnTo>
                  <a:pt x="4505" y="1898"/>
                </a:lnTo>
                <a:lnTo>
                  <a:pt x="4506" y="1894"/>
                </a:lnTo>
                <a:lnTo>
                  <a:pt x="4508" y="1888"/>
                </a:lnTo>
                <a:lnTo>
                  <a:pt x="4508" y="1885"/>
                </a:lnTo>
                <a:lnTo>
                  <a:pt x="4510" y="1882"/>
                </a:lnTo>
                <a:lnTo>
                  <a:pt x="4512" y="1880"/>
                </a:lnTo>
                <a:lnTo>
                  <a:pt x="4513" y="1879"/>
                </a:lnTo>
                <a:lnTo>
                  <a:pt x="4515" y="1878"/>
                </a:lnTo>
                <a:lnTo>
                  <a:pt x="4517" y="1878"/>
                </a:lnTo>
                <a:lnTo>
                  <a:pt x="4519" y="1878"/>
                </a:lnTo>
                <a:lnTo>
                  <a:pt x="4521" y="1879"/>
                </a:lnTo>
                <a:lnTo>
                  <a:pt x="4523" y="1878"/>
                </a:lnTo>
                <a:lnTo>
                  <a:pt x="4521" y="1861"/>
                </a:lnTo>
                <a:lnTo>
                  <a:pt x="4520" y="1850"/>
                </a:lnTo>
                <a:lnTo>
                  <a:pt x="4520" y="1842"/>
                </a:lnTo>
                <a:lnTo>
                  <a:pt x="4523" y="1837"/>
                </a:lnTo>
                <a:lnTo>
                  <a:pt x="4526" y="1832"/>
                </a:lnTo>
                <a:lnTo>
                  <a:pt x="4530" y="1826"/>
                </a:lnTo>
                <a:lnTo>
                  <a:pt x="4531" y="1824"/>
                </a:lnTo>
                <a:lnTo>
                  <a:pt x="4531" y="1822"/>
                </a:lnTo>
                <a:lnTo>
                  <a:pt x="4529" y="1815"/>
                </a:lnTo>
                <a:lnTo>
                  <a:pt x="4526" y="1808"/>
                </a:lnTo>
                <a:lnTo>
                  <a:pt x="4525" y="1801"/>
                </a:lnTo>
                <a:lnTo>
                  <a:pt x="4526" y="1788"/>
                </a:lnTo>
                <a:lnTo>
                  <a:pt x="4526" y="1782"/>
                </a:lnTo>
                <a:lnTo>
                  <a:pt x="4527" y="1776"/>
                </a:lnTo>
                <a:lnTo>
                  <a:pt x="4529" y="1771"/>
                </a:lnTo>
                <a:lnTo>
                  <a:pt x="4530" y="1769"/>
                </a:lnTo>
                <a:lnTo>
                  <a:pt x="4531" y="1768"/>
                </a:lnTo>
                <a:lnTo>
                  <a:pt x="4529" y="1762"/>
                </a:lnTo>
                <a:lnTo>
                  <a:pt x="4526" y="1754"/>
                </a:lnTo>
                <a:lnTo>
                  <a:pt x="4527" y="1754"/>
                </a:lnTo>
                <a:lnTo>
                  <a:pt x="4528" y="1752"/>
                </a:lnTo>
                <a:lnTo>
                  <a:pt x="4529" y="1750"/>
                </a:lnTo>
                <a:lnTo>
                  <a:pt x="4530" y="1748"/>
                </a:lnTo>
                <a:lnTo>
                  <a:pt x="4531" y="1746"/>
                </a:lnTo>
                <a:lnTo>
                  <a:pt x="4534" y="1745"/>
                </a:lnTo>
                <a:lnTo>
                  <a:pt x="4537" y="1746"/>
                </a:lnTo>
                <a:lnTo>
                  <a:pt x="4540" y="1746"/>
                </a:lnTo>
                <a:lnTo>
                  <a:pt x="4543" y="1746"/>
                </a:lnTo>
                <a:lnTo>
                  <a:pt x="4544" y="1745"/>
                </a:lnTo>
                <a:lnTo>
                  <a:pt x="4546" y="1744"/>
                </a:lnTo>
                <a:lnTo>
                  <a:pt x="4547" y="1741"/>
                </a:lnTo>
                <a:lnTo>
                  <a:pt x="4549" y="1737"/>
                </a:lnTo>
                <a:lnTo>
                  <a:pt x="4551" y="1735"/>
                </a:lnTo>
                <a:lnTo>
                  <a:pt x="4553" y="1734"/>
                </a:lnTo>
                <a:lnTo>
                  <a:pt x="4555" y="1733"/>
                </a:lnTo>
                <a:lnTo>
                  <a:pt x="4559" y="1732"/>
                </a:lnTo>
                <a:lnTo>
                  <a:pt x="4562" y="1731"/>
                </a:lnTo>
                <a:lnTo>
                  <a:pt x="4564" y="1731"/>
                </a:lnTo>
                <a:lnTo>
                  <a:pt x="4565" y="1729"/>
                </a:lnTo>
                <a:lnTo>
                  <a:pt x="4566" y="1727"/>
                </a:lnTo>
                <a:lnTo>
                  <a:pt x="4567" y="1725"/>
                </a:lnTo>
                <a:lnTo>
                  <a:pt x="4568" y="1720"/>
                </a:lnTo>
                <a:lnTo>
                  <a:pt x="4568" y="1718"/>
                </a:lnTo>
                <a:lnTo>
                  <a:pt x="4568" y="1716"/>
                </a:lnTo>
                <a:lnTo>
                  <a:pt x="4569" y="1714"/>
                </a:lnTo>
                <a:lnTo>
                  <a:pt x="4571" y="1712"/>
                </a:lnTo>
                <a:lnTo>
                  <a:pt x="4573" y="1711"/>
                </a:lnTo>
                <a:lnTo>
                  <a:pt x="4575" y="1711"/>
                </a:lnTo>
                <a:lnTo>
                  <a:pt x="4579" y="1711"/>
                </a:lnTo>
                <a:lnTo>
                  <a:pt x="4583" y="1711"/>
                </a:lnTo>
                <a:lnTo>
                  <a:pt x="4586" y="1710"/>
                </a:lnTo>
                <a:lnTo>
                  <a:pt x="4588" y="1709"/>
                </a:lnTo>
                <a:lnTo>
                  <a:pt x="4588" y="1704"/>
                </a:lnTo>
                <a:lnTo>
                  <a:pt x="4589" y="1702"/>
                </a:lnTo>
                <a:lnTo>
                  <a:pt x="4590" y="1701"/>
                </a:lnTo>
                <a:lnTo>
                  <a:pt x="4594" y="1699"/>
                </a:lnTo>
                <a:lnTo>
                  <a:pt x="4599" y="1697"/>
                </a:lnTo>
                <a:lnTo>
                  <a:pt x="4602" y="1695"/>
                </a:lnTo>
                <a:lnTo>
                  <a:pt x="4604" y="1693"/>
                </a:lnTo>
                <a:lnTo>
                  <a:pt x="4605" y="1689"/>
                </a:lnTo>
                <a:lnTo>
                  <a:pt x="4609" y="1682"/>
                </a:lnTo>
                <a:lnTo>
                  <a:pt x="4612" y="1675"/>
                </a:lnTo>
                <a:lnTo>
                  <a:pt x="4614" y="1672"/>
                </a:lnTo>
                <a:lnTo>
                  <a:pt x="4616" y="1670"/>
                </a:lnTo>
                <a:lnTo>
                  <a:pt x="4618" y="1669"/>
                </a:lnTo>
                <a:lnTo>
                  <a:pt x="4620" y="1669"/>
                </a:lnTo>
                <a:lnTo>
                  <a:pt x="4622" y="1668"/>
                </a:lnTo>
                <a:lnTo>
                  <a:pt x="4624" y="1667"/>
                </a:lnTo>
                <a:lnTo>
                  <a:pt x="4622" y="1664"/>
                </a:lnTo>
                <a:lnTo>
                  <a:pt x="4621" y="1663"/>
                </a:lnTo>
                <a:lnTo>
                  <a:pt x="4622" y="1662"/>
                </a:lnTo>
                <a:lnTo>
                  <a:pt x="4623" y="1661"/>
                </a:lnTo>
                <a:lnTo>
                  <a:pt x="4624" y="1661"/>
                </a:lnTo>
                <a:lnTo>
                  <a:pt x="4627" y="1661"/>
                </a:lnTo>
                <a:lnTo>
                  <a:pt x="4630" y="1662"/>
                </a:lnTo>
                <a:lnTo>
                  <a:pt x="4633" y="1662"/>
                </a:lnTo>
                <a:lnTo>
                  <a:pt x="4639" y="1659"/>
                </a:lnTo>
                <a:lnTo>
                  <a:pt x="4647" y="1653"/>
                </a:lnTo>
                <a:lnTo>
                  <a:pt x="4651" y="1650"/>
                </a:lnTo>
                <a:lnTo>
                  <a:pt x="4654" y="1647"/>
                </a:lnTo>
                <a:lnTo>
                  <a:pt x="4658" y="1642"/>
                </a:lnTo>
                <a:lnTo>
                  <a:pt x="4659" y="1639"/>
                </a:lnTo>
                <a:lnTo>
                  <a:pt x="4658" y="1636"/>
                </a:lnTo>
                <a:lnTo>
                  <a:pt x="4657" y="1635"/>
                </a:lnTo>
                <a:lnTo>
                  <a:pt x="4655" y="1633"/>
                </a:lnTo>
                <a:lnTo>
                  <a:pt x="4654" y="1632"/>
                </a:lnTo>
                <a:lnTo>
                  <a:pt x="4655" y="1631"/>
                </a:lnTo>
                <a:lnTo>
                  <a:pt x="4657" y="1631"/>
                </a:lnTo>
                <a:lnTo>
                  <a:pt x="4658" y="1631"/>
                </a:lnTo>
                <a:lnTo>
                  <a:pt x="4661" y="1625"/>
                </a:lnTo>
                <a:lnTo>
                  <a:pt x="4662" y="1623"/>
                </a:lnTo>
                <a:lnTo>
                  <a:pt x="4663" y="1621"/>
                </a:lnTo>
                <a:lnTo>
                  <a:pt x="4667" y="1619"/>
                </a:lnTo>
                <a:lnTo>
                  <a:pt x="4672" y="1617"/>
                </a:lnTo>
                <a:lnTo>
                  <a:pt x="4672" y="1611"/>
                </a:lnTo>
                <a:lnTo>
                  <a:pt x="4675" y="1611"/>
                </a:lnTo>
                <a:lnTo>
                  <a:pt x="4677" y="1611"/>
                </a:lnTo>
                <a:lnTo>
                  <a:pt x="4680" y="1613"/>
                </a:lnTo>
                <a:lnTo>
                  <a:pt x="4683" y="1614"/>
                </a:lnTo>
                <a:lnTo>
                  <a:pt x="4687" y="1618"/>
                </a:lnTo>
                <a:lnTo>
                  <a:pt x="4689" y="1619"/>
                </a:lnTo>
                <a:lnTo>
                  <a:pt x="4700" y="1613"/>
                </a:lnTo>
                <a:lnTo>
                  <a:pt x="4714" y="1605"/>
                </a:lnTo>
                <a:lnTo>
                  <a:pt x="4713" y="1606"/>
                </a:lnTo>
                <a:lnTo>
                  <a:pt x="4713" y="1607"/>
                </a:lnTo>
                <a:lnTo>
                  <a:pt x="4714" y="1608"/>
                </a:lnTo>
                <a:lnTo>
                  <a:pt x="4715" y="1608"/>
                </a:lnTo>
                <a:lnTo>
                  <a:pt x="4720" y="1608"/>
                </a:lnTo>
                <a:lnTo>
                  <a:pt x="4723" y="1594"/>
                </a:lnTo>
                <a:lnTo>
                  <a:pt x="4726" y="1580"/>
                </a:lnTo>
                <a:lnTo>
                  <a:pt x="4731" y="1583"/>
                </a:lnTo>
                <a:lnTo>
                  <a:pt x="4735" y="1586"/>
                </a:lnTo>
                <a:lnTo>
                  <a:pt x="4739" y="1589"/>
                </a:lnTo>
                <a:lnTo>
                  <a:pt x="4742" y="1591"/>
                </a:lnTo>
                <a:lnTo>
                  <a:pt x="4744" y="1594"/>
                </a:lnTo>
                <a:lnTo>
                  <a:pt x="4745" y="1597"/>
                </a:lnTo>
                <a:lnTo>
                  <a:pt x="4747" y="1602"/>
                </a:lnTo>
                <a:lnTo>
                  <a:pt x="4749" y="1615"/>
                </a:lnTo>
                <a:lnTo>
                  <a:pt x="4749" y="1619"/>
                </a:lnTo>
                <a:lnTo>
                  <a:pt x="4750" y="1623"/>
                </a:lnTo>
                <a:lnTo>
                  <a:pt x="4752" y="1628"/>
                </a:lnTo>
                <a:lnTo>
                  <a:pt x="4754" y="1633"/>
                </a:lnTo>
                <a:lnTo>
                  <a:pt x="4755" y="1635"/>
                </a:lnTo>
                <a:lnTo>
                  <a:pt x="4757" y="1636"/>
                </a:lnTo>
                <a:lnTo>
                  <a:pt x="4759" y="1637"/>
                </a:lnTo>
                <a:lnTo>
                  <a:pt x="4760" y="1638"/>
                </a:lnTo>
                <a:lnTo>
                  <a:pt x="4760" y="1639"/>
                </a:lnTo>
                <a:lnTo>
                  <a:pt x="4761" y="1642"/>
                </a:lnTo>
                <a:lnTo>
                  <a:pt x="4762" y="1645"/>
                </a:lnTo>
                <a:lnTo>
                  <a:pt x="4762" y="1650"/>
                </a:lnTo>
                <a:lnTo>
                  <a:pt x="4767" y="1650"/>
                </a:lnTo>
                <a:lnTo>
                  <a:pt x="4769" y="1649"/>
                </a:lnTo>
                <a:lnTo>
                  <a:pt x="4769" y="1648"/>
                </a:lnTo>
                <a:lnTo>
                  <a:pt x="4768" y="1647"/>
                </a:lnTo>
                <a:lnTo>
                  <a:pt x="4770" y="1647"/>
                </a:lnTo>
                <a:lnTo>
                  <a:pt x="4772" y="1647"/>
                </a:lnTo>
                <a:lnTo>
                  <a:pt x="4773" y="1646"/>
                </a:lnTo>
                <a:lnTo>
                  <a:pt x="4774" y="1645"/>
                </a:lnTo>
                <a:lnTo>
                  <a:pt x="4779" y="1645"/>
                </a:lnTo>
                <a:lnTo>
                  <a:pt x="4781" y="1654"/>
                </a:lnTo>
                <a:lnTo>
                  <a:pt x="4781" y="1663"/>
                </a:lnTo>
                <a:lnTo>
                  <a:pt x="4782" y="1672"/>
                </a:lnTo>
                <a:lnTo>
                  <a:pt x="4785" y="1681"/>
                </a:lnTo>
                <a:lnTo>
                  <a:pt x="4785" y="1683"/>
                </a:lnTo>
                <a:lnTo>
                  <a:pt x="4787" y="1684"/>
                </a:lnTo>
                <a:lnTo>
                  <a:pt x="4790" y="1687"/>
                </a:lnTo>
                <a:lnTo>
                  <a:pt x="4794" y="1691"/>
                </a:lnTo>
                <a:lnTo>
                  <a:pt x="4795" y="1693"/>
                </a:lnTo>
                <a:lnTo>
                  <a:pt x="4796" y="1695"/>
                </a:lnTo>
                <a:lnTo>
                  <a:pt x="4796" y="1699"/>
                </a:lnTo>
                <a:lnTo>
                  <a:pt x="4795" y="1703"/>
                </a:lnTo>
                <a:lnTo>
                  <a:pt x="4794" y="1706"/>
                </a:lnTo>
                <a:lnTo>
                  <a:pt x="4793" y="1710"/>
                </a:lnTo>
                <a:lnTo>
                  <a:pt x="4790" y="1716"/>
                </a:lnTo>
                <a:lnTo>
                  <a:pt x="4788" y="1718"/>
                </a:lnTo>
                <a:lnTo>
                  <a:pt x="4787" y="1721"/>
                </a:lnTo>
                <a:lnTo>
                  <a:pt x="4787" y="1725"/>
                </a:lnTo>
                <a:lnTo>
                  <a:pt x="4787" y="1729"/>
                </a:lnTo>
                <a:lnTo>
                  <a:pt x="4788" y="1733"/>
                </a:lnTo>
                <a:lnTo>
                  <a:pt x="4787" y="1738"/>
                </a:lnTo>
                <a:lnTo>
                  <a:pt x="4797" y="1738"/>
                </a:lnTo>
                <a:lnTo>
                  <a:pt x="4802" y="1739"/>
                </a:lnTo>
                <a:lnTo>
                  <a:pt x="4808" y="1738"/>
                </a:lnTo>
                <a:lnTo>
                  <a:pt x="4811" y="1738"/>
                </a:lnTo>
                <a:lnTo>
                  <a:pt x="4814" y="1737"/>
                </a:lnTo>
                <a:lnTo>
                  <a:pt x="4817" y="1736"/>
                </a:lnTo>
                <a:lnTo>
                  <a:pt x="4820" y="1735"/>
                </a:lnTo>
                <a:lnTo>
                  <a:pt x="4822" y="1733"/>
                </a:lnTo>
                <a:lnTo>
                  <a:pt x="4824" y="1731"/>
                </a:lnTo>
                <a:lnTo>
                  <a:pt x="4826" y="1729"/>
                </a:lnTo>
                <a:lnTo>
                  <a:pt x="4827" y="1726"/>
                </a:lnTo>
                <a:lnTo>
                  <a:pt x="4827" y="1724"/>
                </a:lnTo>
                <a:lnTo>
                  <a:pt x="4827" y="1721"/>
                </a:lnTo>
                <a:lnTo>
                  <a:pt x="4826" y="1718"/>
                </a:lnTo>
                <a:lnTo>
                  <a:pt x="4826" y="1716"/>
                </a:lnTo>
                <a:lnTo>
                  <a:pt x="4827" y="1715"/>
                </a:lnTo>
                <a:lnTo>
                  <a:pt x="4832" y="1715"/>
                </a:lnTo>
                <a:lnTo>
                  <a:pt x="4838" y="1722"/>
                </a:lnTo>
                <a:lnTo>
                  <a:pt x="4842" y="1727"/>
                </a:lnTo>
                <a:lnTo>
                  <a:pt x="4844" y="1729"/>
                </a:lnTo>
                <a:lnTo>
                  <a:pt x="4849" y="1729"/>
                </a:lnTo>
                <a:lnTo>
                  <a:pt x="4850" y="1732"/>
                </a:lnTo>
                <a:lnTo>
                  <a:pt x="4850" y="1734"/>
                </a:lnTo>
                <a:lnTo>
                  <a:pt x="4850" y="1736"/>
                </a:lnTo>
                <a:lnTo>
                  <a:pt x="4849" y="1738"/>
                </a:lnTo>
                <a:lnTo>
                  <a:pt x="4847" y="1742"/>
                </a:lnTo>
                <a:lnTo>
                  <a:pt x="4846" y="1744"/>
                </a:lnTo>
                <a:lnTo>
                  <a:pt x="4847" y="1746"/>
                </a:lnTo>
                <a:lnTo>
                  <a:pt x="4847" y="1747"/>
                </a:lnTo>
                <a:lnTo>
                  <a:pt x="4848" y="1748"/>
                </a:lnTo>
                <a:lnTo>
                  <a:pt x="4851" y="1750"/>
                </a:lnTo>
                <a:lnTo>
                  <a:pt x="4853" y="1753"/>
                </a:lnTo>
                <a:lnTo>
                  <a:pt x="4855" y="1754"/>
                </a:lnTo>
                <a:lnTo>
                  <a:pt x="4856" y="1758"/>
                </a:lnTo>
                <a:lnTo>
                  <a:pt x="4856" y="1762"/>
                </a:lnTo>
                <a:lnTo>
                  <a:pt x="4856" y="1769"/>
                </a:lnTo>
                <a:lnTo>
                  <a:pt x="4856" y="1776"/>
                </a:lnTo>
                <a:lnTo>
                  <a:pt x="4857" y="1779"/>
                </a:lnTo>
                <a:lnTo>
                  <a:pt x="4858" y="1783"/>
                </a:lnTo>
                <a:lnTo>
                  <a:pt x="4859" y="1785"/>
                </a:lnTo>
                <a:lnTo>
                  <a:pt x="4861" y="1791"/>
                </a:lnTo>
                <a:lnTo>
                  <a:pt x="4866" y="1791"/>
                </a:lnTo>
                <a:lnTo>
                  <a:pt x="4868" y="1798"/>
                </a:lnTo>
                <a:lnTo>
                  <a:pt x="4868" y="1804"/>
                </a:lnTo>
                <a:lnTo>
                  <a:pt x="4869" y="1810"/>
                </a:lnTo>
                <a:lnTo>
                  <a:pt x="4869" y="1816"/>
                </a:lnTo>
                <a:lnTo>
                  <a:pt x="4872" y="1816"/>
                </a:lnTo>
                <a:lnTo>
                  <a:pt x="4872" y="1819"/>
                </a:lnTo>
                <a:lnTo>
                  <a:pt x="4871" y="1822"/>
                </a:lnTo>
                <a:lnTo>
                  <a:pt x="4870" y="1825"/>
                </a:lnTo>
                <a:lnTo>
                  <a:pt x="4869" y="1827"/>
                </a:lnTo>
                <a:lnTo>
                  <a:pt x="4867" y="1830"/>
                </a:lnTo>
                <a:lnTo>
                  <a:pt x="4866" y="1833"/>
                </a:lnTo>
                <a:lnTo>
                  <a:pt x="4875" y="1836"/>
                </a:lnTo>
                <a:lnTo>
                  <a:pt x="4877" y="1847"/>
                </a:lnTo>
                <a:lnTo>
                  <a:pt x="4877" y="1852"/>
                </a:lnTo>
                <a:lnTo>
                  <a:pt x="4877" y="1858"/>
                </a:lnTo>
                <a:lnTo>
                  <a:pt x="4875" y="1858"/>
                </a:lnTo>
                <a:lnTo>
                  <a:pt x="4875" y="1870"/>
                </a:lnTo>
                <a:lnTo>
                  <a:pt x="4875" y="1884"/>
                </a:lnTo>
                <a:lnTo>
                  <a:pt x="4874" y="1886"/>
                </a:lnTo>
                <a:lnTo>
                  <a:pt x="4873" y="1887"/>
                </a:lnTo>
                <a:lnTo>
                  <a:pt x="4870" y="1892"/>
                </a:lnTo>
                <a:lnTo>
                  <a:pt x="4867" y="1897"/>
                </a:lnTo>
                <a:lnTo>
                  <a:pt x="4866" y="1900"/>
                </a:lnTo>
                <a:lnTo>
                  <a:pt x="4866" y="1903"/>
                </a:lnTo>
                <a:lnTo>
                  <a:pt x="4867" y="1906"/>
                </a:lnTo>
                <a:lnTo>
                  <a:pt x="4868" y="1908"/>
                </a:lnTo>
                <a:lnTo>
                  <a:pt x="4871" y="1914"/>
                </a:lnTo>
                <a:lnTo>
                  <a:pt x="4882" y="1926"/>
                </a:lnTo>
                <a:lnTo>
                  <a:pt x="4888" y="1932"/>
                </a:lnTo>
                <a:lnTo>
                  <a:pt x="4893" y="1939"/>
                </a:lnTo>
                <a:lnTo>
                  <a:pt x="4897" y="1945"/>
                </a:lnTo>
                <a:lnTo>
                  <a:pt x="4899" y="1948"/>
                </a:lnTo>
                <a:lnTo>
                  <a:pt x="4900" y="1951"/>
                </a:lnTo>
                <a:lnTo>
                  <a:pt x="4902" y="1960"/>
                </a:lnTo>
                <a:lnTo>
                  <a:pt x="4902" y="1967"/>
                </a:lnTo>
                <a:lnTo>
                  <a:pt x="4902" y="1980"/>
                </a:lnTo>
                <a:lnTo>
                  <a:pt x="4902" y="1986"/>
                </a:lnTo>
                <a:lnTo>
                  <a:pt x="4903" y="1994"/>
                </a:lnTo>
                <a:lnTo>
                  <a:pt x="4906" y="1994"/>
                </a:lnTo>
                <a:lnTo>
                  <a:pt x="4908" y="2008"/>
                </a:lnTo>
                <a:lnTo>
                  <a:pt x="4909" y="2015"/>
                </a:lnTo>
                <a:lnTo>
                  <a:pt x="4910" y="2019"/>
                </a:lnTo>
                <a:lnTo>
                  <a:pt x="4911" y="2022"/>
                </a:lnTo>
                <a:lnTo>
                  <a:pt x="4915" y="2025"/>
                </a:lnTo>
                <a:lnTo>
                  <a:pt x="4918" y="2028"/>
                </a:lnTo>
                <a:lnTo>
                  <a:pt x="4920" y="2030"/>
                </a:lnTo>
                <a:lnTo>
                  <a:pt x="4920" y="2033"/>
                </a:lnTo>
                <a:lnTo>
                  <a:pt x="4919" y="2036"/>
                </a:lnTo>
                <a:lnTo>
                  <a:pt x="4919" y="2039"/>
                </a:lnTo>
                <a:lnTo>
                  <a:pt x="4920" y="2041"/>
                </a:lnTo>
                <a:lnTo>
                  <a:pt x="4920" y="2042"/>
                </a:lnTo>
                <a:lnTo>
                  <a:pt x="4922" y="2043"/>
                </a:lnTo>
                <a:lnTo>
                  <a:pt x="4925" y="2044"/>
                </a:lnTo>
                <a:lnTo>
                  <a:pt x="4928" y="2045"/>
                </a:lnTo>
                <a:lnTo>
                  <a:pt x="4931" y="2047"/>
                </a:lnTo>
                <a:lnTo>
                  <a:pt x="4940" y="2057"/>
                </a:lnTo>
                <a:lnTo>
                  <a:pt x="4944" y="2060"/>
                </a:lnTo>
                <a:lnTo>
                  <a:pt x="4947" y="2062"/>
                </a:lnTo>
                <a:lnTo>
                  <a:pt x="4951" y="2064"/>
                </a:lnTo>
                <a:lnTo>
                  <a:pt x="4956" y="2064"/>
                </a:lnTo>
                <a:lnTo>
                  <a:pt x="4962" y="2063"/>
                </a:lnTo>
                <a:lnTo>
                  <a:pt x="4970" y="2061"/>
                </a:lnTo>
                <a:lnTo>
                  <a:pt x="4969" y="2055"/>
                </a:lnTo>
                <a:lnTo>
                  <a:pt x="4968" y="2050"/>
                </a:lnTo>
                <a:lnTo>
                  <a:pt x="4967" y="2044"/>
                </a:lnTo>
                <a:lnTo>
                  <a:pt x="4965" y="2039"/>
                </a:lnTo>
                <a:lnTo>
                  <a:pt x="4959" y="2039"/>
                </a:lnTo>
                <a:lnTo>
                  <a:pt x="4958" y="2028"/>
                </a:lnTo>
                <a:lnTo>
                  <a:pt x="4956" y="2016"/>
                </a:lnTo>
                <a:lnTo>
                  <a:pt x="4959" y="2016"/>
                </a:lnTo>
                <a:lnTo>
                  <a:pt x="4959" y="2010"/>
                </a:lnTo>
                <a:lnTo>
                  <a:pt x="4958" y="2003"/>
                </a:lnTo>
                <a:lnTo>
                  <a:pt x="4957" y="1997"/>
                </a:lnTo>
                <a:lnTo>
                  <a:pt x="4955" y="1990"/>
                </a:lnTo>
                <a:lnTo>
                  <a:pt x="4953" y="1984"/>
                </a:lnTo>
                <a:lnTo>
                  <a:pt x="4951" y="1978"/>
                </a:lnTo>
                <a:lnTo>
                  <a:pt x="4948" y="1973"/>
                </a:lnTo>
                <a:lnTo>
                  <a:pt x="4945" y="1968"/>
                </a:lnTo>
                <a:lnTo>
                  <a:pt x="4944" y="1967"/>
                </a:lnTo>
                <a:lnTo>
                  <a:pt x="4942" y="1966"/>
                </a:lnTo>
                <a:lnTo>
                  <a:pt x="4938" y="1964"/>
                </a:lnTo>
                <a:lnTo>
                  <a:pt x="4934" y="1962"/>
                </a:lnTo>
                <a:lnTo>
                  <a:pt x="4931" y="1960"/>
                </a:lnTo>
                <a:lnTo>
                  <a:pt x="4929" y="1957"/>
                </a:lnTo>
                <a:lnTo>
                  <a:pt x="4928" y="1955"/>
                </a:lnTo>
                <a:lnTo>
                  <a:pt x="4926" y="1949"/>
                </a:lnTo>
                <a:lnTo>
                  <a:pt x="4923" y="1944"/>
                </a:lnTo>
                <a:lnTo>
                  <a:pt x="4922" y="1942"/>
                </a:lnTo>
                <a:lnTo>
                  <a:pt x="4920" y="1940"/>
                </a:lnTo>
                <a:lnTo>
                  <a:pt x="4918" y="1939"/>
                </a:lnTo>
                <a:lnTo>
                  <a:pt x="4916" y="1938"/>
                </a:lnTo>
                <a:lnTo>
                  <a:pt x="4912" y="1938"/>
                </a:lnTo>
                <a:lnTo>
                  <a:pt x="4908" y="1936"/>
                </a:lnTo>
                <a:lnTo>
                  <a:pt x="4907" y="1936"/>
                </a:lnTo>
                <a:lnTo>
                  <a:pt x="4906" y="1934"/>
                </a:lnTo>
                <a:lnTo>
                  <a:pt x="4904" y="1932"/>
                </a:lnTo>
                <a:lnTo>
                  <a:pt x="4903" y="1929"/>
                </a:lnTo>
                <a:lnTo>
                  <a:pt x="4902" y="1924"/>
                </a:lnTo>
                <a:lnTo>
                  <a:pt x="4902" y="1918"/>
                </a:lnTo>
                <a:lnTo>
                  <a:pt x="4901" y="1915"/>
                </a:lnTo>
                <a:lnTo>
                  <a:pt x="4900" y="1912"/>
                </a:lnTo>
                <a:lnTo>
                  <a:pt x="4892" y="1912"/>
                </a:lnTo>
                <a:lnTo>
                  <a:pt x="4890" y="1906"/>
                </a:lnTo>
                <a:lnTo>
                  <a:pt x="4889" y="1902"/>
                </a:lnTo>
                <a:lnTo>
                  <a:pt x="4888" y="1899"/>
                </a:lnTo>
                <a:lnTo>
                  <a:pt x="4886" y="1895"/>
                </a:lnTo>
                <a:lnTo>
                  <a:pt x="4883" y="1895"/>
                </a:lnTo>
                <a:lnTo>
                  <a:pt x="4883" y="1891"/>
                </a:lnTo>
                <a:lnTo>
                  <a:pt x="4882" y="1888"/>
                </a:lnTo>
                <a:lnTo>
                  <a:pt x="4883" y="1879"/>
                </a:lnTo>
                <a:lnTo>
                  <a:pt x="4885" y="1870"/>
                </a:lnTo>
                <a:lnTo>
                  <a:pt x="4887" y="1861"/>
                </a:lnTo>
                <a:lnTo>
                  <a:pt x="4893" y="1844"/>
                </a:lnTo>
                <a:lnTo>
                  <a:pt x="4897" y="1830"/>
                </a:lnTo>
                <a:lnTo>
                  <a:pt x="4894" y="1808"/>
                </a:lnTo>
                <a:lnTo>
                  <a:pt x="4894" y="1802"/>
                </a:lnTo>
                <a:lnTo>
                  <a:pt x="4900" y="1801"/>
                </a:lnTo>
                <a:lnTo>
                  <a:pt x="4908" y="1799"/>
                </a:lnTo>
                <a:lnTo>
                  <a:pt x="4909" y="1802"/>
                </a:lnTo>
                <a:lnTo>
                  <a:pt x="4910" y="1802"/>
                </a:lnTo>
                <a:lnTo>
                  <a:pt x="4911" y="1802"/>
                </a:lnTo>
                <a:lnTo>
                  <a:pt x="4914" y="1802"/>
                </a:lnTo>
                <a:lnTo>
                  <a:pt x="4914" y="1807"/>
                </a:lnTo>
                <a:lnTo>
                  <a:pt x="4914" y="1810"/>
                </a:lnTo>
                <a:lnTo>
                  <a:pt x="4915" y="1814"/>
                </a:lnTo>
                <a:lnTo>
                  <a:pt x="4916" y="1815"/>
                </a:lnTo>
                <a:lnTo>
                  <a:pt x="4917" y="1816"/>
                </a:lnTo>
                <a:lnTo>
                  <a:pt x="4918" y="1817"/>
                </a:lnTo>
                <a:lnTo>
                  <a:pt x="4920" y="1817"/>
                </a:lnTo>
                <a:lnTo>
                  <a:pt x="4922" y="1817"/>
                </a:lnTo>
                <a:lnTo>
                  <a:pt x="4924" y="1816"/>
                </a:lnTo>
                <a:lnTo>
                  <a:pt x="4931" y="1813"/>
                </a:lnTo>
                <a:lnTo>
                  <a:pt x="4931" y="1814"/>
                </a:lnTo>
                <a:lnTo>
                  <a:pt x="4931" y="1815"/>
                </a:lnTo>
                <a:lnTo>
                  <a:pt x="4931" y="1817"/>
                </a:lnTo>
                <a:lnTo>
                  <a:pt x="4931" y="1820"/>
                </a:lnTo>
                <a:lnTo>
                  <a:pt x="4931" y="1822"/>
                </a:lnTo>
                <a:lnTo>
                  <a:pt x="4932" y="1823"/>
                </a:lnTo>
                <a:lnTo>
                  <a:pt x="4933" y="1824"/>
                </a:lnTo>
                <a:lnTo>
                  <a:pt x="4936" y="1825"/>
                </a:lnTo>
                <a:lnTo>
                  <a:pt x="4940" y="1826"/>
                </a:lnTo>
                <a:lnTo>
                  <a:pt x="4941" y="1827"/>
                </a:lnTo>
                <a:lnTo>
                  <a:pt x="4942" y="1828"/>
                </a:lnTo>
                <a:lnTo>
                  <a:pt x="4943" y="1829"/>
                </a:lnTo>
                <a:lnTo>
                  <a:pt x="4942" y="1832"/>
                </a:lnTo>
                <a:lnTo>
                  <a:pt x="4942" y="1834"/>
                </a:lnTo>
                <a:lnTo>
                  <a:pt x="4942" y="1836"/>
                </a:lnTo>
                <a:lnTo>
                  <a:pt x="4945" y="1836"/>
                </a:lnTo>
                <a:lnTo>
                  <a:pt x="4950" y="1847"/>
                </a:lnTo>
                <a:lnTo>
                  <a:pt x="4956" y="1858"/>
                </a:lnTo>
                <a:lnTo>
                  <a:pt x="4958" y="1857"/>
                </a:lnTo>
                <a:lnTo>
                  <a:pt x="4960" y="1856"/>
                </a:lnTo>
                <a:lnTo>
                  <a:pt x="4962" y="1855"/>
                </a:lnTo>
                <a:lnTo>
                  <a:pt x="4963" y="1855"/>
                </a:lnTo>
                <a:lnTo>
                  <a:pt x="4965" y="1856"/>
                </a:lnTo>
                <a:lnTo>
                  <a:pt x="4962" y="1864"/>
                </a:lnTo>
                <a:lnTo>
                  <a:pt x="4973" y="1868"/>
                </a:lnTo>
                <a:lnTo>
                  <a:pt x="4976" y="1868"/>
                </a:lnTo>
                <a:lnTo>
                  <a:pt x="4979" y="1870"/>
                </a:lnTo>
                <a:lnTo>
                  <a:pt x="4978" y="1880"/>
                </a:lnTo>
                <a:lnTo>
                  <a:pt x="4977" y="1884"/>
                </a:lnTo>
                <a:lnTo>
                  <a:pt x="4977" y="1889"/>
                </a:lnTo>
                <a:lnTo>
                  <a:pt x="4978" y="1892"/>
                </a:lnTo>
                <a:lnTo>
                  <a:pt x="4979" y="1896"/>
                </a:lnTo>
                <a:lnTo>
                  <a:pt x="4980" y="1897"/>
                </a:lnTo>
                <a:lnTo>
                  <a:pt x="4981" y="1898"/>
                </a:lnTo>
                <a:lnTo>
                  <a:pt x="4982" y="1900"/>
                </a:lnTo>
                <a:lnTo>
                  <a:pt x="4984" y="1901"/>
                </a:lnTo>
                <a:lnTo>
                  <a:pt x="4985" y="1901"/>
                </a:lnTo>
                <a:lnTo>
                  <a:pt x="4985" y="1902"/>
                </a:lnTo>
                <a:lnTo>
                  <a:pt x="4983" y="1903"/>
                </a:lnTo>
                <a:lnTo>
                  <a:pt x="4982" y="1904"/>
                </a:lnTo>
                <a:lnTo>
                  <a:pt x="4981" y="1905"/>
                </a:lnTo>
                <a:lnTo>
                  <a:pt x="4982" y="1906"/>
                </a:lnTo>
                <a:lnTo>
                  <a:pt x="4984" y="1904"/>
                </a:lnTo>
                <a:lnTo>
                  <a:pt x="4987" y="1903"/>
                </a:lnTo>
                <a:lnTo>
                  <a:pt x="4993" y="1901"/>
                </a:lnTo>
                <a:lnTo>
                  <a:pt x="4993" y="1895"/>
                </a:lnTo>
                <a:lnTo>
                  <a:pt x="4995" y="1895"/>
                </a:lnTo>
                <a:lnTo>
                  <a:pt x="4997" y="1895"/>
                </a:lnTo>
                <a:lnTo>
                  <a:pt x="4999" y="1895"/>
                </a:lnTo>
                <a:lnTo>
                  <a:pt x="5000" y="1895"/>
                </a:lnTo>
                <a:lnTo>
                  <a:pt x="5001" y="1895"/>
                </a:lnTo>
                <a:lnTo>
                  <a:pt x="5000" y="1893"/>
                </a:lnTo>
                <a:lnTo>
                  <a:pt x="4998" y="1889"/>
                </a:lnTo>
                <a:lnTo>
                  <a:pt x="4997" y="1884"/>
                </a:lnTo>
                <a:lnTo>
                  <a:pt x="4997" y="1882"/>
                </a:lnTo>
                <a:lnTo>
                  <a:pt x="4998" y="1881"/>
                </a:lnTo>
                <a:lnTo>
                  <a:pt x="5002" y="1884"/>
                </a:lnTo>
                <a:lnTo>
                  <a:pt x="5005" y="1886"/>
                </a:lnTo>
                <a:lnTo>
                  <a:pt x="5007" y="1887"/>
                </a:lnTo>
                <a:lnTo>
                  <a:pt x="5007" y="1885"/>
                </a:lnTo>
                <a:lnTo>
                  <a:pt x="5008" y="1883"/>
                </a:lnTo>
                <a:lnTo>
                  <a:pt x="5010" y="1878"/>
                </a:lnTo>
                <a:lnTo>
                  <a:pt x="5005" y="1876"/>
                </a:lnTo>
                <a:lnTo>
                  <a:pt x="5003" y="1875"/>
                </a:lnTo>
                <a:lnTo>
                  <a:pt x="5001" y="1873"/>
                </a:lnTo>
                <a:lnTo>
                  <a:pt x="4998" y="1868"/>
                </a:lnTo>
                <a:lnTo>
                  <a:pt x="4997" y="1865"/>
                </a:lnTo>
                <a:lnTo>
                  <a:pt x="4999" y="1865"/>
                </a:lnTo>
                <a:lnTo>
                  <a:pt x="5004" y="1867"/>
                </a:lnTo>
                <a:lnTo>
                  <a:pt x="5004" y="1870"/>
                </a:lnTo>
                <a:lnTo>
                  <a:pt x="5016" y="1870"/>
                </a:lnTo>
                <a:lnTo>
                  <a:pt x="5024" y="1870"/>
                </a:lnTo>
                <a:lnTo>
                  <a:pt x="5022" y="1867"/>
                </a:lnTo>
                <a:lnTo>
                  <a:pt x="5021" y="1865"/>
                </a:lnTo>
                <a:lnTo>
                  <a:pt x="5021" y="1864"/>
                </a:lnTo>
                <a:lnTo>
                  <a:pt x="5025" y="1863"/>
                </a:lnTo>
                <a:lnTo>
                  <a:pt x="5027" y="1864"/>
                </a:lnTo>
                <a:lnTo>
                  <a:pt x="5028" y="1864"/>
                </a:lnTo>
                <a:lnTo>
                  <a:pt x="5029" y="1864"/>
                </a:lnTo>
                <a:lnTo>
                  <a:pt x="5035" y="1861"/>
                </a:lnTo>
                <a:lnTo>
                  <a:pt x="5041" y="1858"/>
                </a:lnTo>
                <a:lnTo>
                  <a:pt x="5046" y="1854"/>
                </a:lnTo>
                <a:lnTo>
                  <a:pt x="5051" y="1850"/>
                </a:lnTo>
                <a:lnTo>
                  <a:pt x="5055" y="1846"/>
                </a:lnTo>
                <a:lnTo>
                  <a:pt x="5058" y="1842"/>
                </a:lnTo>
                <a:lnTo>
                  <a:pt x="5061" y="1838"/>
                </a:lnTo>
                <a:lnTo>
                  <a:pt x="5063" y="1833"/>
                </a:lnTo>
                <a:lnTo>
                  <a:pt x="5064" y="1828"/>
                </a:lnTo>
                <a:lnTo>
                  <a:pt x="5065" y="1823"/>
                </a:lnTo>
                <a:lnTo>
                  <a:pt x="5066" y="1818"/>
                </a:lnTo>
                <a:lnTo>
                  <a:pt x="5066" y="1812"/>
                </a:lnTo>
                <a:lnTo>
                  <a:pt x="5065" y="1806"/>
                </a:lnTo>
                <a:lnTo>
                  <a:pt x="5063" y="1794"/>
                </a:lnTo>
                <a:lnTo>
                  <a:pt x="5060" y="1780"/>
                </a:lnTo>
                <a:lnTo>
                  <a:pt x="5055" y="1757"/>
                </a:lnTo>
                <a:lnTo>
                  <a:pt x="5054" y="1756"/>
                </a:lnTo>
                <a:lnTo>
                  <a:pt x="5052" y="1755"/>
                </a:lnTo>
                <a:lnTo>
                  <a:pt x="5049" y="1753"/>
                </a:lnTo>
                <a:lnTo>
                  <a:pt x="5045" y="1751"/>
                </a:lnTo>
                <a:lnTo>
                  <a:pt x="5044" y="1750"/>
                </a:lnTo>
                <a:lnTo>
                  <a:pt x="5043" y="1749"/>
                </a:lnTo>
                <a:lnTo>
                  <a:pt x="5043" y="1746"/>
                </a:lnTo>
                <a:lnTo>
                  <a:pt x="5044" y="1743"/>
                </a:lnTo>
                <a:lnTo>
                  <a:pt x="5044" y="1740"/>
                </a:lnTo>
                <a:lnTo>
                  <a:pt x="5043" y="1738"/>
                </a:lnTo>
                <a:lnTo>
                  <a:pt x="5035" y="1730"/>
                </a:lnTo>
                <a:lnTo>
                  <a:pt x="5030" y="1725"/>
                </a:lnTo>
                <a:lnTo>
                  <a:pt x="5028" y="1722"/>
                </a:lnTo>
                <a:lnTo>
                  <a:pt x="5027" y="1721"/>
                </a:lnTo>
                <a:lnTo>
                  <a:pt x="5026" y="1719"/>
                </a:lnTo>
                <a:lnTo>
                  <a:pt x="5027" y="1716"/>
                </a:lnTo>
                <a:lnTo>
                  <a:pt x="5027" y="1714"/>
                </a:lnTo>
                <a:lnTo>
                  <a:pt x="5027" y="1713"/>
                </a:lnTo>
                <a:lnTo>
                  <a:pt x="5027" y="1712"/>
                </a:lnTo>
                <a:lnTo>
                  <a:pt x="5025" y="1711"/>
                </a:lnTo>
                <a:lnTo>
                  <a:pt x="5024" y="1710"/>
                </a:lnTo>
                <a:lnTo>
                  <a:pt x="5020" y="1709"/>
                </a:lnTo>
                <a:lnTo>
                  <a:pt x="5015" y="1708"/>
                </a:lnTo>
                <a:lnTo>
                  <a:pt x="5012" y="1707"/>
                </a:lnTo>
                <a:lnTo>
                  <a:pt x="5012" y="1705"/>
                </a:lnTo>
                <a:lnTo>
                  <a:pt x="5011" y="1704"/>
                </a:lnTo>
                <a:lnTo>
                  <a:pt x="5011" y="1701"/>
                </a:lnTo>
                <a:lnTo>
                  <a:pt x="5011" y="1698"/>
                </a:lnTo>
                <a:lnTo>
                  <a:pt x="5010" y="1695"/>
                </a:lnTo>
                <a:lnTo>
                  <a:pt x="5008" y="1694"/>
                </a:lnTo>
                <a:lnTo>
                  <a:pt x="5005" y="1692"/>
                </a:lnTo>
                <a:lnTo>
                  <a:pt x="5003" y="1691"/>
                </a:lnTo>
                <a:lnTo>
                  <a:pt x="5001" y="1690"/>
                </a:lnTo>
                <a:lnTo>
                  <a:pt x="4999" y="1686"/>
                </a:lnTo>
                <a:lnTo>
                  <a:pt x="4998" y="1681"/>
                </a:lnTo>
                <a:lnTo>
                  <a:pt x="4997" y="1676"/>
                </a:lnTo>
                <a:lnTo>
                  <a:pt x="4997" y="1671"/>
                </a:lnTo>
                <a:lnTo>
                  <a:pt x="4997" y="1666"/>
                </a:lnTo>
                <a:lnTo>
                  <a:pt x="4998" y="1660"/>
                </a:lnTo>
                <a:lnTo>
                  <a:pt x="4999" y="1655"/>
                </a:lnTo>
                <a:lnTo>
                  <a:pt x="5001" y="1650"/>
                </a:lnTo>
                <a:lnTo>
                  <a:pt x="5003" y="1649"/>
                </a:lnTo>
                <a:lnTo>
                  <a:pt x="5005" y="1649"/>
                </a:lnTo>
                <a:lnTo>
                  <a:pt x="5008" y="1648"/>
                </a:lnTo>
                <a:lnTo>
                  <a:pt x="5010" y="1647"/>
                </a:lnTo>
                <a:lnTo>
                  <a:pt x="5011" y="1645"/>
                </a:lnTo>
                <a:lnTo>
                  <a:pt x="5013" y="1643"/>
                </a:lnTo>
                <a:lnTo>
                  <a:pt x="5015" y="1638"/>
                </a:lnTo>
                <a:lnTo>
                  <a:pt x="5018" y="1632"/>
                </a:lnTo>
                <a:lnTo>
                  <a:pt x="5019" y="1630"/>
                </a:lnTo>
                <a:lnTo>
                  <a:pt x="5021" y="1628"/>
                </a:lnTo>
                <a:lnTo>
                  <a:pt x="5030" y="1619"/>
                </a:lnTo>
                <a:lnTo>
                  <a:pt x="5035" y="1616"/>
                </a:lnTo>
                <a:lnTo>
                  <a:pt x="5040" y="1613"/>
                </a:lnTo>
                <a:lnTo>
                  <a:pt x="5044" y="1612"/>
                </a:lnTo>
                <a:lnTo>
                  <a:pt x="5047" y="1611"/>
                </a:lnTo>
                <a:lnTo>
                  <a:pt x="5054" y="1609"/>
                </a:lnTo>
                <a:lnTo>
                  <a:pt x="5062" y="1608"/>
                </a:lnTo>
                <a:lnTo>
                  <a:pt x="5072" y="1608"/>
                </a:lnTo>
                <a:lnTo>
                  <a:pt x="5069" y="1619"/>
                </a:lnTo>
                <a:lnTo>
                  <a:pt x="5070" y="1626"/>
                </a:lnTo>
                <a:lnTo>
                  <a:pt x="5070" y="1629"/>
                </a:lnTo>
                <a:lnTo>
                  <a:pt x="5072" y="1633"/>
                </a:lnTo>
                <a:lnTo>
                  <a:pt x="5077" y="1642"/>
                </a:lnTo>
                <a:lnTo>
                  <a:pt x="5081" y="1639"/>
                </a:lnTo>
                <a:lnTo>
                  <a:pt x="5083" y="1638"/>
                </a:lnTo>
                <a:lnTo>
                  <a:pt x="5084" y="1638"/>
                </a:lnTo>
                <a:lnTo>
                  <a:pt x="5086" y="1639"/>
                </a:lnTo>
                <a:lnTo>
                  <a:pt x="5085" y="1635"/>
                </a:lnTo>
                <a:lnTo>
                  <a:pt x="5086" y="1631"/>
                </a:lnTo>
                <a:lnTo>
                  <a:pt x="5085" y="1631"/>
                </a:lnTo>
                <a:lnTo>
                  <a:pt x="5084" y="1631"/>
                </a:lnTo>
                <a:lnTo>
                  <a:pt x="5082" y="1629"/>
                </a:lnTo>
                <a:lnTo>
                  <a:pt x="5080" y="1625"/>
                </a:lnTo>
                <a:lnTo>
                  <a:pt x="5084" y="1623"/>
                </a:lnTo>
                <a:lnTo>
                  <a:pt x="5088" y="1621"/>
                </a:lnTo>
                <a:lnTo>
                  <a:pt x="5097" y="1617"/>
                </a:lnTo>
                <a:lnTo>
                  <a:pt x="5098" y="1615"/>
                </a:lnTo>
                <a:lnTo>
                  <a:pt x="5100" y="1612"/>
                </a:lnTo>
                <a:lnTo>
                  <a:pt x="5101" y="1610"/>
                </a:lnTo>
                <a:lnTo>
                  <a:pt x="5102" y="1608"/>
                </a:lnTo>
                <a:lnTo>
                  <a:pt x="5106" y="1607"/>
                </a:lnTo>
                <a:lnTo>
                  <a:pt x="5110" y="1606"/>
                </a:lnTo>
                <a:lnTo>
                  <a:pt x="5117" y="1605"/>
                </a:lnTo>
                <a:lnTo>
                  <a:pt x="5125" y="1605"/>
                </a:lnTo>
                <a:lnTo>
                  <a:pt x="5129" y="1604"/>
                </a:lnTo>
                <a:lnTo>
                  <a:pt x="5133" y="1602"/>
                </a:lnTo>
                <a:lnTo>
                  <a:pt x="5135" y="1601"/>
                </a:lnTo>
                <a:lnTo>
                  <a:pt x="5137" y="1599"/>
                </a:lnTo>
                <a:lnTo>
                  <a:pt x="5140" y="1595"/>
                </a:lnTo>
                <a:lnTo>
                  <a:pt x="5145" y="1586"/>
                </a:lnTo>
                <a:lnTo>
                  <a:pt x="5153" y="1594"/>
                </a:lnTo>
                <a:lnTo>
                  <a:pt x="5155" y="1593"/>
                </a:lnTo>
                <a:lnTo>
                  <a:pt x="5158" y="1591"/>
                </a:lnTo>
                <a:lnTo>
                  <a:pt x="5161" y="1589"/>
                </a:lnTo>
                <a:lnTo>
                  <a:pt x="5162" y="1588"/>
                </a:lnTo>
                <a:lnTo>
                  <a:pt x="5168" y="1587"/>
                </a:lnTo>
                <a:lnTo>
                  <a:pt x="5173" y="1586"/>
                </a:lnTo>
                <a:lnTo>
                  <a:pt x="5178" y="1586"/>
                </a:lnTo>
                <a:lnTo>
                  <a:pt x="5184" y="1586"/>
                </a:lnTo>
                <a:lnTo>
                  <a:pt x="5190" y="1583"/>
                </a:lnTo>
                <a:lnTo>
                  <a:pt x="5190" y="1580"/>
                </a:lnTo>
                <a:lnTo>
                  <a:pt x="5190" y="1576"/>
                </a:lnTo>
                <a:lnTo>
                  <a:pt x="5190" y="1569"/>
                </a:lnTo>
                <a:lnTo>
                  <a:pt x="5204" y="1561"/>
                </a:lnTo>
                <a:lnTo>
                  <a:pt x="5218" y="1555"/>
                </a:lnTo>
                <a:lnTo>
                  <a:pt x="5217" y="1549"/>
                </a:lnTo>
                <a:lnTo>
                  <a:pt x="5218" y="1543"/>
                </a:lnTo>
                <a:lnTo>
                  <a:pt x="5220" y="1542"/>
                </a:lnTo>
                <a:lnTo>
                  <a:pt x="5223" y="1542"/>
                </a:lnTo>
                <a:lnTo>
                  <a:pt x="5228" y="1542"/>
                </a:lnTo>
                <a:lnTo>
                  <a:pt x="5233" y="1542"/>
                </a:lnTo>
                <a:lnTo>
                  <a:pt x="5235" y="1542"/>
                </a:lnTo>
                <a:lnTo>
                  <a:pt x="5237" y="1541"/>
                </a:lnTo>
                <a:lnTo>
                  <a:pt x="5235" y="1532"/>
                </a:lnTo>
                <a:lnTo>
                  <a:pt x="5239" y="1530"/>
                </a:lnTo>
                <a:lnTo>
                  <a:pt x="5241" y="1529"/>
                </a:lnTo>
                <a:lnTo>
                  <a:pt x="5240" y="1529"/>
                </a:lnTo>
                <a:lnTo>
                  <a:pt x="5237" y="1529"/>
                </a:lnTo>
                <a:lnTo>
                  <a:pt x="5237" y="1524"/>
                </a:lnTo>
                <a:lnTo>
                  <a:pt x="5243" y="1524"/>
                </a:lnTo>
                <a:lnTo>
                  <a:pt x="5246" y="1524"/>
                </a:lnTo>
                <a:lnTo>
                  <a:pt x="5249" y="1524"/>
                </a:lnTo>
                <a:lnTo>
                  <a:pt x="5248" y="1517"/>
                </a:lnTo>
                <a:lnTo>
                  <a:pt x="5249" y="1511"/>
                </a:lnTo>
                <a:lnTo>
                  <a:pt x="5249" y="1507"/>
                </a:lnTo>
                <a:lnTo>
                  <a:pt x="5249" y="1504"/>
                </a:lnTo>
                <a:lnTo>
                  <a:pt x="5247" y="1503"/>
                </a:lnTo>
                <a:lnTo>
                  <a:pt x="5245" y="1502"/>
                </a:lnTo>
                <a:lnTo>
                  <a:pt x="5244" y="1501"/>
                </a:lnTo>
                <a:lnTo>
                  <a:pt x="5243" y="1500"/>
                </a:lnTo>
                <a:lnTo>
                  <a:pt x="5243" y="1498"/>
                </a:lnTo>
                <a:lnTo>
                  <a:pt x="5246" y="1498"/>
                </a:lnTo>
                <a:lnTo>
                  <a:pt x="5247" y="1495"/>
                </a:lnTo>
                <a:lnTo>
                  <a:pt x="5247" y="1492"/>
                </a:lnTo>
                <a:lnTo>
                  <a:pt x="5247" y="1488"/>
                </a:lnTo>
                <a:lnTo>
                  <a:pt x="5249" y="1484"/>
                </a:lnTo>
                <a:lnTo>
                  <a:pt x="5250" y="1484"/>
                </a:lnTo>
                <a:lnTo>
                  <a:pt x="5253" y="1484"/>
                </a:lnTo>
                <a:lnTo>
                  <a:pt x="5255" y="1484"/>
                </a:lnTo>
                <a:lnTo>
                  <a:pt x="5257" y="1484"/>
                </a:lnTo>
                <a:lnTo>
                  <a:pt x="5259" y="1482"/>
                </a:lnTo>
                <a:lnTo>
                  <a:pt x="5261" y="1479"/>
                </a:lnTo>
                <a:lnTo>
                  <a:pt x="5263" y="1475"/>
                </a:lnTo>
                <a:lnTo>
                  <a:pt x="5266" y="1473"/>
                </a:lnTo>
                <a:lnTo>
                  <a:pt x="5268" y="1473"/>
                </a:lnTo>
                <a:lnTo>
                  <a:pt x="5269" y="1472"/>
                </a:lnTo>
                <a:lnTo>
                  <a:pt x="5269" y="1471"/>
                </a:lnTo>
                <a:lnTo>
                  <a:pt x="5269" y="1468"/>
                </a:lnTo>
                <a:lnTo>
                  <a:pt x="5268" y="1464"/>
                </a:lnTo>
                <a:lnTo>
                  <a:pt x="5268" y="1462"/>
                </a:lnTo>
                <a:lnTo>
                  <a:pt x="5270" y="1460"/>
                </a:lnTo>
                <a:lnTo>
                  <a:pt x="5272" y="1457"/>
                </a:lnTo>
                <a:lnTo>
                  <a:pt x="5275" y="1454"/>
                </a:lnTo>
                <a:lnTo>
                  <a:pt x="5277" y="1451"/>
                </a:lnTo>
                <a:lnTo>
                  <a:pt x="5280" y="1451"/>
                </a:lnTo>
                <a:lnTo>
                  <a:pt x="5281" y="1452"/>
                </a:lnTo>
                <a:lnTo>
                  <a:pt x="5282" y="1452"/>
                </a:lnTo>
                <a:lnTo>
                  <a:pt x="5285" y="1451"/>
                </a:lnTo>
                <a:lnTo>
                  <a:pt x="5283" y="1443"/>
                </a:lnTo>
                <a:lnTo>
                  <a:pt x="5282" y="1439"/>
                </a:lnTo>
                <a:lnTo>
                  <a:pt x="5283" y="1437"/>
                </a:lnTo>
                <a:lnTo>
                  <a:pt x="5283" y="1434"/>
                </a:lnTo>
                <a:lnTo>
                  <a:pt x="5282" y="1428"/>
                </a:lnTo>
                <a:lnTo>
                  <a:pt x="5291" y="1428"/>
                </a:lnTo>
                <a:lnTo>
                  <a:pt x="5293" y="1423"/>
                </a:lnTo>
                <a:lnTo>
                  <a:pt x="5293" y="1420"/>
                </a:lnTo>
                <a:lnTo>
                  <a:pt x="5293" y="1418"/>
                </a:lnTo>
                <a:lnTo>
                  <a:pt x="5292" y="1418"/>
                </a:lnTo>
                <a:lnTo>
                  <a:pt x="5290" y="1418"/>
                </a:lnTo>
                <a:lnTo>
                  <a:pt x="5288" y="1418"/>
                </a:lnTo>
                <a:lnTo>
                  <a:pt x="5297" y="1411"/>
                </a:lnTo>
                <a:lnTo>
                  <a:pt x="5293" y="1407"/>
                </a:lnTo>
                <a:lnTo>
                  <a:pt x="5290" y="1404"/>
                </a:lnTo>
                <a:lnTo>
                  <a:pt x="5288" y="1403"/>
                </a:lnTo>
                <a:lnTo>
                  <a:pt x="5285" y="1403"/>
                </a:lnTo>
                <a:lnTo>
                  <a:pt x="5280" y="1404"/>
                </a:lnTo>
                <a:lnTo>
                  <a:pt x="5277" y="1405"/>
                </a:lnTo>
                <a:lnTo>
                  <a:pt x="5277" y="1406"/>
                </a:lnTo>
                <a:lnTo>
                  <a:pt x="5276" y="1406"/>
                </a:lnTo>
                <a:lnTo>
                  <a:pt x="5275" y="1406"/>
                </a:lnTo>
                <a:lnTo>
                  <a:pt x="5273" y="1404"/>
                </a:lnTo>
                <a:lnTo>
                  <a:pt x="5272" y="1401"/>
                </a:lnTo>
                <a:lnTo>
                  <a:pt x="5271" y="1400"/>
                </a:lnTo>
                <a:lnTo>
                  <a:pt x="5284" y="1392"/>
                </a:lnTo>
                <a:lnTo>
                  <a:pt x="5286" y="1390"/>
                </a:lnTo>
                <a:lnTo>
                  <a:pt x="5288" y="1389"/>
                </a:lnTo>
                <a:lnTo>
                  <a:pt x="5289" y="1387"/>
                </a:lnTo>
                <a:lnTo>
                  <a:pt x="5289" y="1386"/>
                </a:lnTo>
                <a:lnTo>
                  <a:pt x="5290" y="1385"/>
                </a:lnTo>
                <a:lnTo>
                  <a:pt x="5290" y="1383"/>
                </a:lnTo>
                <a:lnTo>
                  <a:pt x="5290" y="1382"/>
                </a:lnTo>
                <a:lnTo>
                  <a:pt x="5289" y="1380"/>
                </a:lnTo>
                <a:lnTo>
                  <a:pt x="5288" y="1377"/>
                </a:lnTo>
                <a:lnTo>
                  <a:pt x="5284" y="1372"/>
                </a:lnTo>
                <a:lnTo>
                  <a:pt x="5277" y="1366"/>
                </a:lnTo>
                <a:lnTo>
                  <a:pt x="5282" y="1366"/>
                </a:lnTo>
                <a:lnTo>
                  <a:pt x="5282" y="1362"/>
                </a:lnTo>
                <a:lnTo>
                  <a:pt x="5282" y="1358"/>
                </a:lnTo>
                <a:lnTo>
                  <a:pt x="5278" y="1352"/>
                </a:lnTo>
                <a:lnTo>
                  <a:pt x="5272" y="1347"/>
                </a:lnTo>
                <a:lnTo>
                  <a:pt x="5266" y="1341"/>
                </a:lnTo>
                <a:lnTo>
                  <a:pt x="5264" y="1338"/>
                </a:lnTo>
                <a:lnTo>
                  <a:pt x="5263" y="1335"/>
                </a:lnTo>
                <a:lnTo>
                  <a:pt x="5263" y="1333"/>
                </a:lnTo>
                <a:lnTo>
                  <a:pt x="5263" y="1329"/>
                </a:lnTo>
                <a:lnTo>
                  <a:pt x="5263" y="1326"/>
                </a:lnTo>
                <a:lnTo>
                  <a:pt x="5263" y="1325"/>
                </a:lnTo>
                <a:lnTo>
                  <a:pt x="5263" y="1324"/>
                </a:lnTo>
                <a:lnTo>
                  <a:pt x="5262" y="1323"/>
                </a:lnTo>
                <a:lnTo>
                  <a:pt x="5261" y="1323"/>
                </a:lnTo>
                <a:lnTo>
                  <a:pt x="5259" y="1322"/>
                </a:lnTo>
                <a:lnTo>
                  <a:pt x="5256" y="1322"/>
                </a:lnTo>
                <a:lnTo>
                  <a:pt x="5254" y="1321"/>
                </a:lnTo>
                <a:lnTo>
                  <a:pt x="5253" y="1320"/>
                </a:lnTo>
                <a:lnTo>
                  <a:pt x="5254" y="1319"/>
                </a:lnTo>
                <a:lnTo>
                  <a:pt x="5256" y="1318"/>
                </a:lnTo>
                <a:lnTo>
                  <a:pt x="5258" y="1317"/>
                </a:lnTo>
                <a:lnTo>
                  <a:pt x="5258" y="1316"/>
                </a:lnTo>
                <a:lnTo>
                  <a:pt x="5257" y="1315"/>
                </a:lnTo>
                <a:lnTo>
                  <a:pt x="5254" y="1313"/>
                </a:lnTo>
                <a:lnTo>
                  <a:pt x="5252" y="1310"/>
                </a:lnTo>
                <a:lnTo>
                  <a:pt x="5249" y="1307"/>
                </a:lnTo>
                <a:lnTo>
                  <a:pt x="5247" y="1302"/>
                </a:lnTo>
                <a:lnTo>
                  <a:pt x="5246" y="1298"/>
                </a:lnTo>
                <a:lnTo>
                  <a:pt x="5245" y="1293"/>
                </a:lnTo>
                <a:lnTo>
                  <a:pt x="5245" y="1287"/>
                </a:lnTo>
                <a:lnTo>
                  <a:pt x="5246" y="1282"/>
                </a:lnTo>
                <a:lnTo>
                  <a:pt x="5247" y="1280"/>
                </a:lnTo>
                <a:lnTo>
                  <a:pt x="5248" y="1278"/>
                </a:lnTo>
                <a:lnTo>
                  <a:pt x="5252" y="1275"/>
                </a:lnTo>
                <a:lnTo>
                  <a:pt x="5257" y="1273"/>
                </a:lnTo>
                <a:lnTo>
                  <a:pt x="5259" y="1272"/>
                </a:lnTo>
                <a:lnTo>
                  <a:pt x="5260" y="1270"/>
                </a:lnTo>
                <a:lnTo>
                  <a:pt x="5260" y="1269"/>
                </a:lnTo>
                <a:lnTo>
                  <a:pt x="5259" y="1268"/>
                </a:lnTo>
                <a:lnTo>
                  <a:pt x="5257" y="1265"/>
                </a:lnTo>
                <a:lnTo>
                  <a:pt x="5269" y="1253"/>
                </a:lnTo>
                <a:lnTo>
                  <a:pt x="5276" y="1247"/>
                </a:lnTo>
                <a:lnTo>
                  <a:pt x="5282" y="1242"/>
                </a:lnTo>
                <a:lnTo>
                  <a:pt x="5287" y="1241"/>
                </a:lnTo>
                <a:lnTo>
                  <a:pt x="5294" y="1240"/>
                </a:lnTo>
                <a:lnTo>
                  <a:pt x="5301" y="1238"/>
                </a:lnTo>
                <a:lnTo>
                  <a:pt x="5305" y="1237"/>
                </a:lnTo>
                <a:lnTo>
                  <a:pt x="5306" y="1236"/>
                </a:lnTo>
                <a:lnTo>
                  <a:pt x="5306" y="1234"/>
                </a:lnTo>
                <a:lnTo>
                  <a:pt x="5306" y="1230"/>
                </a:lnTo>
                <a:lnTo>
                  <a:pt x="5307" y="1225"/>
                </a:lnTo>
                <a:lnTo>
                  <a:pt x="5307" y="1224"/>
                </a:lnTo>
                <a:lnTo>
                  <a:pt x="5308" y="1223"/>
                </a:lnTo>
                <a:lnTo>
                  <a:pt x="5296" y="1223"/>
                </a:lnTo>
                <a:lnTo>
                  <a:pt x="5289" y="1223"/>
                </a:lnTo>
                <a:lnTo>
                  <a:pt x="5282" y="1223"/>
                </a:lnTo>
                <a:lnTo>
                  <a:pt x="5280" y="1221"/>
                </a:lnTo>
                <a:lnTo>
                  <a:pt x="5279" y="1220"/>
                </a:lnTo>
                <a:lnTo>
                  <a:pt x="5276" y="1219"/>
                </a:lnTo>
                <a:lnTo>
                  <a:pt x="5270" y="1217"/>
                </a:lnTo>
                <a:lnTo>
                  <a:pt x="5267" y="1217"/>
                </a:lnTo>
                <a:lnTo>
                  <a:pt x="5263" y="1217"/>
                </a:lnTo>
                <a:lnTo>
                  <a:pt x="5261" y="1218"/>
                </a:lnTo>
                <a:lnTo>
                  <a:pt x="5259" y="1219"/>
                </a:lnTo>
                <a:lnTo>
                  <a:pt x="5255" y="1224"/>
                </a:lnTo>
                <a:lnTo>
                  <a:pt x="5252" y="1228"/>
                </a:lnTo>
                <a:lnTo>
                  <a:pt x="5249" y="1231"/>
                </a:lnTo>
                <a:lnTo>
                  <a:pt x="5244" y="1232"/>
                </a:lnTo>
                <a:lnTo>
                  <a:pt x="5241" y="1233"/>
                </a:lnTo>
                <a:lnTo>
                  <a:pt x="5238" y="1233"/>
                </a:lnTo>
                <a:lnTo>
                  <a:pt x="5235" y="1234"/>
                </a:lnTo>
                <a:lnTo>
                  <a:pt x="5229" y="1223"/>
                </a:lnTo>
                <a:lnTo>
                  <a:pt x="5223" y="1213"/>
                </a:lnTo>
                <a:lnTo>
                  <a:pt x="5218" y="1202"/>
                </a:lnTo>
                <a:lnTo>
                  <a:pt x="5215" y="1197"/>
                </a:lnTo>
                <a:lnTo>
                  <a:pt x="5212" y="1192"/>
                </a:lnTo>
                <a:lnTo>
                  <a:pt x="5214" y="1191"/>
                </a:lnTo>
                <a:lnTo>
                  <a:pt x="5214" y="1190"/>
                </a:lnTo>
                <a:lnTo>
                  <a:pt x="5215" y="1189"/>
                </a:lnTo>
                <a:lnTo>
                  <a:pt x="5215" y="1187"/>
                </a:lnTo>
                <a:lnTo>
                  <a:pt x="5216" y="1185"/>
                </a:lnTo>
                <a:lnTo>
                  <a:pt x="5217" y="1184"/>
                </a:lnTo>
                <a:lnTo>
                  <a:pt x="5218" y="1183"/>
                </a:lnTo>
                <a:lnTo>
                  <a:pt x="5223" y="1183"/>
                </a:lnTo>
                <a:lnTo>
                  <a:pt x="5228" y="1183"/>
                </a:lnTo>
                <a:lnTo>
                  <a:pt x="5233" y="1184"/>
                </a:lnTo>
                <a:lnTo>
                  <a:pt x="5235" y="1184"/>
                </a:lnTo>
                <a:lnTo>
                  <a:pt x="5237" y="1183"/>
                </a:lnTo>
                <a:lnTo>
                  <a:pt x="5239" y="1181"/>
                </a:lnTo>
                <a:lnTo>
                  <a:pt x="5240" y="1177"/>
                </a:lnTo>
                <a:lnTo>
                  <a:pt x="5242" y="1172"/>
                </a:lnTo>
                <a:lnTo>
                  <a:pt x="5243" y="1169"/>
                </a:lnTo>
                <a:lnTo>
                  <a:pt x="5245" y="1168"/>
                </a:lnTo>
                <a:lnTo>
                  <a:pt x="5247" y="1167"/>
                </a:lnTo>
                <a:lnTo>
                  <a:pt x="5253" y="1165"/>
                </a:lnTo>
                <a:lnTo>
                  <a:pt x="5258" y="1163"/>
                </a:lnTo>
                <a:lnTo>
                  <a:pt x="5263" y="1161"/>
                </a:lnTo>
                <a:lnTo>
                  <a:pt x="5265" y="1159"/>
                </a:lnTo>
                <a:lnTo>
                  <a:pt x="5267" y="1155"/>
                </a:lnTo>
                <a:lnTo>
                  <a:pt x="5272" y="1147"/>
                </a:lnTo>
                <a:lnTo>
                  <a:pt x="5280" y="1133"/>
                </a:lnTo>
                <a:lnTo>
                  <a:pt x="5290" y="1135"/>
                </a:lnTo>
                <a:lnTo>
                  <a:pt x="5296" y="1138"/>
                </a:lnTo>
                <a:lnTo>
                  <a:pt x="5300" y="1140"/>
                </a:lnTo>
                <a:lnTo>
                  <a:pt x="5300" y="1141"/>
                </a:lnTo>
                <a:lnTo>
                  <a:pt x="5301" y="1142"/>
                </a:lnTo>
                <a:lnTo>
                  <a:pt x="5300" y="1145"/>
                </a:lnTo>
                <a:lnTo>
                  <a:pt x="5298" y="1148"/>
                </a:lnTo>
                <a:lnTo>
                  <a:pt x="5294" y="1154"/>
                </a:lnTo>
                <a:lnTo>
                  <a:pt x="5291" y="1161"/>
                </a:lnTo>
                <a:lnTo>
                  <a:pt x="5288" y="1166"/>
                </a:lnTo>
                <a:lnTo>
                  <a:pt x="5285" y="1175"/>
                </a:lnTo>
                <a:lnTo>
                  <a:pt x="5284" y="1179"/>
                </a:lnTo>
                <a:lnTo>
                  <a:pt x="5284" y="1180"/>
                </a:lnTo>
                <a:lnTo>
                  <a:pt x="5284" y="1181"/>
                </a:lnTo>
                <a:lnTo>
                  <a:pt x="5285" y="1181"/>
                </a:lnTo>
                <a:lnTo>
                  <a:pt x="5286" y="1181"/>
                </a:lnTo>
                <a:lnTo>
                  <a:pt x="5291" y="1178"/>
                </a:lnTo>
                <a:lnTo>
                  <a:pt x="5289" y="1180"/>
                </a:lnTo>
                <a:lnTo>
                  <a:pt x="5287" y="1186"/>
                </a:lnTo>
                <a:lnTo>
                  <a:pt x="5286" y="1189"/>
                </a:lnTo>
                <a:lnTo>
                  <a:pt x="5286" y="1191"/>
                </a:lnTo>
                <a:lnTo>
                  <a:pt x="5286" y="1192"/>
                </a:lnTo>
                <a:lnTo>
                  <a:pt x="5288" y="1192"/>
                </a:lnTo>
                <a:lnTo>
                  <a:pt x="5290" y="1191"/>
                </a:lnTo>
                <a:lnTo>
                  <a:pt x="5292" y="1189"/>
                </a:lnTo>
                <a:lnTo>
                  <a:pt x="5297" y="1184"/>
                </a:lnTo>
                <a:lnTo>
                  <a:pt x="5307" y="1173"/>
                </a:lnTo>
                <a:lnTo>
                  <a:pt x="5313" y="1168"/>
                </a:lnTo>
                <a:lnTo>
                  <a:pt x="5317" y="1166"/>
                </a:lnTo>
                <a:lnTo>
                  <a:pt x="5320" y="1164"/>
                </a:lnTo>
                <a:lnTo>
                  <a:pt x="5326" y="1161"/>
                </a:lnTo>
                <a:lnTo>
                  <a:pt x="5330" y="1161"/>
                </a:lnTo>
                <a:lnTo>
                  <a:pt x="5333" y="1161"/>
                </a:lnTo>
                <a:lnTo>
                  <a:pt x="5335" y="1162"/>
                </a:lnTo>
                <a:lnTo>
                  <a:pt x="5337" y="1164"/>
                </a:lnTo>
                <a:lnTo>
                  <a:pt x="5339" y="1165"/>
                </a:lnTo>
                <a:lnTo>
                  <a:pt x="5341" y="1166"/>
                </a:lnTo>
                <a:lnTo>
                  <a:pt x="5344" y="1166"/>
                </a:lnTo>
                <a:lnTo>
                  <a:pt x="5347" y="1165"/>
                </a:lnTo>
                <a:lnTo>
                  <a:pt x="5351" y="1168"/>
                </a:lnTo>
                <a:lnTo>
                  <a:pt x="5354" y="1170"/>
                </a:lnTo>
                <a:lnTo>
                  <a:pt x="5356" y="1172"/>
                </a:lnTo>
                <a:lnTo>
                  <a:pt x="5356" y="1174"/>
                </a:lnTo>
                <a:lnTo>
                  <a:pt x="5356" y="1176"/>
                </a:lnTo>
                <a:lnTo>
                  <a:pt x="5355" y="1179"/>
                </a:lnTo>
                <a:lnTo>
                  <a:pt x="5353" y="1181"/>
                </a:lnTo>
                <a:lnTo>
                  <a:pt x="5353" y="1183"/>
                </a:lnTo>
                <a:lnTo>
                  <a:pt x="5354" y="1185"/>
                </a:lnTo>
                <a:lnTo>
                  <a:pt x="5356" y="1187"/>
                </a:lnTo>
                <a:lnTo>
                  <a:pt x="5358" y="1189"/>
                </a:lnTo>
                <a:lnTo>
                  <a:pt x="5358" y="1191"/>
                </a:lnTo>
                <a:lnTo>
                  <a:pt x="5358" y="1192"/>
                </a:lnTo>
                <a:lnTo>
                  <a:pt x="5350" y="1192"/>
                </a:lnTo>
                <a:lnTo>
                  <a:pt x="5349" y="1195"/>
                </a:lnTo>
                <a:lnTo>
                  <a:pt x="5348" y="1196"/>
                </a:lnTo>
                <a:lnTo>
                  <a:pt x="5347" y="1197"/>
                </a:lnTo>
                <a:lnTo>
                  <a:pt x="5344" y="1197"/>
                </a:lnTo>
                <a:lnTo>
                  <a:pt x="5345" y="1202"/>
                </a:lnTo>
                <a:lnTo>
                  <a:pt x="5344" y="1206"/>
                </a:lnTo>
                <a:lnTo>
                  <a:pt x="5347" y="1207"/>
                </a:lnTo>
                <a:lnTo>
                  <a:pt x="5350" y="1207"/>
                </a:lnTo>
                <a:lnTo>
                  <a:pt x="5353" y="1207"/>
                </a:lnTo>
                <a:lnTo>
                  <a:pt x="5354" y="1208"/>
                </a:lnTo>
                <a:lnTo>
                  <a:pt x="5356" y="1209"/>
                </a:lnTo>
                <a:lnTo>
                  <a:pt x="5353" y="1217"/>
                </a:lnTo>
                <a:lnTo>
                  <a:pt x="5360" y="1218"/>
                </a:lnTo>
                <a:lnTo>
                  <a:pt x="5364" y="1218"/>
                </a:lnTo>
                <a:lnTo>
                  <a:pt x="5365" y="1218"/>
                </a:lnTo>
                <a:lnTo>
                  <a:pt x="5364" y="1217"/>
                </a:lnTo>
                <a:lnTo>
                  <a:pt x="5372" y="1217"/>
                </a:lnTo>
                <a:lnTo>
                  <a:pt x="5381" y="1217"/>
                </a:lnTo>
                <a:lnTo>
                  <a:pt x="5384" y="1226"/>
                </a:lnTo>
                <a:lnTo>
                  <a:pt x="5385" y="1231"/>
                </a:lnTo>
                <a:lnTo>
                  <a:pt x="5385" y="1233"/>
                </a:lnTo>
                <a:lnTo>
                  <a:pt x="5384" y="1235"/>
                </a:lnTo>
                <a:lnTo>
                  <a:pt x="5382" y="1237"/>
                </a:lnTo>
                <a:lnTo>
                  <a:pt x="5378" y="1240"/>
                </a:lnTo>
                <a:lnTo>
                  <a:pt x="5387" y="1248"/>
                </a:lnTo>
                <a:lnTo>
                  <a:pt x="5387" y="1249"/>
                </a:lnTo>
                <a:lnTo>
                  <a:pt x="5386" y="1251"/>
                </a:lnTo>
                <a:lnTo>
                  <a:pt x="5384" y="1254"/>
                </a:lnTo>
                <a:lnTo>
                  <a:pt x="5383" y="1254"/>
                </a:lnTo>
                <a:lnTo>
                  <a:pt x="5383" y="1256"/>
                </a:lnTo>
                <a:lnTo>
                  <a:pt x="5383" y="1259"/>
                </a:lnTo>
                <a:lnTo>
                  <a:pt x="5384" y="1262"/>
                </a:lnTo>
                <a:lnTo>
                  <a:pt x="5384" y="1261"/>
                </a:lnTo>
                <a:lnTo>
                  <a:pt x="5385" y="1262"/>
                </a:lnTo>
                <a:lnTo>
                  <a:pt x="5385" y="1263"/>
                </a:lnTo>
                <a:lnTo>
                  <a:pt x="5386" y="1266"/>
                </a:lnTo>
                <a:lnTo>
                  <a:pt x="5387" y="1273"/>
                </a:lnTo>
                <a:lnTo>
                  <a:pt x="5385" y="1274"/>
                </a:lnTo>
                <a:lnTo>
                  <a:pt x="5382" y="1275"/>
                </a:lnTo>
                <a:lnTo>
                  <a:pt x="5378" y="1276"/>
                </a:lnTo>
                <a:lnTo>
                  <a:pt x="5377" y="1285"/>
                </a:lnTo>
                <a:lnTo>
                  <a:pt x="5377" y="1292"/>
                </a:lnTo>
                <a:lnTo>
                  <a:pt x="5377" y="1299"/>
                </a:lnTo>
                <a:lnTo>
                  <a:pt x="5375" y="1307"/>
                </a:lnTo>
                <a:lnTo>
                  <a:pt x="5378" y="1307"/>
                </a:lnTo>
                <a:lnTo>
                  <a:pt x="5380" y="1307"/>
                </a:lnTo>
                <a:lnTo>
                  <a:pt x="5382" y="1309"/>
                </a:lnTo>
                <a:lnTo>
                  <a:pt x="5384" y="1310"/>
                </a:lnTo>
                <a:lnTo>
                  <a:pt x="5393" y="1301"/>
                </a:lnTo>
                <a:lnTo>
                  <a:pt x="5398" y="1296"/>
                </a:lnTo>
                <a:lnTo>
                  <a:pt x="5403" y="1293"/>
                </a:lnTo>
                <a:lnTo>
                  <a:pt x="5410" y="1291"/>
                </a:lnTo>
                <a:lnTo>
                  <a:pt x="5418" y="1289"/>
                </a:lnTo>
                <a:lnTo>
                  <a:pt x="5421" y="1287"/>
                </a:lnTo>
                <a:lnTo>
                  <a:pt x="5424" y="1286"/>
                </a:lnTo>
                <a:lnTo>
                  <a:pt x="5427" y="1284"/>
                </a:lnTo>
                <a:lnTo>
                  <a:pt x="5429" y="1282"/>
                </a:lnTo>
                <a:lnTo>
                  <a:pt x="5430" y="1279"/>
                </a:lnTo>
                <a:lnTo>
                  <a:pt x="5430" y="1274"/>
                </a:lnTo>
                <a:lnTo>
                  <a:pt x="5432" y="1261"/>
                </a:lnTo>
                <a:lnTo>
                  <a:pt x="5432" y="1247"/>
                </a:lnTo>
                <a:lnTo>
                  <a:pt x="5432" y="1237"/>
                </a:lnTo>
                <a:lnTo>
                  <a:pt x="5430" y="1235"/>
                </a:lnTo>
                <a:lnTo>
                  <a:pt x="5427" y="1233"/>
                </a:lnTo>
                <a:lnTo>
                  <a:pt x="5425" y="1230"/>
                </a:lnTo>
                <a:lnTo>
                  <a:pt x="5423" y="1228"/>
                </a:lnTo>
                <a:lnTo>
                  <a:pt x="5423" y="1226"/>
                </a:lnTo>
                <a:lnTo>
                  <a:pt x="5423" y="1224"/>
                </a:lnTo>
                <a:lnTo>
                  <a:pt x="5423" y="1222"/>
                </a:lnTo>
                <a:lnTo>
                  <a:pt x="5423" y="1220"/>
                </a:lnTo>
                <a:lnTo>
                  <a:pt x="5417" y="1220"/>
                </a:lnTo>
                <a:lnTo>
                  <a:pt x="5417" y="1217"/>
                </a:lnTo>
                <a:lnTo>
                  <a:pt x="5417" y="1214"/>
                </a:lnTo>
                <a:lnTo>
                  <a:pt x="5418" y="1212"/>
                </a:lnTo>
                <a:lnTo>
                  <a:pt x="5417" y="1209"/>
                </a:lnTo>
                <a:lnTo>
                  <a:pt x="5414" y="1206"/>
                </a:lnTo>
                <a:lnTo>
                  <a:pt x="5413" y="1205"/>
                </a:lnTo>
                <a:lnTo>
                  <a:pt x="5411" y="1203"/>
                </a:lnTo>
                <a:lnTo>
                  <a:pt x="5410" y="1202"/>
                </a:lnTo>
                <a:lnTo>
                  <a:pt x="5409" y="1201"/>
                </a:lnTo>
                <a:lnTo>
                  <a:pt x="5409" y="1200"/>
                </a:lnTo>
                <a:lnTo>
                  <a:pt x="5409" y="1198"/>
                </a:lnTo>
                <a:lnTo>
                  <a:pt x="5409" y="1197"/>
                </a:lnTo>
                <a:lnTo>
                  <a:pt x="5411" y="1195"/>
                </a:lnTo>
                <a:lnTo>
                  <a:pt x="5412" y="1193"/>
                </a:lnTo>
                <a:lnTo>
                  <a:pt x="5412" y="1192"/>
                </a:lnTo>
                <a:lnTo>
                  <a:pt x="5410" y="1190"/>
                </a:lnTo>
                <a:lnTo>
                  <a:pt x="5408" y="1188"/>
                </a:lnTo>
                <a:lnTo>
                  <a:pt x="5403" y="1187"/>
                </a:lnTo>
                <a:lnTo>
                  <a:pt x="5398" y="1185"/>
                </a:lnTo>
                <a:lnTo>
                  <a:pt x="5395" y="1184"/>
                </a:lnTo>
                <a:lnTo>
                  <a:pt x="5392" y="1183"/>
                </a:lnTo>
                <a:lnTo>
                  <a:pt x="5395" y="1173"/>
                </a:lnTo>
                <a:lnTo>
                  <a:pt x="5398" y="1164"/>
                </a:lnTo>
                <a:lnTo>
                  <a:pt x="5399" y="1163"/>
                </a:lnTo>
                <a:lnTo>
                  <a:pt x="5400" y="1162"/>
                </a:lnTo>
                <a:lnTo>
                  <a:pt x="5404" y="1161"/>
                </a:lnTo>
                <a:lnTo>
                  <a:pt x="5409" y="1159"/>
                </a:lnTo>
                <a:lnTo>
                  <a:pt x="5412" y="1158"/>
                </a:lnTo>
                <a:lnTo>
                  <a:pt x="5413" y="1156"/>
                </a:lnTo>
                <a:lnTo>
                  <a:pt x="5415" y="1152"/>
                </a:lnTo>
                <a:lnTo>
                  <a:pt x="5416" y="1149"/>
                </a:lnTo>
                <a:lnTo>
                  <a:pt x="5417" y="1147"/>
                </a:lnTo>
                <a:lnTo>
                  <a:pt x="5419" y="1146"/>
                </a:lnTo>
                <a:lnTo>
                  <a:pt x="5420" y="1146"/>
                </a:lnTo>
                <a:lnTo>
                  <a:pt x="5425" y="1145"/>
                </a:lnTo>
                <a:lnTo>
                  <a:pt x="5429" y="1145"/>
                </a:lnTo>
                <a:lnTo>
                  <a:pt x="5431" y="1144"/>
                </a:lnTo>
                <a:lnTo>
                  <a:pt x="5432" y="1144"/>
                </a:lnTo>
                <a:lnTo>
                  <a:pt x="5433" y="1141"/>
                </a:lnTo>
                <a:lnTo>
                  <a:pt x="5434" y="1139"/>
                </a:lnTo>
                <a:lnTo>
                  <a:pt x="5435" y="1134"/>
                </a:lnTo>
                <a:lnTo>
                  <a:pt x="5436" y="1128"/>
                </a:lnTo>
                <a:lnTo>
                  <a:pt x="5437" y="1121"/>
                </a:lnTo>
                <a:lnTo>
                  <a:pt x="5432" y="1121"/>
                </a:lnTo>
                <a:lnTo>
                  <a:pt x="5430" y="1120"/>
                </a:lnTo>
                <a:lnTo>
                  <a:pt x="5429" y="1119"/>
                </a:lnTo>
                <a:lnTo>
                  <a:pt x="5428" y="1116"/>
                </a:lnTo>
                <a:lnTo>
                  <a:pt x="5429" y="1114"/>
                </a:lnTo>
                <a:lnTo>
                  <a:pt x="5429" y="1112"/>
                </a:lnTo>
                <a:lnTo>
                  <a:pt x="5429" y="1111"/>
                </a:lnTo>
                <a:lnTo>
                  <a:pt x="5429" y="1110"/>
                </a:lnTo>
                <a:lnTo>
                  <a:pt x="5442" y="1098"/>
                </a:lnTo>
                <a:lnTo>
                  <a:pt x="5456" y="1087"/>
                </a:lnTo>
                <a:lnTo>
                  <a:pt x="5468" y="1076"/>
                </a:lnTo>
                <a:lnTo>
                  <a:pt x="5470" y="1072"/>
                </a:lnTo>
                <a:lnTo>
                  <a:pt x="5471" y="1068"/>
                </a:lnTo>
                <a:lnTo>
                  <a:pt x="5474" y="1067"/>
                </a:lnTo>
                <a:lnTo>
                  <a:pt x="5479" y="1068"/>
                </a:lnTo>
                <a:lnTo>
                  <a:pt x="5488" y="1068"/>
                </a:lnTo>
                <a:lnTo>
                  <a:pt x="5487" y="1074"/>
                </a:lnTo>
                <a:lnTo>
                  <a:pt x="5485" y="1082"/>
                </a:lnTo>
                <a:lnTo>
                  <a:pt x="5493" y="1087"/>
                </a:lnTo>
                <a:lnTo>
                  <a:pt x="5496" y="1089"/>
                </a:lnTo>
                <a:lnTo>
                  <a:pt x="5500" y="1090"/>
                </a:lnTo>
                <a:lnTo>
                  <a:pt x="5504" y="1091"/>
                </a:lnTo>
                <a:lnTo>
                  <a:pt x="5507" y="1091"/>
                </a:lnTo>
                <a:lnTo>
                  <a:pt x="5512" y="1090"/>
                </a:lnTo>
                <a:lnTo>
                  <a:pt x="5516" y="1088"/>
                </a:lnTo>
                <a:lnTo>
                  <a:pt x="5516" y="1082"/>
                </a:lnTo>
                <a:lnTo>
                  <a:pt x="5520" y="1079"/>
                </a:lnTo>
                <a:lnTo>
                  <a:pt x="5523" y="1076"/>
                </a:lnTo>
                <a:lnTo>
                  <a:pt x="5527" y="1070"/>
                </a:lnTo>
                <a:lnTo>
                  <a:pt x="5530" y="1065"/>
                </a:lnTo>
                <a:lnTo>
                  <a:pt x="5532" y="1063"/>
                </a:lnTo>
                <a:lnTo>
                  <a:pt x="5533" y="1062"/>
                </a:lnTo>
                <a:lnTo>
                  <a:pt x="5538" y="1062"/>
                </a:lnTo>
                <a:lnTo>
                  <a:pt x="5540" y="1060"/>
                </a:lnTo>
                <a:lnTo>
                  <a:pt x="5540" y="1058"/>
                </a:lnTo>
                <a:lnTo>
                  <a:pt x="5541" y="1053"/>
                </a:lnTo>
                <a:lnTo>
                  <a:pt x="5542" y="1049"/>
                </a:lnTo>
                <a:lnTo>
                  <a:pt x="5543" y="1047"/>
                </a:lnTo>
                <a:lnTo>
                  <a:pt x="5544" y="1045"/>
                </a:lnTo>
                <a:lnTo>
                  <a:pt x="5545" y="1044"/>
                </a:lnTo>
                <a:lnTo>
                  <a:pt x="5547" y="1043"/>
                </a:lnTo>
                <a:lnTo>
                  <a:pt x="5551" y="1041"/>
                </a:lnTo>
                <a:lnTo>
                  <a:pt x="5555" y="1039"/>
                </a:lnTo>
                <a:lnTo>
                  <a:pt x="5558" y="1037"/>
                </a:lnTo>
                <a:lnTo>
                  <a:pt x="5559" y="1035"/>
                </a:lnTo>
                <a:lnTo>
                  <a:pt x="5560" y="1033"/>
                </a:lnTo>
                <a:lnTo>
                  <a:pt x="5561" y="1028"/>
                </a:lnTo>
                <a:lnTo>
                  <a:pt x="5562" y="1024"/>
                </a:lnTo>
                <a:lnTo>
                  <a:pt x="5564" y="1020"/>
                </a:lnTo>
                <a:lnTo>
                  <a:pt x="5566" y="1018"/>
                </a:lnTo>
                <a:lnTo>
                  <a:pt x="5569" y="1016"/>
                </a:lnTo>
                <a:lnTo>
                  <a:pt x="5575" y="1011"/>
                </a:lnTo>
                <a:lnTo>
                  <a:pt x="5582" y="1006"/>
                </a:lnTo>
                <a:lnTo>
                  <a:pt x="5584" y="1003"/>
                </a:lnTo>
                <a:lnTo>
                  <a:pt x="5586" y="1000"/>
                </a:lnTo>
                <a:lnTo>
                  <a:pt x="5588" y="997"/>
                </a:lnTo>
                <a:lnTo>
                  <a:pt x="5589" y="992"/>
                </a:lnTo>
                <a:lnTo>
                  <a:pt x="5591" y="983"/>
                </a:lnTo>
                <a:lnTo>
                  <a:pt x="5593" y="974"/>
                </a:lnTo>
                <a:lnTo>
                  <a:pt x="5595" y="970"/>
                </a:lnTo>
                <a:lnTo>
                  <a:pt x="5597" y="967"/>
                </a:lnTo>
                <a:lnTo>
                  <a:pt x="5599" y="966"/>
                </a:lnTo>
                <a:lnTo>
                  <a:pt x="5602" y="965"/>
                </a:lnTo>
                <a:lnTo>
                  <a:pt x="5606" y="964"/>
                </a:lnTo>
                <a:lnTo>
                  <a:pt x="5607" y="962"/>
                </a:lnTo>
                <a:lnTo>
                  <a:pt x="5607" y="960"/>
                </a:lnTo>
                <a:lnTo>
                  <a:pt x="5607" y="957"/>
                </a:lnTo>
                <a:lnTo>
                  <a:pt x="5607" y="953"/>
                </a:lnTo>
                <a:lnTo>
                  <a:pt x="5608" y="951"/>
                </a:lnTo>
                <a:lnTo>
                  <a:pt x="5609" y="950"/>
                </a:lnTo>
                <a:lnTo>
                  <a:pt x="5612" y="946"/>
                </a:lnTo>
                <a:lnTo>
                  <a:pt x="5618" y="943"/>
                </a:lnTo>
                <a:lnTo>
                  <a:pt x="5623" y="939"/>
                </a:lnTo>
                <a:lnTo>
                  <a:pt x="5624" y="938"/>
                </a:lnTo>
                <a:lnTo>
                  <a:pt x="5626" y="936"/>
                </a:lnTo>
                <a:lnTo>
                  <a:pt x="5626" y="933"/>
                </a:lnTo>
                <a:lnTo>
                  <a:pt x="5625" y="930"/>
                </a:lnTo>
                <a:lnTo>
                  <a:pt x="5625" y="927"/>
                </a:lnTo>
                <a:lnTo>
                  <a:pt x="5625" y="926"/>
                </a:lnTo>
                <a:lnTo>
                  <a:pt x="5626" y="924"/>
                </a:lnTo>
                <a:lnTo>
                  <a:pt x="5631" y="924"/>
                </a:lnTo>
                <a:lnTo>
                  <a:pt x="5626" y="916"/>
                </a:lnTo>
                <a:lnTo>
                  <a:pt x="5630" y="909"/>
                </a:lnTo>
                <a:lnTo>
                  <a:pt x="5633" y="905"/>
                </a:lnTo>
                <a:lnTo>
                  <a:pt x="5634" y="903"/>
                </a:lnTo>
                <a:lnTo>
                  <a:pt x="5634" y="902"/>
                </a:lnTo>
                <a:lnTo>
                  <a:pt x="5633" y="897"/>
                </a:lnTo>
                <a:lnTo>
                  <a:pt x="5631" y="891"/>
                </a:lnTo>
                <a:lnTo>
                  <a:pt x="5629" y="885"/>
                </a:lnTo>
                <a:lnTo>
                  <a:pt x="5628" y="882"/>
                </a:lnTo>
                <a:lnTo>
                  <a:pt x="5628" y="879"/>
                </a:lnTo>
                <a:lnTo>
                  <a:pt x="5629" y="878"/>
                </a:lnTo>
                <a:lnTo>
                  <a:pt x="5631" y="876"/>
                </a:lnTo>
                <a:lnTo>
                  <a:pt x="5633" y="873"/>
                </a:lnTo>
                <a:lnTo>
                  <a:pt x="5634" y="871"/>
                </a:lnTo>
                <a:lnTo>
                  <a:pt x="5632" y="865"/>
                </a:lnTo>
                <a:lnTo>
                  <a:pt x="5631" y="863"/>
                </a:lnTo>
                <a:lnTo>
                  <a:pt x="5631" y="862"/>
                </a:lnTo>
                <a:lnTo>
                  <a:pt x="5633" y="860"/>
                </a:lnTo>
                <a:lnTo>
                  <a:pt x="5635" y="859"/>
                </a:lnTo>
                <a:lnTo>
                  <a:pt x="5638" y="857"/>
                </a:lnTo>
                <a:lnTo>
                  <a:pt x="5640" y="856"/>
                </a:lnTo>
                <a:lnTo>
                  <a:pt x="5641" y="854"/>
                </a:lnTo>
                <a:lnTo>
                  <a:pt x="5642" y="852"/>
                </a:lnTo>
                <a:lnTo>
                  <a:pt x="5643" y="848"/>
                </a:lnTo>
                <a:lnTo>
                  <a:pt x="5643" y="844"/>
                </a:lnTo>
                <a:lnTo>
                  <a:pt x="5643" y="840"/>
                </a:lnTo>
                <a:lnTo>
                  <a:pt x="5641" y="832"/>
                </a:lnTo>
                <a:lnTo>
                  <a:pt x="5640" y="822"/>
                </a:lnTo>
                <a:lnTo>
                  <a:pt x="5644" y="822"/>
                </a:lnTo>
                <a:lnTo>
                  <a:pt x="5647" y="822"/>
                </a:lnTo>
                <a:lnTo>
                  <a:pt x="5650" y="822"/>
                </a:lnTo>
                <a:lnTo>
                  <a:pt x="5654" y="822"/>
                </a:lnTo>
                <a:lnTo>
                  <a:pt x="5654" y="819"/>
                </a:lnTo>
                <a:lnTo>
                  <a:pt x="5651" y="818"/>
                </a:lnTo>
                <a:lnTo>
                  <a:pt x="5648" y="818"/>
                </a:lnTo>
                <a:lnTo>
                  <a:pt x="5646" y="817"/>
                </a:lnTo>
                <a:lnTo>
                  <a:pt x="5642" y="817"/>
                </a:lnTo>
                <a:lnTo>
                  <a:pt x="5642" y="811"/>
                </a:lnTo>
                <a:lnTo>
                  <a:pt x="5641" y="811"/>
                </a:lnTo>
                <a:lnTo>
                  <a:pt x="5640" y="811"/>
                </a:lnTo>
                <a:lnTo>
                  <a:pt x="5640" y="812"/>
                </a:lnTo>
                <a:lnTo>
                  <a:pt x="5639" y="813"/>
                </a:lnTo>
                <a:lnTo>
                  <a:pt x="5639" y="814"/>
                </a:lnTo>
                <a:lnTo>
                  <a:pt x="5638" y="814"/>
                </a:lnTo>
                <a:lnTo>
                  <a:pt x="5637" y="814"/>
                </a:lnTo>
                <a:lnTo>
                  <a:pt x="5634" y="811"/>
                </a:lnTo>
                <a:lnTo>
                  <a:pt x="5631" y="808"/>
                </a:lnTo>
                <a:lnTo>
                  <a:pt x="5626" y="800"/>
                </a:lnTo>
                <a:lnTo>
                  <a:pt x="5621" y="793"/>
                </a:lnTo>
                <a:lnTo>
                  <a:pt x="5618" y="790"/>
                </a:lnTo>
                <a:lnTo>
                  <a:pt x="5614" y="788"/>
                </a:lnTo>
                <a:lnTo>
                  <a:pt x="5605" y="786"/>
                </a:lnTo>
                <a:lnTo>
                  <a:pt x="5602" y="785"/>
                </a:lnTo>
                <a:lnTo>
                  <a:pt x="5600" y="785"/>
                </a:lnTo>
                <a:lnTo>
                  <a:pt x="5598" y="786"/>
                </a:lnTo>
                <a:lnTo>
                  <a:pt x="5597" y="787"/>
                </a:lnTo>
                <a:lnTo>
                  <a:pt x="5596" y="788"/>
                </a:lnTo>
                <a:lnTo>
                  <a:pt x="5596" y="790"/>
                </a:lnTo>
                <a:lnTo>
                  <a:pt x="5596" y="793"/>
                </a:lnTo>
                <a:lnTo>
                  <a:pt x="5597" y="796"/>
                </a:lnTo>
                <a:lnTo>
                  <a:pt x="5597" y="798"/>
                </a:lnTo>
                <a:lnTo>
                  <a:pt x="5597" y="800"/>
                </a:lnTo>
                <a:lnTo>
                  <a:pt x="5592" y="800"/>
                </a:lnTo>
                <a:lnTo>
                  <a:pt x="5593" y="798"/>
                </a:lnTo>
                <a:lnTo>
                  <a:pt x="5593" y="797"/>
                </a:lnTo>
                <a:lnTo>
                  <a:pt x="5592" y="797"/>
                </a:lnTo>
                <a:lnTo>
                  <a:pt x="5589" y="797"/>
                </a:lnTo>
                <a:lnTo>
                  <a:pt x="5587" y="800"/>
                </a:lnTo>
                <a:lnTo>
                  <a:pt x="5586" y="803"/>
                </a:lnTo>
                <a:lnTo>
                  <a:pt x="5585" y="805"/>
                </a:lnTo>
                <a:lnTo>
                  <a:pt x="5584" y="806"/>
                </a:lnTo>
                <a:lnTo>
                  <a:pt x="5582" y="807"/>
                </a:lnTo>
                <a:lnTo>
                  <a:pt x="5581" y="808"/>
                </a:lnTo>
                <a:lnTo>
                  <a:pt x="5579" y="808"/>
                </a:lnTo>
                <a:lnTo>
                  <a:pt x="5577" y="808"/>
                </a:lnTo>
                <a:lnTo>
                  <a:pt x="5576" y="807"/>
                </a:lnTo>
                <a:lnTo>
                  <a:pt x="5575" y="806"/>
                </a:lnTo>
                <a:lnTo>
                  <a:pt x="5574" y="805"/>
                </a:lnTo>
                <a:lnTo>
                  <a:pt x="5575" y="804"/>
                </a:lnTo>
                <a:lnTo>
                  <a:pt x="5576" y="803"/>
                </a:lnTo>
                <a:lnTo>
                  <a:pt x="5578" y="802"/>
                </a:lnTo>
                <a:lnTo>
                  <a:pt x="5581" y="794"/>
                </a:lnTo>
                <a:lnTo>
                  <a:pt x="5579" y="794"/>
                </a:lnTo>
                <a:lnTo>
                  <a:pt x="5578" y="794"/>
                </a:lnTo>
                <a:lnTo>
                  <a:pt x="5576" y="791"/>
                </a:lnTo>
                <a:lnTo>
                  <a:pt x="5575" y="789"/>
                </a:lnTo>
                <a:lnTo>
                  <a:pt x="5574" y="788"/>
                </a:lnTo>
                <a:lnTo>
                  <a:pt x="5572" y="788"/>
                </a:lnTo>
                <a:lnTo>
                  <a:pt x="5572" y="794"/>
                </a:lnTo>
                <a:lnTo>
                  <a:pt x="5571" y="794"/>
                </a:lnTo>
                <a:lnTo>
                  <a:pt x="5570" y="794"/>
                </a:lnTo>
                <a:lnTo>
                  <a:pt x="5569" y="794"/>
                </a:lnTo>
                <a:lnTo>
                  <a:pt x="5569" y="795"/>
                </a:lnTo>
                <a:lnTo>
                  <a:pt x="5569" y="800"/>
                </a:lnTo>
                <a:lnTo>
                  <a:pt x="5564" y="800"/>
                </a:lnTo>
                <a:lnTo>
                  <a:pt x="5564" y="772"/>
                </a:lnTo>
                <a:lnTo>
                  <a:pt x="5550" y="772"/>
                </a:lnTo>
                <a:lnTo>
                  <a:pt x="5543" y="772"/>
                </a:lnTo>
                <a:lnTo>
                  <a:pt x="5536" y="772"/>
                </a:lnTo>
                <a:lnTo>
                  <a:pt x="5537" y="768"/>
                </a:lnTo>
                <a:lnTo>
                  <a:pt x="5538" y="764"/>
                </a:lnTo>
                <a:lnTo>
                  <a:pt x="5539" y="761"/>
                </a:lnTo>
                <a:lnTo>
                  <a:pt x="5540" y="759"/>
                </a:lnTo>
                <a:lnTo>
                  <a:pt x="5541" y="757"/>
                </a:lnTo>
                <a:lnTo>
                  <a:pt x="5575" y="726"/>
                </a:lnTo>
                <a:lnTo>
                  <a:pt x="5581" y="726"/>
                </a:lnTo>
                <a:lnTo>
                  <a:pt x="5581" y="725"/>
                </a:lnTo>
                <a:lnTo>
                  <a:pt x="5581" y="722"/>
                </a:lnTo>
                <a:lnTo>
                  <a:pt x="5580" y="720"/>
                </a:lnTo>
                <a:lnTo>
                  <a:pt x="5581" y="718"/>
                </a:lnTo>
                <a:lnTo>
                  <a:pt x="5582" y="717"/>
                </a:lnTo>
                <a:lnTo>
                  <a:pt x="5585" y="717"/>
                </a:lnTo>
                <a:lnTo>
                  <a:pt x="5587" y="716"/>
                </a:lnTo>
                <a:lnTo>
                  <a:pt x="5588" y="716"/>
                </a:lnTo>
                <a:lnTo>
                  <a:pt x="5589" y="715"/>
                </a:lnTo>
                <a:lnTo>
                  <a:pt x="5591" y="712"/>
                </a:lnTo>
                <a:lnTo>
                  <a:pt x="5592" y="709"/>
                </a:lnTo>
                <a:lnTo>
                  <a:pt x="5593" y="706"/>
                </a:lnTo>
                <a:lnTo>
                  <a:pt x="5593" y="703"/>
                </a:lnTo>
                <a:lnTo>
                  <a:pt x="5594" y="697"/>
                </a:lnTo>
                <a:lnTo>
                  <a:pt x="5595" y="693"/>
                </a:lnTo>
                <a:lnTo>
                  <a:pt x="5597" y="695"/>
                </a:lnTo>
                <a:lnTo>
                  <a:pt x="5599" y="696"/>
                </a:lnTo>
                <a:lnTo>
                  <a:pt x="5600" y="696"/>
                </a:lnTo>
                <a:lnTo>
                  <a:pt x="5603" y="693"/>
                </a:lnTo>
                <a:lnTo>
                  <a:pt x="5605" y="690"/>
                </a:lnTo>
                <a:lnTo>
                  <a:pt x="5607" y="687"/>
                </a:lnTo>
                <a:lnTo>
                  <a:pt x="5609" y="684"/>
                </a:lnTo>
                <a:lnTo>
                  <a:pt x="5626" y="676"/>
                </a:lnTo>
                <a:lnTo>
                  <a:pt x="5626" y="671"/>
                </a:lnTo>
                <a:lnTo>
                  <a:pt x="5626" y="667"/>
                </a:lnTo>
                <a:lnTo>
                  <a:pt x="5628" y="667"/>
                </a:lnTo>
                <a:lnTo>
                  <a:pt x="5631" y="668"/>
                </a:lnTo>
                <a:lnTo>
                  <a:pt x="5635" y="668"/>
                </a:lnTo>
                <a:lnTo>
                  <a:pt x="5636" y="668"/>
                </a:lnTo>
                <a:lnTo>
                  <a:pt x="5637" y="667"/>
                </a:lnTo>
                <a:lnTo>
                  <a:pt x="5638" y="664"/>
                </a:lnTo>
                <a:lnTo>
                  <a:pt x="5639" y="659"/>
                </a:lnTo>
                <a:lnTo>
                  <a:pt x="5639" y="655"/>
                </a:lnTo>
                <a:lnTo>
                  <a:pt x="5639" y="653"/>
                </a:lnTo>
                <a:lnTo>
                  <a:pt x="5639" y="652"/>
                </a:lnTo>
                <a:lnTo>
                  <a:pt x="5640" y="651"/>
                </a:lnTo>
                <a:lnTo>
                  <a:pt x="5641" y="648"/>
                </a:lnTo>
                <a:lnTo>
                  <a:pt x="5644" y="644"/>
                </a:lnTo>
                <a:lnTo>
                  <a:pt x="5652" y="635"/>
                </a:lnTo>
                <a:lnTo>
                  <a:pt x="5661" y="627"/>
                </a:lnTo>
                <a:lnTo>
                  <a:pt x="5668" y="622"/>
                </a:lnTo>
                <a:lnTo>
                  <a:pt x="5668" y="620"/>
                </a:lnTo>
                <a:lnTo>
                  <a:pt x="5672" y="620"/>
                </a:lnTo>
                <a:lnTo>
                  <a:pt x="5676" y="620"/>
                </a:lnTo>
                <a:lnTo>
                  <a:pt x="5677" y="619"/>
                </a:lnTo>
                <a:lnTo>
                  <a:pt x="5677" y="618"/>
                </a:lnTo>
                <a:lnTo>
                  <a:pt x="5676" y="615"/>
                </a:lnTo>
                <a:lnTo>
                  <a:pt x="5676" y="613"/>
                </a:lnTo>
                <a:lnTo>
                  <a:pt x="5676" y="612"/>
                </a:lnTo>
                <a:lnTo>
                  <a:pt x="5676" y="611"/>
                </a:lnTo>
                <a:lnTo>
                  <a:pt x="5679" y="611"/>
                </a:lnTo>
                <a:lnTo>
                  <a:pt x="5681" y="612"/>
                </a:lnTo>
                <a:lnTo>
                  <a:pt x="5683" y="613"/>
                </a:lnTo>
                <a:lnTo>
                  <a:pt x="5684" y="615"/>
                </a:lnTo>
                <a:lnTo>
                  <a:pt x="5687" y="618"/>
                </a:lnTo>
                <a:lnTo>
                  <a:pt x="5687" y="620"/>
                </a:lnTo>
                <a:lnTo>
                  <a:pt x="5692" y="620"/>
                </a:lnTo>
                <a:lnTo>
                  <a:pt x="5697" y="620"/>
                </a:lnTo>
                <a:lnTo>
                  <a:pt x="5711" y="620"/>
                </a:lnTo>
                <a:lnTo>
                  <a:pt x="5726" y="619"/>
                </a:lnTo>
                <a:lnTo>
                  <a:pt x="5736" y="620"/>
                </a:lnTo>
                <a:lnTo>
                  <a:pt x="5735" y="621"/>
                </a:lnTo>
                <a:lnTo>
                  <a:pt x="5735" y="622"/>
                </a:lnTo>
                <a:lnTo>
                  <a:pt x="5735" y="625"/>
                </a:lnTo>
                <a:lnTo>
                  <a:pt x="5736" y="631"/>
                </a:lnTo>
                <a:lnTo>
                  <a:pt x="5738" y="630"/>
                </a:lnTo>
                <a:lnTo>
                  <a:pt x="5741" y="629"/>
                </a:lnTo>
                <a:lnTo>
                  <a:pt x="5743" y="629"/>
                </a:lnTo>
                <a:lnTo>
                  <a:pt x="5745" y="628"/>
                </a:lnTo>
                <a:lnTo>
                  <a:pt x="5745" y="627"/>
                </a:lnTo>
                <a:lnTo>
                  <a:pt x="5746" y="626"/>
                </a:lnTo>
                <a:lnTo>
                  <a:pt x="5746" y="624"/>
                </a:lnTo>
                <a:lnTo>
                  <a:pt x="5747" y="621"/>
                </a:lnTo>
                <a:lnTo>
                  <a:pt x="5748" y="620"/>
                </a:lnTo>
                <a:lnTo>
                  <a:pt x="5751" y="622"/>
                </a:lnTo>
                <a:lnTo>
                  <a:pt x="5753" y="624"/>
                </a:lnTo>
                <a:lnTo>
                  <a:pt x="5756" y="627"/>
                </a:lnTo>
                <a:lnTo>
                  <a:pt x="5759" y="628"/>
                </a:lnTo>
                <a:lnTo>
                  <a:pt x="5762" y="629"/>
                </a:lnTo>
                <a:lnTo>
                  <a:pt x="5765" y="628"/>
                </a:lnTo>
                <a:lnTo>
                  <a:pt x="5772" y="627"/>
                </a:lnTo>
                <a:lnTo>
                  <a:pt x="5777" y="626"/>
                </a:lnTo>
                <a:lnTo>
                  <a:pt x="5780" y="625"/>
                </a:lnTo>
                <a:lnTo>
                  <a:pt x="5781" y="625"/>
                </a:lnTo>
                <a:lnTo>
                  <a:pt x="5782" y="626"/>
                </a:lnTo>
                <a:lnTo>
                  <a:pt x="5783" y="627"/>
                </a:lnTo>
                <a:lnTo>
                  <a:pt x="5785" y="629"/>
                </a:lnTo>
                <a:lnTo>
                  <a:pt x="5786" y="630"/>
                </a:lnTo>
                <a:lnTo>
                  <a:pt x="5788" y="631"/>
                </a:lnTo>
                <a:lnTo>
                  <a:pt x="5790" y="631"/>
                </a:lnTo>
                <a:lnTo>
                  <a:pt x="5793" y="631"/>
                </a:lnTo>
                <a:lnTo>
                  <a:pt x="5793" y="611"/>
                </a:lnTo>
                <a:lnTo>
                  <a:pt x="5801" y="613"/>
                </a:lnTo>
                <a:lnTo>
                  <a:pt x="5810" y="613"/>
                </a:lnTo>
                <a:lnTo>
                  <a:pt x="5817" y="613"/>
                </a:lnTo>
                <a:lnTo>
                  <a:pt x="5820" y="613"/>
                </a:lnTo>
                <a:lnTo>
                  <a:pt x="5824" y="614"/>
                </a:lnTo>
                <a:lnTo>
                  <a:pt x="5824" y="615"/>
                </a:lnTo>
                <a:lnTo>
                  <a:pt x="5824" y="618"/>
                </a:lnTo>
                <a:lnTo>
                  <a:pt x="5824" y="619"/>
                </a:lnTo>
                <a:lnTo>
                  <a:pt x="5825" y="620"/>
                </a:lnTo>
                <a:lnTo>
                  <a:pt x="5827" y="620"/>
                </a:lnTo>
                <a:lnTo>
                  <a:pt x="5829" y="620"/>
                </a:lnTo>
                <a:lnTo>
                  <a:pt x="5829" y="614"/>
                </a:lnTo>
                <a:lnTo>
                  <a:pt x="5836" y="613"/>
                </a:lnTo>
                <a:lnTo>
                  <a:pt x="5838" y="612"/>
                </a:lnTo>
                <a:lnTo>
                  <a:pt x="5840" y="611"/>
                </a:lnTo>
                <a:lnTo>
                  <a:pt x="5842" y="614"/>
                </a:lnTo>
                <a:lnTo>
                  <a:pt x="5843" y="618"/>
                </a:lnTo>
                <a:lnTo>
                  <a:pt x="5845" y="622"/>
                </a:lnTo>
                <a:lnTo>
                  <a:pt x="5846" y="625"/>
                </a:lnTo>
                <a:lnTo>
                  <a:pt x="5849" y="625"/>
                </a:lnTo>
                <a:lnTo>
                  <a:pt x="5850" y="625"/>
                </a:lnTo>
                <a:lnTo>
                  <a:pt x="5851" y="626"/>
                </a:lnTo>
                <a:lnTo>
                  <a:pt x="5851" y="627"/>
                </a:lnTo>
                <a:lnTo>
                  <a:pt x="5851" y="629"/>
                </a:lnTo>
                <a:lnTo>
                  <a:pt x="5851" y="630"/>
                </a:lnTo>
                <a:lnTo>
                  <a:pt x="5852" y="631"/>
                </a:lnTo>
                <a:lnTo>
                  <a:pt x="5842" y="630"/>
                </a:lnTo>
                <a:lnTo>
                  <a:pt x="5837" y="630"/>
                </a:lnTo>
                <a:lnTo>
                  <a:pt x="5832" y="631"/>
                </a:lnTo>
                <a:lnTo>
                  <a:pt x="5835" y="645"/>
                </a:lnTo>
                <a:lnTo>
                  <a:pt x="5845" y="644"/>
                </a:lnTo>
                <a:lnTo>
                  <a:pt x="5850" y="644"/>
                </a:lnTo>
                <a:lnTo>
                  <a:pt x="5854" y="645"/>
                </a:lnTo>
                <a:lnTo>
                  <a:pt x="5854" y="644"/>
                </a:lnTo>
                <a:lnTo>
                  <a:pt x="5853" y="644"/>
                </a:lnTo>
                <a:lnTo>
                  <a:pt x="5854" y="642"/>
                </a:lnTo>
                <a:lnTo>
                  <a:pt x="5855" y="641"/>
                </a:lnTo>
                <a:lnTo>
                  <a:pt x="5857" y="636"/>
                </a:lnTo>
                <a:lnTo>
                  <a:pt x="5859" y="638"/>
                </a:lnTo>
                <a:lnTo>
                  <a:pt x="5861" y="640"/>
                </a:lnTo>
                <a:lnTo>
                  <a:pt x="5863" y="641"/>
                </a:lnTo>
                <a:lnTo>
                  <a:pt x="5866" y="642"/>
                </a:lnTo>
                <a:lnTo>
                  <a:pt x="5866" y="641"/>
                </a:lnTo>
                <a:lnTo>
                  <a:pt x="5866" y="640"/>
                </a:lnTo>
                <a:lnTo>
                  <a:pt x="5866" y="638"/>
                </a:lnTo>
                <a:lnTo>
                  <a:pt x="5865" y="636"/>
                </a:lnTo>
                <a:lnTo>
                  <a:pt x="5865" y="635"/>
                </a:lnTo>
                <a:lnTo>
                  <a:pt x="5866" y="634"/>
                </a:lnTo>
                <a:lnTo>
                  <a:pt x="5871" y="634"/>
                </a:lnTo>
                <a:lnTo>
                  <a:pt x="5874" y="625"/>
                </a:lnTo>
                <a:lnTo>
                  <a:pt x="5877" y="626"/>
                </a:lnTo>
                <a:lnTo>
                  <a:pt x="5880" y="626"/>
                </a:lnTo>
                <a:lnTo>
                  <a:pt x="5885" y="625"/>
                </a:lnTo>
                <a:lnTo>
                  <a:pt x="5891" y="625"/>
                </a:lnTo>
                <a:lnTo>
                  <a:pt x="5895" y="625"/>
                </a:lnTo>
                <a:lnTo>
                  <a:pt x="5899" y="625"/>
                </a:lnTo>
                <a:lnTo>
                  <a:pt x="5898" y="624"/>
                </a:lnTo>
                <a:lnTo>
                  <a:pt x="5899" y="623"/>
                </a:lnTo>
                <a:lnTo>
                  <a:pt x="5900" y="623"/>
                </a:lnTo>
                <a:lnTo>
                  <a:pt x="5905" y="622"/>
                </a:lnTo>
                <a:lnTo>
                  <a:pt x="5902" y="614"/>
                </a:lnTo>
                <a:lnTo>
                  <a:pt x="5898" y="614"/>
                </a:lnTo>
                <a:lnTo>
                  <a:pt x="5891" y="614"/>
                </a:lnTo>
                <a:lnTo>
                  <a:pt x="5891" y="617"/>
                </a:lnTo>
                <a:lnTo>
                  <a:pt x="5890" y="617"/>
                </a:lnTo>
                <a:lnTo>
                  <a:pt x="5888" y="617"/>
                </a:lnTo>
                <a:lnTo>
                  <a:pt x="5885" y="617"/>
                </a:lnTo>
                <a:lnTo>
                  <a:pt x="5886" y="607"/>
                </a:lnTo>
                <a:lnTo>
                  <a:pt x="5886" y="602"/>
                </a:lnTo>
                <a:lnTo>
                  <a:pt x="5885" y="597"/>
                </a:lnTo>
                <a:lnTo>
                  <a:pt x="5888" y="599"/>
                </a:lnTo>
                <a:lnTo>
                  <a:pt x="5890" y="600"/>
                </a:lnTo>
                <a:lnTo>
                  <a:pt x="5891" y="600"/>
                </a:lnTo>
                <a:lnTo>
                  <a:pt x="5892" y="598"/>
                </a:lnTo>
                <a:lnTo>
                  <a:pt x="5892" y="596"/>
                </a:lnTo>
                <a:lnTo>
                  <a:pt x="5892" y="592"/>
                </a:lnTo>
                <a:lnTo>
                  <a:pt x="5892" y="589"/>
                </a:lnTo>
                <a:lnTo>
                  <a:pt x="5893" y="587"/>
                </a:lnTo>
                <a:lnTo>
                  <a:pt x="5894" y="586"/>
                </a:lnTo>
                <a:lnTo>
                  <a:pt x="5895" y="585"/>
                </a:lnTo>
                <a:lnTo>
                  <a:pt x="5897" y="583"/>
                </a:lnTo>
                <a:lnTo>
                  <a:pt x="5900" y="582"/>
                </a:lnTo>
                <a:lnTo>
                  <a:pt x="5908" y="579"/>
                </a:lnTo>
                <a:lnTo>
                  <a:pt x="5915" y="576"/>
                </a:lnTo>
                <a:lnTo>
                  <a:pt x="5919" y="574"/>
                </a:lnTo>
                <a:lnTo>
                  <a:pt x="5922" y="572"/>
                </a:lnTo>
                <a:lnTo>
                  <a:pt x="5922" y="570"/>
                </a:lnTo>
                <a:lnTo>
                  <a:pt x="5922" y="568"/>
                </a:lnTo>
                <a:lnTo>
                  <a:pt x="5922" y="565"/>
                </a:lnTo>
                <a:lnTo>
                  <a:pt x="5922" y="563"/>
                </a:lnTo>
                <a:lnTo>
                  <a:pt x="5925" y="563"/>
                </a:lnTo>
                <a:lnTo>
                  <a:pt x="5927" y="561"/>
                </a:lnTo>
                <a:lnTo>
                  <a:pt x="5930" y="557"/>
                </a:lnTo>
                <a:lnTo>
                  <a:pt x="5933" y="552"/>
                </a:lnTo>
                <a:lnTo>
                  <a:pt x="5936" y="550"/>
                </a:lnTo>
                <a:lnTo>
                  <a:pt x="5940" y="549"/>
                </a:lnTo>
                <a:lnTo>
                  <a:pt x="5943" y="548"/>
                </a:lnTo>
                <a:lnTo>
                  <a:pt x="5946" y="548"/>
                </a:lnTo>
                <a:lnTo>
                  <a:pt x="5953" y="547"/>
                </a:lnTo>
                <a:lnTo>
                  <a:pt x="5961" y="546"/>
                </a:lnTo>
                <a:lnTo>
                  <a:pt x="5965" y="545"/>
                </a:lnTo>
                <a:lnTo>
                  <a:pt x="5969" y="543"/>
                </a:lnTo>
                <a:lnTo>
                  <a:pt x="5974" y="541"/>
                </a:lnTo>
                <a:lnTo>
                  <a:pt x="5976" y="541"/>
                </a:lnTo>
                <a:lnTo>
                  <a:pt x="5978" y="541"/>
                </a:lnTo>
                <a:lnTo>
                  <a:pt x="5981" y="549"/>
                </a:lnTo>
                <a:lnTo>
                  <a:pt x="5983" y="550"/>
                </a:lnTo>
                <a:lnTo>
                  <a:pt x="5985" y="551"/>
                </a:lnTo>
                <a:lnTo>
                  <a:pt x="5988" y="551"/>
                </a:lnTo>
                <a:lnTo>
                  <a:pt x="5989" y="552"/>
                </a:lnTo>
                <a:lnTo>
                  <a:pt x="5989" y="549"/>
                </a:lnTo>
                <a:lnTo>
                  <a:pt x="6001" y="544"/>
                </a:lnTo>
                <a:lnTo>
                  <a:pt x="5998" y="550"/>
                </a:lnTo>
                <a:lnTo>
                  <a:pt x="5997" y="557"/>
                </a:lnTo>
                <a:lnTo>
                  <a:pt x="5996" y="559"/>
                </a:lnTo>
                <a:lnTo>
                  <a:pt x="5994" y="562"/>
                </a:lnTo>
                <a:lnTo>
                  <a:pt x="5992" y="564"/>
                </a:lnTo>
                <a:lnTo>
                  <a:pt x="5989" y="566"/>
                </a:lnTo>
                <a:lnTo>
                  <a:pt x="5989" y="567"/>
                </a:lnTo>
                <a:lnTo>
                  <a:pt x="5990" y="568"/>
                </a:lnTo>
                <a:lnTo>
                  <a:pt x="5992" y="570"/>
                </a:lnTo>
                <a:lnTo>
                  <a:pt x="5992" y="571"/>
                </a:lnTo>
                <a:lnTo>
                  <a:pt x="5992" y="572"/>
                </a:lnTo>
                <a:lnTo>
                  <a:pt x="5997" y="570"/>
                </a:lnTo>
                <a:lnTo>
                  <a:pt x="6001" y="569"/>
                </a:lnTo>
                <a:lnTo>
                  <a:pt x="6000" y="570"/>
                </a:lnTo>
                <a:lnTo>
                  <a:pt x="6000" y="571"/>
                </a:lnTo>
                <a:lnTo>
                  <a:pt x="5999" y="575"/>
                </a:lnTo>
                <a:lnTo>
                  <a:pt x="5998" y="583"/>
                </a:lnTo>
                <a:lnTo>
                  <a:pt x="6002" y="579"/>
                </a:lnTo>
                <a:lnTo>
                  <a:pt x="6004" y="576"/>
                </a:lnTo>
                <a:lnTo>
                  <a:pt x="6006" y="575"/>
                </a:lnTo>
                <a:lnTo>
                  <a:pt x="6010" y="572"/>
                </a:lnTo>
                <a:lnTo>
                  <a:pt x="6013" y="568"/>
                </a:lnTo>
                <a:lnTo>
                  <a:pt x="6020" y="561"/>
                </a:lnTo>
                <a:lnTo>
                  <a:pt x="6026" y="553"/>
                </a:lnTo>
                <a:lnTo>
                  <a:pt x="6029" y="551"/>
                </a:lnTo>
                <a:lnTo>
                  <a:pt x="6032" y="549"/>
                </a:lnTo>
                <a:lnTo>
                  <a:pt x="6036" y="548"/>
                </a:lnTo>
                <a:lnTo>
                  <a:pt x="6040" y="547"/>
                </a:lnTo>
                <a:lnTo>
                  <a:pt x="6044" y="548"/>
                </a:lnTo>
                <a:lnTo>
                  <a:pt x="6046" y="548"/>
                </a:lnTo>
                <a:lnTo>
                  <a:pt x="6048" y="550"/>
                </a:lnTo>
                <a:lnTo>
                  <a:pt x="6049" y="551"/>
                </a:lnTo>
                <a:lnTo>
                  <a:pt x="6049" y="552"/>
                </a:lnTo>
                <a:lnTo>
                  <a:pt x="6050" y="551"/>
                </a:lnTo>
                <a:lnTo>
                  <a:pt x="6052" y="550"/>
                </a:lnTo>
                <a:lnTo>
                  <a:pt x="6053" y="549"/>
                </a:lnTo>
                <a:lnTo>
                  <a:pt x="6054" y="549"/>
                </a:lnTo>
                <a:lnTo>
                  <a:pt x="6057" y="549"/>
                </a:lnTo>
                <a:lnTo>
                  <a:pt x="6054" y="542"/>
                </a:lnTo>
                <a:lnTo>
                  <a:pt x="6054" y="540"/>
                </a:lnTo>
                <a:lnTo>
                  <a:pt x="6053" y="538"/>
                </a:lnTo>
                <a:lnTo>
                  <a:pt x="6053" y="536"/>
                </a:lnTo>
                <a:lnTo>
                  <a:pt x="6054" y="535"/>
                </a:lnTo>
                <a:lnTo>
                  <a:pt x="6053" y="536"/>
                </a:lnTo>
                <a:lnTo>
                  <a:pt x="6052" y="537"/>
                </a:lnTo>
                <a:lnTo>
                  <a:pt x="6052" y="536"/>
                </a:lnTo>
                <a:lnTo>
                  <a:pt x="6052" y="534"/>
                </a:lnTo>
                <a:lnTo>
                  <a:pt x="6051" y="530"/>
                </a:lnTo>
                <a:lnTo>
                  <a:pt x="6063" y="520"/>
                </a:lnTo>
                <a:lnTo>
                  <a:pt x="6067" y="518"/>
                </a:lnTo>
                <a:lnTo>
                  <a:pt x="6070" y="517"/>
                </a:lnTo>
                <a:lnTo>
                  <a:pt x="6073" y="518"/>
                </a:lnTo>
                <a:lnTo>
                  <a:pt x="6076" y="519"/>
                </a:lnTo>
                <a:lnTo>
                  <a:pt x="6082" y="521"/>
                </a:lnTo>
                <a:lnTo>
                  <a:pt x="6091" y="524"/>
                </a:lnTo>
                <a:lnTo>
                  <a:pt x="6091" y="527"/>
                </a:lnTo>
                <a:lnTo>
                  <a:pt x="6082" y="527"/>
                </a:lnTo>
                <a:lnTo>
                  <a:pt x="6083" y="526"/>
                </a:lnTo>
                <a:lnTo>
                  <a:pt x="6083" y="525"/>
                </a:lnTo>
                <a:lnTo>
                  <a:pt x="6082" y="525"/>
                </a:lnTo>
                <a:lnTo>
                  <a:pt x="6080" y="524"/>
                </a:lnTo>
                <a:lnTo>
                  <a:pt x="6076" y="524"/>
                </a:lnTo>
                <a:lnTo>
                  <a:pt x="6074" y="524"/>
                </a:lnTo>
                <a:lnTo>
                  <a:pt x="6071" y="530"/>
                </a:lnTo>
                <a:lnTo>
                  <a:pt x="6068" y="530"/>
                </a:lnTo>
                <a:lnTo>
                  <a:pt x="6067" y="545"/>
                </a:lnTo>
                <a:lnTo>
                  <a:pt x="6065" y="558"/>
                </a:lnTo>
                <a:lnTo>
                  <a:pt x="6064" y="562"/>
                </a:lnTo>
                <a:lnTo>
                  <a:pt x="6063" y="566"/>
                </a:lnTo>
                <a:lnTo>
                  <a:pt x="6062" y="569"/>
                </a:lnTo>
                <a:lnTo>
                  <a:pt x="6061" y="572"/>
                </a:lnTo>
                <a:lnTo>
                  <a:pt x="6059" y="573"/>
                </a:lnTo>
                <a:lnTo>
                  <a:pt x="6058" y="575"/>
                </a:lnTo>
                <a:lnTo>
                  <a:pt x="6056" y="576"/>
                </a:lnTo>
                <a:lnTo>
                  <a:pt x="6054" y="576"/>
                </a:lnTo>
                <a:lnTo>
                  <a:pt x="6049" y="577"/>
                </a:lnTo>
                <a:lnTo>
                  <a:pt x="6042" y="577"/>
                </a:lnTo>
                <a:lnTo>
                  <a:pt x="6035" y="578"/>
                </a:lnTo>
                <a:lnTo>
                  <a:pt x="6026" y="580"/>
                </a:lnTo>
                <a:lnTo>
                  <a:pt x="6026" y="583"/>
                </a:lnTo>
                <a:lnTo>
                  <a:pt x="6027" y="586"/>
                </a:lnTo>
                <a:lnTo>
                  <a:pt x="6027" y="590"/>
                </a:lnTo>
                <a:lnTo>
                  <a:pt x="6027" y="592"/>
                </a:lnTo>
                <a:lnTo>
                  <a:pt x="6026" y="594"/>
                </a:lnTo>
                <a:lnTo>
                  <a:pt x="6025" y="595"/>
                </a:lnTo>
                <a:lnTo>
                  <a:pt x="6022" y="596"/>
                </a:lnTo>
                <a:lnTo>
                  <a:pt x="6019" y="596"/>
                </a:lnTo>
                <a:lnTo>
                  <a:pt x="6018" y="597"/>
                </a:lnTo>
                <a:lnTo>
                  <a:pt x="6017" y="599"/>
                </a:lnTo>
                <a:lnTo>
                  <a:pt x="6017" y="601"/>
                </a:lnTo>
                <a:lnTo>
                  <a:pt x="6018" y="604"/>
                </a:lnTo>
                <a:lnTo>
                  <a:pt x="6018" y="606"/>
                </a:lnTo>
                <a:lnTo>
                  <a:pt x="6016" y="607"/>
                </a:lnTo>
                <a:lnTo>
                  <a:pt x="6014" y="609"/>
                </a:lnTo>
                <a:lnTo>
                  <a:pt x="6006" y="615"/>
                </a:lnTo>
                <a:lnTo>
                  <a:pt x="5997" y="621"/>
                </a:lnTo>
                <a:lnTo>
                  <a:pt x="5994" y="623"/>
                </a:lnTo>
                <a:lnTo>
                  <a:pt x="5992" y="625"/>
                </a:lnTo>
                <a:lnTo>
                  <a:pt x="5986" y="635"/>
                </a:lnTo>
                <a:lnTo>
                  <a:pt x="5980" y="644"/>
                </a:lnTo>
                <a:lnTo>
                  <a:pt x="5977" y="648"/>
                </a:lnTo>
                <a:lnTo>
                  <a:pt x="5973" y="652"/>
                </a:lnTo>
                <a:lnTo>
                  <a:pt x="5969" y="656"/>
                </a:lnTo>
                <a:lnTo>
                  <a:pt x="5967" y="657"/>
                </a:lnTo>
                <a:lnTo>
                  <a:pt x="5964" y="659"/>
                </a:lnTo>
                <a:lnTo>
                  <a:pt x="5964" y="662"/>
                </a:lnTo>
                <a:lnTo>
                  <a:pt x="5962" y="663"/>
                </a:lnTo>
                <a:lnTo>
                  <a:pt x="5961" y="663"/>
                </a:lnTo>
                <a:lnTo>
                  <a:pt x="5959" y="661"/>
                </a:lnTo>
                <a:lnTo>
                  <a:pt x="5958" y="660"/>
                </a:lnTo>
                <a:lnTo>
                  <a:pt x="5957" y="659"/>
                </a:lnTo>
                <a:lnTo>
                  <a:pt x="5956" y="659"/>
                </a:lnTo>
                <a:lnTo>
                  <a:pt x="5955" y="659"/>
                </a:lnTo>
                <a:lnTo>
                  <a:pt x="5954" y="660"/>
                </a:lnTo>
                <a:lnTo>
                  <a:pt x="5953" y="663"/>
                </a:lnTo>
                <a:lnTo>
                  <a:pt x="5951" y="666"/>
                </a:lnTo>
                <a:lnTo>
                  <a:pt x="5951" y="667"/>
                </a:lnTo>
                <a:lnTo>
                  <a:pt x="5950" y="667"/>
                </a:lnTo>
                <a:lnTo>
                  <a:pt x="5948" y="668"/>
                </a:lnTo>
                <a:lnTo>
                  <a:pt x="5946" y="668"/>
                </a:lnTo>
                <a:lnTo>
                  <a:pt x="5942" y="668"/>
                </a:lnTo>
                <a:lnTo>
                  <a:pt x="5937" y="667"/>
                </a:lnTo>
                <a:lnTo>
                  <a:pt x="5933" y="667"/>
                </a:lnTo>
                <a:lnTo>
                  <a:pt x="5934" y="671"/>
                </a:lnTo>
                <a:lnTo>
                  <a:pt x="5934" y="672"/>
                </a:lnTo>
                <a:lnTo>
                  <a:pt x="5936" y="672"/>
                </a:lnTo>
                <a:lnTo>
                  <a:pt x="5939" y="673"/>
                </a:lnTo>
                <a:lnTo>
                  <a:pt x="5937" y="681"/>
                </a:lnTo>
                <a:lnTo>
                  <a:pt x="5936" y="687"/>
                </a:lnTo>
                <a:lnTo>
                  <a:pt x="5935" y="690"/>
                </a:lnTo>
                <a:lnTo>
                  <a:pt x="5933" y="692"/>
                </a:lnTo>
                <a:lnTo>
                  <a:pt x="5931" y="694"/>
                </a:lnTo>
                <a:lnTo>
                  <a:pt x="5928" y="696"/>
                </a:lnTo>
                <a:lnTo>
                  <a:pt x="5925" y="696"/>
                </a:lnTo>
                <a:lnTo>
                  <a:pt x="5923" y="696"/>
                </a:lnTo>
                <a:lnTo>
                  <a:pt x="5921" y="697"/>
                </a:lnTo>
                <a:lnTo>
                  <a:pt x="5919" y="698"/>
                </a:lnTo>
                <a:lnTo>
                  <a:pt x="5917" y="701"/>
                </a:lnTo>
                <a:lnTo>
                  <a:pt x="5916" y="705"/>
                </a:lnTo>
                <a:lnTo>
                  <a:pt x="5914" y="713"/>
                </a:lnTo>
                <a:lnTo>
                  <a:pt x="5913" y="722"/>
                </a:lnTo>
                <a:lnTo>
                  <a:pt x="5912" y="732"/>
                </a:lnTo>
                <a:lnTo>
                  <a:pt x="5913" y="743"/>
                </a:lnTo>
                <a:lnTo>
                  <a:pt x="5914" y="755"/>
                </a:lnTo>
                <a:lnTo>
                  <a:pt x="5915" y="767"/>
                </a:lnTo>
                <a:lnTo>
                  <a:pt x="5917" y="780"/>
                </a:lnTo>
                <a:lnTo>
                  <a:pt x="5921" y="805"/>
                </a:lnTo>
                <a:lnTo>
                  <a:pt x="5926" y="828"/>
                </a:lnTo>
                <a:lnTo>
                  <a:pt x="5930" y="850"/>
                </a:lnTo>
                <a:lnTo>
                  <a:pt x="5933" y="868"/>
                </a:lnTo>
                <a:lnTo>
                  <a:pt x="5950" y="855"/>
                </a:lnTo>
                <a:lnTo>
                  <a:pt x="5959" y="847"/>
                </a:lnTo>
                <a:lnTo>
                  <a:pt x="5963" y="844"/>
                </a:lnTo>
                <a:lnTo>
                  <a:pt x="5964" y="842"/>
                </a:lnTo>
                <a:lnTo>
                  <a:pt x="5967" y="833"/>
                </a:lnTo>
                <a:lnTo>
                  <a:pt x="5967" y="829"/>
                </a:lnTo>
                <a:lnTo>
                  <a:pt x="5967" y="826"/>
                </a:lnTo>
                <a:lnTo>
                  <a:pt x="5966" y="819"/>
                </a:lnTo>
                <a:lnTo>
                  <a:pt x="5966" y="818"/>
                </a:lnTo>
                <a:lnTo>
                  <a:pt x="5967" y="817"/>
                </a:lnTo>
                <a:lnTo>
                  <a:pt x="5970" y="816"/>
                </a:lnTo>
                <a:lnTo>
                  <a:pt x="5987" y="811"/>
                </a:lnTo>
                <a:lnTo>
                  <a:pt x="5986" y="801"/>
                </a:lnTo>
                <a:lnTo>
                  <a:pt x="5985" y="797"/>
                </a:lnTo>
                <a:lnTo>
                  <a:pt x="5985" y="793"/>
                </a:lnTo>
                <a:lnTo>
                  <a:pt x="5986" y="790"/>
                </a:lnTo>
                <a:lnTo>
                  <a:pt x="5987" y="786"/>
                </a:lnTo>
                <a:lnTo>
                  <a:pt x="5989" y="783"/>
                </a:lnTo>
                <a:lnTo>
                  <a:pt x="5992" y="780"/>
                </a:lnTo>
                <a:lnTo>
                  <a:pt x="5998" y="777"/>
                </a:lnTo>
                <a:lnTo>
                  <a:pt x="5998" y="772"/>
                </a:lnTo>
                <a:lnTo>
                  <a:pt x="6003" y="769"/>
                </a:lnTo>
                <a:lnTo>
                  <a:pt x="6006" y="768"/>
                </a:lnTo>
                <a:lnTo>
                  <a:pt x="6009" y="768"/>
                </a:lnTo>
                <a:lnTo>
                  <a:pt x="6012" y="768"/>
                </a:lnTo>
                <a:lnTo>
                  <a:pt x="6016" y="771"/>
                </a:lnTo>
                <a:lnTo>
                  <a:pt x="6018" y="771"/>
                </a:lnTo>
                <a:lnTo>
                  <a:pt x="6020" y="772"/>
                </a:lnTo>
                <a:lnTo>
                  <a:pt x="6026" y="766"/>
                </a:lnTo>
                <a:lnTo>
                  <a:pt x="6032" y="760"/>
                </a:lnTo>
                <a:lnTo>
                  <a:pt x="6025" y="751"/>
                </a:lnTo>
                <a:lnTo>
                  <a:pt x="6023" y="747"/>
                </a:lnTo>
                <a:lnTo>
                  <a:pt x="6022" y="743"/>
                </a:lnTo>
                <a:lnTo>
                  <a:pt x="6021" y="739"/>
                </a:lnTo>
                <a:lnTo>
                  <a:pt x="6021" y="735"/>
                </a:lnTo>
                <a:lnTo>
                  <a:pt x="6021" y="732"/>
                </a:lnTo>
                <a:lnTo>
                  <a:pt x="6022" y="728"/>
                </a:lnTo>
                <a:lnTo>
                  <a:pt x="6024" y="726"/>
                </a:lnTo>
                <a:lnTo>
                  <a:pt x="6026" y="723"/>
                </a:lnTo>
                <a:lnTo>
                  <a:pt x="6029" y="721"/>
                </a:lnTo>
                <a:lnTo>
                  <a:pt x="6032" y="719"/>
                </a:lnTo>
                <a:lnTo>
                  <a:pt x="6036" y="718"/>
                </a:lnTo>
                <a:lnTo>
                  <a:pt x="6040" y="716"/>
                </a:lnTo>
                <a:lnTo>
                  <a:pt x="6046" y="716"/>
                </a:lnTo>
                <a:lnTo>
                  <a:pt x="6051" y="715"/>
                </a:lnTo>
                <a:lnTo>
                  <a:pt x="6051" y="710"/>
                </a:lnTo>
                <a:lnTo>
                  <a:pt x="6051" y="704"/>
                </a:lnTo>
                <a:lnTo>
                  <a:pt x="6050" y="704"/>
                </a:lnTo>
                <a:lnTo>
                  <a:pt x="6049" y="704"/>
                </a:lnTo>
                <a:lnTo>
                  <a:pt x="6046" y="704"/>
                </a:lnTo>
                <a:lnTo>
                  <a:pt x="6040" y="707"/>
                </a:lnTo>
                <a:lnTo>
                  <a:pt x="6038" y="702"/>
                </a:lnTo>
                <a:lnTo>
                  <a:pt x="6036" y="697"/>
                </a:lnTo>
                <a:lnTo>
                  <a:pt x="6034" y="693"/>
                </a:lnTo>
                <a:lnTo>
                  <a:pt x="6034" y="687"/>
                </a:lnTo>
                <a:lnTo>
                  <a:pt x="6037" y="687"/>
                </a:lnTo>
                <a:lnTo>
                  <a:pt x="6040" y="679"/>
                </a:lnTo>
                <a:lnTo>
                  <a:pt x="6046" y="679"/>
                </a:lnTo>
                <a:lnTo>
                  <a:pt x="6046" y="678"/>
                </a:lnTo>
                <a:lnTo>
                  <a:pt x="6046" y="676"/>
                </a:lnTo>
                <a:lnTo>
                  <a:pt x="6045" y="674"/>
                </a:lnTo>
                <a:lnTo>
                  <a:pt x="6045" y="672"/>
                </a:lnTo>
                <a:lnTo>
                  <a:pt x="6046" y="670"/>
                </a:lnTo>
                <a:lnTo>
                  <a:pt x="6047" y="671"/>
                </a:lnTo>
                <a:lnTo>
                  <a:pt x="6048" y="670"/>
                </a:lnTo>
                <a:lnTo>
                  <a:pt x="6049" y="669"/>
                </a:lnTo>
                <a:lnTo>
                  <a:pt x="6048" y="667"/>
                </a:lnTo>
                <a:lnTo>
                  <a:pt x="6049" y="665"/>
                </a:lnTo>
                <a:lnTo>
                  <a:pt x="6044" y="665"/>
                </a:lnTo>
                <a:lnTo>
                  <a:pt x="6040" y="665"/>
                </a:lnTo>
                <a:lnTo>
                  <a:pt x="6035" y="663"/>
                </a:lnTo>
                <a:lnTo>
                  <a:pt x="6029" y="662"/>
                </a:lnTo>
                <a:lnTo>
                  <a:pt x="6028" y="652"/>
                </a:lnTo>
                <a:lnTo>
                  <a:pt x="6028" y="647"/>
                </a:lnTo>
                <a:lnTo>
                  <a:pt x="6028" y="644"/>
                </a:lnTo>
                <a:lnTo>
                  <a:pt x="6029" y="642"/>
                </a:lnTo>
                <a:lnTo>
                  <a:pt x="6039" y="633"/>
                </a:lnTo>
                <a:lnTo>
                  <a:pt x="6049" y="625"/>
                </a:lnTo>
                <a:lnTo>
                  <a:pt x="6049" y="624"/>
                </a:lnTo>
                <a:lnTo>
                  <a:pt x="6049" y="623"/>
                </a:lnTo>
                <a:lnTo>
                  <a:pt x="6049" y="621"/>
                </a:lnTo>
                <a:lnTo>
                  <a:pt x="6048" y="619"/>
                </a:lnTo>
                <a:lnTo>
                  <a:pt x="6048" y="618"/>
                </a:lnTo>
                <a:lnTo>
                  <a:pt x="6049" y="617"/>
                </a:lnTo>
                <a:lnTo>
                  <a:pt x="6054" y="617"/>
                </a:lnTo>
                <a:lnTo>
                  <a:pt x="6054" y="613"/>
                </a:lnTo>
                <a:lnTo>
                  <a:pt x="6054" y="612"/>
                </a:lnTo>
                <a:lnTo>
                  <a:pt x="6053" y="612"/>
                </a:lnTo>
                <a:lnTo>
                  <a:pt x="6052" y="611"/>
                </a:lnTo>
                <a:lnTo>
                  <a:pt x="6051" y="610"/>
                </a:lnTo>
                <a:lnTo>
                  <a:pt x="6051" y="608"/>
                </a:lnTo>
                <a:lnTo>
                  <a:pt x="6052" y="607"/>
                </a:lnTo>
                <a:lnTo>
                  <a:pt x="6054" y="605"/>
                </a:lnTo>
                <a:lnTo>
                  <a:pt x="6056" y="603"/>
                </a:lnTo>
                <a:lnTo>
                  <a:pt x="6057" y="600"/>
                </a:lnTo>
                <a:lnTo>
                  <a:pt x="6085" y="603"/>
                </a:lnTo>
                <a:lnTo>
                  <a:pt x="6085" y="601"/>
                </a:lnTo>
                <a:lnTo>
                  <a:pt x="6085" y="599"/>
                </a:lnTo>
                <a:lnTo>
                  <a:pt x="6085" y="596"/>
                </a:lnTo>
                <a:lnTo>
                  <a:pt x="6085" y="594"/>
                </a:lnTo>
                <a:lnTo>
                  <a:pt x="6105" y="583"/>
                </a:lnTo>
                <a:lnTo>
                  <a:pt x="6103" y="589"/>
                </a:lnTo>
                <a:lnTo>
                  <a:pt x="6102" y="597"/>
                </a:lnTo>
                <a:lnTo>
                  <a:pt x="6102" y="601"/>
                </a:lnTo>
                <a:lnTo>
                  <a:pt x="6102" y="602"/>
                </a:lnTo>
                <a:lnTo>
                  <a:pt x="6102" y="603"/>
                </a:lnTo>
                <a:lnTo>
                  <a:pt x="6103" y="605"/>
                </a:lnTo>
                <a:lnTo>
                  <a:pt x="6104" y="605"/>
                </a:lnTo>
                <a:lnTo>
                  <a:pt x="6106" y="606"/>
                </a:lnTo>
                <a:lnTo>
                  <a:pt x="6108" y="606"/>
                </a:lnTo>
                <a:lnTo>
                  <a:pt x="6109" y="603"/>
                </a:lnTo>
                <a:lnTo>
                  <a:pt x="6110" y="603"/>
                </a:lnTo>
                <a:lnTo>
                  <a:pt x="6111" y="602"/>
                </a:lnTo>
                <a:lnTo>
                  <a:pt x="6112" y="602"/>
                </a:lnTo>
                <a:lnTo>
                  <a:pt x="6113" y="603"/>
                </a:lnTo>
                <a:lnTo>
                  <a:pt x="6115" y="600"/>
                </a:lnTo>
                <a:lnTo>
                  <a:pt x="6116" y="598"/>
                </a:lnTo>
                <a:lnTo>
                  <a:pt x="6119" y="592"/>
                </a:lnTo>
                <a:lnTo>
                  <a:pt x="6121" y="587"/>
                </a:lnTo>
                <a:lnTo>
                  <a:pt x="6123" y="585"/>
                </a:lnTo>
                <a:lnTo>
                  <a:pt x="6124" y="583"/>
                </a:lnTo>
                <a:lnTo>
                  <a:pt x="6130" y="579"/>
                </a:lnTo>
                <a:lnTo>
                  <a:pt x="6135" y="577"/>
                </a:lnTo>
                <a:lnTo>
                  <a:pt x="6139" y="576"/>
                </a:lnTo>
                <a:lnTo>
                  <a:pt x="6144" y="577"/>
                </a:lnTo>
                <a:lnTo>
                  <a:pt x="6149" y="578"/>
                </a:lnTo>
                <a:lnTo>
                  <a:pt x="6153" y="580"/>
                </a:lnTo>
                <a:lnTo>
                  <a:pt x="6164" y="586"/>
                </a:lnTo>
                <a:lnTo>
                  <a:pt x="6164" y="590"/>
                </a:lnTo>
                <a:lnTo>
                  <a:pt x="6164" y="594"/>
                </a:lnTo>
                <a:lnTo>
                  <a:pt x="6168" y="597"/>
                </a:lnTo>
                <a:lnTo>
                  <a:pt x="6172" y="599"/>
                </a:lnTo>
                <a:lnTo>
                  <a:pt x="6177" y="600"/>
                </a:lnTo>
                <a:lnTo>
                  <a:pt x="6181" y="603"/>
                </a:lnTo>
                <a:lnTo>
                  <a:pt x="6184" y="595"/>
                </a:lnTo>
                <a:lnTo>
                  <a:pt x="6187" y="588"/>
                </a:lnTo>
                <a:lnTo>
                  <a:pt x="6191" y="582"/>
                </a:lnTo>
                <a:lnTo>
                  <a:pt x="6193" y="580"/>
                </a:lnTo>
                <a:lnTo>
                  <a:pt x="6195" y="578"/>
                </a:lnTo>
                <a:lnTo>
                  <a:pt x="6200" y="574"/>
                </a:lnTo>
                <a:lnTo>
                  <a:pt x="6206" y="570"/>
                </a:lnTo>
                <a:lnTo>
                  <a:pt x="6212" y="567"/>
                </a:lnTo>
                <a:lnTo>
                  <a:pt x="6220" y="563"/>
                </a:lnTo>
                <a:lnTo>
                  <a:pt x="6220" y="559"/>
                </a:lnTo>
                <a:lnTo>
                  <a:pt x="6220" y="557"/>
                </a:lnTo>
                <a:lnTo>
                  <a:pt x="6219" y="557"/>
                </a:lnTo>
                <a:lnTo>
                  <a:pt x="6217" y="558"/>
                </a:lnTo>
                <a:lnTo>
                  <a:pt x="6217" y="555"/>
                </a:lnTo>
                <a:lnTo>
                  <a:pt x="6220" y="554"/>
                </a:lnTo>
                <a:lnTo>
                  <a:pt x="6222" y="555"/>
                </a:lnTo>
                <a:lnTo>
                  <a:pt x="6225" y="556"/>
                </a:lnTo>
                <a:lnTo>
                  <a:pt x="6228" y="558"/>
                </a:lnTo>
                <a:lnTo>
                  <a:pt x="6229" y="558"/>
                </a:lnTo>
                <a:lnTo>
                  <a:pt x="6231" y="558"/>
                </a:lnTo>
                <a:lnTo>
                  <a:pt x="6232" y="557"/>
                </a:lnTo>
                <a:lnTo>
                  <a:pt x="6233" y="555"/>
                </a:lnTo>
                <a:lnTo>
                  <a:pt x="6234" y="552"/>
                </a:lnTo>
                <a:lnTo>
                  <a:pt x="6233" y="548"/>
                </a:lnTo>
                <a:lnTo>
                  <a:pt x="6232" y="547"/>
                </a:lnTo>
                <a:lnTo>
                  <a:pt x="6231" y="546"/>
                </a:lnTo>
                <a:lnTo>
                  <a:pt x="6233" y="546"/>
                </a:lnTo>
                <a:lnTo>
                  <a:pt x="6235" y="546"/>
                </a:lnTo>
                <a:lnTo>
                  <a:pt x="6237" y="548"/>
                </a:lnTo>
                <a:lnTo>
                  <a:pt x="6239" y="549"/>
                </a:lnTo>
                <a:lnTo>
                  <a:pt x="6240" y="550"/>
                </a:lnTo>
                <a:lnTo>
                  <a:pt x="6243" y="549"/>
                </a:lnTo>
                <a:lnTo>
                  <a:pt x="6245" y="545"/>
                </a:lnTo>
                <a:lnTo>
                  <a:pt x="6247" y="542"/>
                </a:lnTo>
                <a:lnTo>
                  <a:pt x="6248" y="541"/>
                </a:lnTo>
                <a:lnTo>
                  <a:pt x="6252" y="539"/>
                </a:lnTo>
                <a:lnTo>
                  <a:pt x="6256" y="539"/>
                </a:lnTo>
                <a:lnTo>
                  <a:pt x="6261" y="539"/>
                </a:lnTo>
                <a:lnTo>
                  <a:pt x="6263" y="539"/>
                </a:lnTo>
                <a:lnTo>
                  <a:pt x="6265" y="538"/>
                </a:lnTo>
                <a:lnTo>
                  <a:pt x="6268" y="537"/>
                </a:lnTo>
                <a:lnTo>
                  <a:pt x="6271" y="535"/>
                </a:lnTo>
                <a:lnTo>
                  <a:pt x="6277" y="530"/>
                </a:lnTo>
                <a:lnTo>
                  <a:pt x="6284" y="526"/>
                </a:lnTo>
                <a:lnTo>
                  <a:pt x="6287" y="525"/>
                </a:lnTo>
                <a:lnTo>
                  <a:pt x="6290" y="524"/>
                </a:lnTo>
                <a:lnTo>
                  <a:pt x="6294" y="523"/>
                </a:lnTo>
                <a:lnTo>
                  <a:pt x="6297" y="523"/>
                </a:lnTo>
                <a:lnTo>
                  <a:pt x="6303" y="524"/>
                </a:lnTo>
                <a:lnTo>
                  <a:pt x="6308" y="525"/>
                </a:lnTo>
                <a:lnTo>
                  <a:pt x="6314" y="526"/>
                </a:lnTo>
                <a:lnTo>
                  <a:pt x="6324" y="529"/>
                </a:lnTo>
                <a:lnTo>
                  <a:pt x="6329" y="530"/>
                </a:lnTo>
                <a:lnTo>
                  <a:pt x="6333" y="530"/>
                </a:lnTo>
                <a:lnTo>
                  <a:pt x="6338" y="524"/>
                </a:lnTo>
                <a:lnTo>
                  <a:pt x="6341" y="521"/>
                </a:lnTo>
                <a:lnTo>
                  <a:pt x="6339" y="516"/>
                </a:lnTo>
                <a:lnTo>
                  <a:pt x="6339" y="512"/>
                </a:lnTo>
                <a:lnTo>
                  <a:pt x="6340" y="511"/>
                </a:lnTo>
                <a:lnTo>
                  <a:pt x="6341" y="510"/>
                </a:lnTo>
                <a:lnTo>
                  <a:pt x="6340" y="509"/>
                </a:lnTo>
                <a:lnTo>
                  <a:pt x="6339" y="509"/>
                </a:lnTo>
                <a:lnTo>
                  <a:pt x="6337" y="508"/>
                </a:lnTo>
                <a:lnTo>
                  <a:pt x="6335" y="508"/>
                </a:lnTo>
                <a:lnTo>
                  <a:pt x="6333" y="507"/>
                </a:lnTo>
                <a:lnTo>
                  <a:pt x="6331" y="502"/>
                </a:lnTo>
                <a:lnTo>
                  <a:pt x="6327" y="492"/>
                </a:lnTo>
                <a:lnTo>
                  <a:pt x="6321" y="476"/>
                </a:lnTo>
                <a:lnTo>
                  <a:pt x="6319" y="476"/>
                </a:lnTo>
                <a:lnTo>
                  <a:pt x="6318" y="475"/>
                </a:lnTo>
                <a:lnTo>
                  <a:pt x="6319" y="473"/>
                </a:lnTo>
                <a:lnTo>
                  <a:pt x="6319" y="470"/>
                </a:lnTo>
                <a:lnTo>
                  <a:pt x="6315" y="471"/>
                </a:lnTo>
                <a:lnTo>
                  <a:pt x="6310" y="473"/>
                </a:lnTo>
                <a:lnTo>
                  <a:pt x="6311" y="474"/>
                </a:lnTo>
                <a:lnTo>
                  <a:pt x="6309" y="475"/>
                </a:lnTo>
                <a:lnTo>
                  <a:pt x="6304" y="476"/>
                </a:lnTo>
                <a:lnTo>
                  <a:pt x="6304" y="470"/>
                </a:lnTo>
                <a:lnTo>
                  <a:pt x="6307" y="468"/>
                </a:lnTo>
                <a:lnTo>
                  <a:pt x="6310" y="462"/>
                </a:lnTo>
                <a:lnTo>
                  <a:pt x="6304" y="462"/>
                </a:lnTo>
                <a:lnTo>
                  <a:pt x="6297" y="462"/>
                </a:lnTo>
                <a:lnTo>
                  <a:pt x="6291" y="462"/>
                </a:lnTo>
                <a:lnTo>
                  <a:pt x="6285" y="462"/>
                </a:lnTo>
                <a:lnTo>
                  <a:pt x="6285" y="456"/>
                </a:lnTo>
                <a:lnTo>
                  <a:pt x="6298" y="455"/>
                </a:lnTo>
                <a:lnTo>
                  <a:pt x="6304" y="454"/>
                </a:lnTo>
                <a:lnTo>
                  <a:pt x="6307" y="454"/>
                </a:lnTo>
                <a:lnTo>
                  <a:pt x="6313" y="459"/>
                </a:lnTo>
                <a:lnTo>
                  <a:pt x="6316" y="460"/>
                </a:lnTo>
                <a:lnTo>
                  <a:pt x="6321" y="461"/>
                </a:lnTo>
                <a:lnTo>
                  <a:pt x="6332" y="461"/>
                </a:lnTo>
                <a:lnTo>
                  <a:pt x="6347" y="462"/>
                </a:lnTo>
                <a:lnTo>
                  <a:pt x="6358" y="454"/>
                </a:lnTo>
                <a:lnTo>
                  <a:pt x="6360" y="451"/>
                </a:lnTo>
                <a:lnTo>
                  <a:pt x="6361" y="448"/>
                </a:lnTo>
                <a:lnTo>
                  <a:pt x="6362" y="442"/>
                </a:lnTo>
                <a:lnTo>
                  <a:pt x="6363" y="436"/>
                </a:lnTo>
                <a:lnTo>
                  <a:pt x="6364" y="431"/>
                </a:lnTo>
                <a:lnTo>
                  <a:pt x="6355" y="428"/>
                </a:lnTo>
                <a:lnTo>
                  <a:pt x="6355" y="427"/>
                </a:lnTo>
                <a:lnTo>
                  <a:pt x="6355" y="426"/>
                </a:lnTo>
                <a:lnTo>
                  <a:pt x="6355" y="422"/>
                </a:lnTo>
                <a:lnTo>
                  <a:pt x="6356" y="421"/>
                </a:lnTo>
                <a:lnTo>
                  <a:pt x="6356" y="419"/>
                </a:lnTo>
                <a:lnTo>
                  <a:pt x="6357" y="419"/>
                </a:lnTo>
                <a:lnTo>
                  <a:pt x="6358" y="420"/>
                </a:lnTo>
                <a:lnTo>
                  <a:pt x="6358" y="418"/>
                </a:lnTo>
                <a:lnTo>
                  <a:pt x="6358" y="414"/>
                </a:lnTo>
                <a:lnTo>
                  <a:pt x="6358" y="409"/>
                </a:lnTo>
                <a:lnTo>
                  <a:pt x="6363" y="407"/>
                </a:lnTo>
                <a:lnTo>
                  <a:pt x="6367" y="407"/>
                </a:lnTo>
                <a:lnTo>
                  <a:pt x="6369" y="406"/>
                </a:lnTo>
                <a:lnTo>
                  <a:pt x="6366" y="414"/>
                </a:lnTo>
                <a:lnTo>
                  <a:pt x="6367" y="413"/>
                </a:lnTo>
                <a:lnTo>
                  <a:pt x="6368" y="413"/>
                </a:lnTo>
                <a:lnTo>
                  <a:pt x="6369" y="414"/>
                </a:lnTo>
                <a:lnTo>
                  <a:pt x="6372" y="417"/>
                </a:lnTo>
                <a:lnTo>
                  <a:pt x="6369" y="418"/>
                </a:lnTo>
                <a:lnTo>
                  <a:pt x="6367" y="420"/>
                </a:lnTo>
                <a:lnTo>
                  <a:pt x="6366" y="421"/>
                </a:lnTo>
                <a:lnTo>
                  <a:pt x="6366" y="423"/>
                </a:lnTo>
                <a:lnTo>
                  <a:pt x="6366" y="425"/>
                </a:lnTo>
                <a:lnTo>
                  <a:pt x="6367" y="427"/>
                </a:lnTo>
                <a:lnTo>
                  <a:pt x="6368" y="429"/>
                </a:lnTo>
                <a:lnTo>
                  <a:pt x="6370" y="431"/>
                </a:lnTo>
                <a:lnTo>
                  <a:pt x="6373" y="435"/>
                </a:lnTo>
                <a:lnTo>
                  <a:pt x="6377" y="438"/>
                </a:lnTo>
                <a:lnTo>
                  <a:pt x="6383" y="442"/>
                </a:lnTo>
                <a:lnTo>
                  <a:pt x="6385" y="441"/>
                </a:lnTo>
                <a:lnTo>
                  <a:pt x="6385" y="440"/>
                </a:lnTo>
                <a:lnTo>
                  <a:pt x="6385" y="439"/>
                </a:lnTo>
                <a:lnTo>
                  <a:pt x="6385" y="438"/>
                </a:lnTo>
                <a:lnTo>
                  <a:pt x="6383" y="437"/>
                </a:lnTo>
                <a:lnTo>
                  <a:pt x="6395" y="431"/>
                </a:lnTo>
                <a:lnTo>
                  <a:pt x="6400" y="430"/>
                </a:lnTo>
                <a:lnTo>
                  <a:pt x="6404" y="429"/>
                </a:lnTo>
                <a:lnTo>
                  <a:pt x="6408" y="430"/>
                </a:lnTo>
                <a:lnTo>
                  <a:pt x="6412" y="431"/>
                </a:lnTo>
                <a:lnTo>
                  <a:pt x="6416" y="435"/>
                </a:lnTo>
                <a:lnTo>
                  <a:pt x="6420" y="440"/>
                </a:lnTo>
                <a:lnTo>
                  <a:pt x="6424" y="442"/>
                </a:lnTo>
                <a:lnTo>
                  <a:pt x="6427" y="444"/>
                </a:lnTo>
                <a:lnTo>
                  <a:pt x="6428" y="445"/>
                </a:lnTo>
                <a:lnTo>
                  <a:pt x="6428" y="449"/>
                </a:lnTo>
                <a:lnTo>
                  <a:pt x="6427" y="452"/>
                </a:lnTo>
                <a:lnTo>
                  <a:pt x="6426" y="455"/>
                </a:lnTo>
                <a:lnTo>
                  <a:pt x="6425" y="456"/>
                </a:lnTo>
                <a:lnTo>
                  <a:pt x="6426" y="457"/>
                </a:lnTo>
                <a:lnTo>
                  <a:pt x="6428" y="458"/>
                </a:lnTo>
                <a:lnTo>
                  <a:pt x="6432" y="460"/>
                </a:lnTo>
                <a:lnTo>
                  <a:pt x="6437" y="462"/>
                </a:lnTo>
                <a:lnTo>
                  <a:pt x="6443" y="464"/>
                </a:lnTo>
                <a:lnTo>
                  <a:pt x="6455" y="467"/>
                </a:lnTo>
                <a:lnTo>
                  <a:pt x="6465" y="470"/>
                </a:lnTo>
                <a:lnTo>
                  <a:pt x="6465" y="476"/>
                </a:lnTo>
                <a:lnTo>
                  <a:pt x="6472" y="473"/>
                </a:lnTo>
                <a:lnTo>
                  <a:pt x="6479" y="470"/>
                </a:lnTo>
                <a:lnTo>
                  <a:pt x="6479" y="476"/>
                </a:lnTo>
                <a:lnTo>
                  <a:pt x="6486" y="476"/>
                </a:lnTo>
                <a:lnTo>
                  <a:pt x="6491" y="476"/>
                </a:lnTo>
                <a:lnTo>
                  <a:pt x="6494" y="476"/>
                </a:lnTo>
                <a:lnTo>
                  <a:pt x="6496" y="476"/>
                </a:lnTo>
                <a:lnTo>
                  <a:pt x="6496" y="475"/>
                </a:lnTo>
                <a:lnTo>
                  <a:pt x="6495" y="472"/>
                </a:lnTo>
                <a:lnTo>
                  <a:pt x="6492" y="468"/>
                </a:lnTo>
                <a:lnTo>
                  <a:pt x="6487" y="462"/>
                </a:lnTo>
                <a:lnTo>
                  <a:pt x="6487" y="456"/>
                </a:lnTo>
                <a:lnTo>
                  <a:pt x="6493" y="457"/>
                </a:lnTo>
                <a:lnTo>
                  <a:pt x="6499" y="456"/>
                </a:lnTo>
                <a:lnTo>
                  <a:pt x="6498" y="451"/>
                </a:lnTo>
                <a:lnTo>
                  <a:pt x="6499" y="445"/>
                </a:lnTo>
                <a:lnTo>
                  <a:pt x="6494" y="447"/>
                </a:lnTo>
                <a:lnTo>
                  <a:pt x="6492" y="448"/>
                </a:lnTo>
                <a:lnTo>
                  <a:pt x="6490" y="448"/>
                </a:lnTo>
                <a:lnTo>
                  <a:pt x="6490" y="440"/>
                </a:lnTo>
                <a:lnTo>
                  <a:pt x="6487" y="437"/>
                </a:lnTo>
                <a:lnTo>
                  <a:pt x="6499" y="437"/>
                </a:lnTo>
                <a:lnTo>
                  <a:pt x="6499" y="440"/>
                </a:lnTo>
                <a:lnTo>
                  <a:pt x="6501" y="440"/>
                </a:lnTo>
                <a:lnTo>
                  <a:pt x="6505" y="439"/>
                </a:lnTo>
                <a:lnTo>
                  <a:pt x="6510" y="440"/>
                </a:lnTo>
                <a:lnTo>
                  <a:pt x="6518" y="442"/>
                </a:lnTo>
                <a:lnTo>
                  <a:pt x="6517" y="443"/>
                </a:lnTo>
                <a:lnTo>
                  <a:pt x="6518" y="445"/>
                </a:lnTo>
                <a:lnTo>
                  <a:pt x="6519" y="445"/>
                </a:lnTo>
                <a:lnTo>
                  <a:pt x="6520" y="445"/>
                </a:lnTo>
                <a:lnTo>
                  <a:pt x="6521" y="445"/>
                </a:lnTo>
                <a:lnTo>
                  <a:pt x="6521" y="443"/>
                </a:lnTo>
                <a:lnTo>
                  <a:pt x="6520" y="440"/>
                </a:lnTo>
                <a:lnTo>
                  <a:pt x="6518" y="434"/>
                </a:lnTo>
                <a:lnTo>
                  <a:pt x="6524" y="434"/>
                </a:lnTo>
                <a:lnTo>
                  <a:pt x="6525" y="431"/>
                </a:lnTo>
                <a:lnTo>
                  <a:pt x="6525" y="428"/>
                </a:lnTo>
                <a:lnTo>
                  <a:pt x="6527" y="423"/>
                </a:lnTo>
                <a:lnTo>
                  <a:pt x="6532" y="423"/>
                </a:lnTo>
                <a:lnTo>
                  <a:pt x="6521" y="417"/>
                </a:lnTo>
                <a:lnTo>
                  <a:pt x="6515" y="415"/>
                </a:lnTo>
                <a:lnTo>
                  <a:pt x="6510" y="411"/>
                </a:lnTo>
                <a:lnTo>
                  <a:pt x="6507" y="409"/>
                </a:lnTo>
                <a:lnTo>
                  <a:pt x="6504" y="405"/>
                </a:lnTo>
                <a:lnTo>
                  <a:pt x="6498" y="398"/>
                </a:lnTo>
                <a:lnTo>
                  <a:pt x="6492" y="390"/>
                </a:lnTo>
                <a:lnTo>
                  <a:pt x="6488" y="388"/>
                </a:lnTo>
                <a:lnTo>
                  <a:pt x="6484" y="386"/>
                </a:lnTo>
                <a:lnTo>
                  <a:pt x="6477" y="385"/>
                </a:lnTo>
                <a:lnTo>
                  <a:pt x="6469" y="385"/>
                </a:lnTo>
                <a:lnTo>
                  <a:pt x="6454" y="386"/>
                </a:lnTo>
                <a:lnTo>
                  <a:pt x="6454" y="387"/>
                </a:lnTo>
                <a:lnTo>
                  <a:pt x="6453" y="387"/>
                </a:lnTo>
                <a:lnTo>
                  <a:pt x="6451" y="389"/>
                </a:lnTo>
                <a:lnTo>
                  <a:pt x="6448" y="392"/>
                </a:lnTo>
                <a:lnTo>
                  <a:pt x="6450" y="393"/>
                </a:lnTo>
                <a:lnTo>
                  <a:pt x="6451" y="394"/>
                </a:lnTo>
                <a:lnTo>
                  <a:pt x="6451" y="397"/>
                </a:lnTo>
                <a:lnTo>
                  <a:pt x="6451" y="400"/>
                </a:lnTo>
                <a:lnTo>
                  <a:pt x="6453" y="401"/>
                </a:lnTo>
                <a:lnTo>
                  <a:pt x="6451" y="400"/>
                </a:lnTo>
                <a:lnTo>
                  <a:pt x="6446" y="400"/>
                </a:lnTo>
                <a:lnTo>
                  <a:pt x="6442" y="400"/>
                </a:lnTo>
                <a:lnTo>
                  <a:pt x="6444" y="400"/>
                </a:lnTo>
                <a:lnTo>
                  <a:pt x="6446" y="399"/>
                </a:lnTo>
                <a:lnTo>
                  <a:pt x="6447" y="397"/>
                </a:lnTo>
                <a:lnTo>
                  <a:pt x="6447" y="395"/>
                </a:lnTo>
                <a:lnTo>
                  <a:pt x="6446" y="389"/>
                </a:lnTo>
                <a:lnTo>
                  <a:pt x="6443" y="383"/>
                </a:lnTo>
                <a:lnTo>
                  <a:pt x="6440" y="377"/>
                </a:lnTo>
                <a:lnTo>
                  <a:pt x="6437" y="372"/>
                </a:lnTo>
                <a:lnTo>
                  <a:pt x="6434" y="366"/>
                </a:lnTo>
                <a:lnTo>
                  <a:pt x="6431" y="368"/>
                </a:lnTo>
                <a:lnTo>
                  <a:pt x="6430" y="369"/>
                </a:lnTo>
                <a:lnTo>
                  <a:pt x="6428" y="369"/>
                </a:lnTo>
                <a:lnTo>
                  <a:pt x="6425" y="365"/>
                </a:lnTo>
                <a:lnTo>
                  <a:pt x="6423" y="361"/>
                </a:lnTo>
                <a:lnTo>
                  <a:pt x="6421" y="360"/>
                </a:lnTo>
                <a:lnTo>
                  <a:pt x="6419" y="360"/>
                </a:lnTo>
                <a:lnTo>
                  <a:pt x="6414" y="361"/>
                </a:lnTo>
                <a:lnTo>
                  <a:pt x="6409" y="362"/>
                </a:lnTo>
                <a:lnTo>
                  <a:pt x="6407" y="361"/>
                </a:lnTo>
                <a:lnTo>
                  <a:pt x="6406" y="361"/>
                </a:lnTo>
                <a:lnTo>
                  <a:pt x="6405" y="359"/>
                </a:lnTo>
                <a:lnTo>
                  <a:pt x="6405" y="357"/>
                </a:lnTo>
                <a:lnTo>
                  <a:pt x="6406" y="354"/>
                </a:lnTo>
                <a:lnTo>
                  <a:pt x="6406" y="352"/>
                </a:lnTo>
                <a:lnTo>
                  <a:pt x="6405" y="351"/>
                </a:lnTo>
                <a:lnTo>
                  <a:pt x="6404" y="351"/>
                </a:lnTo>
                <a:lnTo>
                  <a:pt x="6402" y="350"/>
                </a:lnTo>
                <a:lnTo>
                  <a:pt x="6397" y="349"/>
                </a:lnTo>
                <a:lnTo>
                  <a:pt x="6397" y="344"/>
                </a:lnTo>
                <a:lnTo>
                  <a:pt x="6394" y="343"/>
                </a:lnTo>
                <a:lnTo>
                  <a:pt x="6390" y="343"/>
                </a:lnTo>
                <a:lnTo>
                  <a:pt x="6387" y="343"/>
                </a:lnTo>
                <a:lnTo>
                  <a:pt x="6385" y="342"/>
                </a:lnTo>
                <a:lnTo>
                  <a:pt x="6383" y="341"/>
                </a:lnTo>
                <a:lnTo>
                  <a:pt x="6380" y="337"/>
                </a:lnTo>
                <a:lnTo>
                  <a:pt x="6377" y="332"/>
                </a:lnTo>
                <a:lnTo>
                  <a:pt x="6375" y="330"/>
                </a:lnTo>
                <a:lnTo>
                  <a:pt x="6373" y="327"/>
                </a:lnTo>
                <a:lnTo>
                  <a:pt x="6371" y="325"/>
                </a:lnTo>
                <a:lnTo>
                  <a:pt x="6369" y="324"/>
                </a:lnTo>
                <a:lnTo>
                  <a:pt x="6367" y="324"/>
                </a:lnTo>
                <a:lnTo>
                  <a:pt x="6363" y="324"/>
                </a:lnTo>
                <a:lnTo>
                  <a:pt x="6360" y="325"/>
                </a:lnTo>
                <a:lnTo>
                  <a:pt x="6359" y="325"/>
                </a:lnTo>
                <a:lnTo>
                  <a:pt x="6358" y="324"/>
                </a:lnTo>
                <a:lnTo>
                  <a:pt x="6348" y="316"/>
                </a:lnTo>
                <a:lnTo>
                  <a:pt x="6338" y="307"/>
                </a:lnTo>
                <a:lnTo>
                  <a:pt x="6337" y="305"/>
                </a:lnTo>
                <a:lnTo>
                  <a:pt x="6337" y="303"/>
                </a:lnTo>
                <a:lnTo>
                  <a:pt x="6337" y="301"/>
                </a:lnTo>
                <a:lnTo>
                  <a:pt x="6336" y="300"/>
                </a:lnTo>
                <a:lnTo>
                  <a:pt x="6335" y="299"/>
                </a:lnTo>
                <a:lnTo>
                  <a:pt x="6330" y="296"/>
                </a:lnTo>
                <a:lnTo>
                  <a:pt x="6325" y="295"/>
                </a:lnTo>
                <a:lnTo>
                  <a:pt x="6321" y="295"/>
                </a:lnTo>
                <a:lnTo>
                  <a:pt x="6317" y="296"/>
                </a:lnTo>
                <a:lnTo>
                  <a:pt x="6311" y="298"/>
                </a:lnTo>
                <a:lnTo>
                  <a:pt x="6309" y="299"/>
                </a:lnTo>
                <a:lnTo>
                  <a:pt x="6307" y="299"/>
                </a:lnTo>
                <a:lnTo>
                  <a:pt x="6304" y="298"/>
                </a:lnTo>
                <a:lnTo>
                  <a:pt x="6302" y="296"/>
                </a:lnTo>
                <a:lnTo>
                  <a:pt x="6299" y="292"/>
                </a:lnTo>
                <a:lnTo>
                  <a:pt x="6296" y="288"/>
                </a:lnTo>
                <a:lnTo>
                  <a:pt x="6295" y="286"/>
                </a:lnTo>
                <a:lnTo>
                  <a:pt x="6293" y="285"/>
                </a:lnTo>
                <a:lnTo>
                  <a:pt x="6289" y="283"/>
                </a:lnTo>
                <a:lnTo>
                  <a:pt x="6285" y="283"/>
                </a:lnTo>
                <a:lnTo>
                  <a:pt x="6281" y="283"/>
                </a:lnTo>
                <a:lnTo>
                  <a:pt x="6276" y="282"/>
                </a:lnTo>
                <a:lnTo>
                  <a:pt x="6275" y="280"/>
                </a:lnTo>
                <a:lnTo>
                  <a:pt x="6273" y="278"/>
                </a:lnTo>
                <a:lnTo>
                  <a:pt x="6272" y="275"/>
                </a:lnTo>
                <a:lnTo>
                  <a:pt x="6271" y="274"/>
                </a:lnTo>
                <a:lnTo>
                  <a:pt x="6265" y="273"/>
                </a:lnTo>
                <a:lnTo>
                  <a:pt x="6259" y="273"/>
                </a:lnTo>
                <a:lnTo>
                  <a:pt x="6246" y="274"/>
                </a:lnTo>
                <a:lnTo>
                  <a:pt x="6234" y="276"/>
                </a:lnTo>
                <a:lnTo>
                  <a:pt x="6228" y="276"/>
                </a:lnTo>
                <a:lnTo>
                  <a:pt x="6223" y="276"/>
                </a:lnTo>
                <a:lnTo>
                  <a:pt x="6220" y="271"/>
                </a:lnTo>
                <a:lnTo>
                  <a:pt x="6215" y="272"/>
                </a:lnTo>
                <a:lnTo>
                  <a:pt x="6209" y="273"/>
                </a:lnTo>
                <a:lnTo>
                  <a:pt x="6202" y="274"/>
                </a:lnTo>
                <a:lnTo>
                  <a:pt x="6198" y="274"/>
                </a:lnTo>
                <a:lnTo>
                  <a:pt x="6195" y="274"/>
                </a:lnTo>
                <a:lnTo>
                  <a:pt x="6191" y="270"/>
                </a:lnTo>
                <a:lnTo>
                  <a:pt x="6189" y="268"/>
                </a:lnTo>
                <a:lnTo>
                  <a:pt x="6187" y="268"/>
                </a:lnTo>
                <a:lnTo>
                  <a:pt x="6186" y="268"/>
                </a:lnTo>
                <a:lnTo>
                  <a:pt x="6184" y="285"/>
                </a:lnTo>
                <a:lnTo>
                  <a:pt x="6184" y="286"/>
                </a:lnTo>
                <a:lnTo>
                  <a:pt x="6185" y="287"/>
                </a:lnTo>
                <a:lnTo>
                  <a:pt x="6188" y="290"/>
                </a:lnTo>
                <a:lnTo>
                  <a:pt x="6195" y="293"/>
                </a:lnTo>
                <a:lnTo>
                  <a:pt x="6193" y="296"/>
                </a:lnTo>
                <a:lnTo>
                  <a:pt x="6192" y="298"/>
                </a:lnTo>
                <a:lnTo>
                  <a:pt x="6192" y="299"/>
                </a:lnTo>
                <a:lnTo>
                  <a:pt x="6195" y="307"/>
                </a:lnTo>
                <a:lnTo>
                  <a:pt x="6192" y="308"/>
                </a:lnTo>
                <a:lnTo>
                  <a:pt x="6191" y="308"/>
                </a:lnTo>
                <a:lnTo>
                  <a:pt x="6189" y="310"/>
                </a:lnTo>
                <a:lnTo>
                  <a:pt x="6185" y="315"/>
                </a:lnTo>
                <a:lnTo>
                  <a:pt x="6181" y="321"/>
                </a:lnTo>
                <a:lnTo>
                  <a:pt x="6176" y="319"/>
                </a:lnTo>
                <a:lnTo>
                  <a:pt x="6172" y="319"/>
                </a:lnTo>
                <a:lnTo>
                  <a:pt x="6169" y="324"/>
                </a:lnTo>
                <a:lnTo>
                  <a:pt x="6162" y="324"/>
                </a:lnTo>
                <a:lnTo>
                  <a:pt x="6159" y="324"/>
                </a:lnTo>
                <a:lnTo>
                  <a:pt x="6155" y="324"/>
                </a:lnTo>
                <a:lnTo>
                  <a:pt x="6155" y="321"/>
                </a:lnTo>
                <a:lnTo>
                  <a:pt x="6154" y="319"/>
                </a:lnTo>
                <a:lnTo>
                  <a:pt x="6154" y="314"/>
                </a:lnTo>
                <a:lnTo>
                  <a:pt x="6154" y="309"/>
                </a:lnTo>
                <a:lnTo>
                  <a:pt x="6153" y="307"/>
                </a:lnTo>
                <a:lnTo>
                  <a:pt x="6153" y="304"/>
                </a:lnTo>
                <a:lnTo>
                  <a:pt x="6144" y="302"/>
                </a:lnTo>
                <a:lnTo>
                  <a:pt x="6145" y="301"/>
                </a:lnTo>
                <a:lnTo>
                  <a:pt x="6145" y="300"/>
                </a:lnTo>
                <a:lnTo>
                  <a:pt x="6145" y="296"/>
                </a:lnTo>
                <a:lnTo>
                  <a:pt x="6144" y="288"/>
                </a:lnTo>
                <a:lnTo>
                  <a:pt x="6133" y="294"/>
                </a:lnTo>
                <a:lnTo>
                  <a:pt x="6127" y="297"/>
                </a:lnTo>
                <a:lnTo>
                  <a:pt x="6124" y="298"/>
                </a:lnTo>
                <a:lnTo>
                  <a:pt x="6122" y="299"/>
                </a:lnTo>
                <a:lnTo>
                  <a:pt x="6119" y="299"/>
                </a:lnTo>
                <a:lnTo>
                  <a:pt x="6116" y="298"/>
                </a:lnTo>
                <a:lnTo>
                  <a:pt x="6115" y="298"/>
                </a:lnTo>
                <a:lnTo>
                  <a:pt x="6114" y="296"/>
                </a:lnTo>
                <a:lnTo>
                  <a:pt x="6114" y="294"/>
                </a:lnTo>
                <a:lnTo>
                  <a:pt x="6115" y="294"/>
                </a:lnTo>
                <a:lnTo>
                  <a:pt x="6116" y="293"/>
                </a:lnTo>
                <a:lnTo>
                  <a:pt x="6109" y="292"/>
                </a:lnTo>
                <a:lnTo>
                  <a:pt x="6102" y="290"/>
                </a:lnTo>
                <a:lnTo>
                  <a:pt x="6095" y="290"/>
                </a:lnTo>
                <a:lnTo>
                  <a:pt x="6092" y="290"/>
                </a:lnTo>
                <a:lnTo>
                  <a:pt x="6088" y="290"/>
                </a:lnTo>
                <a:lnTo>
                  <a:pt x="6086" y="291"/>
                </a:lnTo>
                <a:lnTo>
                  <a:pt x="6084" y="293"/>
                </a:lnTo>
                <a:lnTo>
                  <a:pt x="6082" y="295"/>
                </a:lnTo>
                <a:lnTo>
                  <a:pt x="6079" y="296"/>
                </a:lnTo>
                <a:lnTo>
                  <a:pt x="6078" y="295"/>
                </a:lnTo>
                <a:lnTo>
                  <a:pt x="6078" y="293"/>
                </a:lnTo>
                <a:lnTo>
                  <a:pt x="6077" y="288"/>
                </a:lnTo>
                <a:lnTo>
                  <a:pt x="6051" y="288"/>
                </a:lnTo>
                <a:lnTo>
                  <a:pt x="6046" y="288"/>
                </a:lnTo>
                <a:lnTo>
                  <a:pt x="6041" y="288"/>
                </a:lnTo>
                <a:lnTo>
                  <a:pt x="6036" y="289"/>
                </a:lnTo>
                <a:lnTo>
                  <a:pt x="6032" y="290"/>
                </a:lnTo>
                <a:lnTo>
                  <a:pt x="6028" y="292"/>
                </a:lnTo>
                <a:lnTo>
                  <a:pt x="6025" y="294"/>
                </a:lnTo>
                <a:lnTo>
                  <a:pt x="6022" y="296"/>
                </a:lnTo>
                <a:lnTo>
                  <a:pt x="6019" y="299"/>
                </a:lnTo>
                <a:lnTo>
                  <a:pt x="6017" y="303"/>
                </a:lnTo>
                <a:lnTo>
                  <a:pt x="6015" y="307"/>
                </a:lnTo>
                <a:lnTo>
                  <a:pt x="6013" y="313"/>
                </a:lnTo>
                <a:lnTo>
                  <a:pt x="6012" y="319"/>
                </a:lnTo>
                <a:lnTo>
                  <a:pt x="6008" y="306"/>
                </a:lnTo>
                <a:lnTo>
                  <a:pt x="6004" y="293"/>
                </a:lnTo>
                <a:lnTo>
                  <a:pt x="5999" y="293"/>
                </a:lnTo>
                <a:lnTo>
                  <a:pt x="5997" y="292"/>
                </a:lnTo>
                <a:lnTo>
                  <a:pt x="5996" y="292"/>
                </a:lnTo>
                <a:lnTo>
                  <a:pt x="5995" y="292"/>
                </a:lnTo>
                <a:lnTo>
                  <a:pt x="5992" y="290"/>
                </a:lnTo>
                <a:lnTo>
                  <a:pt x="5993" y="288"/>
                </a:lnTo>
                <a:lnTo>
                  <a:pt x="5994" y="284"/>
                </a:lnTo>
                <a:lnTo>
                  <a:pt x="5995" y="281"/>
                </a:lnTo>
                <a:lnTo>
                  <a:pt x="5994" y="279"/>
                </a:lnTo>
                <a:lnTo>
                  <a:pt x="5994" y="278"/>
                </a:lnTo>
                <a:lnTo>
                  <a:pt x="5992" y="276"/>
                </a:lnTo>
                <a:lnTo>
                  <a:pt x="5995" y="276"/>
                </a:lnTo>
                <a:lnTo>
                  <a:pt x="5996" y="276"/>
                </a:lnTo>
                <a:lnTo>
                  <a:pt x="5997" y="276"/>
                </a:lnTo>
                <a:lnTo>
                  <a:pt x="5998" y="274"/>
                </a:lnTo>
                <a:lnTo>
                  <a:pt x="5990" y="268"/>
                </a:lnTo>
                <a:lnTo>
                  <a:pt x="5986" y="265"/>
                </a:lnTo>
                <a:lnTo>
                  <a:pt x="5981" y="262"/>
                </a:lnTo>
                <a:lnTo>
                  <a:pt x="5980" y="261"/>
                </a:lnTo>
                <a:lnTo>
                  <a:pt x="5979" y="258"/>
                </a:lnTo>
                <a:lnTo>
                  <a:pt x="5979" y="255"/>
                </a:lnTo>
                <a:lnTo>
                  <a:pt x="5978" y="254"/>
                </a:lnTo>
                <a:lnTo>
                  <a:pt x="5974" y="252"/>
                </a:lnTo>
                <a:lnTo>
                  <a:pt x="5970" y="252"/>
                </a:lnTo>
                <a:lnTo>
                  <a:pt x="5966" y="252"/>
                </a:lnTo>
                <a:lnTo>
                  <a:pt x="5964" y="252"/>
                </a:lnTo>
                <a:lnTo>
                  <a:pt x="5961" y="251"/>
                </a:lnTo>
                <a:lnTo>
                  <a:pt x="5956" y="245"/>
                </a:lnTo>
                <a:lnTo>
                  <a:pt x="5943" y="249"/>
                </a:lnTo>
                <a:lnTo>
                  <a:pt x="5934" y="252"/>
                </a:lnTo>
                <a:lnTo>
                  <a:pt x="5930" y="253"/>
                </a:lnTo>
                <a:lnTo>
                  <a:pt x="5928" y="254"/>
                </a:lnTo>
                <a:lnTo>
                  <a:pt x="5926" y="254"/>
                </a:lnTo>
                <a:lnTo>
                  <a:pt x="5925" y="253"/>
                </a:lnTo>
                <a:lnTo>
                  <a:pt x="5924" y="251"/>
                </a:lnTo>
                <a:lnTo>
                  <a:pt x="5923" y="249"/>
                </a:lnTo>
                <a:lnTo>
                  <a:pt x="5922" y="249"/>
                </a:lnTo>
                <a:lnTo>
                  <a:pt x="5922" y="248"/>
                </a:lnTo>
                <a:lnTo>
                  <a:pt x="5917" y="248"/>
                </a:lnTo>
                <a:lnTo>
                  <a:pt x="5911" y="248"/>
                </a:lnTo>
                <a:lnTo>
                  <a:pt x="5897" y="248"/>
                </a:lnTo>
                <a:lnTo>
                  <a:pt x="5888" y="254"/>
                </a:lnTo>
                <a:lnTo>
                  <a:pt x="5884" y="254"/>
                </a:lnTo>
                <a:lnTo>
                  <a:pt x="5881" y="254"/>
                </a:lnTo>
                <a:lnTo>
                  <a:pt x="5875" y="253"/>
                </a:lnTo>
                <a:lnTo>
                  <a:pt x="5873" y="252"/>
                </a:lnTo>
                <a:lnTo>
                  <a:pt x="5870" y="251"/>
                </a:lnTo>
                <a:lnTo>
                  <a:pt x="5866" y="251"/>
                </a:lnTo>
                <a:lnTo>
                  <a:pt x="5863" y="251"/>
                </a:lnTo>
                <a:lnTo>
                  <a:pt x="5857" y="257"/>
                </a:lnTo>
                <a:lnTo>
                  <a:pt x="5848" y="259"/>
                </a:lnTo>
                <a:lnTo>
                  <a:pt x="5837" y="260"/>
                </a:lnTo>
                <a:lnTo>
                  <a:pt x="5816" y="259"/>
                </a:lnTo>
                <a:lnTo>
                  <a:pt x="5807" y="259"/>
                </a:lnTo>
                <a:lnTo>
                  <a:pt x="5798" y="258"/>
                </a:lnTo>
                <a:lnTo>
                  <a:pt x="5784" y="257"/>
                </a:lnTo>
                <a:lnTo>
                  <a:pt x="5785" y="256"/>
                </a:lnTo>
                <a:lnTo>
                  <a:pt x="5786" y="256"/>
                </a:lnTo>
                <a:lnTo>
                  <a:pt x="5788" y="254"/>
                </a:lnTo>
                <a:lnTo>
                  <a:pt x="5790" y="251"/>
                </a:lnTo>
                <a:lnTo>
                  <a:pt x="5791" y="251"/>
                </a:lnTo>
                <a:lnTo>
                  <a:pt x="5792" y="251"/>
                </a:lnTo>
                <a:lnTo>
                  <a:pt x="5794" y="253"/>
                </a:lnTo>
                <a:lnTo>
                  <a:pt x="5797" y="254"/>
                </a:lnTo>
                <a:lnTo>
                  <a:pt x="5799" y="254"/>
                </a:lnTo>
                <a:lnTo>
                  <a:pt x="5801" y="254"/>
                </a:lnTo>
                <a:lnTo>
                  <a:pt x="5805" y="251"/>
                </a:lnTo>
                <a:lnTo>
                  <a:pt x="5811" y="245"/>
                </a:lnTo>
                <a:lnTo>
                  <a:pt x="5817" y="238"/>
                </a:lnTo>
                <a:lnTo>
                  <a:pt x="5821" y="234"/>
                </a:lnTo>
                <a:lnTo>
                  <a:pt x="5823" y="231"/>
                </a:lnTo>
                <a:lnTo>
                  <a:pt x="5824" y="228"/>
                </a:lnTo>
                <a:lnTo>
                  <a:pt x="5824" y="226"/>
                </a:lnTo>
                <a:lnTo>
                  <a:pt x="5824" y="225"/>
                </a:lnTo>
                <a:lnTo>
                  <a:pt x="5823" y="225"/>
                </a:lnTo>
                <a:lnTo>
                  <a:pt x="5820" y="227"/>
                </a:lnTo>
                <a:lnTo>
                  <a:pt x="5813" y="233"/>
                </a:lnTo>
                <a:lnTo>
                  <a:pt x="5809" y="237"/>
                </a:lnTo>
                <a:lnTo>
                  <a:pt x="5809" y="240"/>
                </a:lnTo>
                <a:lnTo>
                  <a:pt x="5807" y="240"/>
                </a:lnTo>
                <a:lnTo>
                  <a:pt x="5805" y="240"/>
                </a:lnTo>
                <a:lnTo>
                  <a:pt x="5803" y="239"/>
                </a:lnTo>
                <a:lnTo>
                  <a:pt x="5801" y="240"/>
                </a:lnTo>
                <a:lnTo>
                  <a:pt x="5796" y="237"/>
                </a:lnTo>
                <a:lnTo>
                  <a:pt x="5790" y="234"/>
                </a:lnTo>
                <a:lnTo>
                  <a:pt x="5790" y="232"/>
                </a:lnTo>
                <a:lnTo>
                  <a:pt x="5789" y="230"/>
                </a:lnTo>
                <a:lnTo>
                  <a:pt x="5790" y="229"/>
                </a:lnTo>
                <a:lnTo>
                  <a:pt x="5790" y="228"/>
                </a:lnTo>
                <a:lnTo>
                  <a:pt x="5791" y="228"/>
                </a:lnTo>
                <a:lnTo>
                  <a:pt x="5793" y="229"/>
                </a:lnTo>
                <a:lnTo>
                  <a:pt x="5795" y="229"/>
                </a:lnTo>
                <a:lnTo>
                  <a:pt x="5798" y="229"/>
                </a:lnTo>
                <a:lnTo>
                  <a:pt x="5804" y="231"/>
                </a:lnTo>
                <a:lnTo>
                  <a:pt x="5806" y="224"/>
                </a:lnTo>
                <a:lnTo>
                  <a:pt x="5809" y="217"/>
                </a:lnTo>
                <a:lnTo>
                  <a:pt x="5793" y="209"/>
                </a:lnTo>
                <a:lnTo>
                  <a:pt x="5784" y="205"/>
                </a:lnTo>
                <a:lnTo>
                  <a:pt x="5780" y="204"/>
                </a:lnTo>
                <a:lnTo>
                  <a:pt x="5776" y="203"/>
                </a:lnTo>
                <a:lnTo>
                  <a:pt x="5771" y="204"/>
                </a:lnTo>
                <a:lnTo>
                  <a:pt x="5769" y="205"/>
                </a:lnTo>
                <a:lnTo>
                  <a:pt x="5769" y="206"/>
                </a:lnTo>
                <a:lnTo>
                  <a:pt x="5770" y="206"/>
                </a:lnTo>
                <a:lnTo>
                  <a:pt x="5764" y="206"/>
                </a:lnTo>
                <a:lnTo>
                  <a:pt x="5759" y="205"/>
                </a:lnTo>
                <a:lnTo>
                  <a:pt x="5756" y="205"/>
                </a:lnTo>
                <a:lnTo>
                  <a:pt x="5753" y="206"/>
                </a:lnTo>
                <a:lnTo>
                  <a:pt x="5750" y="207"/>
                </a:lnTo>
                <a:lnTo>
                  <a:pt x="5748" y="209"/>
                </a:lnTo>
                <a:lnTo>
                  <a:pt x="5747" y="210"/>
                </a:lnTo>
                <a:lnTo>
                  <a:pt x="5747" y="213"/>
                </a:lnTo>
                <a:lnTo>
                  <a:pt x="5748" y="217"/>
                </a:lnTo>
                <a:lnTo>
                  <a:pt x="5746" y="221"/>
                </a:lnTo>
                <a:lnTo>
                  <a:pt x="5745" y="224"/>
                </a:lnTo>
                <a:lnTo>
                  <a:pt x="5743" y="228"/>
                </a:lnTo>
                <a:lnTo>
                  <a:pt x="5740" y="231"/>
                </a:lnTo>
                <a:lnTo>
                  <a:pt x="5738" y="234"/>
                </a:lnTo>
                <a:lnTo>
                  <a:pt x="5735" y="237"/>
                </a:lnTo>
                <a:lnTo>
                  <a:pt x="5731" y="239"/>
                </a:lnTo>
                <a:lnTo>
                  <a:pt x="5728" y="240"/>
                </a:lnTo>
                <a:lnTo>
                  <a:pt x="5721" y="241"/>
                </a:lnTo>
                <a:lnTo>
                  <a:pt x="5718" y="241"/>
                </a:lnTo>
                <a:lnTo>
                  <a:pt x="5717" y="241"/>
                </a:lnTo>
                <a:lnTo>
                  <a:pt x="5716" y="240"/>
                </a:lnTo>
                <a:lnTo>
                  <a:pt x="5716" y="239"/>
                </a:lnTo>
                <a:lnTo>
                  <a:pt x="5717" y="238"/>
                </a:lnTo>
                <a:lnTo>
                  <a:pt x="5719" y="237"/>
                </a:lnTo>
                <a:lnTo>
                  <a:pt x="5721" y="235"/>
                </a:lnTo>
                <a:lnTo>
                  <a:pt x="5725" y="231"/>
                </a:lnTo>
                <a:lnTo>
                  <a:pt x="5725" y="230"/>
                </a:lnTo>
                <a:lnTo>
                  <a:pt x="5723" y="228"/>
                </a:lnTo>
                <a:lnTo>
                  <a:pt x="5719" y="226"/>
                </a:lnTo>
                <a:lnTo>
                  <a:pt x="5727" y="220"/>
                </a:lnTo>
                <a:lnTo>
                  <a:pt x="5730" y="216"/>
                </a:lnTo>
                <a:lnTo>
                  <a:pt x="5734" y="214"/>
                </a:lnTo>
                <a:lnTo>
                  <a:pt x="5734" y="212"/>
                </a:lnTo>
                <a:lnTo>
                  <a:pt x="5735" y="214"/>
                </a:lnTo>
                <a:lnTo>
                  <a:pt x="5736" y="217"/>
                </a:lnTo>
                <a:lnTo>
                  <a:pt x="5738" y="219"/>
                </a:lnTo>
                <a:lnTo>
                  <a:pt x="5742" y="220"/>
                </a:lnTo>
                <a:lnTo>
                  <a:pt x="5741" y="219"/>
                </a:lnTo>
                <a:lnTo>
                  <a:pt x="5741" y="218"/>
                </a:lnTo>
                <a:lnTo>
                  <a:pt x="5742" y="214"/>
                </a:lnTo>
                <a:lnTo>
                  <a:pt x="5745" y="209"/>
                </a:lnTo>
                <a:lnTo>
                  <a:pt x="5734" y="209"/>
                </a:lnTo>
                <a:lnTo>
                  <a:pt x="5724" y="210"/>
                </a:lnTo>
                <a:lnTo>
                  <a:pt x="5704" y="212"/>
                </a:lnTo>
                <a:lnTo>
                  <a:pt x="5702" y="200"/>
                </a:lnTo>
                <a:lnTo>
                  <a:pt x="5711" y="200"/>
                </a:lnTo>
                <a:lnTo>
                  <a:pt x="5721" y="200"/>
                </a:lnTo>
                <a:lnTo>
                  <a:pt x="5724" y="200"/>
                </a:lnTo>
                <a:lnTo>
                  <a:pt x="5724" y="199"/>
                </a:lnTo>
                <a:lnTo>
                  <a:pt x="5721" y="197"/>
                </a:lnTo>
                <a:lnTo>
                  <a:pt x="5713" y="195"/>
                </a:lnTo>
                <a:lnTo>
                  <a:pt x="5705" y="193"/>
                </a:lnTo>
                <a:lnTo>
                  <a:pt x="5697" y="192"/>
                </a:lnTo>
                <a:lnTo>
                  <a:pt x="5680" y="191"/>
                </a:lnTo>
                <a:lnTo>
                  <a:pt x="5663" y="190"/>
                </a:lnTo>
                <a:lnTo>
                  <a:pt x="5659" y="190"/>
                </a:lnTo>
                <a:lnTo>
                  <a:pt x="5655" y="189"/>
                </a:lnTo>
                <a:lnTo>
                  <a:pt x="5648" y="186"/>
                </a:lnTo>
                <a:lnTo>
                  <a:pt x="5645" y="182"/>
                </a:lnTo>
                <a:lnTo>
                  <a:pt x="5644" y="179"/>
                </a:lnTo>
                <a:lnTo>
                  <a:pt x="5642" y="178"/>
                </a:lnTo>
                <a:lnTo>
                  <a:pt x="5640" y="178"/>
                </a:lnTo>
                <a:lnTo>
                  <a:pt x="5637" y="178"/>
                </a:lnTo>
                <a:lnTo>
                  <a:pt x="5634" y="178"/>
                </a:lnTo>
                <a:lnTo>
                  <a:pt x="5632" y="178"/>
                </a:lnTo>
                <a:lnTo>
                  <a:pt x="5631" y="178"/>
                </a:lnTo>
                <a:lnTo>
                  <a:pt x="5631" y="184"/>
                </a:lnTo>
                <a:lnTo>
                  <a:pt x="5634" y="183"/>
                </a:lnTo>
                <a:lnTo>
                  <a:pt x="5636" y="184"/>
                </a:lnTo>
                <a:lnTo>
                  <a:pt x="5637" y="185"/>
                </a:lnTo>
                <a:lnTo>
                  <a:pt x="5638" y="186"/>
                </a:lnTo>
                <a:lnTo>
                  <a:pt x="5638" y="189"/>
                </a:lnTo>
                <a:lnTo>
                  <a:pt x="5639" y="191"/>
                </a:lnTo>
                <a:lnTo>
                  <a:pt x="5640" y="192"/>
                </a:lnTo>
                <a:lnTo>
                  <a:pt x="5633" y="192"/>
                </a:lnTo>
                <a:lnTo>
                  <a:pt x="5629" y="192"/>
                </a:lnTo>
                <a:lnTo>
                  <a:pt x="5625" y="192"/>
                </a:lnTo>
                <a:lnTo>
                  <a:pt x="5620" y="192"/>
                </a:lnTo>
                <a:lnTo>
                  <a:pt x="5617" y="200"/>
                </a:lnTo>
                <a:lnTo>
                  <a:pt x="5618" y="200"/>
                </a:lnTo>
                <a:lnTo>
                  <a:pt x="5620" y="200"/>
                </a:lnTo>
                <a:lnTo>
                  <a:pt x="5622" y="201"/>
                </a:lnTo>
                <a:lnTo>
                  <a:pt x="5624" y="202"/>
                </a:lnTo>
                <a:lnTo>
                  <a:pt x="5625" y="203"/>
                </a:lnTo>
                <a:lnTo>
                  <a:pt x="5625" y="204"/>
                </a:lnTo>
                <a:lnTo>
                  <a:pt x="5624" y="206"/>
                </a:lnTo>
                <a:lnTo>
                  <a:pt x="5621" y="206"/>
                </a:lnTo>
                <a:lnTo>
                  <a:pt x="5617" y="206"/>
                </a:lnTo>
                <a:lnTo>
                  <a:pt x="5616" y="213"/>
                </a:lnTo>
                <a:lnTo>
                  <a:pt x="5615" y="217"/>
                </a:lnTo>
                <a:lnTo>
                  <a:pt x="5616" y="218"/>
                </a:lnTo>
                <a:lnTo>
                  <a:pt x="5617" y="217"/>
                </a:lnTo>
                <a:lnTo>
                  <a:pt x="5619" y="221"/>
                </a:lnTo>
                <a:lnTo>
                  <a:pt x="5620" y="224"/>
                </a:lnTo>
                <a:lnTo>
                  <a:pt x="5622" y="226"/>
                </a:lnTo>
                <a:lnTo>
                  <a:pt x="5623" y="229"/>
                </a:lnTo>
                <a:lnTo>
                  <a:pt x="5623" y="230"/>
                </a:lnTo>
                <a:lnTo>
                  <a:pt x="5623" y="231"/>
                </a:lnTo>
                <a:lnTo>
                  <a:pt x="5622" y="232"/>
                </a:lnTo>
                <a:lnTo>
                  <a:pt x="5621" y="234"/>
                </a:lnTo>
                <a:lnTo>
                  <a:pt x="5619" y="235"/>
                </a:lnTo>
                <a:lnTo>
                  <a:pt x="5616" y="236"/>
                </a:lnTo>
                <a:lnTo>
                  <a:pt x="5612" y="237"/>
                </a:lnTo>
                <a:lnTo>
                  <a:pt x="5609" y="234"/>
                </a:lnTo>
                <a:lnTo>
                  <a:pt x="5610" y="235"/>
                </a:lnTo>
                <a:lnTo>
                  <a:pt x="5610" y="236"/>
                </a:lnTo>
                <a:lnTo>
                  <a:pt x="5609" y="237"/>
                </a:lnTo>
                <a:lnTo>
                  <a:pt x="5608" y="237"/>
                </a:lnTo>
                <a:lnTo>
                  <a:pt x="5603" y="237"/>
                </a:lnTo>
                <a:lnTo>
                  <a:pt x="5603" y="226"/>
                </a:lnTo>
                <a:lnTo>
                  <a:pt x="5599" y="225"/>
                </a:lnTo>
                <a:lnTo>
                  <a:pt x="5596" y="225"/>
                </a:lnTo>
                <a:lnTo>
                  <a:pt x="5594" y="226"/>
                </a:lnTo>
                <a:lnTo>
                  <a:pt x="5593" y="227"/>
                </a:lnTo>
                <a:lnTo>
                  <a:pt x="5592" y="229"/>
                </a:lnTo>
                <a:lnTo>
                  <a:pt x="5592" y="231"/>
                </a:lnTo>
                <a:lnTo>
                  <a:pt x="5592" y="235"/>
                </a:lnTo>
                <a:lnTo>
                  <a:pt x="5592" y="239"/>
                </a:lnTo>
                <a:lnTo>
                  <a:pt x="5591" y="241"/>
                </a:lnTo>
                <a:lnTo>
                  <a:pt x="5590" y="243"/>
                </a:lnTo>
                <a:lnTo>
                  <a:pt x="5588" y="244"/>
                </a:lnTo>
                <a:lnTo>
                  <a:pt x="5586" y="245"/>
                </a:lnTo>
                <a:lnTo>
                  <a:pt x="5582" y="245"/>
                </a:lnTo>
                <a:lnTo>
                  <a:pt x="5578" y="245"/>
                </a:lnTo>
                <a:lnTo>
                  <a:pt x="5575" y="245"/>
                </a:lnTo>
                <a:lnTo>
                  <a:pt x="5573" y="243"/>
                </a:lnTo>
                <a:lnTo>
                  <a:pt x="5567" y="239"/>
                </a:lnTo>
                <a:lnTo>
                  <a:pt x="5562" y="234"/>
                </a:lnTo>
                <a:lnTo>
                  <a:pt x="5558" y="231"/>
                </a:lnTo>
                <a:lnTo>
                  <a:pt x="5553" y="229"/>
                </a:lnTo>
                <a:lnTo>
                  <a:pt x="5548" y="228"/>
                </a:lnTo>
                <a:lnTo>
                  <a:pt x="5544" y="227"/>
                </a:lnTo>
                <a:lnTo>
                  <a:pt x="5538" y="226"/>
                </a:lnTo>
                <a:lnTo>
                  <a:pt x="5538" y="225"/>
                </a:lnTo>
                <a:lnTo>
                  <a:pt x="5537" y="223"/>
                </a:lnTo>
                <a:lnTo>
                  <a:pt x="5536" y="221"/>
                </a:lnTo>
                <a:lnTo>
                  <a:pt x="5536" y="220"/>
                </a:lnTo>
                <a:lnTo>
                  <a:pt x="5534" y="220"/>
                </a:lnTo>
                <a:lnTo>
                  <a:pt x="5531" y="220"/>
                </a:lnTo>
                <a:lnTo>
                  <a:pt x="5527" y="220"/>
                </a:lnTo>
                <a:lnTo>
                  <a:pt x="5526" y="221"/>
                </a:lnTo>
                <a:lnTo>
                  <a:pt x="5525" y="222"/>
                </a:lnTo>
                <a:lnTo>
                  <a:pt x="5522" y="225"/>
                </a:lnTo>
                <a:lnTo>
                  <a:pt x="5518" y="229"/>
                </a:lnTo>
                <a:lnTo>
                  <a:pt x="5516" y="231"/>
                </a:lnTo>
                <a:lnTo>
                  <a:pt x="5514" y="232"/>
                </a:lnTo>
                <a:lnTo>
                  <a:pt x="5511" y="233"/>
                </a:lnTo>
                <a:lnTo>
                  <a:pt x="5506" y="234"/>
                </a:lnTo>
                <a:lnTo>
                  <a:pt x="5501" y="235"/>
                </a:lnTo>
                <a:lnTo>
                  <a:pt x="5496" y="237"/>
                </a:lnTo>
                <a:lnTo>
                  <a:pt x="5496" y="234"/>
                </a:lnTo>
                <a:lnTo>
                  <a:pt x="5497" y="233"/>
                </a:lnTo>
                <a:lnTo>
                  <a:pt x="5498" y="230"/>
                </a:lnTo>
                <a:lnTo>
                  <a:pt x="5499" y="229"/>
                </a:lnTo>
                <a:lnTo>
                  <a:pt x="5499" y="228"/>
                </a:lnTo>
                <a:lnTo>
                  <a:pt x="5500" y="226"/>
                </a:lnTo>
                <a:lnTo>
                  <a:pt x="5499" y="223"/>
                </a:lnTo>
                <a:lnTo>
                  <a:pt x="5493" y="223"/>
                </a:lnTo>
                <a:lnTo>
                  <a:pt x="5491" y="217"/>
                </a:lnTo>
                <a:lnTo>
                  <a:pt x="5488" y="212"/>
                </a:lnTo>
                <a:lnTo>
                  <a:pt x="5485" y="225"/>
                </a:lnTo>
                <a:lnTo>
                  <a:pt x="5481" y="241"/>
                </a:lnTo>
                <a:lnTo>
                  <a:pt x="5479" y="249"/>
                </a:lnTo>
                <a:lnTo>
                  <a:pt x="5477" y="253"/>
                </a:lnTo>
                <a:lnTo>
                  <a:pt x="5476" y="256"/>
                </a:lnTo>
                <a:lnTo>
                  <a:pt x="5474" y="259"/>
                </a:lnTo>
                <a:lnTo>
                  <a:pt x="5472" y="262"/>
                </a:lnTo>
                <a:lnTo>
                  <a:pt x="5470" y="264"/>
                </a:lnTo>
                <a:lnTo>
                  <a:pt x="5468" y="265"/>
                </a:lnTo>
                <a:lnTo>
                  <a:pt x="5464" y="266"/>
                </a:lnTo>
                <a:lnTo>
                  <a:pt x="5462" y="266"/>
                </a:lnTo>
                <a:lnTo>
                  <a:pt x="5461" y="264"/>
                </a:lnTo>
                <a:lnTo>
                  <a:pt x="5461" y="262"/>
                </a:lnTo>
                <a:lnTo>
                  <a:pt x="5462" y="257"/>
                </a:lnTo>
                <a:lnTo>
                  <a:pt x="5463" y="255"/>
                </a:lnTo>
                <a:lnTo>
                  <a:pt x="5462" y="254"/>
                </a:lnTo>
                <a:lnTo>
                  <a:pt x="5465" y="254"/>
                </a:lnTo>
                <a:lnTo>
                  <a:pt x="5465" y="253"/>
                </a:lnTo>
                <a:lnTo>
                  <a:pt x="5466" y="253"/>
                </a:lnTo>
                <a:lnTo>
                  <a:pt x="5465" y="250"/>
                </a:lnTo>
                <a:lnTo>
                  <a:pt x="5465" y="248"/>
                </a:lnTo>
                <a:lnTo>
                  <a:pt x="5463" y="248"/>
                </a:lnTo>
                <a:lnTo>
                  <a:pt x="5462" y="250"/>
                </a:lnTo>
                <a:lnTo>
                  <a:pt x="5460" y="251"/>
                </a:lnTo>
                <a:lnTo>
                  <a:pt x="5459" y="251"/>
                </a:lnTo>
                <a:lnTo>
                  <a:pt x="5457" y="251"/>
                </a:lnTo>
                <a:lnTo>
                  <a:pt x="5456" y="251"/>
                </a:lnTo>
                <a:lnTo>
                  <a:pt x="5455" y="250"/>
                </a:lnTo>
                <a:lnTo>
                  <a:pt x="5452" y="247"/>
                </a:lnTo>
                <a:lnTo>
                  <a:pt x="5448" y="243"/>
                </a:lnTo>
                <a:lnTo>
                  <a:pt x="5446" y="242"/>
                </a:lnTo>
                <a:lnTo>
                  <a:pt x="5443" y="243"/>
                </a:lnTo>
                <a:lnTo>
                  <a:pt x="5440" y="243"/>
                </a:lnTo>
                <a:lnTo>
                  <a:pt x="5437" y="243"/>
                </a:lnTo>
                <a:lnTo>
                  <a:pt x="5438" y="244"/>
                </a:lnTo>
                <a:lnTo>
                  <a:pt x="5437" y="243"/>
                </a:lnTo>
                <a:lnTo>
                  <a:pt x="5434" y="240"/>
                </a:lnTo>
                <a:lnTo>
                  <a:pt x="5426" y="231"/>
                </a:lnTo>
                <a:lnTo>
                  <a:pt x="5424" y="232"/>
                </a:lnTo>
                <a:lnTo>
                  <a:pt x="5422" y="234"/>
                </a:lnTo>
                <a:lnTo>
                  <a:pt x="5420" y="235"/>
                </a:lnTo>
                <a:lnTo>
                  <a:pt x="5419" y="235"/>
                </a:lnTo>
                <a:lnTo>
                  <a:pt x="5417" y="234"/>
                </a:lnTo>
                <a:lnTo>
                  <a:pt x="5417" y="226"/>
                </a:lnTo>
                <a:lnTo>
                  <a:pt x="5419" y="226"/>
                </a:lnTo>
                <a:lnTo>
                  <a:pt x="5422" y="226"/>
                </a:lnTo>
                <a:lnTo>
                  <a:pt x="5424" y="226"/>
                </a:lnTo>
                <a:lnTo>
                  <a:pt x="5426" y="226"/>
                </a:lnTo>
                <a:lnTo>
                  <a:pt x="5427" y="225"/>
                </a:lnTo>
                <a:lnTo>
                  <a:pt x="5427" y="224"/>
                </a:lnTo>
                <a:lnTo>
                  <a:pt x="5427" y="223"/>
                </a:lnTo>
                <a:lnTo>
                  <a:pt x="5426" y="222"/>
                </a:lnTo>
                <a:lnTo>
                  <a:pt x="5423" y="220"/>
                </a:lnTo>
                <a:lnTo>
                  <a:pt x="5424" y="219"/>
                </a:lnTo>
                <a:lnTo>
                  <a:pt x="5421" y="221"/>
                </a:lnTo>
                <a:lnTo>
                  <a:pt x="5415" y="222"/>
                </a:lnTo>
                <a:lnTo>
                  <a:pt x="5413" y="223"/>
                </a:lnTo>
                <a:lnTo>
                  <a:pt x="5412" y="223"/>
                </a:lnTo>
                <a:lnTo>
                  <a:pt x="5411" y="222"/>
                </a:lnTo>
                <a:lnTo>
                  <a:pt x="5411" y="221"/>
                </a:lnTo>
                <a:lnTo>
                  <a:pt x="5410" y="217"/>
                </a:lnTo>
                <a:lnTo>
                  <a:pt x="5410" y="214"/>
                </a:lnTo>
                <a:lnTo>
                  <a:pt x="5409" y="212"/>
                </a:lnTo>
                <a:lnTo>
                  <a:pt x="5404" y="208"/>
                </a:lnTo>
                <a:lnTo>
                  <a:pt x="5398" y="206"/>
                </a:lnTo>
                <a:lnTo>
                  <a:pt x="5392" y="203"/>
                </a:lnTo>
                <a:lnTo>
                  <a:pt x="5389" y="202"/>
                </a:lnTo>
                <a:lnTo>
                  <a:pt x="5387" y="200"/>
                </a:lnTo>
                <a:lnTo>
                  <a:pt x="5384" y="214"/>
                </a:lnTo>
                <a:lnTo>
                  <a:pt x="5381" y="213"/>
                </a:lnTo>
                <a:lnTo>
                  <a:pt x="5380" y="211"/>
                </a:lnTo>
                <a:lnTo>
                  <a:pt x="5380" y="210"/>
                </a:lnTo>
                <a:lnTo>
                  <a:pt x="5380" y="208"/>
                </a:lnTo>
                <a:lnTo>
                  <a:pt x="5380" y="205"/>
                </a:lnTo>
                <a:lnTo>
                  <a:pt x="5381" y="200"/>
                </a:lnTo>
                <a:lnTo>
                  <a:pt x="5381" y="195"/>
                </a:lnTo>
                <a:lnTo>
                  <a:pt x="5379" y="195"/>
                </a:lnTo>
                <a:lnTo>
                  <a:pt x="5378" y="195"/>
                </a:lnTo>
                <a:lnTo>
                  <a:pt x="5377" y="196"/>
                </a:lnTo>
                <a:lnTo>
                  <a:pt x="5377" y="197"/>
                </a:lnTo>
                <a:lnTo>
                  <a:pt x="5376" y="200"/>
                </a:lnTo>
                <a:lnTo>
                  <a:pt x="5375" y="203"/>
                </a:lnTo>
                <a:lnTo>
                  <a:pt x="5370" y="203"/>
                </a:lnTo>
                <a:lnTo>
                  <a:pt x="5366" y="203"/>
                </a:lnTo>
                <a:lnTo>
                  <a:pt x="5364" y="203"/>
                </a:lnTo>
                <a:lnTo>
                  <a:pt x="5366" y="203"/>
                </a:lnTo>
                <a:lnTo>
                  <a:pt x="5368" y="201"/>
                </a:lnTo>
                <a:lnTo>
                  <a:pt x="5369" y="199"/>
                </a:lnTo>
                <a:lnTo>
                  <a:pt x="5370" y="197"/>
                </a:lnTo>
                <a:lnTo>
                  <a:pt x="5370" y="195"/>
                </a:lnTo>
                <a:lnTo>
                  <a:pt x="5370" y="194"/>
                </a:lnTo>
                <a:lnTo>
                  <a:pt x="5369" y="193"/>
                </a:lnTo>
                <a:lnTo>
                  <a:pt x="5368" y="193"/>
                </a:lnTo>
                <a:lnTo>
                  <a:pt x="5367" y="192"/>
                </a:lnTo>
                <a:lnTo>
                  <a:pt x="5364" y="192"/>
                </a:lnTo>
                <a:lnTo>
                  <a:pt x="5359" y="193"/>
                </a:lnTo>
                <a:lnTo>
                  <a:pt x="5356" y="194"/>
                </a:lnTo>
                <a:lnTo>
                  <a:pt x="5354" y="195"/>
                </a:lnTo>
                <a:lnTo>
                  <a:pt x="5350" y="198"/>
                </a:lnTo>
                <a:lnTo>
                  <a:pt x="5346" y="192"/>
                </a:lnTo>
                <a:lnTo>
                  <a:pt x="5345" y="189"/>
                </a:lnTo>
                <a:lnTo>
                  <a:pt x="5347" y="189"/>
                </a:lnTo>
                <a:lnTo>
                  <a:pt x="5345" y="188"/>
                </a:lnTo>
                <a:lnTo>
                  <a:pt x="5345" y="187"/>
                </a:lnTo>
                <a:lnTo>
                  <a:pt x="5346" y="187"/>
                </a:lnTo>
                <a:lnTo>
                  <a:pt x="5350" y="186"/>
                </a:lnTo>
                <a:lnTo>
                  <a:pt x="5342" y="185"/>
                </a:lnTo>
                <a:lnTo>
                  <a:pt x="5341" y="184"/>
                </a:lnTo>
                <a:lnTo>
                  <a:pt x="5341" y="183"/>
                </a:lnTo>
                <a:lnTo>
                  <a:pt x="5342" y="182"/>
                </a:lnTo>
                <a:lnTo>
                  <a:pt x="5344" y="181"/>
                </a:lnTo>
                <a:lnTo>
                  <a:pt x="5344" y="175"/>
                </a:lnTo>
                <a:lnTo>
                  <a:pt x="5349" y="174"/>
                </a:lnTo>
                <a:lnTo>
                  <a:pt x="5354" y="173"/>
                </a:lnTo>
                <a:lnTo>
                  <a:pt x="5359" y="172"/>
                </a:lnTo>
                <a:lnTo>
                  <a:pt x="5362" y="171"/>
                </a:lnTo>
                <a:lnTo>
                  <a:pt x="5364" y="169"/>
                </a:lnTo>
                <a:lnTo>
                  <a:pt x="5366" y="168"/>
                </a:lnTo>
                <a:lnTo>
                  <a:pt x="5367" y="166"/>
                </a:lnTo>
                <a:lnTo>
                  <a:pt x="5370" y="162"/>
                </a:lnTo>
                <a:lnTo>
                  <a:pt x="5373" y="157"/>
                </a:lnTo>
                <a:lnTo>
                  <a:pt x="5375" y="153"/>
                </a:lnTo>
                <a:lnTo>
                  <a:pt x="5369" y="151"/>
                </a:lnTo>
                <a:lnTo>
                  <a:pt x="5364" y="150"/>
                </a:lnTo>
                <a:lnTo>
                  <a:pt x="5360" y="149"/>
                </a:lnTo>
                <a:lnTo>
                  <a:pt x="5358" y="148"/>
                </a:lnTo>
                <a:lnTo>
                  <a:pt x="5356" y="147"/>
                </a:lnTo>
                <a:lnTo>
                  <a:pt x="5353" y="144"/>
                </a:lnTo>
                <a:lnTo>
                  <a:pt x="5349" y="141"/>
                </a:lnTo>
                <a:lnTo>
                  <a:pt x="5345" y="137"/>
                </a:lnTo>
                <a:lnTo>
                  <a:pt x="5343" y="136"/>
                </a:lnTo>
                <a:lnTo>
                  <a:pt x="5342" y="136"/>
                </a:lnTo>
                <a:lnTo>
                  <a:pt x="5338" y="135"/>
                </a:lnTo>
                <a:lnTo>
                  <a:pt x="5334" y="135"/>
                </a:lnTo>
                <a:lnTo>
                  <a:pt x="5331" y="136"/>
                </a:lnTo>
                <a:lnTo>
                  <a:pt x="5328" y="137"/>
                </a:lnTo>
                <a:lnTo>
                  <a:pt x="5323" y="139"/>
                </a:lnTo>
                <a:lnTo>
                  <a:pt x="5319" y="141"/>
                </a:lnTo>
                <a:lnTo>
                  <a:pt x="5317" y="142"/>
                </a:lnTo>
                <a:lnTo>
                  <a:pt x="5315" y="141"/>
                </a:lnTo>
                <a:lnTo>
                  <a:pt x="5313" y="141"/>
                </a:lnTo>
                <a:lnTo>
                  <a:pt x="5311" y="141"/>
                </a:lnTo>
                <a:lnTo>
                  <a:pt x="5310" y="143"/>
                </a:lnTo>
                <a:lnTo>
                  <a:pt x="5309" y="147"/>
                </a:lnTo>
                <a:lnTo>
                  <a:pt x="5308" y="151"/>
                </a:lnTo>
                <a:lnTo>
                  <a:pt x="5308" y="153"/>
                </a:lnTo>
                <a:lnTo>
                  <a:pt x="5310" y="156"/>
                </a:lnTo>
                <a:lnTo>
                  <a:pt x="5313" y="159"/>
                </a:lnTo>
                <a:lnTo>
                  <a:pt x="5316" y="161"/>
                </a:lnTo>
                <a:lnTo>
                  <a:pt x="5316" y="167"/>
                </a:lnTo>
                <a:lnTo>
                  <a:pt x="5319" y="167"/>
                </a:lnTo>
                <a:lnTo>
                  <a:pt x="5321" y="168"/>
                </a:lnTo>
                <a:lnTo>
                  <a:pt x="5326" y="169"/>
                </a:lnTo>
                <a:lnTo>
                  <a:pt x="5332" y="169"/>
                </a:lnTo>
                <a:lnTo>
                  <a:pt x="5336" y="169"/>
                </a:lnTo>
                <a:lnTo>
                  <a:pt x="5335" y="170"/>
                </a:lnTo>
                <a:lnTo>
                  <a:pt x="5335" y="171"/>
                </a:lnTo>
                <a:lnTo>
                  <a:pt x="5335" y="174"/>
                </a:lnTo>
                <a:lnTo>
                  <a:pt x="5335" y="175"/>
                </a:lnTo>
                <a:lnTo>
                  <a:pt x="5334" y="176"/>
                </a:lnTo>
                <a:lnTo>
                  <a:pt x="5333" y="176"/>
                </a:lnTo>
                <a:lnTo>
                  <a:pt x="5330" y="175"/>
                </a:lnTo>
                <a:lnTo>
                  <a:pt x="5333" y="181"/>
                </a:lnTo>
                <a:lnTo>
                  <a:pt x="5334" y="182"/>
                </a:lnTo>
                <a:lnTo>
                  <a:pt x="5334" y="183"/>
                </a:lnTo>
                <a:lnTo>
                  <a:pt x="5332" y="183"/>
                </a:lnTo>
                <a:lnTo>
                  <a:pt x="5328" y="182"/>
                </a:lnTo>
                <a:lnTo>
                  <a:pt x="5325" y="181"/>
                </a:lnTo>
                <a:lnTo>
                  <a:pt x="5322" y="181"/>
                </a:lnTo>
                <a:lnTo>
                  <a:pt x="5325" y="189"/>
                </a:lnTo>
                <a:lnTo>
                  <a:pt x="5318" y="189"/>
                </a:lnTo>
                <a:lnTo>
                  <a:pt x="5313" y="189"/>
                </a:lnTo>
                <a:lnTo>
                  <a:pt x="5308" y="187"/>
                </a:lnTo>
                <a:lnTo>
                  <a:pt x="5303" y="185"/>
                </a:lnTo>
                <a:lnTo>
                  <a:pt x="5295" y="181"/>
                </a:lnTo>
                <a:lnTo>
                  <a:pt x="5290" y="179"/>
                </a:lnTo>
                <a:lnTo>
                  <a:pt x="5285" y="178"/>
                </a:lnTo>
                <a:lnTo>
                  <a:pt x="5280" y="177"/>
                </a:lnTo>
                <a:lnTo>
                  <a:pt x="5276" y="178"/>
                </a:lnTo>
                <a:lnTo>
                  <a:pt x="5272" y="178"/>
                </a:lnTo>
                <a:lnTo>
                  <a:pt x="5268" y="179"/>
                </a:lnTo>
                <a:lnTo>
                  <a:pt x="5261" y="181"/>
                </a:lnTo>
                <a:lnTo>
                  <a:pt x="5257" y="181"/>
                </a:lnTo>
                <a:lnTo>
                  <a:pt x="5252" y="181"/>
                </a:lnTo>
                <a:lnTo>
                  <a:pt x="5249" y="175"/>
                </a:lnTo>
                <a:lnTo>
                  <a:pt x="5241" y="174"/>
                </a:lnTo>
                <a:lnTo>
                  <a:pt x="5235" y="174"/>
                </a:lnTo>
                <a:lnTo>
                  <a:pt x="5229" y="172"/>
                </a:lnTo>
                <a:lnTo>
                  <a:pt x="5230" y="172"/>
                </a:lnTo>
                <a:lnTo>
                  <a:pt x="5229" y="171"/>
                </a:lnTo>
                <a:lnTo>
                  <a:pt x="5227" y="169"/>
                </a:lnTo>
                <a:lnTo>
                  <a:pt x="5223" y="167"/>
                </a:lnTo>
                <a:lnTo>
                  <a:pt x="5224" y="165"/>
                </a:lnTo>
                <a:lnTo>
                  <a:pt x="5226" y="163"/>
                </a:lnTo>
                <a:lnTo>
                  <a:pt x="5226" y="161"/>
                </a:lnTo>
                <a:lnTo>
                  <a:pt x="5226" y="158"/>
                </a:lnTo>
                <a:lnTo>
                  <a:pt x="5228" y="159"/>
                </a:lnTo>
                <a:lnTo>
                  <a:pt x="5228" y="158"/>
                </a:lnTo>
                <a:lnTo>
                  <a:pt x="5227" y="154"/>
                </a:lnTo>
                <a:lnTo>
                  <a:pt x="5223" y="147"/>
                </a:lnTo>
                <a:lnTo>
                  <a:pt x="5218" y="147"/>
                </a:lnTo>
                <a:lnTo>
                  <a:pt x="5211" y="149"/>
                </a:lnTo>
                <a:lnTo>
                  <a:pt x="5203" y="150"/>
                </a:lnTo>
                <a:lnTo>
                  <a:pt x="5195" y="150"/>
                </a:lnTo>
                <a:lnTo>
                  <a:pt x="5192" y="144"/>
                </a:lnTo>
                <a:lnTo>
                  <a:pt x="5191" y="144"/>
                </a:lnTo>
                <a:lnTo>
                  <a:pt x="5190" y="144"/>
                </a:lnTo>
                <a:lnTo>
                  <a:pt x="5188" y="146"/>
                </a:lnTo>
                <a:lnTo>
                  <a:pt x="5185" y="147"/>
                </a:lnTo>
                <a:lnTo>
                  <a:pt x="5183" y="147"/>
                </a:lnTo>
                <a:lnTo>
                  <a:pt x="5181" y="147"/>
                </a:lnTo>
                <a:lnTo>
                  <a:pt x="5173" y="141"/>
                </a:lnTo>
                <a:lnTo>
                  <a:pt x="5168" y="142"/>
                </a:lnTo>
                <a:lnTo>
                  <a:pt x="5162" y="144"/>
                </a:lnTo>
                <a:lnTo>
                  <a:pt x="5156" y="147"/>
                </a:lnTo>
                <a:lnTo>
                  <a:pt x="5150" y="150"/>
                </a:lnTo>
                <a:lnTo>
                  <a:pt x="5144" y="154"/>
                </a:lnTo>
                <a:lnTo>
                  <a:pt x="5139" y="158"/>
                </a:lnTo>
                <a:lnTo>
                  <a:pt x="5135" y="161"/>
                </a:lnTo>
                <a:lnTo>
                  <a:pt x="5133" y="164"/>
                </a:lnTo>
                <a:lnTo>
                  <a:pt x="5133" y="166"/>
                </a:lnTo>
                <a:lnTo>
                  <a:pt x="5134" y="168"/>
                </a:lnTo>
                <a:lnTo>
                  <a:pt x="5134" y="171"/>
                </a:lnTo>
                <a:lnTo>
                  <a:pt x="5134" y="172"/>
                </a:lnTo>
                <a:lnTo>
                  <a:pt x="5133" y="172"/>
                </a:lnTo>
                <a:lnTo>
                  <a:pt x="5133" y="173"/>
                </a:lnTo>
                <a:lnTo>
                  <a:pt x="5132" y="173"/>
                </a:lnTo>
                <a:lnTo>
                  <a:pt x="5131" y="172"/>
                </a:lnTo>
                <a:lnTo>
                  <a:pt x="5131" y="171"/>
                </a:lnTo>
                <a:lnTo>
                  <a:pt x="5130" y="168"/>
                </a:lnTo>
                <a:lnTo>
                  <a:pt x="5130" y="164"/>
                </a:lnTo>
                <a:lnTo>
                  <a:pt x="5130" y="155"/>
                </a:lnTo>
                <a:lnTo>
                  <a:pt x="5131" y="150"/>
                </a:lnTo>
                <a:lnTo>
                  <a:pt x="5129" y="151"/>
                </a:lnTo>
                <a:lnTo>
                  <a:pt x="5127" y="151"/>
                </a:lnTo>
                <a:lnTo>
                  <a:pt x="5126" y="150"/>
                </a:lnTo>
                <a:lnTo>
                  <a:pt x="5126" y="149"/>
                </a:lnTo>
                <a:lnTo>
                  <a:pt x="5125" y="147"/>
                </a:lnTo>
                <a:lnTo>
                  <a:pt x="5124" y="147"/>
                </a:lnTo>
                <a:lnTo>
                  <a:pt x="5122" y="147"/>
                </a:lnTo>
                <a:lnTo>
                  <a:pt x="5122" y="152"/>
                </a:lnTo>
                <a:lnTo>
                  <a:pt x="5122" y="158"/>
                </a:lnTo>
                <a:lnTo>
                  <a:pt x="5108" y="157"/>
                </a:lnTo>
                <a:lnTo>
                  <a:pt x="5104" y="156"/>
                </a:lnTo>
                <a:lnTo>
                  <a:pt x="5101" y="155"/>
                </a:lnTo>
                <a:lnTo>
                  <a:pt x="5099" y="154"/>
                </a:lnTo>
                <a:lnTo>
                  <a:pt x="5096" y="151"/>
                </a:lnTo>
                <a:lnTo>
                  <a:pt x="5091" y="141"/>
                </a:lnTo>
                <a:lnTo>
                  <a:pt x="5092" y="142"/>
                </a:lnTo>
                <a:lnTo>
                  <a:pt x="5092" y="143"/>
                </a:lnTo>
                <a:lnTo>
                  <a:pt x="5091" y="146"/>
                </a:lnTo>
                <a:lnTo>
                  <a:pt x="5088" y="150"/>
                </a:lnTo>
                <a:lnTo>
                  <a:pt x="5083" y="147"/>
                </a:lnTo>
                <a:lnTo>
                  <a:pt x="5077" y="144"/>
                </a:lnTo>
                <a:lnTo>
                  <a:pt x="5073" y="151"/>
                </a:lnTo>
                <a:lnTo>
                  <a:pt x="5071" y="154"/>
                </a:lnTo>
                <a:lnTo>
                  <a:pt x="5069" y="157"/>
                </a:lnTo>
                <a:lnTo>
                  <a:pt x="5069" y="160"/>
                </a:lnTo>
                <a:lnTo>
                  <a:pt x="5069" y="161"/>
                </a:lnTo>
                <a:lnTo>
                  <a:pt x="5069" y="163"/>
                </a:lnTo>
                <a:lnTo>
                  <a:pt x="5072" y="165"/>
                </a:lnTo>
                <a:lnTo>
                  <a:pt x="5074" y="166"/>
                </a:lnTo>
                <a:lnTo>
                  <a:pt x="5077" y="167"/>
                </a:lnTo>
                <a:lnTo>
                  <a:pt x="5075" y="169"/>
                </a:lnTo>
                <a:lnTo>
                  <a:pt x="5074" y="171"/>
                </a:lnTo>
                <a:lnTo>
                  <a:pt x="5074" y="172"/>
                </a:lnTo>
                <a:lnTo>
                  <a:pt x="5066" y="169"/>
                </a:lnTo>
                <a:lnTo>
                  <a:pt x="5060" y="167"/>
                </a:lnTo>
                <a:lnTo>
                  <a:pt x="5061" y="169"/>
                </a:lnTo>
                <a:lnTo>
                  <a:pt x="5062" y="172"/>
                </a:lnTo>
                <a:lnTo>
                  <a:pt x="5062" y="173"/>
                </a:lnTo>
                <a:lnTo>
                  <a:pt x="5062" y="175"/>
                </a:lnTo>
                <a:lnTo>
                  <a:pt x="5062" y="176"/>
                </a:lnTo>
                <a:lnTo>
                  <a:pt x="5060" y="178"/>
                </a:lnTo>
                <a:lnTo>
                  <a:pt x="5056" y="180"/>
                </a:lnTo>
                <a:lnTo>
                  <a:pt x="5051" y="182"/>
                </a:lnTo>
                <a:lnTo>
                  <a:pt x="5046" y="182"/>
                </a:lnTo>
                <a:lnTo>
                  <a:pt x="5041" y="182"/>
                </a:lnTo>
                <a:lnTo>
                  <a:pt x="5030" y="182"/>
                </a:lnTo>
                <a:lnTo>
                  <a:pt x="5024" y="182"/>
                </a:lnTo>
                <a:lnTo>
                  <a:pt x="5018" y="184"/>
                </a:lnTo>
                <a:lnTo>
                  <a:pt x="5015" y="192"/>
                </a:lnTo>
                <a:lnTo>
                  <a:pt x="4999" y="194"/>
                </a:lnTo>
                <a:lnTo>
                  <a:pt x="4982" y="195"/>
                </a:lnTo>
                <a:lnTo>
                  <a:pt x="4997" y="192"/>
                </a:lnTo>
                <a:lnTo>
                  <a:pt x="5006" y="189"/>
                </a:lnTo>
                <a:lnTo>
                  <a:pt x="5010" y="188"/>
                </a:lnTo>
                <a:lnTo>
                  <a:pt x="5012" y="186"/>
                </a:lnTo>
                <a:lnTo>
                  <a:pt x="5013" y="184"/>
                </a:lnTo>
                <a:lnTo>
                  <a:pt x="5014" y="181"/>
                </a:lnTo>
                <a:lnTo>
                  <a:pt x="5014" y="177"/>
                </a:lnTo>
                <a:lnTo>
                  <a:pt x="5015" y="175"/>
                </a:lnTo>
                <a:lnTo>
                  <a:pt x="5019" y="173"/>
                </a:lnTo>
                <a:lnTo>
                  <a:pt x="5023" y="173"/>
                </a:lnTo>
                <a:lnTo>
                  <a:pt x="5028" y="173"/>
                </a:lnTo>
                <a:lnTo>
                  <a:pt x="5032" y="172"/>
                </a:lnTo>
                <a:lnTo>
                  <a:pt x="5039" y="169"/>
                </a:lnTo>
                <a:lnTo>
                  <a:pt x="5042" y="168"/>
                </a:lnTo>
                <a:lnTo>
                  <a:pt x="5045" y="166"/>
                </a:lnTo>
                <a:lnTo>
                  <a:pt x="5047" y="164"/>
                </a:lnTo>
                <a:lnTo>
                  <a:pt x="5050" y="161"/>
                </a:lnTo>
                <a:lnTo>
                  <a:pt x="5052" y="159"/>
                </a:lnTo>
                <a:lnTo>
                  <a:pt x="5054" y="156"/>
                </a:lnTo>
                <a:lnTo>
                  <a:pt x="5058" y="150"/>
                </a:lnTo>
                <a:lnTo>
                  <a:pt x="5061" y="144"/>
                </a:lnTo>
                <a:lnTo>
                  <a:pt x="5064" y="137"/>
                </a:lnTo>
                <a:lnTo>
                  <a:pt x="5066" y="130"/>
                </a:lnTo>
                <a:lnTo>
                  <a:pt x="5087" y="125"/>
                </a:lnTo>
                <a:lnTo>
                  <a:pt x="5108" y="120"/>
                </a:lnTo>
                <a:lnTo>
                  <a:pt x="5118" y="117"/>
                </a:lnTo>
                <a:lnTo>
                  <a:pt x="5128" y="114"/>
                </a:lnTo>
                <a:lnTo>
                  <a:pt x="5147" y="108"/>
                </a:lnTo>
                <a:lnTo>
                  <a:pt x="5147" y="106"/>
                </a:lnTo>
                <a:lnTo>
                  <a:pt x="5146" y="104"/>
                </a:lnTo>
                <a:lnTo>
                  <a:pt x="5146" y="100"/>
                </a:lnTo>
                <a:lnTo>
                  <a:pt x="5146" y="96"/>
                </a:lnTo>
                <a:lnTo>
                  <a:pt x="5145" y="93"/>
                </a:lnTo>
                <a:lnTo>
                  <a:pt x="5142" y="93"/>
                </a:lnTo>
                <a:lnTo>
                  <a:pt x="5138" y="91"/>
                </a:lnTo>
                <a:lnTo>
                  <a:pt x="5135" y="88"/>
                </a:lnTo>
                <a:lnTo>
                  <a:pt x="5134" y="86"/>
                </a:lnTo>
                <a:lnTo>
                  <a:pt x="5133" y="84"/>
                </a:lnTo>
                <a:lnTo>
                  <a:pt x="5133" y="83"/>
                </a:lnTo>
                <a:lnTo>
                  <a:pt x="5136" y="83"/>
                </a:lnTo>
                <a:lnTo>
                  <a:pt x="5142" y="85"/>
                </a:lnTo>
                <a:lnTo>
                  <a:pt x="5141" y="86"/>
                </a:lnTo>
                <a:lnTo>
                  <a:pt x="5143" y="85"/>
                </a:lnTo>
                <a:lnTo>
                  <a:pt x="5147" y="82"/>
                </a:lnTo>
                <a:lnTo>
                  <a:pt x="5147" y="78"/>
                </a:lnTo>
                <a:lnTo>
                  <a:pt x="5147" y="74"/>
                </a:lnTo>
                <a:lnTo>
                  <a:pt x="5145" y="72"/>
                </a:lnTo>
                <a:lnTo>
                  <a:pt x="5141" y="69"/>
                </a:lnTo>
                <a:lnTo>
                  <a:pt x="5138" y="67"/>
                </a:lnTo>
                <a:lnTo>
                  <a:pt x="5136" y="65"/>
                </a:lnTo>
                <a:lnTo>
                  <a:pt x="5136" y="63"/>
                </a:lnTo>
                <a:lnTo>
                  <a:pt x="5136" y="59"/>
                </a:lnTo>
                <a:lnTo>
                  <a:pt x="5137" y="56"/>
                </a:lnTo>
                <a:lnTo>
                  <a:pt x="5137" y="55"/>
                </a:lnTo>
                <a:lnTo>
                  <a:pt x="5136" y="54"/>
                </a:lnTo>
                <a:lnTo>
                  <a:pt x="5135" y="53"/>
                </a:lnTo>
                <a:lnTo>
                  <a:pt x="5132" y="53"/>
                </a:lnTo>
                <a:lnTo>
                  <a:pt x="5128" y="53"/>
                </a:lnTo>
                <a:lnTo>
                  <a:pt x="5123" y="53"/>
                </a:lnTo>
                <a:lnTo>
                  <a:pt x="5121" y="52"/>
                </a:lnTo>
                <a:lnTo>
                  <a:pt x="5119" y="51"/>
                </a:lnTo>
                <a:lnTo>
                  <a:pt x="5118" y="50"/>
                </a:lnTo>
                <a:lnTo>
                  <a:pt x="5116" y="47"/>
                </a:lnTo>
                <a:lnTo>
                  <a:pt x="5114" y="42"/>
                </a:lnTo>
                <a:lnTo>
                  <a:pt x="5111" y="32"/>
                </a:lnTo>
                <a:lnTo>
                  <a:pt x="5109" y="32"/>
                </a:lnTo>
                <a:lnTo>
                  <a:pt x="5107" y="31"/>
                </a:lnTo>
                <a:lnTo>
                  <a:pt x="5106" y="30"/>
                </a:lnTo>
                <a:lnTo>
                  <a:pt x="5105" y="29"/>
                </a:lnTo>
                <a:lnTo>
                  <a:pt x="5102" y="29"/>
                </a:lnTo>
                <a:lnTo>
                  <a:pt x="5098" y="30"/>
                </a:lnTo>
                <a:lnTo>
                  <a:pt x="5092" y="33"/>
                </a:lnTo>
                <a:lnTo>
                  <a:pt x="5087" y="36"/>
                </a:lnTo>
                <a:lnTo>
                  <a:pt x="5083" y="37"/>
                </a:lnTo>
                <a:lnTo>
                  <a:pt x="5080" y="32"/>
                </a:lnTo>
                <a:lnTo>
                  <a:pt x="5074" y="32"/>
                </a:lnTo>
                <a:lnTo>
                  <a:pt x="5069" y="33"/>
                </a:lnTo>
                <a:lnTo>
                  <a:pt x="5063" y="33"/>
                </a:lnTo>
                <a:lnTo>
                  <a:pt x="5057" y="34"/>
                </a:lnTo>
                <a:lnTo>
                  <a:pt x="5054" y="36"/>
                </a:lnTo>
                <a:lnTo>
                  <a:pt x="5050" y="38"/>
                </a:lnTo>
                <a:lnTo>
                  <a:pt x="5047" y="41"/>
                </a:lnTo>
                <a:lnTo>
                  <a:pt x="5045" y="44"/>
                </a:lnTo>
                <a:lnTo>
                  <a:pt x="5040" y="49"/>
                </a:lnTo>
                <a:lnTo>
                  <a:pt x="5038" y="51"/>
                </a:lnTo>
                <a:lnTo>
                  <a:pt x="5034" y="52"/>
                </a:lnTo>
                <a:lnTo>
                  <a:pt x="5031" y="51"/>
                </a:lnTo>
                <a:lnTo>
                  <a:pt x="5027" y="51"/>
                </a:lnTo>
                <a:lnTo>
                  <a:pt x="5025" y="51"/>
                </a:lnTo>
                <a:lnTo>
                  <a:pt x="5024" y="51"/>
                </a:lnTo>
                <a:lnTo>
                  <a:pt x="5032" y="32"/>
                </a:lnTo>
                <a:lnTo>
                  <a:pt x="5022" y="29"/>
                </a:lnTo>
                <a:lnTo>
                  <a:pt x="5014" y="27"/>
                </a:lnTo>
                <a:lnTo>
                  <a:pt x="5005" y="27"/>
                </a:lnTo>
                <a:lnTo>
                  <a:pt x="4996" y="26"/>
                </a:lnTo>
                <a:lnTo>
                  <a:pt x="4999" y="18"/>
                </a:lnTo>
                <a:lnTo>
                  <a:pt x="5001" y="15"/>
                </a:lnTo>
                <a:lnTo>
                  <a:pt x="5004" y="12"/>
                </a:lnTo>
                <a:lnTo>
                  <a:pt x="4996" y="8"/>
                </a:lnTo>
                <a:lnTo>
                  <a:pt x="4987" y="4"/>
                </a:lnTo>
                <a:lnTo>
                  <a:pt x="4977" y="1"/>
                </a:lnTo>
                <a:lnTo>
                  <a:pt x="4972" y="0"/>
                </a:lnTo>
                <a:lnTo>
                  <a:pt x="4967" y="1"/>
                </a:lnTo>
                <a:lnTo>
                  <a:pt x="4965" y="9"/>
                </a:lnTo>
                <a:lnTo>
                  <a:pt x="4954" y="9"/>
                </a:lnTo>
                <a:lnTo>
                  <a:pt x="4947" y="9"/>
                </a:lnTo>
                <a:lnTo>
                  <a:pt x="4942" y="9"/>
                </a:lnTo>
                <a:lnTo>
                  <a:pt x="4939" y="11"/>
                </a:lnTo>
                <a:lnTo>
                  <a:pt x="4933" y="16"/>
                </a:lnTo>
                <a:lnTo>
                  <a:pt x="4929" y="19"/>
                </a:lnTo>
                <a:lnTo>
                  <a:pt x="4922" y="23"/>
                </a:lnTo>
                <a:lnTo>
                  <a:pt x="4922" y="29"/>
                </a:lnTo>
                <a:lnTo>
                  <a:pt x="4920" y="30"/>
                </a:lnTo>
                <a:lnTo>
                  <a:pt x="4918" y="30"/>
                </a:lnTo>
                <a:lnTo>
                  <a:pt x="4915" y="30"/>
                </a:lnTo>
                <a:lnTo>
                  <a:pt x="4914" y="32"/>
                </a:lnTo>
                <a:lnTo>
                  <a:pt x="4914" y="34"/>
                </a:lnTo>
                <a:lnTo>
                  <a:pt x="4914" y="36"/>
                </a:lnTo>
                <a:lnTo>
                  <a:pt x="4915" y="38"/>
                </a:lnTo>
                <a:lnTo>
                  <a:pt x="4914" y="40"/>
                </a:lnTo>
                <a:lnTo>
                  <a:pt x="4920" y="45"/>
                </a:lnTo>
                <a:lnTo>
                  <a:pt x="4925" y="51"/>
                </a:lnTo>
                <a:lnTo>
                  <a:pt x="4919" y="50"/>
                </a:lnTo>
                <a:lnTo>
                  <a:pt x="4913" y="48"/>
                </a:lnTo>
                <a:lnTo>
                  <a:pt x="4903" y="47"/>
                </a:lnTo>
                <a:lnTo>
                  <a:pt x="4893" y="46"/>
                </a:lnTo>
                <a:lnTo>
                  <a:pt x="4880" y="46"/>
                </a:lnTo>
                <a:lnTo>
                  <a:pt x="4883" y="54"/>
                </a:lnTo>
                <a:lnTo>
                  <a:pt x="4886" y="57"/>
                </a:lnTo>
                <a:lnTo>
                  <a:pt x="4881" y="57"/>
                </a:lnTo>
                <a:lnTo>
                  <a:pt x="4876" y="57"/>
                </a:lnTo>
                <a:lnTo>
                  <a:pt x="4873" y="58"/>
                </a:lnTo>
                <a:lnTo>
                  <a:pt x="4871" y="59"/>
                </a:lnTo>
                <a:lnTo>
                  <a:pt x="4869" y="60"/>
                </a:lnTo>
                <a:lnTo>
                  <a:pt x="4869" y="64"/>
                </a:lnTo>
                <a:lnTo>
                  <a:pt x="4869" y="68"/>
                </a:lnTo>
                <a:lnTo>
                  <a:pt x="4860" y="73"/>
                </a:lnTo>
                <a:lnTo>
                  <a:pt x="4856" y="75"/>
                </a:lnTo>
                <a:lnTo>
                  <a:pt x="4852" y="77"/>
                </a:lnTo>
                <a:lnTo>
                  <a:pt x="4850" y="77"/>
                </a:lnTo>
                <a:lnTo>
                  <a:pt x="4849" y="76"/>
                </a:lnTo>
                <a:lnTo>
                  <a:pt x="4849" y="75"/>
                </a:lnTo>
                <a:lnTo>
                  <a:pt x="4849" y="73"/>
                </a:lnTo>
                <a:lnTo>
                  <a:pt x="4849" y="71"/>
                </a:lnTo>
                <a:lnTo>
                  <a:pt x="4843" y="74"/>
                </a:lnTo>
                <a:lnTo>
                  <a:pt x="4840" y="75"/>
                </a:lnTo>
                <a:lnTo>
                  <a:pt x="4835" y="77"/>
                </a:lnTo>
                <a:lnTo>
                  <a:pt x="4830" y="82"/>
                </a:lnTo>
                <a:lnTo>
                  <a:pt x="4828" y="82"/>
                </a:lnTo>
                <a:lnTo>
                  <a:pt x="4827" y="81"/>
                </a:lnTo>
                <a:lnTo>
                  <a:pt x="4826" y="80"/>
                </a:lnTo>
                <a:lnTo>
                  <a:pt x="4827" y="79"/>
                </a:lnTo>
                <a:lnTo>
                  <a:pt x="4828" y="75"/>
                </a:lnTo>
                <a:lnTo>
                  <a:pt x="4830" y="74"/>
                </a:lnTo>
                <a:lnTo>
                  <a:pt x="4833" y="71"/>
                </a:lnTo>
                <a:lnTo>
                  <a:pt x="4836" y="69"/>
                </a:lnTo>
                <a:lnTo>
                  <a:pt x="4841" y="66"/>
                </a:lnTo>
                <a:lnTo>
                  <a:pt x="4842" y="64"/>
                </a:lnTo>
                <a:lnTo>
                  <a:pt x="4842" y="63"/>
                </a:lnTo>
                <a:lnTo>
                  <a:pt x="4842" y="62"/>
                </a:lnTo>
                <a:lnTo>
                  <a:pt x="4840" y="60"/>
                </a:lnTo>
                <a:lnTo>
                  <a:pt x="4835" y="57"/>
                </a:lnTo>
                <a:lnTo>
                  <a:pt x="4837" y="57"/>
                </a:lnTo>
                <a:lnTo>
                  <a:pt x="4839" y="57"/>
                </a:lnTo>
                <a:lnTo>
                  <a:pt x="4844" y="57"/>
                </a:lnTo>
                <a:lnTo>
                  <a:pt x="4847" y="48"/>
                </a:lnTo>
                <a:lnTo>
                  <a:pt x="4824" y="48"/>
                </a:lnTo>
                <a:lnTo>
                  <a:pt x="4824" y="53"/>
                </a:lnTo>
                <a:lnTo>
                  <a:pt x="4824" y="57"/>
                </a:lnTo>
                <a:lnTo>
                  <a:pt x="4828" y="57"/>
                </a:lnTo>
                <a:lnTo>
                  <a:pt x="4832" y="57"/>
                </a:lnTo>
                <a:lnTo>
                  <a:pt x="4830" y="60"/>
                </a:lnTo>
                <a:lnTo>
                  <a:pt x="4829" y="61"/>
                </a:lnTo>
                <a:lnTo>
                  <a:pt x="4829" y="62"/>
                </a:lnTo>
                <a:lnTo>
                  <a:pt x="4830" y="63"/>
                </a:lnTo>
                <a:lnTo>
                  <a:pt x="4820" y="62"/>
                </a:lnTo>
                <a:lnTo>
                  <a:pt x="4810" y="63"/>
                </a:lnTo>
                <a:lnTo>
                  <a:pt x="4801" y="63"/>
                </a:lnTo>
                <a:lnTo>
                  <a:pt x="4796" y="63"/>
                </a:lnTo>
                <a:lnTo>
                  <a:pt x="4790" y="63"/>
                </a:lnTo>
                <a:lnTo>
                  <a:pt x="4789" y="62"/>
                </a:lnTo>
                <a:lnTo>
                  <a:pt x="4788" y="60"/>
                </a:lnTo>
                <a:lnTo>
                  <a:pt x="4785" y="59"/>
                </a:lnTo>
                <a:lnTo>
                  <a:pt x="4784" y="59"/>
                </a:lnTo>
                <a:lnTo>
                  <a:pt x="4782" y="60"/>
                </a:lnTo>
                <a:lnTo>
                  <a:pt x="4782" y="64"/>
                </a:lnTo>
                <a:lnTo>
                  <a:pt x="4782" y="68"/>
                </a:lnTo>
                <a:lnTo>
                  <a:pt x="4769" y="70"/>
                </a:lnTo>
                <a:lnTo>
                  <a:pt x="4759" y="72"/>
                </a:lnTo>
                <a:lnTo>
                  <a:pt x="4749" y="75"/>
                </a:lnTo>
                <a:lnTo>
                  <a:pt x="4743" y="76"/>
                </a:lnTo>
                <a:lnTo>
                  <a:pt x="4737" y="77"/>
                </a:lnTo>
                <a:lnTo>
                  <a:pt x="4729" y="77"/>
                </a:lnTo>
                <a:lnTo>
                  <a:pt x="4723" y="75"/>
                </a:lnTo>
                <a:lnTo>
                  <a:pt x="4718" y="74"/>
                </a:lnTo>
                <a:lnTo>
                  <a:pt x="4716" y="74"/>
                </a:lnTo>
                <a:lnTo>
                  <a:pt x="4714" y="74"/>
                </a:lnTo>
                <a:lnTo>
                  <a:pt x="4713" y="74"/>
                </a:lnTo>
                <a:lnTo>
                  <a:pt x="4712" y="75"/>
                </a:lnTo>
                <a:lnTo>
                  <a:pt x="4708" y="78"/>
                </a:lnTo>
                <a:lnTo>
                  <a:pt x="4703" y="82"/>
                </a:lnTo>
                <a:lnTo>
                  <a:pt x="4700" y="83"/>
                </a:lnTo>
                <a:lnTo>
                  <a:pt x="4696" y="83"/>
                </a:lnTo>
                <a:lnTo>
                  <a:pt x="4689" y="83"/>
                </a:lnTo>
                <a:lnTo>
                  <a:pt x="4675" y="82"/>
                </a:lnTo>
                <a:lnTo>
                  <a:pt x="4677" y="84"/>
                </a:lnTo>
                <a:lnTo>
                  <a:pt x="4680" y="86"/>
                </a:lnTo>
                <a:lnTo>
                  <a:pt x="4681" y="88"/>
                </a:lnTo>
                <a:lnTo>
                  <a:pt x="4682" y="90"/>
                </a:lnTo>
                <a:lnTo>
                  <a:pt x="4682" y="92"/>
                </a:lnTo>
                <a:lnTo>
                  <a:pt x="4681" y="94"/>
                </a:lnTo>
                <a:lnTo>
                  <a:pt x="4679" y="95"/>
                </a:lnTo>
                <a:lnTo>
                  <a:pt x="4675" y="96"/>
                </a:lnTo>
                <a:lnTo>
                  <a:pt x="4674" y="105"/>
                </a:lnTo>
                <a:lnTo>
                  <a:pt x="4672" y="110"/>
                </a:lnTo>
                <a:lnTo>
                  <a:pt x="4669" y="106"/>
                </a:lnTo>
                <a:lnTo>
                  <a:pt x="4667" y="102"/>
                </a:lnTo>
                <a:lnTo>
                  <a:pt x="4665" y="102"/>
                </a:lnTo>
                <a:lnTo>
                  <a:pt x="4662" y="102"/>
                </a:lnTo>
                <a:lnTo>
                  <a:pt x="4660" y="102"/>
                </a:lnTo>
                <a:lnTo>
                  <a:pt x="4657" y="103"/>
                </a:lnTo>
                <a:lnTo>
                  <a:pt x="4655" y="104"/>
                </a:lnTo>
                <a:lnTo>
                  <a:pt x="4654" y="106"/>
                </a:lnTo>
                <a:lnTo>
                  <a:pt x="4654" y="107"/>
                </a:lnTo>
                <a:lnTo>
                  <a:pt x="4655" y="108"/>
                </a:lnTo>
                <a:lnTo>
                  <a:pt x="4662" y="111"/>
                </a:lnTo>
                <a:lnTo>
                  <a:pt x="4664" y="112"/>
                </a:lnTo>
                <a:lnTo>
                  <a:pt x="4664" y="113"/>
                </a:lnTo>
                <a:lnTo>
                  <a:pt x="4665" y="114"/>
                </a:lnTo>
                <a:lnTo>
                  <a:pt x="4667" y="116"/>
                </a:lnTo>
                <a:lnTo>
                  <a:pt x="4663" y="117"/>
                </a:lnTo>
                <a:lnTo>
                  <a:pt x="4660" y="118"/>
                </a:lnTo>
                <a:lnTo>
                  <a:pt x="4655" y="119"/>
                </a:lnTo>
                <a:lnTo>
                  <a:pt x="4661" y="127"/>
                </a:lnTo>
                <a:lnTo>
                  <a:pt x="4666" y="135"/>
                </a:lnTo>
                <a:lnTo>
                  <a:pt x="4670" y="143"/>
                </a:lnTo>
                <a:lnTo>
                  <a:pt x="4675" y="153"/>
                </a:lnTo>
                <a:lnTo>
                  <a:pt x="4668" y="153"/>
                </a:lnTo>
                <a:lnTo>
                  <a:pt x="4661" y="153"/>
                </a:lnTo>
                <a:lnTo>
                  <a:pt x="4662" y="151"/>
                </a:lnTo>
                <a:lnTo>
                  <a:pt x="4664" y="147"/>
                </a:lnTo>
                <a:lnTo>
                  <a:pt x="4664" y="145"/>
                </a:lnTo>
                <a:lnTo>
                  <a:pt x="4664" y="144"/>
                </a:lnTo>
                <a:lnTo>
                  <a:pt x="4662" y="142"/>
                </a:lnTo>
                <a:lnTo>
                  <a:pt x="4660" y="142"/>
                </a:lnTo>
                <a:lnTo>
                  <a:pt x="4658" y="141"/>
                </a:lnTo>
                <a:lnTo>
                  <a:pt x="4658" y="138"/>
                </a:lnTo>
                <a:lnTo>
                  <a:pt x="4655" y="138"/>
                </a:lnTo>
                <a:lnTo>
                  <a:pt x="4652" y="139"/>
                </a:lnTo>
                <a:lnTo>
                  <a:pt x="4645" y="141"/>
                </a:lnTo>
                <a:lnTo>
                  <a:pt x="4638" y="143"/>
                </a:lnTo>
                <a:lnTo>
                  <a:pt x="4635" y="144"/>
                </a:lnTo>
                <a:lnTo>
                  <a:pt x="4633" y="144"/>
                </a:lnTo>
                <a:lnTo>
                  <a:pt x="4628" y="143"/>
                </a:lnTo>
                <a:lnTo>
                  <a:pt x="4624" y="141"/>
                </a:lnTo>
                <a:lnTo>
                  <a:pt x="4621" y="139"/>
                </a:lnTo>
                <a:lnTo>
                  <a:pt x="4619" y="138"/>
                </a:lnTo>
                <a:lnTo>
                  <a:pt x="4568" y="147"/>
                </a:lnTo>
                <a:lnTo>
                  <a:pt x="4564" y="150"/>
                </a:lnTo>
                <a:lnTo>
                  <a:pt x="4560" y="153"/>
                </a:lnTo>
                <a:lnTo>
                  <a:pt x="4558" y="156"/>
                </a:lnTo>
                <a:lnTo>
                  <a:pt x="4556" y="159"/>
                </a:lnTo>
                <a:lnTo>
                  <a:pt x="4554" y="167"/>
                </a:lnTo>
                <a:lnTo>
                  <a:pt x="4554" y="172"/>
                </a:lnTo>
                <a:lnTo>
                  <a:pt x="4554" y="176"/>
                </a:lnTo>
                <a:lnTo>
                  <a:pt x="4554" y="180"/>
                </a:lnTo>
                <a:lnTo>
                  <a:pt x="4555" y="184"/>
                </a:lnTo>
                <a:lnTo>
                  <a:pt x="4555" y="188"/>
                </a:lnTo>
                <a:lnTo>
                  <a:pt x="4557" y="192"/>
                </a:lnTo>
                <a:lnTo>
                  <a:pt x="4558" y="195"/>
                </a:lnTo>
                <a:lnTo>
                  <a:pt x="4560" y="199"/>
                </a:lnTo>
                <a:lnTo>
                  <a:pt x="4562" y="201"/>
                </a:lnTo>
                <a:lnTo>
                  <a:pt x="4565" y="203"/>
                </a:lnTo>
                <a:lnTo>
                  <a:pt x="4568" y="205"/>
                </a:lnTo>
                <a:lnTo>
                  <a:pt x="4571" y="206"/>
                </a:lnTo>
                <a:lnTo>
                  <a:pt x="4573" y="206"/>
                </a:lnTo>
                <a:lnTo>
                  <a:pt x="4575" y="206"/>
                </a:lnTo>
                <a:lnTo>
                  <a:pt x="4578" y="205"/>
                </a:lnTo>
                <a:lnTo>
                  <a:pt x="4580" y="203"/>
                </a:lnTo>
                <a:lnTo>
                  <a:pt x="4581" y="203"/>
                </a:lnTo>
                <a:lnTo>
                  <a:pt x="4582" y="203"/>
                </a:lnTo>
                <a:lnTo>
                  <a:pt x="4583" y="204"/>
                </a:lnTo>
                <a:lnTo>
                  <a:pt x="4584" y="205"/>
                </a:lnTo>
                <a:lnTo>
                  <a:pt x="4586" y="209"/>
                </a:lnTo>
                <a:lnTo>
                  <a:pt x="4588" y="212"/>
                </a:lnTo>
                <a:lnTo>
                  <a:pt x="4591" y="214"/>
                </a:lnTo>
                <a:lnTo>
                  <a:pt x="4594" y="216"/>
                </a:lnTo>
                <a:lnTo>
                  <a:pt x="4598" y="217"/>
                </a:lnTo>
                <a:lnTo>
                  <a:pt x="4605" y="220"/>
                </a:lnTo>
                <a:lnTo>
                  <a:pt x="4602" y="228"/>
                </a:lnTo>
                <a:lnTo>
                  <a:pt x="4601" y="236"/>
                </a:lnTo>
                <a:lnTo>
                  <a:pt x="4599" y="254"/>
                </a:lnTo>
                <a:lnTo>
                  <a:pt x="4601" y="255"/>
                </a:lnTo>
                <a:lnTo>
                  <a:pt x="4602" y="256"/>
                </a:lnTo>
                <a:lnTo>
                  <a:pt x="4602" y="257"/>
                </a:lnTo>
                <a:lnTo>
                  <a:pt x="4602" y="259"/>
                </a:lnTo>
                <a:lnTo>
                  <a:pt x="4602" y="262"/>
                </a:lnTo>
                <a:lnTo>
                  <a:pt x="4604" y="262"/>
                </a:lnTo>
                <a:lnTo>
                  <a:pt x="4605" y="264"/>
                </a:lnTo>
                <a:lnTo>
                  <a:pt x="4604" y="265"/>
                </a:lnTo>
                <a:lnTo>
                  <a:pt x="4603" y="269"/>
                </a:lnTo>
                <a:lnTo>
                  <a:pt x="4602" y="271"/>
                </a:lnTo>
                <a:lnTo>
                  <a:pt x="4599" y="271"/>
                </a:lnTo>
                <a:lnTo>
                  <a:pt x="4596" y="271"/>
                </a:lnTo>
                <a:lnTo>
                  <a:pt x="4593" y="270"/>
                </a:lnTo>
                <a:lnTo>
                  <a:pt x="4592" y="270"/>
                </a:lnTo>
                <a:lnTo>
                  <a:pt x="4591" y="271"/>
                </a:lnTo>
                <a:lnTo>
                  <a:pt x="4591" y="279"/>
                </a:lnTo>
                <a:lnTo>
                  <a:pt x="4600" y="285"/>
                </a:lnTo>
                <a:lnTo>
                  <a:pt x="4607" y="290"/>
                </a:lnTo>
                <a:lnTo>
                  <a:pt x="4610" y="291"/>
                </a:lnTo>
                <a:lnTo>
                  <a:pt x="4612" y="290"/>
                </a:lnTo>
                <a:lnTo>
                  <a:pt x="4615" y="288"/>
                </a:lnTo>
                <a:lnTo>
                  <a:pt x="4617" y="286"/>
                </a:lnTo>
                <a:lnTo>
                  <a:pt x="4618" y="285"/>
                </a:lnTo>
                <a:lnTo>
                  <a:pt x="4619" y="285"/>
                </a:lnTo>
                <a:lnTo>
                  <a:pt x="4622" y="284"/>
                </a:lnTo>
                <a:lnTo>
                  <a:pt x="4625" y="285"/>
                </a:lnTo>
                <a:lnTo>
                  <a:pt x="4627" y="285"/>
                </a:lnTo>
                <a:lnTo>
                  <a:pt x="4629" y="286"/>
                </a:lnTo>
                <a:lnTo>
                  <a:pt x="4633" y="288"/>
                </a:lnTo>
                <a:lnTo>
                  <a:pt x="4638" y="290"/>
                </a:lnTo>
                <a:lnTo>
                  <a:pt x="4641" y="304"/>
                </a:lnTo>
                <a:lnTo>
                  <a:pt x="4636" y="304"/>
                </a:lnTo>
                <a:lnTo>
                  <a:pt x="4633" y="293"/>
                </a:lnTo>
                <a:lnTo>
                  <a:pt x="4624" y="293"/>
                </a:lnTo>
                <a:lnTo>
                  <a:pt x="4615" y="293"/>
                </a:lnTo>
                <a:lnTo>
                  <a:pt x="4605" y="293"/>
                </a:lnTo>
                <a:lnTo>
                  <a:pt x="4593" y="293"/>
                </a:lnTo>
                <a:lnTo>
                  <a:pt x="4593" y="291"/>
                </a:lnTo>
                <a:lnTo>
                  <a:pt x="4592" y="288"/>
                </a:lnTo>
                <a:lnTo>
                  <a:pt x="4592" y="285"/>
                </a:lnTo>
                <a:lnTo>
                  <a:pt x="4591" y="282"/>
                </a:lnTo>
                <a:lnTo>
                  <a:pt x="4582" y="277"/>
                </a:lnTo>
                <a:lnTo>
                  <a:pt x="4578" y="275"/>
                </a:lnTo>
                <a:lnTo>
                  <a:pt x="4579" y="276"/>
                </a:lnTo>
                <a:lnTo>
                  <a:pt x="4575" y="277"/>
                </a:lnTo>
                <a:lnTo>
                  <a:pt x="4574" y="277"/>
                </a:lnTo>
                <a:lnTo>
                  <a:pt x="4575" y="278"/>
                </a:lnTo>
                <a:lnTo>
                  <a:pt x="4577" y="279"/>
                </a:lnTo>
                <a:lnTo>
                  <a:pt x="4574" y="282"/>
                </a:lnTo>
                <a:lnTo>
                  <a:pt x="4568" y="282"/>
                </a:lnTo>
                <a:lnTo>
                  <a:pt x="4572" y="265"/>
                </a:lnTo>
                <a:lnTo>
                  <a:pt x="4574" y="257"/>
                </a:lnTo>
                <a:lnTo>
                  <a:pt x="4576" y="250"/>
                </a:lnTo>
                <a:lnTo>
                  <a:pt x="4579" y="243"/>
                </a:lnTo>
                <a:lnTo>
                  <a:pt x="4582" y="236"/>
                </a:lnTo>
                <a:lnTo>
                  <a:pt x="4586" y="230"/>
                </a:lnTo>
                <a:lnTo>
                  <a:pt x="4591" y="223"/>
                </a:lnTo>
                <a:lnTo>
                  <a:pt x="4584" y="222"/>
                </a:lnTo>
                <a:lnTo>
                  <a:pt x="4575" y="220"/>
                </a:lnTo>
                <a:lnTo>
                  <a:pt x="4566" y="218"/>
                </a:lnTo>
                <a:lnTo>
                  <a:pt x="4560" y="217"/>
                </a:lnTo>
                <a:lnTo>
                  <a:pt x="4562" y="223"/>
                </a:lnTo>
                <a:lnTo>
                  <a:pt x="4557" y="223"/>
                </a:lnTo>
                <a:lnTo>
                  <a:pt x="4552" y="214"/>
                </a:lnTo>
                <a:lnTo>
                  <a:pt x="4548" y="206"/>
                </a:lnTo>
                <a:lnTo>
                  <a:pt x="4547" y="205"/>
                </a:lnTo>
                <a:lnTo>
                  <a:pt x="4546" y="207"/>
                </a:lnTo>
                <a:lnTo>
                  <a:pt x="4545" y="208"/>
                </a:lnTo>
                <a:lnTo>
                  <a:pt x="4544" y="209"/>
                </a:lnTo>
                <a:lnTo>
                  <a:pt x="4543" y="209"/>
                </a:lnTo>
                <a:lnTo>
                  <a:pt x="4537" y="203"/>
                </a:lnTo>
                <a:lnTo>
                  <a:pt x="4528" y="200"/>
                </a:lnTo>
                <a:lnTo>
                  <a:pt x="4524" y="199"/>
                </a:lnTo>
                <a:lnTo>
                  <a:pt x="4520" y="199"/>
                </a:lnTo>
                <a:lnTo>
                  <a:pt x="4516" y="199"/>
                </a:lnTo>
                <a:lnTo>
                  <a:pt x="4512" y="200"/>
                </a:lnTo>
                <a:lnTo>
                  <a:pt x="4503" y="203"/>
                </a:lnTo>
                <a:lnTo>
                  <a:pt x="4501" y="205"/>
                </a:lnTo>
                <a:lnTo>
                  <a:pt x="4499" y="206"/>
                </a:lnTo>
                <a:lnTo>
                  <a:pt x="4497" y="208"/>
                </a:lnTo>
                <a:lnTo>
                  <a:pt x="4496" y="209"/>
                </a:lnTo>
                <a:lnTo>
                  <a:pt x="4497" y="211"/>
                </a:lnTo>
                <a:lnTo>
                  <a:pt x="4498" y="211"/>
                </a:lnTo>
                <a:lnTo>
                  <a:pt x="4501" y="212"/>
                </a:lnTo>
                <a:lnTo>
                  <a:pt x="4506" y="212"/>
                </a:lnTo>
                <a:lnTo>
                  <a:pt x="4507" y="215"/>
                </a:lnTo>
                <a:lnTo>
                  <a:pt x="4509" y="217"/>
                </a:lnTo>
                <a:lnTo>
                  <a:pt x="4506" y="219"/>
                </a:lnTo>
                <a:lnTo>
                  <a:pt x="4505" y="220"/>
                </a:lnTo>
                <a:lnTo>
                  <a:pt x="4505" y="222"/>
                </a:lnTo>
                <a:lnTo>
                  <a:pt x="4504" y="224"/>
                </a:lnTo>
                <a:lnTo>
                  <a:pt x="4503" y="226"/>
                </a:lnTo>
                <a:lnTo>
                  <a:pt x="4501" y="226"/>
                </a:lnTo>
                <a:lnTo>
                  <a:pt x="4497" y="225"/>
                </a:lnTo>
                <a:lnTo>
                  <a:pt x="4494" y="224"/>
                </a:lnTo>
                <a:lnTo>
                  <a:pt x="4495" y="223"/>
                </a:lnTo>
                <a:lnTo>
                  <a:pt x="4490" y="220"/>
                </a:lnTo>
                <a:lnTo>
                  <a:pt x="4486" y="217"/>
                </a:lnTo>
                <a:lnTo>
                  <a:pt x="4483" y="217"/>
                </a:lnTo>
                <a:lnTo>
                  <a:pt x="4479" y="217"/>
                </a:lnTo>
                <a:lnTo>
                  <a:pt x="4475" y="217"/>
                </a:lnTo>
                <a:lnTo>
                  <a:pt x="4471" y="224"/>
                </a:lnTo>
                <a:lnTo>
                  <a:pt x="4467" y="231"/>
                </a:lnTo>
                <a:lnTo>
                  <a:pt x="4471" y="231"/>
                </a:lnTo>
                <a:lnTo>
                  <a:pt x="4475" y="231"/>
                </a:lnTo>
                <a:lnTo>
                  <a:pt x="4483" y="237"/>
                </a:lnTo>
                <a:lnTo>
                  <a:pt x="4492" y="243"/>
                </a:lnTo>
                <a:lnTo>
                  <a:pt x="4496" y="246"/>
                </a:lnTo>
                <a:lnTo>
                  <a:pt x="4497" y="248"/>
                </a:lnTo>
                <a:lnTo>
                  <a:pt x="4497" y="249"/>
                </a:lnTo>
                <a:lnTo>
                  <a:pt x="4497" y="250"/>
                </a:lnTo>
                <a:lnTo>
                  <a:pt x="4496" y="251"/>
                </a:lnTo>
                <a:lnTo>
                  <a:pt x="4493" y="252"/>
                </a:lnTo>
                <a:lnTo>
                  <a:pt x="4489" y="253"/>
                </a:lnTo>
                <a:lnTo>
                  <a:pt x="4485" y="254"/>
                </a:lnTo>
                <a:lnTo>
                  <a:pt x="4475" y="254"/>
                </a:lnTo>
                <a:lnTo>
                  <a:pt x="4473" y="251"/>
                </a:lnTo>
                <a:lnTo>
                  <a:pt x="4472" y="249"/>
                </a:lnTo>
                <a:lnTo>
                  <a:pt x="4471" y="248"/>
                </a:lnTo>
                <a:lnTo>
                  <a:pt x="4470" y="248"/>
                </a:lnTo>
                <a:lnTo>
                  <a:pt x="4469" y="248"/>
                </a:lnTo>
                <a:lnTo>
                  <a:pt x="4467" y="249"/>
                </a:lnTo>
                <a:lnTo>
                  <a:pt x="4464" y="251"/>
                </a:lnTo>
                <a:lnTo>
                  <a:pt x="4459" y="253"/>
                </a:lnTo>
                <a:lnTo>
                  <a:pt x="4457" y="254"/>
                </a:lnTo>
                <a:lnTo>
                  <a:pt x="4456" y="254"/>
                </a:lnTo>
                <a:lnTo>
                  <a:pt x="4455" y="253"/>
                </a:lnTo>
                <a:lnTo>
                  <a:pt x="4454" y="252"/>
                </a:lnTo>
                <a:lnTo>
                  <a:pt x="4451" y="250"/>
                </a:lnTo>
                <a:lnTo>
                  <a:pt x="4449" y="247"/>
                </a:lnTo>
                <a:lnTo>
                  <a:pt x="4447" y="245"/>
                </a:lnTo>
                <a:lnTo>
                  <a:pt x="4448" y="240"/>
                </a:lnTo>
                <a:lnTo>
                  <a:pt x="4448" y="235"/>
                </a:lnTo>
                <a:lnTo>
                  <a:pt x="4447" y="231"/>
                </a:lnTo>
                <a:lnTo>
                  <a:pt x="4441" y="226"/>
                </a:lnTo>
                <a:lnTo>
                  <a:pt x="4441" y="222"/>
                </a:lnTo>
                <a:lnTo>
                  <a:pt x="4441" y="217"/>
                </a:lnTo>
                <a:lnTo>
                  <a:pt x="4443" y="208"/>
                </a:lnTo>
                <a:lnTo>
                  <a:pt x="4444" y="203"/>
                </a:lnTo>
                <a:lnTo>
                  <a:pt x="4445" y="198"/>
                </a:lnTo>
                <a:lnTo>
                  <a:pt x="4445" y="193"/>
                </a:lnTo>
                <a:lnTo>
                  <a:pt x="4445" y="191"/>
                </a:lnTo>
                <a:lnTo>
                  <a:pt x="4444" y="189"/>
                </a:lnTo>
                <a:lnTo>
                  <a:pt x="4433" y="181"/>
                </a:lnTo>
                <a:lnTo>
                  <a:pt x="4436" y="198"/>
                </a:lnTo>
                <a:lnTo>
                  <a:pt x="4437" y="207"/>
                </a:lnTo>
                <a:lnTo>
                  <a:pt x="4437" y="212"/>
                </a:lnTo>
                <a:lnTo>
                  <a:pt x="4436" y="217"/>
                </a:lnTo>
                <a:lnTo>
                  <a:pt x="4435" y="220"/>
                </a:lnTo>
                <a:lnTo>
                  <a:pt x="4433" y="222"/>
                </a:lnTo>
                <a:lnTo>
                  <a:pt x="4429" y="225"/>
                </a:lnTo>
                <a:lnTo>
                  <a:pt x="4425" y="228"/>
                </a:lnTo>
                <a:lnTo>
                  <a:pt x="4423" y="230"/>
                </a:lnTo>
                <a:lnTo>
                  <a:pt x="4422" y="231"/>
                </a:lnTo>
                <a:lnTo>
                  <a:pt x="4420" y="235"/>
                </a:lnTo>
                <a:lnTo>
                  <a:pt x="4420" y="238"/>
                </a:lnTo>
                <a:lnTo>
                  <a:pt x="4420" y="241"/>
                </a:lnTo>
                <a:lnTo>
                  <a:pt x="4419" y="245"/>
                </a:lnTo>
                <a:lnTo>
                  <a:pt x="4417" y="248"/>
                </a:lnTo>
                <a:lnTo>
                  <a:pt x="4415" y="250"/>
                </a:lnTo>
                <a:lnTo>
                  <a:pt x="4414" y="251"/>
                </a:lnTo>
                <a:lnTo>
                  <a:pt x="4413" y="251"/>
                </a:lnTo>
                <a:lnTo>
                  <a:pt x="4420" y="259"/>
                </a:lnTo>
                <a:lnTo>
                  <a:pt x="4427" y="268"/>
                </a:lnTo>
                <a:lnTo>
                  <a:pt x="4428" y="271"/>
                </a:lnTo>
                <a:lnTo>
                  <a:pt x="4427" y="274"/>
                </a:lnTo>
                <a:lnTo>
                  <a:pt x="4427" y="276"/>
                </a:lnTo>
                <a:lnTo>
                  <a:pt x="4426" y="278"/>
                </a:lnTo>
                <a:lnTo>
                  <a:pt x="4423" y="282"/>
                </a:lnTo>
                <a:lnTo>
                  <a:pt x="4422" y="283"/>
                </a:lnTo>
                <a:lnTo>
                  <a:pt x="4422" y="285"/>
                </a:lnTo>
                <a:lnTo>
                  <a:pt x="4422" y="292"/>
                </a:lnTo>
                <a:lnTo>
                  <a:pt x="4423" y="299"/>
                </a:lnTo>
                <a:lnTo>
                  <a:pt x="4427" y="313"/>
                </a:lnTo>
                <a:lnTo>
                  <a:pt x="4432" y="312"/>
                </a:lnTo>
                <a:lnTo>
                  <a:pt x="4437" y="312"/>
                </a:lnTo>
                <a:lnTo>
                  <a:pt x="4442" y="311"/>
                </a:lnTo>
                <a:lnTo>
                  <a:pt x="4447" y="310"/>
                </a:lnTo>
                <a:lnTo>
                  <a:pt x="4450" y="308"/>
                </a:lnTo>
                <a:lnTo>
                  <a:pt x="4453" y="306"/>
                </a:lnTo>
                <a:lnTo>
                  <a:pt x="4456" y="303"/>
                </a:lnTo>
                <a:lnTo>
                  <a:pt x="4457" y="302"/>
                </a:lnTo>
                <a:lnTo>
                  <a:pt x="4458" y="302"/>
                </a:lnTo>
                <a:lnTo>
                  <a:pt x="4461" y="302"/>
                </a:lnTo>
                <a:lnTo>
                  <a:pt x="4464" y="304"/>
                </a:lnTo>
                <a:lnTo>
                  <a:pt x="4470" y="307"/>
                </a:lnTo>
                <a:lnTo>
                  <a:pt x="4472" y="307"/>
                </a:lnTo>
                <a:lnTo>
                  <a:pt x="4472" y="306"/>
                </a:lnTo>
                <a:lnTo>
                  <a:pt x="4472" y="305"/>
                </a:lnTo>
                <a:lnTo>
                  <a:pt x="4473" y="305"/>
                </a:lnTo>
                <a:lnTo>
                  <a:pt x="4475" y="304"/>
                </a:lnTo>
                <a:lnTo>
                  <a:pt x="4478" y="305"/>
                </a:lnTo>
                <a:lnTo>
                  <a:pt x="4481" y="306"/>
                </a:lnTo>
                <a:lnTo>
                  <a:pt x="4483" y="307"/>
                </a:lnTo>
                <a:lnTo>
                  <a:pt x="4486" y="309"/>
                </a:lnTo>
                <a:lnTo>
                  <a:pt x="4490" y="314"/>
                </a:lnTo>
                <a:lnTo>
                  <a:pt x="4494" y="319"/>
                </a:lnTo>
                <a:lnTo>
                  <a:pt x="4498" y="325"/>
                </a:lnTo>
                <a:lnTo>
                  <a:pt x="4501" y="331"/>
                </a:lnTo>
                <a:lnTo>
                  <a:pt x="4506" y="341"/>
                </a:lnTo>
                <a:lnTo>
                  <a:pt x="4500" y="345"/>
                </a:lnTo>
                <a:lnTo>
                  <a:pt x="4495" y="349"/>
                </a:lnTo>
                <a:lnTo>
                  <a:pt x="4495" y="351"/>
                </a:lnTo>
                <a:lnTo>
                  <a:pt x="4495" y="352"/>
                </a:lnTo>
                <a:lnTo>
                  <a:pt x="4495" y="355"/>
                </a:lnTo>
                <a:lnTo>
                  <a:pt x="4495" y="358"/>
                </a:lnTo>
                <a:lnTo>
                  <a:pt x="4495" y="360"/>
                </a:lnTo>
                <a:lnTo>
                  <a:pt x="4495" y="361"/>
                </a:lnTo>
                <a:lnTo>
                  <a:pt x="4498" y="363"/>
                </a:lnTo>
                <a:lnTo>
                  <a:pt x="4500" y="364"/>
                </a:lnTo>
                <a:lnTo>
                  <a:pt x="4500" y="365"/>
                </a:lnTo>
                <a:lnTo>
                  <a:pt x="4501" y="366"/>
                </a:lnTo>
                <a:lnTo>
                  <a:pt x="4508" y="368"/>
                </a:lnTo>
                <a:lnTo>
                  <a:pt x="4514" y="369"/>
                </a:lnTo>
                <a:lnTo>
                  <a:pt x="4521" y="370"/>
                </a:lnTo>
                <a:lnTo>
                  <a:pt x="4529" y="372"/>
                </a:lnTo>
                <a:lnTo>
                  <a:pt x="4529" y="373"/>
                </a:lnTo>
                <a:lnTo>
                  <a:pt x="4530" y="375"/>
                </a:lnTo>
                <a:lnTo>
                  <a:pt x="4531" y="378"/>
                </a:lnTo>
                <a:lnTo>
                  <a:pt x="4522" y="376"/>
                </a:lnTo>
                <a:lnTo>
                  <a:pt x="4514" y="375"/>
                </a:lnTo>
                <a:lnTo>
                  <a:pt x="4507" y="374"/>
                </a:lnTo>
                <a:lnTo>
                  <a:pt x="4498" y="372"/>
                </a:lnTo>
                <a:lnTo>
                  <a:pt x="4498" y="380"/>
                </a:lnTo>
                <a:lnTo>
                  <a:pt x="4497" y="380"/>
                </a:lnTo>
                <a:lnTo>
                  <a:pt x="4496" y="380"/>
                </a:lnTo>
                <a:lnTo>
                  <a:pt x="4494" y="378"/>
                </a:lnTo>
                <a:lnTo>
                  <a:pt x="4492" y="376"/>
                </a:lnTo>
                <a:lnTo>
                  <a:pt x="4492" y="375"/>
                </a:lnTo>
                <a:lnTo>
                  <a:pt x="4484" y="372"/>
                </a:lnTo>
                <a:lnTo>
                  <a:pt x="4485" y="361"/>
                </a:lnTo>
                <a:lnTo>
                  <a:pt x="4485" y="353"/>
                </a:lnTo>
                <a:lnTo>
                  <a:pt x="4485" y="346"/>
                </a:lnTo>
                <a:lnTo>
                  <a:pt x="4485" y="342"/>
                </a:lnTo>
                <a:lnTo>
                  <a:pt x="4485" y="340"/>
                </a:lnTo>
                <a:lnTo>
                  <a:pt x="4483" y="334"/>
                </a:lnTo>
                <a:lnTo>
                  <a:pt x="4481" y="328"/>
                </a:lnTo>
                <a:lnTo>
                  <a:pt x="4475" y="313"/>
                </a:lnTo>
                <a:lnTo>
                  <a:pt x="4463" y="316"/>
                </a:lnTo>
                <a:lnTo>
                  <a:pt x="4456" y="318"/>
                </a:lnTo>
                <a:lnTo>
                  <a:pt x="4450" y="320"/>
                </a:lnTo>
                <a:lnTo>
                  <a:pt x="4444" y="323"/>
                </a:lnTo>
                <a:lnTo>
                  <a:pt x="4439" y="326"/>
                </a:lnTo>
                <a:lnTo>
                  <a:pt x="4437" y="328"/>
                </a:lnTo>
                <a:lnTo>
                  <a:pt x="4435" y="331"/>
                </a:lnTo>
                <a:lnTo>
                  <a:pt x="4434" y="333"/>
                </a:lnTo>
                <a:lnTo>
                  <a:pt x="4433" y="335"/>
                </a:lnTo>
                <a:lnTo>
                  <a:pt x="4433" y="337"/>
                </a:lnTo>
                <a:lnTo>
                  <a:pt x="4434" y="340"/>
                </a:lnTo>
                <a:lnTo>
                  <a:pt x="4434" y="341"/>
                </a:lnTo>
                <a:lnTo>
                  <a:pt x="4435" y="342"/>
                </a:lnTo>
                <a:lnTo>
                  <a:pt x="4436" y="341"/>
                </a:lnTo>
                <a:lnTo>
                  <a:pt x="4437" y="343"/>
                </a:lnTo>
                <a:lnTo>
                  <a:pt x="4438" y="344"/>
                </a:lnTo>
                <a:lnTo>
                  <a:pt x="4438" y="346"/>
                </a:lnTo>
                <a:lnTo>
                  <a:pt x="4437" y="348"/>
                </a:lnTo>
                <a:lnTo>
                  <a:pt x="4436" y="351"/>
                </a:lnTo>
                <a:lnTo>
                  <a:pt x="4436" y="352"/>
                </a:lnTo>
                <a:lnTo>
                  <a:pt x="4434" y="366"/>
                </a:lnTo>
                <a:lnTo>
                  <a:pt x="4432" y="371"/>
                </a:lnTo>
                <a:lnTo>
                  <a:pt x="4431" y="376"/>
                </a:lnTo>
                <a:lnTo>
                  <a:pt x="4430" y="379"/>
                </a:lnTo>
                <a:lnTo>
                  <a:pt x="4428" y="382"/>
                </a:lnTo>
                <a:lnTo>
                  <a:pt x="4426" y="385"/>
                </a:lnTo>
                <a:lnTo>
                  <a:pt x="4424" y="387"/>
                </a:lnTo>
                <a:lnTo>
                  <a:pt x="4419" y="390"/>
                </a:lnTo>
                <a:lnTo>
                  <a:pt x="4413" y="392"/>
                </a:lnTo>
                <a:lnTo>
                  <a:pt x="4404" y="396"/>
                </a:lnTo>
                <a:lnTo>
                  <a:pt x="4394" y="400"/>
                </a:lnTo>
                <a:lnTo>
                  <a:pt x="4394" y="401"/>
                </a:lnTo>
                <a:lnTo>
                  <a:pt x="4395" y="402"/>
                </a:lnTo>
                <a:lnTo>
                  <a:pt x="4398" y="403"/>
                </a:lnTo>
                <a:lnTo>
                  <a:pt x="4401" y="404"/>
                </a:lnTo>
                <a:lnTo>
                  <a:pt x="4401" y="405"/>
                </a:lnTo>
                <a:lnTo>
                  <a:pt x="4402" y="406"/>
                </a:lnTo>
                <a:lnTo>
                  <a:pt x="4403" y="411"/>
                </a:lnTo>
                <a:lnTo>
                  <a:pt x="4404" y="416"/>
                </a:lnTo>
                <a:lnTo>
                  <a:pt x="4405" y="422"/>
                </a:lnTo>
                <a:lnTo>
                  <a:pt x="4405" y="425"/>
                </a:lnTo>
                <a:lnTo>
                  <a:pt x="4404" y="425"/>
                </a:lnTo>
                <a:lnTo>
                  <a:pt x="4403" y="425"/>
                </a:lnTo>
                <a:lnTo>
                  <a:pt x="4401" y="425"/>
                </a:lnTo>
                <a:lnTo>
                  <a:pt x="4398" y="426"/>
                </a:lnTo>
                <a:lnTo>
                  <a:pt x="4396" y="425"/>
                </a:lnTo>
                <a:lnTo>
                  <a:pt x="4393" y="417"/>
                </a:lnTo>
                <a:lnTo>
                  <a:pt x="4390" y="412"/>
                </a:lnTo>
                <a:lnTo>
                  <a:pt x="4388" y="409"/>
                </a:lnTo>
                <a:lnTo>
                  <a:pt x="4384" y="407"/>
                </a:lnTo>
                <a:lnTo>
                  <a:pt x="4381" y="406"/>
                </a:lnTo>
                <a:lnTo>
                  <a:pt x="4377" y="407"/>
                </a:lnTo>
                <a:lnTo>
                  <a:pt x="4374" y="407"/>
                </a:lnTo>
                <a:lnTo>
                  <a:pt x="4367" y="408"/>
                </a:lnTo>
                <a:lnTo>
                  <a:pt x="4364" y="409"/>
                </a:lnTo>
                <a:lnTo>
                  <a:pt x="4360" y="409"/>
                </a:lnTo>
                <a:lnTo>
                  <a:pt x="4357" y="408"/>
                </a:lnTo>
                <a:lnTo>
                  <a:pt x="4356" y="407"/>
                </a:lnTo>
                <a:lnTo>
                  <a:pt x="4354" y="406"/>
                </a:lnTo>
                <a:lnTo>
                  <a:pt x="4349" y="402"/>
                </a:lnTo>
                <a:lnTo>
                  <a:pt x="4340" y="395"/>
                </a:lnTo>
                <a:lnTo>
                  <a:pt x="4355" y="395"/>
                </a:lnTo>
                <a:lnTo>
                  <a:pt x="4371" y="395"/>
                </a:lnTo>
                <a:lnTo>
                  <a:pt x="4373" y="394"/>
                </a:lnTo>
                <a:lnTo>
                  <a:pt x="4375" y="392"/>
                </a:lnTo>
                <a:lnTo>
                  <a:pt x="4379" y="389"/>
                </a:lnTo>
                <a:lnTo>
                  <a:pt x="4383" y="385"/>
                </a:lnTo>
                <a:lnTo>
                  <a:pt x="4385" y="383"/>
                </a:lnTo>
                <a:lnTo>
                  <a:pt x="4387" y="383"/>
                </a:lnTo>
                <a:lnTo>
                  <a:pt x="4389" y="384"/>
                </a:lnTo>
                <a:lnTo>
                  <a:pt x="4392" y="386"/>
                </a:lnTo>
                <a:lnTo>
                  <a:pt x="4394" y="389"/>
                </a:lnTo>
                <a:lnTo>
                  <a:pt x="4395" y="388"/>
                </a:lnTo>
                <a:lnTo>
                  <a:pt x="4396" y="388"/>
                </a:lnTo>
                <a:lnTo>
                  <a:pt x="4397" y="387"/>
                </a:lnTo>
                <a:lnTo>
                  <a:pt x="4399" y="386"/>
                </a:lnTo>
                <a:lnTo>
                  <a:pt x="4402" y="386"/>
                </a:lnTo>
                <a:lnTo>
                  <a:pt x="4403" y="384"/>
                </a:lnTo>
                <a:lnTo>
                  <a:pt x="4403" y="383"/>
                </a:lnTo>
                <a:lnTo>
                  <a:pt x="4402" y="381"/>
                </a:lnTo>
                <a:lnTo>
                  <a:pt x="4400" y="379"/>
                </a:lnTo>
                <a:lnTo>
                  <a:pt x="4399" y="378"/>
                </a:lnTo>
                <a:lnTo>
                  <a:pt x="4413" y="366"/>
                </a:lnTo>
                <a:lnTo>
                  <a:pt x="4414" y="360"/>
                </a:lnTo>
                <a:lnTo>
                  <a:pt x="4414" y="351"/>
                </a:lnTo>
                <a:lnTo>
                  <a:pt x="4414" y="341"/>
                </a:lnTo>
                <a:lnTo>
                  <a:pt x="4413" y="335"/>
                </a:lnTo>
                <a:lnTo>
                  <a:pt x="4412" y="333"/>
                </a:lnTo>
                <a:lnTo>
                  <a:pt x="4410" y="331"/>
                </a:lnTo>
                <a:lnTo>
                  <a:pt x="4405" y="326"/>
                </a:lnTo>
                <a:lnTo>
                  <a:pt x="4399" y="321"/>
                </a:lnTo>
                <a:lnTo>
                  <a:pt x="4398" y="318"/>
                </a:lnTo>
                <a:lnTo>
                  <a:pt x="4396" y="316"/>
                </a:lnTo>
                <a:lnTo>
                  <a:pt x="4396" y="309"/>
                </a:lnTo>
                <a:lnTo>
                  <a:pt x="4396" y="303"/>
                </a:lnTo>
                <a:lnTo>
                  <a:pt x="4398" y="297"/>
                </a:lnTo>
                <a:lnTo>
                  <a:pt x="4400" y="292"/>
                </a:lnTo>
                <a:lnTo>
                  <a:pt x="4403" y="281"/>
                </a:lnTo>
                <a:lnTo>
                  <a:pt x="4405" y="276"/>
                </a:lnTo>
                <a:lnTo>
                  <a:pt x="4405" y="273"/>
                </a:lnTo>
                <a:lnTo>
                  <a:pt x="4405" y="271"/>
                </a:lnTo>
                <a:lnTo>
                  <a:pt x="4404" y="269"/>
                </a:lnTo>
                <a:lnTo>
                  <a:pt x="4403" y="267"/>
                </a:lnTo>
                <a:lnTo>
                  <a:pt x="4399" y="263"/>
                </a:lnTo>
                <a:lnTo>
                  <a:pt x="4394" y="258"/>
                </a:lnTo>
                <a:lnTo>
                  <a:pt x="4392" y="256"/>
                </a:lnTo>
                <a:lnTo>
                  <a:pt x="4391" y="254"/>
                </a:lnTo>
                <a:lnTo>
                  <a:pt x="4390" y="251"/>
                </a:lnTo>
                <a:lnTo>
                  <a:pt x="4390" y="249"/>
                </a:lnTo>
                <a:lnTo>
                  <a:pt x="4390" y="247"/>
                </a:lnTo>
                <a:lnTo>
                  <a:pt x="4389" y="246"/>
                </a:lnTo>
                <a:lnTo>
                  <a:pt x="4388" y="245"/>
                </a:lnTo>
                <a:lnTo>
                  <a:pt x="4388" y="243"/>
                </a:lnTo>
                <a:lnTo>
                  <a:pt x="4389" y="240"/>
                </a:lnTo>
                <a:lnTo>
                  <a:pt x="4391" y="234"/>
                </a:lnTo>
                <a:lnTo>
                  <a:pt x="4392" y="232"/>
                </a:lnTo>
                <a:lnTo>
                  <a:pt x="4395" y="230"/>
                </a:lnTo>
                <a:lnTo>
                  <a:pt x="4398" y="228"/>
                </a:lnTo>
                <a:lnTo>
                  <a:pt x="4399" y="226"/>
                </a:lnTo>
                <a:lnTo>
                  <a:pt x="4401" y="220"/>
                </a:lnTo>
                <a:lnTo>
                  <a:pt x="4402" y="214"/>
                </a:lnTo>
                <a:lnTo>
                  <a:pt x="4403" y="201"/>
                </a:lnTo>
                <a:lnTo>
                  <a:pt x="4403" y="194"/>
                </a:lnTo>
                <a:lnTo>
                  <a:pt x="4402" y="188"/>
                </a:lnTo>
                <a:lnTo>
                  <a:pt x="4401" y="182"/>
                </a:lnTo>
                <a:lnTo>
                  <a:pt x="4399" y="178"/>
                </a:lnTo>
                <a:lnTo>
                  <a:pt x="4398" y="176"/>
                </a:lnTo>
                <a:lnTo>
                  <a:pt x="4396" y="175"/>
                </a:lnTo>
                <a:lnTo>
                  <a:pt x="4393" y="173"/>
                </a:lnTo>
                <a:lnTo>
                  <a:pt x="4389" y="172"/>
                </a:lnTo>
                <a:lnTo>
                  <a:pt x="4381" y="171"/>
                </a:lnTo>
                <a:lnTo>
                  <a:pt x="4372" y="171"/>
                </a:lnTo>
                <a:lnTo>
                  <a:pt x="4363" y="171"/>
                </a:lnTo>
                <a:lnTo>
                  <a:pt x="4355" y="172"/>
                </a:lnTo>
                <a:lnTo>
                  <a:pt x="4348" y="173"/>
                </a:lnTo>
                <a:lnTo>
                  <a:pt x="4345" y="174"/>
                </a:lnTo>
                <a:lnTo>
                  <a:pt x="4343" y="175"/>
                </a:lnTo>
                <a:lnTo>
                  <a:pt x="4341" y="177"/>
                </a:lnTo>
                <a:lnTo>
                  <a:pt x="4339" y="180"/>
                </a:lnTo>
                <a:lnTo>
                  <a:pt x="4338" y="183"/>
                </a:lnTo>
                <a:lnTo>
                  <a:pt x="4337" y="187"/>
                </a:lnTo>
                <a:lnTo>
                  <a:pt x="4335" y="194"/>
                </a:lnTo>
                <a:lnTo>
                  <a:pt x="4333" y="197"/>
                </a:lnTo>
                <a:lnTo>
                  <a:pt x="4332" y="200"/>
                </a:lnTo>
                <a:lnTo>
                  <a:pt x="4329" y="200"/>
                </a:lnTo>
                <a:lnTo>
                  <a:pt x="4326" y="203"/>
                </a:lnTo>
                <a:lnTo>
                  <a:pt x="4323" y="206"/>
                </a:lnTo>
                <a:lnTo>
                  <a:pt x="4321" y="210"/>
                </a:lnTo>
                <a:lnTo>
                  <a:pt x="4318" y="214"/>
                </a:lnTo>
                <a:lnTo>
                  <a:pt x="4314" y="222"/>
                </a:lnTo>
                <a:lnTo>
                  <a:pt x="4312" y="226"/>
                </a:lnTo>
                <a:lnTo>
                  <a:pt x="4309" y="229"/>
                </a:lnTo>
                <a:lnTo>
                  <a:pt x="4308" y="229"/>
                </a:lnTo>
                <a:lnTo>
                  <a:pt x="4306" y="230"/>
                </a:lnTo>
                <a:lnTo>
                  <a:pt x="4304" y="230"/>
                </a:lnTo>
                <a:lnTo>
                  <a:pt x="4301" y="230"/>
                </a:lnTo>
                <a:lnTo>
                  <a:pt x="4300" y="230"/>
                </a:lnTo>
                <a:lnTo>
                  <a:pt x="4298" y="231"/>
                </a:lnTo>
                <a:lnTo>
                  <a:pt x="4300" y="243"/>
                </a:lnTo>
                <a:lnTo>
                  <a:pt x="4302" y="253"/>
                </a:lnTo>
                <a:lnTo>
                  <a:pt x="4303" y="262"/>
                </a:lnTo>
                <a:lnTo>
                  <a:pt x="4304" y="265"/>
                </a:lnTo>
                <a:lnTo>
                  <a:pt x="4304" y="268"/>
                </a:lnTo>
                <a:lnTo>
                  <a:pt x="4304" y="274"/>
                </a:lnTo>
                <a:lnTo>
                  <a:pt x="4295" y="276"/>
                </a:lnTo>
                <a:lnTo>
                  <a:pt x="4295" y="280"/>
                </a:lnTo>
                <a:lnTo>
                  <a:pt x="4295" y="285"/>
                </a:lnTo>
                <a:lnTo>
                  <a:pt x="4296" y="289"/>
                </a:lnTo>
                <a:lnTo>
                  <a:pt x="4296" y="291"/>
                </a:lnTo>
                <a:lnTo>
                  <a:pt x="4295" y="293"/>
                </a:lnTo>
                <a:lnTo>
                  <a:pt x="4302" y="295"/>
                </a:lnTo>
                <a:lnTo>
                  <a:pt x="4307" y="295"/>
                </a:lnTo>
                <a:lnTo>
                  <a:pt x="4311" y="295"/>
                </a:lnTo>
                <a:lnTo>
                  <a:pt x="4315" y="296"/>
                </a:lnTo>
                <a:lnTo>
                  <a:pt x="4314" y="304"/>
                </a:lnTo>
                <a:lnTo>
                  <a:pt x="4314" y="310"/>
                </a:lnTo>
                <a:lnTo>
                  <a:pt x="4315" y="324"/>
                </a:lnTo>
                <a:lnTo>
                  <a:pt x="4323" y="321"/>
                </a:lnTo>
                <a:lnTo>
                  <a:pt x="4320" y="330"/>
                </a:lnTo>
                <a:lnTo>
                  <a:pt x="4317" y="337"/>
                </a:lnTo>
                <a:lnTo>
                  <a:pt x="4314" y="343"/>
                </a:lnTo>
                <a:lnTo>
                  <a:pt x="4309" y="349"/>
                </a:lnTo>
                <a:lnTo>
                  <a:pt x="4305" y="343"/>
                </a:lnTo>
                <a:lnTo>
                  <a:pt x="4298" y="333"/>
                </a:lnTo>
                <a:lnTo>
                  <a:pt x="4287" y="319"/>
                </a:lnTo>
                <a:lnTo>
                  <a:pt x="4284" y="318"/>
                </a:lnTo>
                <a:lnTo>
                  <a:pt x="4281" y="319"/>
                </a:lnTo>
                <a:lnTo>
                  <a:pt x="4278" y="319"/>
                </a:lnTo>
                <a:lnTo>
                  <a:pt x="4277" y="319"/>
                </a:lnTo>
                <a:lnTo>
                  <a:pt x="4276" y="319"/>
                </a:lnTo>
                <a:lnTo>
                  <a:pt x="4274" y="317"/>
                </a:lnTo>
                <a:lnTo>
                  <a:pt x="4274" y="316"/>
                </a:lnTo>
                <a:lnTo>
                  <a:pt x="4274" y="315"/>
                </a:lnTo>
                <a:lnTo>
                  <a:pt x="4274" y="313"/>
                </a:lnTo>
                <a:lnTo>
                  <a:pt x="4276" y="310"/>
                </a:lnTo>
                <a:lnTo>
                  <a:pt x="4273" y="310"/>
                </a:lnTo>
                <a:lnTo>
                  <a:pt x="4270" y="310"/>
                </a:lnTo>
                <a:lnTo>
                  <a:pt x="4267" y="310"/>
                </a:lnTo>
                <a:lnTo>
                  <a:pt x="4264" y="310"/>
                </a:lnTo>
                <a:lnTo>
                  <a:pt x="4262" y="307"/>
                </a:lnTo>
                <a:lnTo>
                  <a:pt x="4260" y="306"/>
                </a:lnTo>
                <a:lnTo>
                  <a:pt x="4259" y="304"/>
                </a:lnTo>
                <a:lnTo>
                  <a:pt x="4258" y="308"/>
                </a:lnTo>
                <a:lnTo>
                  <a:pt x="4258" y="312"/>
                </a:lnTo>
                <a:lnTo>
                  <a:pt x="4257" y="314"/>
                </a:lnTo>
                <a:lnTo>
                  <a:pt x="4256" y="315"/>
                </a:lnTo>
                <a:lnTo>
                  <a:pt x="4255" y="316"/>
                </a:lnTo>
                <a:lnTo>
                  <a:pt x="4253" y="316"/>
                </a:lnTo>
                <a:lnTo>
                  <a:pt x="4253" y="315"/>
                </a:lnTo>
                <a:lnTo>
                  <a:pt x="4252" y="315"/>
                </a:lnTo>
                <a:lnTo>
                  <a:pt x="4252" y="313"/>
                </a:lnTo>
                <a:lnTo>
                  <a:pt x="4253" y="307"/>
                </a:lnTo>
                <a:lnTo>
                  <a:pt x="4255" y="302"/>
                </a:lnTo>
                <a:lnTo>
                  <a:pt x="4256" y="299"/>
                </a:lnTo>
                <a:lnTo>
                  <a:pt x="4246" y="297"/>
                </a:lnTo>
                <a:lnTo>
                  <a:pt x="4236" y="297"/>
                </a:lnTo>
                <a:lnTo>
                  <a:pt x="4227" y="297"/>
                </a:lnTo>
                <a:lnTo>
                  <a:pt x="4219" y="296"/>
                </a:lnTo>
                <a:lnTo>
                  <a:pt x="4216" y="293"/>
                </a:lnTo>
                <a:lnTo>
                  <a:pt x="4213" y="291"/>
                </a:lnTo>
                <a:lnTo>
                  <a:pt x="4211" y="290"/>
                </a:lnTo>
                <a:lnTo>
                  <a:pt x="4210" y="291"/>
                </a:lnTo>
                <a:lnTo>
                  <a:pt x="4209" y="294"/>
                </a:lnTo>
                <a:lnTo>
                  <a:pt x="4209" y="296"/>
                </a:lnTo>
                <a:lnTo>
                  <a:pt x="4208" y="299"/>
                </a:lnTo>
                <a:lnTo>
                  <a:pt x="4194" y="297"/>
                </a:lnTo>
                <a:lnTo>
                  <a:pt x="4180" y="296"/>
                </a:lnTo>
                <a:lnTo>
                  <a:pt x="4180" y="299"/>
                </a:lnTo>
                <a:lnTo>
                  <a:pt x="4180" y="300"/>
                </a:lnTo>
                <a:lnTo>
                  <a:pt x="4180" y="301"/>
                </a:lnTo>
                <a:lnTo>
                  <a:pt x="4177" y="302"/>
                </a:lnTo>
                <a:lnTo>
                  <a:pt x="4181" y="309"/>
                </a:lnTo>
                <a:lnTo>
                  <a:pt x="4182" y="315"/>
                </a:lnTo>
                <a:lnTo>
                  <a:pt x="4183" y="318"/>
                </a:lnTo>
                <a:lnTo>
                  <a:pt x="4183" y="321"/>
                </a:lnTo>
                <a:lnTo>
                  <a:pt x="4183" y="333"/>
                </a:lnTo>
                <a:lnTo>
                  <a:pt x="4181" y="333"/>
                </a:lnTo>
                <a:lnTo>
                  <a:pt x="4179" y="333"/>
                </a:lnTo>
                <a:lnTo>
                  <a:pt x="4174" y="335"/>
                </a:lnTo>
                <a:lnTo>
                  <a:pt x="4174" y="334"/>
                </a:lnTo>
                <a:lnTo>
                  <a:pt x="4172" y="332"/>
                </a:lnTo>
                <a:lnTo>
                  <a:pt x="4169" y="330"/>
                </a:lnTo>
                <a:lnTo>
                  <a:pt x="4163" y="333"/>
                </a:lnTo>
                <a:lnTo>
                  <a:pt x="4164" y="340"/>
                </a:lnTo>
                <a:lnTo>
                  <a:pt x="4164" y="343"/>
                </a:lnTo>
                <a:lnTo>
                  <a:pt x="4163" y="347"/>
                </a:lnTo>
                <a:lnTo>
                  <a:pt x="4159" y="342"/>
                </a:lnTo>
                <a:lnTo>
                  <a:pt x="4153" y="335"/>
                </a:lnTo>
                <a:lnTo>
                  <a:pt x="4151" y="331"/>
                </a:lnTo>
                <a:lnTo>
                  <a:pt x="4150" y="329"/>
                </a:lnTo>
                <a:lnTo>
                  <a:pt x="4150" y="327"/>
                </a:lnTo>
                <a:lnTo>
                  <a:pt x="4150" y="325"/>
                </a:lnTo>
                <a:lnTo>
                  <a:pt x="4151" y="324"/>
                </a:lnTo>
                <a:lnTo>
                  <a:pt x="4152" y="322"/>
                </a:lnTo>
                <a:lnTo>
                  <a:pt x="4155" y="321"/>
                </a:lnTo>
                <a:lnTo>
                  <a:pt x="4129" y="330"/>
                </a:lnTo>
                <a:lnTo>
                  <a:pt x="4127" y="330"/>
                </a:lnTo>
                <a:lnTo>
                  <a:pt x="4126" y="329"/>
                </a:lnTo>
                <a:lnTo>
                  <a:pt x="4126" y="328"/>
                </a:lnTo>
                <a:lnTo>
                  <a:pt x="4127" y="327"/>
                </a:lnTo>
                <a:lnTo>
                  <a:pt x="4126" y="327"/>
                </a:lnTo>
                <a:lnTo>
                  <a:pt x="4124" y="327"/>
                </a:lnTo>
                <a:lnTo>
                  <a:pt x="4126" y="331"/>
                </a:lnTo>
                <a:lnTo>
                  <a:pt x="4127" y="334"/>
                </a:lnTo>
                <a:lnTo>
                  <a:pt x="4127" y="335"/>
                </a:lnTo>
                <a:lnTo>
                  <a:pt x="4126" y="335"/>
                </a:lnTo>
                <a:lnTo>
                  <a:pt x="4122" y="336"/>
                </a:lnTo>
                <a:lnTo>
                  <a:pt x="4118" y="335"/>
                </a:lnTo>
                <a:lnTo>
                  <a:pt x="4115" y="334"/>
                </a:lnTo>
                <a:lnTo>
                  <a:pt x="4111" y="331"/>
                </a:lnTo>
                <a:lnTo>
                  <a:pt x="4107" y="329"/>
                </a:lnTo>
                <a:lnTo>
                  <a:pt x="4104" y="328"/>
                </a:lnTo>
                <a:lnTo>
                  <a:pt x="4100" y="327"/>
                </a:lnTo>
                <a:lnTo>
                  <a:pt x="4096" y="327"/>
                </a:lnTo>
                <a:lnTo>
                  <a:pt x="4094" y="328"/>
                </a:lnTo>
                <a:lnTo>
                  <a:pt x="4091" y="329"/>
                </a:lnTo>
                <a:lnTo>
                  <a:pt x="4085" y="333"/>
                </a:lnTo>
                <a:lnTo>
                  <a:pt x="4078" y="337"/>
                </a:lnTo>
                <a:lnTo>
                  <a:pt x="4077" y="338"/>
                </a:lnTo>
                <a:lnTo>
                  <a:pt x="4078" y="338"/>
                </a:lnTo>
                <a:lnTo>
                  <a:pt x="4078" y="343"/>
                </a:lnTo>
                <a:lnTo>
                  <a:pt x="4078" y="347"/>
                </a:lnTo>
                <a:lnTo>
                  <a:pt x="4076" y="347"/>
                </a:lnTo>
                <a:lnTo>
                  <a:pt x="4075" y="346"/>
                </a:lnTo>
                <a:lnTo>
                  <a:pt x="4072" y="343"/>
                </a:lnTo>
                <a:lnTo>
                  <a:pt x="4071" y="340"/>
                </a:lnTo>
                <a:lnTo>
                  <a:pt x="4070" y="339"/>
                </a:lnTo>
                <a:lnTo>
                  <a:pt x="4069" y="338"/>
                </a:lnTo>
                <a:lnTo>
                  <a:pt x="4068" y="338"/>
                </a:lnTo>
                <a:lnTo>
                  <a:pt x="4067" y="339"/>
                </a:lnTo>
                <a:lnTo>
                  <a:pt x="4065" y="341"/>
                </a:lnTo>
                <a:lnTo>
                  <a:pt x="4065" y="343"/>
                </a:lnTo>
                <a:lnTo>
                  <a:pt x="4064" y="344"/>
                </a:lnTo>
                <a:lnTo>
                  <a:pt x="4059" y="345"/>
                </a:lnTo>
                <a:lnTo>
                  <a:pt x="4054" y="344"/>
                </a:lnTo>
                <a:lnTo>
                  <a:pt x="4049" y="344"/>
                </a:lnTo>
                <a:lnTo>
                  <a:pt x="4044" y="344"/>
                </a:lnTo>
                <a:lnTo>
                  <a:pt x="4044" y="338"/>
                </a:lnTo>
                <a:lnTo>
                  <a:pt x="4055" y="338"/>
                </a:lnTo>
                <a:lnTo>
                  <a:pt x="4057" y="338"/>
                </a:lnTo>
                <a:lnTo>
                  <a:pt x="4058" y="337"/>
                </a:lnTo>
                <a:lnTo>
                  <a:pt x="4055" y="335"/>
                </a:lnTo>
                <a:lnTo>
                  <a:pt x="4053" y="334"/>
                </a:lnTo>
                <a:lnTo>
                  <a:pt x="4052" y="333"/>
                </a:lnTo>
                <a:lnTo>
                  <a:pt x="4052" y="330"/>
                </a:lnTo>
                <a:lnTo>
                  <a:pt x="4052" y="327"/>
                </a:lnTo>
                <a:lnTo>
                  <a:pt x="4050" y="326"/>
                </a:lnTo>
                <a:lnTo>
                  <a:pt x="4048" y="326"/>
                </a:lnTo>
                <a:lnTo>
                  <a:pt x="4046" y="325"/>
                </a:lnTo>
                <a:lnTo>
                  <a:pt x="4044" y="324"/>
                </a:lnTo>
                <a:lnTo>
                  <a:pt x="4046" y="321"/>
                </a:lnTo>
                <a:lnTo>
                  <a:pt x="4047" y="320"/>
                </a:lnTo>
                <a:lnTo>
                  <a:pt x="4047" y="319"/>
                </a:lnTo>
                <a:lnTo>
                  <a:pt x="4042" y="321"/>
                </a:lnTo>
                <a:lnTo>
                  <a:pt x="4036" y="324"/>
                </a:lnTo>
                <a:lnTo>
                  <a:pt x="4030" y="327"/>
                </a:lnTo>
                <a:lnTo>
                  <a:pt x="4028" y="328"/>
                </a:lnTo>
                <a:lnTo>
                  <a:pt x="4027" y="330"/>
                </a:lnTo>
                <a:lnTo>
                  <a:pt x="4027" y="334"/>
                </a:lnTo>
                <a:lnTo>
                  <a:pt x="4027" y="338"/>
                </a:lnTo>
                <a:lnTo>
                  <a:pt x="4026" y="337"/>
                </a:lnTo>
                <a:lnTo>
                  <a:pt x="4023" y="335"/>
                </a:lnTo>
                <a:lnTo>
                  <a:pt x="4018" y="333"/>
                </a:lnTo>
                <a:lnTo>
                  <a:pt x="4016" y="333"/>
                </a:lnTo>
                <a:lnTo>
                  <a:pt x="4013" y="333"/>
                </a:lnTo>
                <a:lnTo>
                  <a:pt x="4010" y="338"/>
                </a:lnTo>
                <a:lnTo>
                  <a:pt x="4008" y="339"/>
                </a:lnTo>
                <a:lnTo>
                  <a:pt x="4005" y="338"/>
                </a:lnTo>
                <a:lnTo>
                  <a:pt x="4002" y="338"/>
                </a:lnTo>
                <a:lnTo>
                  <a:pt x="3999" y="338"/>
                </a:lnTo>
                <a:lnTo>
                  <a:pt x="3996" y="339"/>
                </a:lnTo>
                <a:lnTo>
                  <a:pt x="3992" y="341"/>
                </a:lnTo>
                <a:lnTo>
                  <a:pt x="3985" y="347"/>
                </a:lnTo>
                <a:lnTo>
                  <a:pt x="3978" y="352"/>
                </a:lnTo>
                <a:lnTo>
                  <a:pt x="3974" y="354"/>
                </a:lnTo>
                <a:lnTo>
                  <a:pt x="3971" y="355"/>
                </a:lnTo>
                <a:lnTo>
                  <a:pt x="3968" y="355"/>
                </a:lnTo>
                <a:lnTo>
                  <a:pt x="3965" y="355"/>
                </a:lnTo>
                <a:lnTo>
                  <a:pt x="3962" y="355"/>
                </a:lnTo>
                <a:lnTo>
                  <a:pt x="3961" y="355"/>
                </a:lnTo>
                <a:lnTo>
                  <a:pt x="3960" y="355"/>
                </a:lnTo>
                <a:lnTo>
                  <a:pt x="3960" y="361"/>
                </a:lnTo>
                <a:lnTo>
                  <a:pt x="3956" y="362"/>
                </a:lnTo>
                <a:lnTo>
                  <a:pt x="3952" y="363"/>
                </a:lnTo>
                <a:lnTo>
                  <a:pt x="3949" y="363"/>
                </a:lnTo>
                <a:lnTo>
                  <a:pt x="3945" y="364"/>
                </a:lnTo>
                <a:lnTo>
                  <a:pt x="3943" y="378"/>
                </a:lnTo>
                <a:lnTo>
                  <a:pt x="3941" y="387"/>
                </a:lnTo>
                <a:lnTo>
                  <a:pt x="3940" y="392"/>
                </a:lnTo>
                <a:lnTo>
                  <a:pt x="3939" y="392"/>
                </a:lnTo>
                <a:lnTo>
                  <a:pt x="3938" y="391"/>
                </a:lnTo>
                <a:lnTo>
                  <a:pt x="3936" y="389"/>
                </a:lnTo>
                <a:lnTo>
                  <a:pt x="3935" y="389"/>
                </a:lnTo>
                <a:lnTo>
                  <a:pt x="3934" y="389"/>
                </a:lnTo>
                <a:lnTo>
                  <a:pt x="3933" y="390"/>
                </a:lnTo>
                <a:lnTo>
                  <a:pt x="3931" y="393"/>
                </a:lnTo>
                <a:lnTo>
                  <a:pt x="3930" y="396"/>
                </a:lnTo>
                <a:lnTo>
                  <a:pt x="3929" y="397"/>
                </a:lnTo>
                <a:lnTo>
                  <a:pt x="3924" y="399"/>
                </a:lnTo>
                <a:lnTo>
                  <a:pt x="3917" y="401"/>
                </a:lnTo>
                <a:lnTo>
                  <a:pt x="3911" y="402"/>
                </a:lnTo>
                <a:lnTo>
                  <a:pt x="3906" y="403"/>
                </a:lnTo>
                <a:lnTo>
                  <a:pt x="3904" y="397"/>
                </a:lnTo>
                <a:lnTo>
                  <a:pt x="3900" y="389"/>
                </a:lnTo>
                <a:lnTo>
                  <a:pt x="3899" y="385"/>
                </a:lnTo>
                <a:lnTo>
                  <a:pt x="3898" y="382"/>
                </a:lnTo>
                <a:lnTo>
                  <a:pt x="3897" y="378"/>
                </a:lnTo>
                <a:lnTo>
                  <a:pt x="3898" y="375"/>
                </a:lnTo>
                <a:lnTo>
                  <a:pt x="3898" y="374"/>
                </a:lnTo>
                <a:lnTo>
                  <a:pt x="3900" y="372"/>
                </a:lnTo>
                <a:lnTo>
                  <a:pt x="3902" y="369"/>
                </a:lnTo>
                <a:lnTo>
                  <a:pt x="3903" y="366"/>
                </a:lnTo>
                <a:lnTo>
                  <a:pt x="3912" y="365"/>
                </a:lnTo>
                <a:lnTo>
                  <a:pt x="3917" y="364"/>
                </a:lnTo>
                <a:lnTo>
                  <a:pt x="3926" y="364"/>
                </a:lnTo>
                <a:lnTo>
                  <a:pt x="3915" y="345"/>
                </a:lnTo>
                <a:lnTo>
                  <a:pt x="3912" y="340"/>
                </a:lnTo>
                <a:lnTo>
                  <a:pt x="3909" y="335"/>
                </a:lnTo>
                <a:lnTo>
                  <a:pt x="3906" y="332"/>
                </a:lnTo>
                <a:lnTo>
                  <a:pt x="3903" y="330"/>
                </a:lnTo>
                <a:lnTo>
                  <a:pt x="3901" y="329"/>
                </a:lnTo>
                <a:lnTo>
                  <a:pt x="3899" y="329"/>
                </a:lnTo>
                <a:lnTo>
                  <a:pt x="3895" y="329"/>
                </a:lnTo>
                <a:lnTo>
                  <a:pt x="3890" y="330"/>
                </a:lnTo>
                <a:lnTo>
                  <a:pt x="3886" y="330"/>
                </a:lnTo>
                <a:lnTo>
                  <a:pt x="3882" y="328"/>
                </a:lnTo>
                <a:lnTo>
                  <a:pt x="3877" y="326"/>
                </a:lnTo>
                <a:lnTo>
                  <a:pt x="3867" y="321"/>
                </a:lnTo>
                <a:lnTo>
                  <a:pt x="3875" y="333"/>
                </a:lnTo>
                <a:lnTo>
                  <a:pt x="3877" y="338"/>
                </a:lnTo>
                <a:lnTo>
                  <a:pt x="3878" y="340"/>
                </a:lnTo>
                <a:lnTo>
                  <a:pt x="3878" y="342"/>
                </a:lnTo>
                <a:lnTo>
                  <a:pt x="3879" y="346"/>
                </a:lnTo>
                <a:lnTo>
                  <a:pt x="3878" y="350"/>
                </a:lnTo>
                <a:lnTo>
                  <a:pt x="3877" y="353"/>
                </a:lnTo>
                <a:lnTo>
                  <a:pt x="3875" y="357"/>
                </a:lnTo>
                <a:lnTo>
                  <a:pt x="3870" y="366"/>
                </a:lnTo>
                <a:lnTo>
                  <a:pt x="3867" y="369"/>
                </a:lnTo>
                <a:lnTo>
                  <a:pt x="3865" y="371"/>
                </a:lnTo>
                <a:lnTo>
                  <a:pt x="3866" y="372"/>
                </a:lnTo>
                <a:lnTo>
                  <a:pt x="3867" y="372"/>
                </a:lnTo>
                <a:lnTo>
                  <a:pt x="3869" y="373"/>
                </a:lnTo>
                <a:lnTo>
                  <a:pt x="3871" y="374"/>
                </a:lnTo>
                <a:lnTo>
                  <a:pt x="3873" y="375"/>
                </a:lnTo>
                <a:lnTo>
                  <a:pt x="3874" y="377"/>
                </a:lnTo>
                <a:lnTo>
                  <a:pt x="3874" y="378"/>
                </a:lnTo>
                <a:lnTo>
                  <a:pt x="3874" y="380"/>
                </a:lnTo>
                <a:lnTo>
                  <a:pt x="3874" y="384"/>
                </a:lnTo>
                <a:lnTo>
                  <a:pt x="3872" y="389"/>
                </a:lnTo>
                <a:lnTo>
                  <a:pt x="3870" y="393"/>
                </a:lnTo>
                <a:lnTo>
                  <a:pt x="3867" y="400"/>
                </a:lnTo>
                <a:lnTo>
                  <a:pt x="3861" y="409"/>
                </a:lnTo>
                <a:lnTo>
                  <a:pt x="3862" y="410"/>
                </a:lnTo>
                <a:lnTo>
                  <a:pt x="3862" y="411"/>
                </a:lnTo>
                <a:lnTo>
                  <a:pt x="3862" y="412"/>
                </a:lnTo>
                <a:lnTo>
                  <a:pt x="3861" y="414"/>
                </a:lnTo>
                <a:lnTo>
                  <a:pt x="3858" y="417"/>
                </a:lnTo>
                <a:lnTo>
                  <a:pt x="3857" y="413"/>
                </a:lnTo>
                <a:lnTo>
                  <a:pt x="3855" y="409"/>
                </a:lnTo>
                <a:lnTo>
                  <a:pt x="3853" y="405"/>
                </a:lnTo>
                <a:lnTo>
                  <a:pt x="3851" y="404"/>
                </a:lnTo>
                <a:lnTo>
                  <a:pt x="3850" y="403"/>
                </a:lnTo>
                <a:lnTo>
                  <a:pt x="3849" y="403"/>
                </a:lnTo>
                <a:lnTo>
                  <a:pt x="3848" y="403"/>
                </a:lnTo>
                <a:lnTo>
                  <a:pt x="3846" y="403"/>
                </a:lnTo>
                <a:lnTo>
                  <a:pt x="3844" y="403"/>
                </a:lnTo>
                <a:lnTo>
                  <a:pt x="3843" y="403"/>
                </a:lnTo>
                <a:lnTo>
                  <a:pt x="3841" y="403"/>
                </a:lnTo>
                <a:lnTo>
                  <a:pt x="3840" y="402"/>
                </a:lnTo>
                <a:lnTo>
                  <a:pt x="3840" y="401"/>
                </a:lnTo>
                <a:lnTo>
                  <a:pt x="3839" y="399"/>
                </a:lnTo>
                <a:lnTo>
                  <a:pt x="3838" y="398"/>
                </a:lnTo>
                <a:lnTo>
                  <a:pt x="3837" y="398"/>
                </a:lnTo>
                <a:lnTo>
                  <a:pt x="3833" y="397"/>
                </a:lnTo>
                <a:lnTo>
                  <a:pt x="3828" y="401"/>
                </a:lnTo>
                <a:lnTo>
                  <a:pt x="3817" y="409"/>
                </a:lnTo>
                <a:lnTo>
                  <a:pt x="3799" y="423"/>
                </a:lnTo>
                <a:lnTo>
                  <a:pt x="3800" y="425"/>
                </a:lnTo>
                <a:lnTo>
                  <a:pt x="3800" y="427"/>
                </a:lnTo>
                <a:lnTo>
                  <a:pt x="3800" y="432"/>
                </a:lnTo>
                <a:lnTo>
                  <a:pt x="3801" y="436"/>
                </a:lnTo>
                <a:lnTo>
                  <a:pt x="3801" y="438"/>
                </a:lnTo>
                <a:lnTo>
                  <a:pt x="3802" y="440"/>
                </a:lnTo>
                <a:lnTo>
                  <a:pt x="3806" y="444"/>
                </a:lnTo>
                <a:lnTo>
                  <a:pt x="3813" y="450"/>
                </a:lnTo>
                <a:lnTo>
                  <a:pt x="3815" y="453"/>
                </a:lnTo>
                <a:lnTo>
                  <a:pt x="3815" y="454"/>
                </a:lnTo>
                <a:lnTo>
                  <a:pt x="3815" y="455"/>
                </a:lnTo>
                <a:lnTo>
                  <a:pt x="3814" y="456"/>
                </a:lnTo>
                <a:lnTo>
                  <a:pt x="3813" y="456"/>
                </a:lnTo>
                <a:lnTo>
                  <a:pt x="3808" y="456"/>
                </a:lnTo>
                <a:lnTo>
                  <a:pt x="3802" y="455"/>
                </a:lnTo>
                <a:lnTo>
                  <a:pt x="3796" y="453"/>
                </a:lnTo>
                <a:lnTo>
                  <a:pt x="3782" y="446"/>
                </a:lnTo>
                <a:lnTo>
                  <a:pt x="3768" y="438"/>
                </a:lnTo>
                <a:lnTo>
                  <a:pt x="3757" y="431"/>
                </a:lnTo>
                <a:lnTo>
                  <a:pt x="3755" y="440"/>
                </a:lnTo>
                <a:lnTo>
                  <a:pt x="3754" y="449"/>
                </a:lnTo>
                <a:lnTo>
                  <a:pt x="3755" y="453"/>
                </a:lnTo>
                <a:lnTo>
                  <a:pt x="3756" y="455"/>
                </a:lnTo>
                <a:lnTo>
                  <a:pt x="3756" y="457"/>
                </a:lnTo>
                <a:lnTo>
                  <a:pt x="3759" y="460"/>
                </a:lnTo>
                <a:lnTo>
                  <a:pt x="3763" y="462"/>
                </a:lnTo>
                <a:lnTo>
                  <a:pt x="3765" y="462"/>
                </a:lnTo>
                <a:lnTo>
                  <a:pt x="3767" y="462"/>
                </a:lnTo>
                <a:lnTo>
                  <a:pt x="3769" y="461"/>
                </a:lnTo>
                <a:lnTo>
                  <a:pt x="3771" y="462"/>
                </a:lnTo>
                <a:lnTo>
                  <a:pt x="3771" y="467"/>
                </a:lnTo>
                <a:lnTo>
                  <a:pt x="3771" y="472"/>
                </a:lnTo>
                <a:lnTo>
                  <a:pt x="3772" y="477"/>
                </a:lnTo>
                <a:lnTo>
                  <a:pt x="3772" y="479"/>
                </a:lnTo>
                <a:lnTo>
                  <a:pt x="3771" y="482"/>
                </a:lnTo>
                <a:lnTo>
                  <a:pt x="3768" y="484"/>
                </a:lnTo>
                <a:lnTo>
                  <a:pt x="3767" y="485"/>
                </a:lnTo>
                <a:lnTo>
                  <a:pt x="3766" y="486"/>
                </a:lnTo>
                <a:lnTo>
                  <a:pt x="3765" y="487"/>
                </a:lnTo>
                <a:lnTo>
                  <a:pt x="3761" y="487"/>
                </a:lnTo>
                <a:lnTo>
                  <a:pt x="3760" y="487"/>
                </a:lnTo>
                <a:lnTo>
                  <a:pt x="3759" y="486"/>
                </a:lnTo>
                <a:lnTo>
                  <a:pt x="3760" y="485"/>
                </a:lnTo>
                <a:lnTo>
                  <a:pt x="3753" y="483"/>
                </a:lnTo>
                <a:lnTo>
                  <a:pt x="3745" y="482"/>
                </a:lnTo>
                <a:lnTo>
                  <a:pt x="3737" y="482"/>
                </a:lnTo>
                <a:lnTo>
                  <a:pt x="3735" y="482"/>
                </a:lnTo>
                <a:lnTo>
                  <a:pt x="3734" y="476"/>
                </a:lnTo>
                <a:lnTo>
                  <a:pt x="3735" y="470"/>
                </a:lnTo>
                <a:lnTo>
                  <a:pt x="3731" y="470"/>
                </a:lnTo>
                <a:lnTo>
                  <a:pt x="3729" y="470"/>
                </a:lnTo>
                <a:lnTo>
                  <a:pt x="3727" y="470"/>
                </a:lnTo>
                <a:lnTo>
                  <a:pt x="3723" y="470"/>
                </a:lnTo>
                <a:lnTo>
                  <a:pt x="3721" y="464"/>
                </a:lnTo>
                <a:lnTo>
                  <a:pt x="3719" y="458"/>
                </a:lnTo>
                <a:lnTo>
                  <a:pt x="3717" y="452"/>
                </a:lnTo>
                <a:lnTo>
                  <a:pt x="3716" y="446"/>
                </a:lnTo>
                <a:lnTo>
                  <a:pt x="3715" y="440"/>
                </a:lnTo>
                <a:lnTo>
                  <a:pt x="3715" y="434"/>
                </a:lnTo>
                <a:lnTo>
                  <a:pt x="3715" y="420"/>
                </a:lnTo>
                <a:lnTo>
                  <a:pt x="3707" y="416"/>
                </a:lnTo>
                <a:lnTo>
                  <a:pt x="3703" y="414"/>
                </a:lnTo>
                <a:lnTo>
                  <a:pt x="3699" y="413"/>
                </a:lnTo>
                <a:lnTo>
                  <a:pt x="3691" y="411"/>
                </a:lnTo>
                <a:lnTo>
                  <a:pt x="3681" y="409"/>
                </a:lnTo>
                <a:lnTo>
                  <a:pt x="3684" y="400"/>
                </a:lnTo>
                <a:lnTo>
                  <a:pt x="3682" y="400"/>
                </a:lnTo>
                <a:lnTo>
                  <a:pt x="3678" y="400"/>
                </a:lnTo>
                <a:lnTo>
                  <a:pt x="3673" y="400"/>
                </a:lnTo>
                <a:lnTo>
                  <a:pt x="3673" y="396"/>
                </a:lnTo>
                <a:lnTo>
                  <a:pt x="3673" y="392"/>
                </a:lnTo>
                <a:lnTo>
                  <a:pt x="3670" y="386"/>
                </a:lnTo>
                <a:lnTo>
                  <a:pt x="3659" y="369"/>
                </a:lnTo>
                <a:lnTo>
                  <a:pt x="3681" y="383"/>
                </a:lnTo>
                <a:lnTo>
                  <a:pt x="3683" y="383"/>
                </a:lnTo>
                <a:lnTo>
                  <a:pt x="3684" y="381"/>
                </a:lnTo>
                <a:lnTo>
                  <a:pt x="3685" y="380"/>
                </a:lnTo>
                <a:lnTo>
                  <a:pt x="3687" y="380"/>
                </a:lnTo>
                <a:lnTo>
                  <a:pt x="3688" y="382"/>
                </a:lnTo>
                <a:lnTo>
                  <a:pt x="3690" y="383"/>
                </a:lnTo>
                <a:lnTo>
                  <a:pt x="3693" y="388"/>
                </a:lnTo>
                <a:lnTo>
                  <a:pt x="3696" y="392"/>
                </a:lnTo>
                <a:lnTo>
                  <a:pt x="3698" y="395"/>
                </a:lnTo>
                <a:lnTo>
                  <a:pt x="3699" y="392"/>
                </a:lnTo>
                <a:lnTo>
                  <a:pt x="3700" y="389"/>
                </a:lnTo>
                <a:lnTo>
                  <a:pt x="3701" y="387"/>
                </a:lnTo>
                <a:lnTo>
                  <a:pt x="3703" y="386"/>
                </a:lnTo>
                <a:lnTo>
                  <a:pt x="3704" y="386"/>
                </a:lnTo>
                <a:lnTo>
                  <a:pt x="3706" y="386"/>
                </a:lnTo>
                <a:lnTo>
                  <a:pt x="3706" y="395"/>
                </a:lnTo>
                <a:lnTo>
                  <a:pt x="3723" y="400"/>
                </a:lnTo>
                <a:lnTo>
                  <a:pt x="3744" y="406"/>
                </a:lnTo>
                <a:lnTo>
                  <a:pt x="3755" y="409"/>
                </a:lnTo>
                <a:lnTo>
                  <a:pt x="3765" y="411"/>
                </a:lnTo>
                <a:lnTo>
                  <a:pt x="3770" y="411"/>
                </a:lnTo>
                <a:lnTo>
                  <a:pt x="3774" y="412"/>
                </a:lnTo>
                <a:lnTo>
                  <a:pt x="3779" y="412"/>
                </a:lnTo>
                <a:lnTo>
                  <a:pt x="3782" y="411"/>
                </a:lnTo>
                <a:lnTo>
                  <a:pt x="3786" y="410"/>
                </a:lnTo>
                <a:lnTo>
                  <a:pt x="3791" y="406"/>
                </a:lnTo>
                <a:lnTo>
                  <a:pt x="3799" y="400"/>
                </a:lnTo>
                <a:lnTo>
                  <a:pt x="3803" y="397"/>
                </a:lnTo>
                <a:lnTo>
                  <a:pt x="3808" y="394"/>
                </a:lnTo>
                <a:lnTo>
                  <a:pt x="3812" y="389"/>
                </a:lnTo>
                <a:lnTo>
                  <a:pt x="3815" y="385"/>
                </a:lnTo>
                <a:lnTo>
                  <a:pt x="3817" y="382"/>
                </a:lnTo>
                <a:lnTo>
                  <a:pt x="3818" y="380"/>
                </a:lnTo>
                <a:lnTo>
                  <a:pt x="3819" y="377"/>
                </a:lnTo>
                <a:lnTo>
                  <a:pt x="3819" y="374"/>
                </a:lnTo>
                <a:lnTo>
                  <a:pt x="3819" y="371"/>
                </a:lnTo>
                <a:lnTo>
                  <a:pt x="3819" y="368"/>
                </a:lnTo>
                <a:lnTo>
                  <a:pt x="3818" y="364"/>
                </a:lnTo>
                <a:lnTo>
                  <a:pt x="3816" y="361"/>
                </a:lnTo>
                <a:lnTo>
                  <a:pt x="3810" y="361"/>
                </a:lnTo>
                <a:lnTo>
                  <a:pt x="3810" y="355"/>
                </a:lnTo>
                <a:lnTo>
                  <a:pt x="3805" y="353"/>
                </a:lnTo>
                <a:lnTo>
                  <a:pt x="3800" y="351"/>
                </a:lnTo>
                <a:lnTo>
                  <a:pt x="3796" y="349"/>
                </a:lnTo>
                <a:lnTo>
                  <a:pt x="3791" y="347"/>
                </a:lnTo>
                <a:lnTo>
                  <a:pt x="3791" y="341"/>
                </a:lnTo>
                <a:lnTo>
                  <a:pt x="3790" y="341"/>
                </a:lnTo>
                <a:lnTo>
                  <a:pt x="3789" y="341"/>
                </a:lnTo>
                <a:lnTo>
                  <a:pt x="3787" y="341"/>
                </a:lnTo>
                <a:lnTo>
                  <a:pt x="3785" y="341"/>
                </a:lnTo>
                <a:lnTo>
                  <a:pt x="3783" y="341"/>
                </a:lnTo>
                <a:lnTo>
                  <a:pt x="3782" y="341"/>
                </a:lnTo>
                <a:lnTo>
                  <a:pt x="3782" y="335"/>
                </a:lnTo>
                <a:lnTo>
                  <a:pt x="3759" y="323"/>
                </a:lnTo>
                <a:lnTo>
                  <a:pt x="3747" y="317"/>
                </a:lnTo>
                <a:lnTo>
                  <a:pt x="3742" y="315"/>
                </a:lnTo>
                <a:lnTo>
                  <a:pt x="3737" y="313"/>
                </a:lnTo>
                <a:lnTo>
                  <a:pt x="3732" y="312"/>
                </a:lnTo>
                <a:lnTo>
                  <a:pt x="3729" y="312"/>
                </a:lnTo>
                <a:lnTo>
                  <a:pt x="3726" y="313"/>
                </a:lnTo>
                <a:lnTo>
                  <a:pt x="3723" y="313"/>
                </a:lnTo>
                <a:lnTo>
                  <a:pt x="3722" y="311"/>
                </a:lnTo>
                <a:lnTo>
                  <a:pt x="3720" y="309"/>
                </a:lnTo>
                <a:lnTo>
                  <a:pt x="3719" y="306"/>
                </a:lnTo>
                <a:lnTo>
                  <a:pt x="3718" y="304"/>
                </a:lnTo>
                <a:lnTo>
                  <a:pt x="3715" y="304"/>
                </a:lnTo>
                <a:lnTo>
                  <a:pt x="3712" y="304"/>
                </a:lnTo>
                <a:lnTo>
                  <a:pt x="3709" y="305"/>
                </a:lnTo>
                <a:lnTo>
                  <a:pt x="3706" y="304"/>
                </a:lnTo>
                <a:lnTo>
                  <a:pt x="3704" y="299"/>
                </a:lnTo>
                <a:lnTo>
                  <a:pt x="3698" y="297"/>
                </a:lnTo>
                <a:lnTo>
                  <a:pt x="3693" y="296"/>
                </a:lnTo>
                <a:lnTo>
                  <a:pt x="3681" y="294"/>
                </a:lnTo>
                <a:lnTo>
                  <a:pt x="3670" y="294"/>
                </a:lnTo>
                <a:lnTo>
                  <a:pt x="3661" y="293"/>
                </a:lnTo>
                <a:lnTo>
                  <a:pt x="3661" y="288"/>
                </a:lnTo>
                <a:lnTo>
                  <a:pt x="3667" y="287"/>
                </a:lnTo>
                <a:lnTo>
                  <a:pt x="3670" y="286"/>
                </a:lnTo>
                <a:lnTo>
                  <a:pt x="3671" y="286"/>
                </a:lnTo>
                <a:lnTo>
                  <a:pt x="3671" y="285"/>
                </a:lnTo>
                <a:lnTo>
                  <a:pt x="3670" y="284"/>
                </a:lnTo>
                <a:lnTo>
                  <a:pt x="3665" y="282"/>
                </a:lnTo>
                <a:lnTo>
                  <a:pt x="3659" y="279"/>
                </a:lnTo>
                <a:lnTo>
                  <a:pt x="3658" y="279"/>
                </a:lnTo>
                <a:lnTo>
                  <a:pt x="3656" y="279"/>
                </a:lnTo>
                <a:lnTo>
                  <a:pt x="3653" y="280"/>
                </a:lnTo>
                <a:lnTo>
                  <a:pt x="3651" y="280"/>
                </a:lnTo>
                <a:lnTo>
                  <a:pt x="3647" y="280"/>
                </a:lnTo>
                <a:lnTo>
                  <a:pt x="3640" y="278"/>
                </a:lnTo>
                <a:lnTo>
                  <a:pt x="3635" y="277"/>
                </a:lnTo>
                <a:lnTo>
                  <a:pt x="3633" y="276"/>
                </a:lnTo>
                <a:lnTo>
                  <a:pt x="3630" y="276"/>
                </a:lnTo>
                <a:lnTo>
                  <a:pt x="3628" y="282"/>
                </a:lnTo>
                <a:lnTo>
                  <a:pt x="3622" y="283"/>
                </a:lnTo>
                <a:lnTo>
                  <a:pt x="3619" y="283"/>
                </a:lnTo>
                <a:lnTo>
                  <a:pt x="3614" y="285"/>
                </a:lnTo>
                <a:lnTo>
                  <a:pt x="3612" y="282"/>
                </a:lnTo>
                <a:lnTo>
                  <a:pt x="3611" y="278"/>
                </a:lnTo>
                <a:lnTo>
                  <a:pt x="3610" y="276"/>
                </a:lnTo>
                <a:lnTo>
                  <a:pt x="3608" y="274"/>
                </a:lnTo>
                <a:lnTo>
                  <a:pt x="3611" y="273"/>
                </a:lnTo>
                <a:lnTo>
                  <a:pt x="3615" y="274"/>
                </a:lnTo>
                <a:lnTo>
                  <a:pt x="3619" y="274"/>
                </a:lnTo>
                <a:lnTo>
                  <a:pt x="3620" y="274"/>
                </a:lnTo>
                <a:lnTo>
                  <a:pt x="3622" y="274"/>
                </a:lnTo>
                <a:lnTo>
                  <a:pt x="3623" y="272"/>
                </a:lnTo>
                <a:lnTo>
                  <a:pt x="3625" y="269"/>
                </a:lnTo>
                <a:lnTo>
                  <a:pt x="3626" y="266"/>
                </a:lnTo>
                <a:lnTo>
                  <a:pt x="3628" y="265"/>
                </a:lnTo>
                <a:lnTo>
                  <a:pt x="3630" y="265"/>
                </a:lnTo>
                <a:lnTo>
                  <a:pt x="3631" y="265"/>
                </a:lnTo>
                <a:lnTo>
                  <a:pt x="3633" y="266"/>
                </a:lnTo>
                <a:lnTo>
                  <a:pt x="3635" y="268"/>
                </a:lnTo>
                <a:lnTo>
                  <a:pt x="3637" y="268"/>
                </a:lnTo>
                <a:lnTo>
                  <a:pt x="3639" y="268"/>
                </a:lnTo>
                <a:lnTo>
                  <a:pt x="3637" y="265"/>
                </a:lnTo>
                <a:lnTo>
                  <a:pt x="3636" y="261"/>
                </a:lnTo>
                <a:lnTo>
                  <a:pt x="3635" y="257"/>
                </a:lnTo>
                <a:lnTo>
                  <a:pt x="3633" y="254"/>
                </a:lnTo>
                <a:lnTo>
                  <a:pt x="3631" y="254"/>
                </a:lnTo>
                <a:lnTo>
                  <a:pt x="3630" y="254"/>
                </a:lnTo>
                <a:lnTo>
                  <a:pt x="3630" y="255"/>
                </a:lnTo>
                <a:lnTo>
                  <a:pt x="3630" y="257"/>
                </a:lnTo>
                <a:lnTo>
                  <a:pt x="3626" y="257"/>
                </a:lnTo>
                <a:lnTo>
                  <a:pt x="3622" y="257"/>
                </a:lnTo>
                <a:lnTo>
                  <a:pt x="3623" y="254"/>
                </a:lnTo>
                <a:lnTo>
                  <a:pt x="3625" y="251"/>
                </a:lnTo>
                <a:lnTo>
                  <a:pt x="3626" y="249"/>
                </a:lnTo>
                <a:lnTo>
                  <a:pt x="3626" y="248"/>
                </a:lnTo>
                <a:lnTo>
                  <a:pt x="3623" y="249"/>
                </a:lnTo>
                <a:lnTo>
                  <a:pt x="3620" y="252"/>
                </a:lnTo>
                <a:lnTo>
                  <a:pt x="3618" y="254"/>
                </a:lnTo>
                <a:lnTo>
                  <a:pt x="3616" y="254"/>
                </a:lnTo>
                <a:lnTo>
                  <a:pt x="3616" y="248"/>
                </a:lnTo>
                <a:lnTo>
                  <a:pt x="3611" y="248"/>
                </a:lnTo>
                <a:lnTo>
                  <a:pt x="3611" y="247"/>
                </a:lnTo>
                <a:lnTo>
                  <a:pt x="3612" y="245"/>
                </a:lnTo>
                <a:lnTo>
                  <a:pt x="3614" y="243"/>
                </a:lnTo>
                <a:lnTo>
                  <a:pt x="3612" y="243"/>
                </a:lnTo>
                <a:lnTo>
                  <a:pt x="3611" y="243"/>
                </a:lnTo>
                <a:lnTo>
                  <a:pt x="3611" y="242"/>
                </a:lnTo>
                <a:lnTo>
                  <a:pt x="3610" y="241"/>
                </a:lnTo>
                <a:lnTo>
                  <a:pt x="3610" y="240"/>
                </a:lnTo>
                <a:lnTo>
                  <a:pt x="3609" y="239"/>
                </a:lnTo>
                <a:lnTo>
                  <a:pt x="3607" y="239"/>
                </a:lnTo>
                <a:lnTo>
                  <a:pt x="3605" y="240"/>
                </a:lnTo>
                <a:lnTo>
                  <a:pt x="3604" y="240"/>
                </a:lnTo>
                <a:lnTo>
                  <a:pt x="3604" y="241"/>
                </a:lnTo>
                <a:lnTo>
                  <a:pt x="3603" y="244"/>
                </a:lnTo>
                <a:lnTo>
                  <a:pt x="3603" y="247"/>
                </a:lnTo>
                <a:lnTo>
                  <a:pt x="3603" y="248"/>
                </a:lnTo>
                <a:lnTo>
                  <a:pt x="3602" y="248"/>
                </a:lnTo>
                <a:lnTo>
                  <a:pt x="3598" y="249"/>
                </a:lnTo>
                <a:lnTo>
                  <a:pt x="3594" y="250"/>
                </a:lnTo>
                <a:lnTo>
                  <a:pt x="3591" y="251"/>
                </a:lnTo>
                <a:lnTo>
                  <a:pt x="3591" y="245"/>
                </a:lnTo>
                <a:lnTo>
                  <a:pt x="3591" y="240"/>
                </a:lnTo>
                <a:lnTo>
                  <a:pt x="3595" y="240"/>
                </a:lnTo>
                <a:lnTo>
                  <a:pt x="3597" y="239"/>
                </a:lnTo>
                <a:lnTo>
                  <a:pt x="3598" y="238"/>
                </a:lnTo>
                <a:lnTo>
                  <a:pt x="3598" y="237"/>
                </a:lnTo>
                <a:lnTo>
                  <a:pt x="3598" y="236"/>
                </a:lnTo>
                <a:lnTo>
                  <a:pt x="3597" y="235"/>
                </a:lnTo>
                <a:lnTo>
                  <a:pt x="3595" y="234"/>
                </a:lnTo>
                <a:lnTo>
                  <a:pt x="3594" y="234"/>
                </a:lnTo>
                <a:lnTo>
                  <a:pt x="3595" y="234"/>
                </a:lnTo>
                <a:lnTo>
                  <a:pt x="3594" y="234"/>
                </a:lnTo>
                <a:lnTo>
                  <a:pt x="3591" y="232"/>
                </a:lnTo>
                <a:lnTo>
                  <a:pt x="3587" y="230"/>
                </a:lnTo>
                <a:lnTo>
                  <a:pt x="3583" y="229"/>
                </a:lnTo>
                <a:lnTo>
                  <a:pt x="3580" y="237"/>
                </a:lnTo>
                <a:lnTo>
                  <a:pt x="3574" y="240"/>
                </a:lnTo>
                <a:lnTo>
                  <a:pt x="3577" y="248"/>
                </a:lnTo>
                <a:lnTo>
                  <a:pt x="3571" y="253"/>
                </a:lnTo>
                <a:lnTo>
                  <a:pt x="3566" y="257"/>
                </a:lnTo>
                <a:lnTo>
                  <a:pt x="3566" y="259"/>
                </a:lnTo>
                <a:lnTo>
                  <a:pt x="3564" y="259"/>
                </a:lnTo>
                <a:lnTo>
                  <a:pt x="3563" y="259"/>
                </a:lnTo>
                <a:lnTo>
                  <a:pt x="3563" y="257"/>
                </a:lnTo>
                <a:lnTo>
                  <a:pt x="3563" y="255"/>
                </a:lnTo>
                <a:lnTo>
                  <a:pt x="3563" y="251"/>
                </a:lnTo>
                <a:lnTo>
                  <a:pt x="3563" y="248"/>
                </a:lnTo>
                <a:lnTo>
                  <a:pt x="3565" y="248"/>
                </a:lnTo>
                <a:lnTo>
                  <a:pt x="3566" y="247"/>
                </a:lnTo>
                <a:lnTo>
                  <a:pt x="3566" y="246"/>
                </a:lnTo>
                <a:lnTo>
                  <a:pt x="3566" y="245"/>
                </a:lnTo>
                <a:lnTo>
                  <a:pt x="3565" y="242"/>
                </a:lnTo>
                <a:lnTo>
                  <a:pt x="3563" y="240"/>
                </a:lnTo>
                <a:lnTo>
                  <a:pt x="3558" y="244"/>
                </a:lnTo>
                <a:lnTo>
                  <a:pt x="3556" y="247"/>
                </a:lnTo>
                <a:lnTo>
                  <a:pt x="3556" y="248"/>
                </a:lnTo>
                <a:lnTo>
                  <a:pt x="3557" y="248"/>
                </a:lnTo>
                <a:lnTo>
                  <a:pt x="3554" y="251"/>
                </a:lnTo>
                <a:lnTo>
                  <a:pt x="3550" y="255"/>
                </a:lnTo>
                <a:lnTo>
                  <a:pt x="3546" y="259"/>
                </a:lnTo>
                <a:lnTo>
                  <a:pt x="3544" y="261"/>
                </a:lnTo>
                <a:lnTo>
                  <a:pt x="3543" y="262"/>
                </a:lnTo>
                <a:lnTo>
                  <a:pt x="3543" y="263"/>
                </a:lnTo>
                <a:lnTo>
                  <a:pt x="3543" y="265"/>
                </a:lnTo>
                <a:lnTo>
                  <a:pt x="3543" y="267"/>
                </a:lnTo>
                <a:lnTo>
                  <a:pt x="3544" y="269"/>
                </a:lnTo>
                <a:lnTo>
                  <a:pt x="3544" y="270"/>
                </a:lnTo>
                <a:lnTo>
                  <a:pt x="3543" y="271"/>
                </a:lnTo>
                <a:lnTo>
                  <a:pt x="3542" y="272"/>
                </a:lnTo>
                <a:lnTo>
                  <a:pt x="3539" y="274"/>
                </a:lnTo>
                <a:lnTo>
                  <a:pt x="3536" y="275"/>
                </a:lnTo>
                <a:lnTo>
                  <a:pt x="3535" y="276"/>
                </a:lnTo>
                <a:lnTo>
                  <a:pt x="3536" y="271"/>
                </a:lnTo>
                <a:lnTo>
                  <a:pt x="3537" y="267"/>
                </a:lnTo>
                <a:lnTo>
                  <a:pt x="3537" y="262"/>
                </a:lnTo>
                <a:lnTo>
                  <a:pt x="3538" y="257"/>
                </a:lnTo>
                <a:lnTo>
                  <a:pt x="3543" y="256"/>
                </a:lnTo>
                <a:lnTo>
                  <a:pt x="3545" y="255"/>
                </a:lnTo>
                <a:lnTo>
                  <a:pt x="3546" y="254"/>
                </a:lnTo>
                <a:lnTo>
                  <a:pt x="3540" y="240"/>
                </a:lnTo>
                <a:lnTo>
                  <a:pt x="3538" y="241"/>
                </a:lnTo>
                <a:lnTo>
                  <a:pt x="3537" y="243"/>
                </a:lnTo>
                <a:lnTo>
                  <a:pt x="3537" y="244"/>
                </a:lnTo>
                <a:lnTo>
                  <a:pt x="3538" y="245"/>
                </a:lnTo>
                <a:lnTo>
                  <a:pt x="3535" y="244"/>
                </a:lnTo>
                <a:lnTo>
                  <a:pt x="3534" y="243"/>
                </a:lnTo>
                <a:lnTo>
                  <a:pt x="3534" y="241"/>
                </a:lnTo>
                <a:lnTo>
                  <a:pt x="3532" y="240"/>
                </a:lnTo>
                <a:lnTo>
                  <a:pt x="3531" y="240"/>
                </a:lnTo>
                <a:lnTo>
                  <a:pt x="3530" y="240"/>
                </a:lnTo>
                <a:lnTo>
                  <a:pt x="3527" y="239"/>
                </a:lnTo>
                <a:lnTo>
                  <a:pt x="3524" y="237"/>
                </a:lnTo>
                <a:lnTo>
                  <a:pt x="3524" y="246"/>
                </a:lnTo>
                <a:lnTo>
                  <a:pt x="3524" y="251"/>
                </a:lnTo>
                <a:lnTo>
                  <a:pt x="3524" y="253"/>
                </a:lnTo>
                <a:lnTo>
                  <a:pt x="3524" y="254"/>
                </a:lnTo>
                <a:lnTo>
                  <a:pt x="3518" y="251"/>
                </a:lnTo>
                <a:lnTo>
                  <a:pt x="3519" y="250"/>
                </a:lnTo>
                <a:lnTo>
                  <a:pt x="3519" y="248"/>
                </a:lnTo>
                <a:lnTo>
                  <a:pt x="3519" y="247"/>
                </a:lnTo>
                <a:lnTo>
                  <a:pt x="3517" y="247"/>
                </a:lnTo>
                <a:lnTo>
                  <a:pt x="3512" y="245"/>
                </a:lnTo>
                <a:lnTo>
                  <a:pt x="3512" y="247"/>
                </a:lnTo>
                <a:lnTo>
                  <a:pt x="3512" y="249"/>
                </a:lnTo>
                <a:lnTo>
                  <a:pt x="3512" y="252"/>
                </a:lnTo>
                <a:lnTo>
                  <a:pt x="3512" y="254"/>
                </a:lnTo>
                <a:lnTo>
                  <a:pt x="3495" y="268"/>
                </a:lnTo>
                <a:lnTo>
                  <a:pt x="3489" y="263"/>
                </a:lnTo>
                <a:lnTo>
                  <a:pt x="3482" y="259"/>
                </a:lnTo>
                <a:lnTo>
                  <a:pt x="3474" y="255"/>
                </a:lnTo>
                <a:lnTo>
                  <a:pt x="3470" y="254"/>
                </a:lnTo>
                <a:lnTo>
                  <a:pt x="3467" y="254"/>
                </a:lnTo>
                <a:lnTo>
                  <a:pt x="3464" y="258"/>
                </a:lnTo>
                <a:lnTo>
                  <a:pt x="3462" y="262"/>
                </a:lnTo>
                <a:lnTo>
                  <a:pt x="3466" y="262"/>
                </a:lnTo>
                <a:lnTo>
                  <a:pt x="3470" y="262"/>
                </a:lnTo>
                <a:lnTo>
                  <a:pt x="3471" y="269"/>
                </a:lnTo>
                <a:lnTo>
                  <a:pt x="3471" y="271"/>
                </a:lnTo>
                <a:lnTo>
                  <a:pt x="3473" y="274"/>
                </a:lnTo>
                <a:lnTo>
                  <a:pt x="3466" y="271"/>
                </a:lnTo>
                <a:lnTo>
                  <a:pt x="3459" y="268"/>
                </a:lnTo>
                <a:lnTo>
                  <a:pt x="3462" y="279"/>
                </a:lnTo>
                <a:lnTo>
                  <a:pt x="3457" y="279"/>
                </a:lnTo>
                <a:lnTo>
                  <a:pt x="3453" y="279"/>
                </a:lnTo>
                <a:lnTo>
                  <a:pt x="3455" y="272"/>
                </a:lnTo>
                <a:lnTo>
                  <a:pt x="3455" y="269"/>
                </a:lnTo>
                <a:lnTo>
                  <a:pt x="3453" y="268"/>
                </a:lnTo>
                <a:lnTo>
                  <a:pt x="3449" y="276"/>
                </a:lnTo>
                <a:lnTo>
                  <a:pt x="3448" y="279"/>
                </a:lnTo>
                <a:lnTo>
                  <a:pt x="3447" y="280"/>
                </a:lnTo>
                <a:lnTo>
                  <a:pt x="3446" y="280"/>
                </a:lnTo>
                <a:lnTo>
                  <a:pt x="3445" y="278"/>
                </a:lnTo>
                <a:lnTo>
                  <a:pt x="3442" y="268"/>
                </a:lnTo>
                <a:lnTo>
                  <a:pt x="3441" y="269"/>
                </a:lnTo>
                <a:lnTo>
                  <a:pt x="3441" y="271"/>
                </a:lnTo>
                <a:lnTo>
                  <a:pt x="3441" y="274"/>
                </a:lnTo>
                <a:lnTo>
                  <a:pt x="3440" y="276"/>
                </a:lnTo>
                <a:lnTo>
                  <a:pt x="3440" y="278"/>
                </a:lnTo>
                <a:lnTo>
                  <a:pt x="3439" y="279"/>
                </a:lnTo>
                <a:lnTo>
                  <a:pt x="3437" y="281"/>
                </a:lnTo>
                <a:lnTo>
                  <a:pt x="3434" y="282"/>
                </a:lnTo>
                <a:lnTo>
                  <a:pt x="3430" y="283"/>
                </a:lnTo>
                <a:lnTo>
                  <a:pt x="3428" y="285"/>
                </a:lnTo>
                <a:lnTo>
                  <a:pt x="3427" y="283"/>
                </a:lnTo>
                <a:lnTo>
                  <a:pt x="3426" y="282"/>
                </a:lnTo>
                <a:lnTo>
                  <a:pt x="3427" y="280"/>
                </a:lnTo>
                <a:lnTo>
                  <a:pt x="3427" y="279"/>
                </a:lnTo>
                <a:lnTo>
                  <a:pt x="3426" y="278"/>
                </a:lnTo>
                <a:lnTo>
                  <a:pt x="3425" y="277"/>
                </a:lnTo>
                <a:lnTo>
                  <a:pt x="3422" y="276"/>
                </a:lnTo>
                <a:lnTo>
                  <a:pt x="3420" y="288"/>
                </a:lnTo>
                <a:lnTo>
                  <a:pt x="3422" y="287"/>
                </a:lnTo>
                <a:lnTo>
                  <a:pt x="3425" y="288"/>
                </a:lnTo>
                <a:lnTo>
                  <a:pt x="3425" y="289"/>
                </a:lnTo>
                <a:lnTo>
                  <a:pt x="3424" y="290"/>
                </a:lnTo>
                <a:lnTo>
                  <a:pt x="3422" y="290"/>
                </a:lnTo>
                <a:lnTo>
                  <a:pt x="3416" y="292"/>
                </a:lnTo>
                <a:lnTo>
                  <a:pt x="3414" y="293"/>
                </a:lnTo>
                <a:lnTo>
                  <a:pt x="3415" y="293"/>
                </a:lnTo>
                <a:lnTo>
                  <a:pt x="3417" y="293"/>
                </a:lnTo>
                <a:lnTo>
                  <a:pt x="3417" y="299"/>
                </a:lnTo>
                <a:lnTo>
                  <a:pt x="3413" y="299"/>
                </a:lnTo>
                <a:lnTo>
                  <a:pt x="3411" y="297"/>
                </a:lnTo>
                <a:lnTo>
                  <a:pt x="3409" y="296"/>
                </a:lnTo>
                <a:lnTo>
                  <a:pt x="3408" y="296"/>
                </a:lnTo>
                <a:lnTo>
                  <a:pt x="3405" y="296"/>
                </a:lnTo>
                <a:lnTo>
                  <a:pt x="3405" y="304"/>
                </a:lnTo>
                <a:lnTo>
                  <a:pt x="3403" y="304"/>
                </a:lnTo>
                <a:lnTo>
                  <a:pt x="3402" y="304"/>
                </a:lnTo>
                <a:lnTo>
                  <a:pt x="3401" y="303"/>
                </a:lnTo>
                <a:lnTo>
                  <a:pt x="3401" y="302"/>
                </a:lnTo>
                <a:lnTo>
                  <a:pt x="3401" y="301"/>
                </a:lnTo>
                <a:lnTo>
                  <a:pt x="3401" y="297"/>
                </a:lnTo>
                <a:lnTo>
                  <a:pt x="3402" y="293"/>
                </a:lnTo>
                <a:lnTo>
                  <a:pt x="3403" y="289"/>
                </a:lnTo>
                <a:lnTo>
                  <a:pt x="3402" y="287"/>
                </a:lnTo>
                <a:lnTo>
                  <a:pt x="3402" y="286"/>
                </a:lnTo>
                <a:lnTo>
                  <a:pt x="3401" y="286"/>
                </a:lnTo>
                <a:lnTo>
                  <a:pt x="3400" y="286"/>
                </a:lnTo>
                <a:lnTo>
                  <a:pt x="3397" y="286"/>
                </a:lnTo>
                <a:lnTo>
                  <a:pt x="3394" y="288"/>
                </a:lnTo>
                <a:lnTo>
                  <a:pt x="3391" y="290"/>
                </a:lnTo>
                <a:lnTo>
                  <a:pt x="3389" y="291"/>
                </a:lnTo>
                <a:lnTo>
                  <a:pt x="3386" y="293"/>
                </a:lnTo>
                <a:lnTo>
                  <a:pt x="3386" y="304"/>
                </a:lnTo>
                <a:lnTo>
                  <a:pt x="3387" y="306"/>
                </a:lnTo>
                <a:lnTo>
                  <a:pt x="3387" y="307"/>
                </a:lnTo>
                <a:lnTo>
                  <a:pt x="3388" y="307"/>
                </a:lnTo>
                <a:lnTo>
                  <a:pt x="3391" y="307"/>
                </a:lnTo>
                <a:lnTo>
                  <a:pt x="3394" y="306"/>
                </a:lnTo>
                <a:lnTo>
                  <a:pt x="3400" y="304"/>
                </a:lnTo>
                <a:lnTo>
                  <a:pt x="3397" y="317"/>
                </a:lnTo>
                <a:lnTo>
                  <a:pt x="3396" y="321"/>
                </a:lnTo>
                <a:lnTo>
                  <a:pt x="3394" y="325"/>
                </a:lnTo>
                <a:lnTo>
                  <a:pt x="3392" y="327"/>
                </a:lnTo>
                <a:lnTo>
                  <a:pt x="3389" y="330"/>
                </a:lnTo>
                <a:lnTo>
                  <a:pt x="3384" y="332"/>
                </a:lnTo>
                <a:lnTo>
                  <a:pt x="3377" y="335"/>
                </a:lnTo>
                <a:lnTo>
                  <a:pt x="3378" y="339"/>
                </a:lnTo>
                <a:lnTo>
                  <a:pt x="3379" y="340"/>
                </a:lnTo>
                <a:lnTo>
                  <a:pt x="3380" y="340"/>
                </a:lnTo>
                <a:lnTo>
                  <a:pt x="3381" y="340"/>
                </a:lnTo>
                <a:lnTo>
                  <a:pt x="3383" y="341"/>
                </a:lnTo>
                <a:lnTo>
                  <a:pt x="3383" y="352"/>
                </a:lnTo>
                <a:lnTo>
                  <a:pt x="3375" y="348"/>
                </a:lnTo>
                <a:lnTo>
                  <a:pt x="3366" y="344"/>
                </a:lnTo>
                <a:lnTo>
                  <a:pt x="3368" y="349"/>
                </a:lnTo>
                <a:lnTo>
                  <a:pt x="3369" y="352"/>
                </a:lnTo>
                <a:lnTo>
                  <a:pt x="3372" y="356"/>
                </a:lnTo>
                <a:lnTo>
                  <a:pt x="3374" y="361"/>
                </a:lnTo>
                <a:lnTo>
                  <a:pt x="3377" y="369"/>
                </a:lnTo>
                <a:lnTo>
                  <a:pt x="3376" y="370"/>
                </a:lnTo>
                <a:lnTo>
                  <a:pt x="3374" y="370"/>
                </a:lnTo>
                <a:lnTo>
                  <a:pt x="3370" y="369"/>
                </a:lnTo>
                <a:lnTo>
                  <a:pt x="3366" y="369"/>
                </a:lnTo>
                <a:lnTo>
                  <a:pt x="3365" y="369"/>
                </a:lnTo>
                <a:lnTo>
                  <a:pt x="3363" y="369"/>
                </a:lnTo>
                <a:lnTo>
                  <a:pt x="3363" y="371"/>
                </a:lnTo>
                <a:lnTo>
                  <a:pt x="3363" y="375"/>
                </a:lnTo>
                <a:lnTo>
                  <a:pt x="3363" y="380"/>
                </a:lnTo>
                <a:lnTo>
                  <a:pt x="3355" y="386"/>
                </a:lnTo>
                <a:lnTo>
                  <a:pt x="3350" y="388"/>
                </a:lnTo>
                <a:lnTo>
                  <a:pt x="3348" y="389"/>
                </a:lnTo>
                <a:lnTo>
                  <a:pt x="3346" y="389"/>
                </a:lnTo>
                <a:lnTo>
                  <a:pt x="3346" y="388"/>
                </a:lnTo>
                <a:lnTo>
                  <a:pt x="3346" y="386"/>
                </a:lnTo>
                <a:lnTo>
                  <a:pt x="3346" y="385"/>
                </a:lnTo>
                <a:lnTo>
                  <a:pt x="3345" y="385"/>
                </a:lnTo>
                <a:lnTo>
                  <a:pt x="3344" y="386"/>
                </a:lnTo>
                <a:lnTo>
                  <a:pt x="3342" y="388"/>
                </a:lnTo>
                <a:lnTo>
                  <a:pt x="3341" y="392"/>
                </a:lnTo>
                <a:lnTo>
                  <a:pt x="3339" y="395"/>
                </a:lnTo>
                <a:lnTo>
                  <a:pt x="3338" y="397"/>
                </a:lnTo>
                <a:lnTo>
                  <a:pt x="3336" y="397"/>
                </a:lnTo>
                <a:lnTo>
                  <a:pt x="3333" y="397"/>
                </a:lnTo>
                <a:lnTo>
                  <a:pt x="3331" y="397"/>
                </a:lnTo>
                <a:lnTo>
                  <a:pt x="3329" y="397"/>
                </a:lnTo>
                <a:lnTo>
                  <a:pt x="3329" y="403"/>
                </a:lnTo>
                <a:lnTo>
                  <a:pt x="3335" y="403"/>
                </a:lnTo>
                <a:lnTo>
                  <a:pt x="3332" y="405"/>
                </a:lnTo>
                <a:lnTo>
                  <a:pt x="3331" y="406"/>
                </a:lnTo>
                <a:lnTo>
                  <a:pt x="3331" y="407"/>
                </a:lnTo>
                <a:lnTo>
                  <a:pt x="3331" y="408"/>
                </a:lnTo>
                <a:lnTo>
                  <a:pt x="3331" y="409"/>
                </a:lnTo>
                <a:lnTo>
                  <a:pt x="3332" y="411"/>
                </a:lnTo>
                <a:lnTo>
                  <a:pt x="3333" y="413"/>
                </a:lnTo>
                <a:lnTo>
                  <a:pt x="3333" y="415"/>
                </a:lnTo>
                <a:lnTo>
                  <a:pt x="3332" y="417"/>
                </a:lnTo>
                <a:lnTo>
                  <a:pt x="3332" y="418"/>
                </a:lnTo>
                <a:lnTo>
                  <a:pt x="3331" y="418"/>
                </a:lnTo>
                <a:lnTo>
                  <a:pt x="3329" y="419"/>
                </a:lnTo>
                <a:lnTo>
                  <a:pt x="3326" y="419"/>
                </a:lnTo>
                <a:lnTo>
                  <a:pt x="3324" y="420"/>
                </a:lnTo>
                <a:lnTo>
                  <a:pt x="3316" y="424"/>
                </a:lnTo>
                <a:lnTo>
                  <a:pt x="3313" y="426"/>
                </a:lnTo>
                <a:lnTo>
                  <a:pt x="3310" y="428"/>
                </a:lnTo>
                <a:lnTo>
                  <a:pt x="3308" y="431"/>
                </a:lnTo>
                <a:lnTo>
                  <a:pt x="3307" y="432"/>
                </a:lnTo>
                <a:lnTo>
                  <a:pt x="3307" y="434"/>
                </a:lnTo>
                <a:lnTo>
                  <a:pt x="3305" y="439"/>
                </a:lnTo>
                <a:lnTo>
                  <a:pt x="3304" y="445"/>
                </a:lnTo>
                <a:lnTo>
                  <a:pt x="3301" y="444"/>
                </a:lnTo>
                <a:lnTo>
                  <a:pt x="3298" y="443"/>
                </a:lnTo>
                <a:lnTo>
                  <a:pt x="3295" y="441"/>
                </a:lnTo>
                <a:lnTo>
                  <a:pt x="3293" y="440"/>
                </a:lnTo>
                <a:lnTo>
                  <a:pt x="3292" y="441"/>
                </a:lnTo>
                <a:lnTo>
                  <a:pt x="3290" y="443"/>
                </a:lnTo>
                <a:lnTo>
                  <a:pt x="3286" y="450"/>
                </a:lnTo>
                <a:lnTo>
                  <a:pt x="3282" y="456"/>
                </a:lnTo>
                <a:lnTo>
                  <a:pt x="3279" y="459"/>
                </a:lnTo>
                <a:lnTo>
                  <a:pt x="3276" y="460"/>
                </a:lnTo>
                <a:lnTo>
                  <a:pt x="3274" y="460"/>
                </a:lnTo>
                <a:lnTo>
                  <a:pt x="3272" y="461"/>
                </a:lnTo>
                <a:lnTo>
                  <a:pt x="3271" y="461"/>
                </a:lnTo>
                <a:lnTo>
                  <a:pt x="3270" y="462"/>
                </a:lnTo>
                <a:lnTo>
                  <a:pt x="3268" y="465"/>
                </a:lnTo>
                <a:lnTo>
                  <a:pt x="3267" y="469"/>
                </a:lnTo>
                <a:lnTo>
                  <a:pt x="3266" y="472"/>
                </a:lnTo>
                <a:lnTo>
                  <a:pt x="3265" y="476"/>
                </a:lnTo>
                <a:lnTo>
                  <a:pt x="3262" y="476"/>
                </a:lnTo>
                <a:lnTo>
                  <a:pt x="3260" y="477"/>
                </a:lnTo>
                <a:lnTo>
                  <a:pt x="3259" y="478"/>
                </a:lnTo>
                <a:lnTo>
                  <a:pt x="3259" y="479"/>
                </a:lnTo>
                <a:lnTo>
                  <a:pt x="3260" y="481"/>
                </a:lnTo>
                <a:lnTo>
                  <a:pt x="3262" y="481"/>
                </a:lnTo>
                <a:lnTo>
                  <a:pt x="3265" y="482"/>
                </a:lnTo>
                <a:lnTo>
                  <a:pt x="3268" y="482"/>
                </a:lnTo>
                <a:lnTo>
                  <a:pt x="3268" y="481"/>
                </a:lnTo>
                <a:lnTo>
                  <a:pt x="3270" y="480"/>
                </a:lnTo>
                <a:lnTo>
                  <a:pt x="3272" y="477"/>
                </a:lnTo>
                <a:lnTo>
                  <a:pt x="3275" y="475"/>
                </a:lnTo>
                <a:lnTo>
                  <a:pt x="3276" y="473"/>
                </a:lnTo>
                <a:lnTo>
                  <a:pt x="3279" y="473"/>
                </a:lnTo>
                <a:lnTo>
                  <a:pt x="3282" y="475"/>
                </a:lnTo>
                <a:lnTo>
                  <a:pt x="3283" y="475"/>
                </a:lnTo>
                <a:lnTo>
                  <a:pt x="3283" y="477"/>
                </a:lnTo>
                <a:lnTo>
                  <a:pt x="3283" y="478"/>
                </a:lnTo>
                <a:lnTo>
                  <a:pt x="3282" y="479"/>
                </a:lnTo>
                <a:lnTo>
                  <a:pt x="3279" y="481"/>
                </a:lnTo>
                <a:lnTo>
                  <a:pt x="3276" y="482"/>
                </a:lnTo>
                <a:lnTo>
                  <a:pt x="3270" y="485"/>
                </a:lnTo>
                <a:lnTo>
                  <a:pt x="3270" y="490"/>
                </a:lnTo>
                <a:lnTo>
                  <a:pt x="3265" y="489"/>
                </a:lnTo>
                <a:lnTo>
                  <a:pt x="3262" y="489"/>
                </a:lnTo>
                <a:lnTo>
                  <a:pt x="3259" y="490"/>
                </a:lnTo>
                <a:lnTo>
                  <a:pt x="3256" y="490"/>
                </a:lnTo>
                <a:lnTo>
                  <a:pt x="3256" y="487"/>
                </a:lnTo>
                <a:lnTo>
                  <a:pt x="3256" y="483"/>
                </a:lnTo>
                <a:lnTo>
                  <a:pt x="3255" y="480"/>
                </a:lnTo>
                <a:lnTo>
                  <a:pt x="3254" y="479"/>
                </a:lnTo>
                <a:lnTo>
                  <a:pt x="3252" y="479"/>
                </a:lnTo>
                <a:lnTo>
                  <a:pt x="3251" y="479"/>
                </a:lnTo>
                <a:lnTo>
                  <a:pt x="3250" y="481"/>
                </a:lnTo>
                <a:lnTo>
                  <a:pt x="3249" y="483"/>
                </a:lnTo>
                <a:lnTo>
                  <a:pt x="3248" y="485"/>
                </a:lnTo>
                <a:lnTo>
                  <a:pt x="3240" y="480"/>
                </a:lnTo>
                <a:lnTo>
                  <a:pt x="3234" y="476"/>
                </a:lnTo>
                <a:lnTo>
                  <a:pt x="3231" y="481"/>
                </a:lnTo>
                <a:lnTo>
                  <a:pt x="3230" y="483"/>
                </a:lnTo>
                <a:lnTo>
                  <a:pt x="3228" y="485"/>
                </a:lnTo>
                <a:lnTo>
                  <a:pt x="3231" y="485"/>
                </a:lnTo>
                <a:lnTo>
                  <a:pt x="3232" y="485"/>
                </a:lnTo>
                <a:lnTo>
                  <a:pt x="3233" y="484"/>
                </a:lnTo>
                <a:lnTo>
                  <a:pt x="3235" y="483"/>
                </a:lnTo>
                <a:lnTo>
                  <a:pt x="3237" y="482"/>
                </a:lnTo>
                <a:lnTo>
                  <a:pt x="3236" y="486"/>
                </a:lnTo>
                <a:lnTo>
                  <a:pt x="3237" y="487"/>
                </a:lnTo>
                <a:lnTo>
                  <a:pt x="3237" y="488"/>
                </a:lnTo>
                <a:lnTo>
                  <a:pt x="3238" y="490"/>
                </a:lnTo>
                <a:lnTo>
                  <a:pt x="3239" y="493"/>
                </a:lnTo>
                <a:lnTo>
                  <a:pt x="3237" y="494"/>
                </a:lnTo>
                <a:lnTo>
                  <a:pt x="3237" y="495"/>
                </a:lnTo>
                <a:lnTo>
                  <a:pt x="3237" y="496"/>
                </a:lnTo>
                <a:lnTo>
                  <a:pt x="3237" y="499"/>
                </a:lnTo>
                <a:lnTo>
                  <a:pt x="3232" y="498"/>
                </a:lnTo>
                <a:lnTo>
                  <a:pt x="3228" y="499"/>
                </a:lnTo>
                <a:lnTo>
                  <a:pt x="3227" y="501"/>
                </a:lnTo>
                <a:lnTo>
                  <a:pt x="3225" y="504"/>
                </a:lnTo>
                <a:lnTo>
                  <a:pt x="3223" y="510"/>
                </a:lnTo>
                <a:lnTo>
                  <a:pt x="3218" y="511"/>
                </a:lnTo>
                <a:lnTo>
                  <a:pt x="3213" y="510"/>
                </a:lnTo>
                <a:lnTo>
                  <a:pt x="3208" y="510"/>
                </a:lnTo>
                <a:lnTo>
                  <a:pt x="3205" y="510"/>
                </a:lnTo>
                <a:lnTo>
                  <a:pt x="3203" y="510"/>
                </a:lnTo>
                <a:lnTo>
                  <a:pt x="3203" y="515"/>
                </a:lnTo>
                <a:lnTo>
                  <a:pt x="3205" y="514"/>
                </a:lnTo>
                <a:lnTo>
                  <a:pt x="3206" y="514"/>
                </a:lnTo>
                <a:lnTo>
                  <a:pt x="3207" y="515"/>
                </a:lnTo>
                <a:lnTo>
                  <a:pt x="3208" y="516"/>
                </a:lnTo>
                <a:lnTo>
                  <a:pt x="3209" y="521"/>
                </a:lnTo>
                <a:lnTo>
                  <a:pt x="3202" y="524"/>
                </a:lnTo>
                <a:lnTo>
                  <a:pt x="3200" y="525"/>
                </a:lnTo>
                <a:lnTo>
                  <a:pt x="3199" y="525"/>
                </a:lnTo>
                <a:lnTo>
                  <a:pt x="3200" y="524"/>
                </a:lnTo>
                <a:lnTo>
                  <a:pt x="3189" y="524"/>
                </a:lnTo>
                <a:lnTo>
                  <a:pt x="3189" y="532"/>
                </a:lnTo>
                <a:lnTo>
                  <a:pt x="3196" y="531"/>
                </a:lnTo>
                <a:lnTo>
                  <a:pt x="3198" y="532"/>
                </a:lnTo>
                <a:lnTo>
                  <a:pt x="3197" y="533"/>
                </a:lnTo>
                <a:lnTo>
                  <a:pt x="3192" y="535"/>
                </a:lnTo>
                <a:lnTo>
                  <a:pt x="3182" y="538"/>
                </a:lnTo>
                <a:lnTo>
                  <a:pt x="3176" y="540"/>
                </a:lnTo>
                <a:lnTo>
                  <a:pt x="3166" y="541"/>
                </a:lnTo>
                <a:lnTo>
                  <a:pt x="3166" y="546"/>
                </a:lnTo>
                <a:lnTo>
                  <a:pt x="3178" y="549"/>
                </a:lnTo>
                <a:lnTo>
                  <a:pt x="3185" y="551"/>
                </a:lnTo>
                <a:lnTo>
                  <a:pt x="3180" y="551"/>
                </a:lnTo>
                <a:lnTo>
                  <a:pt x="3171" y="550"/>
                </a:lnTo>
                <a:lnTo>
                  <a:pt x="3166" y="549"/>
                </a:lnTo>
                <a:lnTo>
                  <a:pt x="3164" y="549"/>
                </a:lnTo>
                <a:lnTo>
                  <a:pt x="3158" y="555"/>
                </a:lnTo>
                <a:lnTo>
                  <a:pt x="3160" y="563"/>
                </a:lnTo>
                <a:lnTo>
                  <a:pt x="3161" y="565"/>
                </a:lnTo>
                <a:lnTo>
                  <a:pt x="3163" y="567"/>
                </a:lnTo>
                <a:lnTo>
                  <a:pt x="3164" y="567"/>
                </a:lnTo>
                <a:lnTo>
                  <a:pt x="3167" y="567"/>
                </a:lnTo>
                <a:lnTo>
                  <a:pt x="3175" y="566"/>
                </a:lnTo>
                <a:lnTo>
                  <a:pt x="3168" y="569"/>
                </a:lnTo>
                <a:lnTo>
                  <a:pt x="3161" y="572"/>
                </a:lnTo>
                <a:lnTo>
                  <a:pt x="3162" y="575"/>
                </a:lnTo>
                <a:lnTo>
                  <a:pt x="3163" y="576"/>
                </a:lnTo>
                <a:lnTo>
                  <a:pt x="3164" y="577"/>
                </a:lnTo>
                <a:lnTo>
                  <a:pt x="3169" y="577"/>
                </a:lnTo>
                <a:lnTo>
                  <a:pt x="3169" y="583"/>
                </a:lnTo>
                <a:lnTo>
                  <a:pt x="3161" y="586"/>
                </a:lnTo>
                <a:lnTo>
                  <a:pt x="3169" y="589"/>
                </a:lnTo>
                <a:lnTo>
                  <a:pt x="3172" y="589"/>
                </a:lnTo>
                <a:lnTo>
                  <a:pt x="3173" y="589"/>
                </a:lnTo>
                <a:lnTo>
                  <a:pt x="3173" y="591"/>
                </a:lnTo>
                <a:lnTo>
                  <a:pt x="3172" y="593"/>
                </a:lnTo>
                <a:lnTo>
                  <a:pt x="3169" y="597"/>
                </a:lnTo>
                <a:lnTo>
                  <a:pt x="3175" y="599"/>
                </a:lnTo>
                <a:lnTo>
                  <a:pt x="3176" y="599"/>
                </a:lnTo>
                <a:lnTo>
                  <a:pt x="3175" y="599"/>
                </a:lnTo>
                <a:lnTo>
                  <a:pt x="3174" y="599"/>
                </a:lnTo>
                <a:lnTo>
                  <a:pt x="3175" y="600"/>
                </a:lnTo>
                <a:lnTo>
                  <a:pt x="3178" y="603"/>
                </a:lnTo>
                <a:lnTo>
                  <a:pt x="3180" y="600"/>
                </a:lnTo>
                <a:lnTo>
                  <a:pt x="3182" y="598"/>
                </a:lnTo>
                <a:lnTo>
                  <a:pt x="3186" y="591"/>
                </a:lnTo>
                <a:lnTo>
                  <a:pt x="3192" y="593"/>
                </a:lnTo>
                <a:lnTo>
                  <a:pt x="3194" y="593"/>
                </a:lnTo>
                <a:lnTo>
                  <a:pt x="3195" y="593"/>
                </a:lnTo>
                <a:lnTo>
                  <a:pt x="3195" y="594"/>
                </a:lnTo>
                <a:lnTo>
                  <a:pt x="3194" y="594"/>
                </a:lnTo>
                <a:lnTo>
                  <a:pt x="3189" y="594"/>
                </a:lnTo>
                <a:lnTo>
                  <a:pt x="3183" y="605"/>
                </a:lnTo>
                <a:lnTo>
                  <a:pt x="3178" y="617"/>
                </a:lnTo>
                <a:lnTo>
                  <a:pt x="3172" y="616"/>
                </a:lnTo>
                <a:lnTo>
                  <a:pt x="3169" y="616"/>
                </a:lnTo>
                <a:lnTo>
                  <a:pt x="3166" y="617"/>
                </a:lnTo>
                <a:lnTo>
                  <a:pt x="3167" y="618"/>
                </a:lnTo>
                <a:lnTo>
                  <a:pt x="3167" y="621"/>
                </a:lnTo>
                <a:lnTo>
                  <a:pt x="3166" y="623"/>
                </a:lnTo>
                <a:lnTo>
                  <a:pt x="3166" y="625"/>
                </a:lnTo>
                <a:lnTo>
                  <a:pt x="3170" y="628"/>
                </a:lnTo>
                <a:lnTo>
                  <a:pt x="3173" y="629"/>
                </a:lnTo>
                <a:lnTo>
                  <a:pt x="3175" y="631"/>
                </a:lnTo>
                <a:lnTo>
                  <a:pt x="3176" y="626"/>
                </a:lnTo>
                <a:lnTo>
                  <a:pt x="3177" y="625"/>
                </a:lnTo>
                <a:lnTo>
                  <a:pt x="3177" y="624"/>
                </a:lnTo>
                <a:lnTo>
                  <a:pt x="3177" y="625"/>
                </a:lnTo>
                <a:lnTo>
                  <a:pt x="3178" y="625"/>
                </a:lnTo>
                <a:lnTo>
                  <a:pt x="3183" y="625"/>
                </a:lnTo>
                <a:lnTo>
                  <a:pt x="3184" y="628"/>
                </a:lnTo>
                <a:lnTo>
                  <a:pt x="3185" y="631"/>
                </a:lnTo>
                <a:lnTo>
                  <a:pt x="3185" y="634"/>
                </a:lnTo>
                <a:lnTo>
                  <a:pt x="3184" y="634"/>
                </a:lnTo>
                <a:lnTo>
                  <a:pt x="3183" y="634"/>
                </a:lnTo>
                <a:lnTo>
                  <a:pt x="3181" y="637"/>
                </a:lnTo>
                <a:lnTo>
                  <a:pt x="3178" y="640"/>
                </a:lnTo>
                <a:lnTo>
                  <a:pt x="3175" y="642"/>
                </a:lnTo>
                <a:lnTo>
                  <a:pt x="3174" y="645"/>
                </a:lnTo>
                <a:lnTo>
                  <a:pt x="3175" y="648"/>
                </a:lnTo>
                <a:lnTo>
                  <a:pt x="3175" y="651"/>
                </a:lnTo>
                <a:lnTo>
                  <a:pt x="3175" y="652"/>
                </a:lnTo>
                <a:lnTo>
                  <a:pt x="3175" y="653"/>
                </a:lnTo>
                <a:lnTo>
                  <a:pt x="3180" y="653"/>
                </a:lnTo>
                <a:lnTo>
                  <a:pt x="3183" y="662"/>
                </a:lnTo>
                <a:lnTo>
                  <a:pt x="3185" y="662"/>
                </a:lnTo>
                <a:lnTo>
                  <a:pt x="3187" y="662"/>
                </a:lnTo>
                <a:lnTo>
                  <a:pt x="3190" y="662"/>
                </a:lnTo>
                <a:lnTo>
                  <a:pt x="3195" y="659"/>
                </a:lnTo>
                <a:lnTo>
                  <a:pt x="3196" y="659"/>
                </a:lnTo>
                <a:lnTo>
                  <a:pt x="3197" y="659"/>
                </a:lnTo>
                <a:lnTo>
                  <a:pt x="3197" y="667"/>
                </a:lnTo>
                <a:lnTo>
                  <a:pt x="3202" y="667"/>
                </a:lnTo>
                <a:lnTo>
                  <a:pt x="3207" y="666"/>
                </a:lnTo>
                <a:lnTo>
                  <a:pt x="3213" y="665"/>
                </a:lnTo>
                <a:lnTo>
                  <a:pt x="3218" y="663"/>
                </a:lnTo>
                <a:lnTo>
                  <a:pt x="3228" y="658"/>
                </a:lnTo>
                <a:lnTo>
                  <a:pt x="3237" y="653"/>
                </a:lnTo>
                <a:lnTo>
                  <a:pt x="3238" y="652"/>
                </a:lnTo>
                <a:lnTo>
                  <a:pt x="3239" y="649"/>
                </a:lnTo>
                <a:lnTo>
                  <a:pt x="3241" y="646"/>
                </a:lnTo>
                <a:lnTo>
                  <a:pt x="3242" y="645"/>
                </a:lnTo>
                <a:lnTo>
                  <a:pt x="3245" y="644"/>
                </a:lnTo>
                <a:lnTo>
                  <a:pt x="3248" y="645"/>
                </a:lnTo>
                <a:lnTo>
                  <a:pt x="3251" y="645"/>
                </a:lnTo>
                <a:lnTo>
                  <a:pt x="3254" y="645"/>
                </a:lnTo>
                <a:lnTo>
                  <a:pt x="3256" y="644"/>
                </a:lnTo>
                <a:lnTo>
                  <a:pt x="3259" y="642"/>
                </a:lnTo>
                <a:lnTo>
                  <a:pt x="3265" y="639"/>
                </a:lnTo>
                <a:lnTo>
                  <a:pt x="3271" y="634"/>
                </a:lnTo>
                <a:lnTo>
                  <a:pt x="3276" y="631"/>
                </a:lnTo>
                <a:lnTo>
                  <a:pt x="3277" y="633"/>
                </a:lnTo>
                <a:lnTo>
                  <a:pt x="3277" y="634"/>
                </a:lnTo>
                <a:lnTo>
                  <a:pt x="3278" y="636"/>
                </a:lnTo>
                <a:lnTo>
                  <a:pt x="3279" y="638"/>
                </a:lnTo>
                <a:lnTo>
                  <a:pt x="3279" y="647"/>
                </a:lnTo>
                <a:lnTo>
                  <a:pt x="3279" y="656"/>
                </a:lnTo>
                <a:lnTo>
                  <a:pt x="3284" y="656"/>
                </a:lnTo>
                <a:lnTo>
                  <a:pt x="3285" y="659"/>
                </a:lnTo>
                <a:lnTo>
                  <a:pt x="3285" y="661"/>
                </a:lnTo>
                <a:lnTo>
                  <a:pt x="3283" y="665"/>
                </a:lnTo>
                <a:lnTo>
                  <a:pt x="3282" y="669"/>
                </a:lnTo>
                <a:lnTo>
                  <a:pt x="3282" y="671"/>
                </a:lnTo>
                <a:lnTo>
                  <a:pt x="3282" y="673"/>
                </a:lnTo>
                <a:lnTo>
                  <a:pt x="3286" y="679"/>
                </a:lnTo>
                <a:lnTo>
                  <a:pt x="3294" y="688"/>
                </a:lnTo>
                <a:lnTo>
                  <a:pt x="3310" y="704"/>
                </a:lnTo>
                <a:lnTo>
                  <a:pt x="3307" y="709"/>
                </a:lnTo>
                <a:lnTo>
                  <a:pt x="3304" y="715"/>
                </a:lnTo>
                <a:lnTo>
                  <a:pt x="3299" y="715"/>
                </a:lnTo>
                <a:lnTo>
                  <a:pt x="3298" y="716"/>
                </a:lnTo>
                <a:lnTo>
                  <a:pt x="3298" y="718"/>
                </a:lnTo>
                <a:lnTo>
                  <a:pt x="3299" y="721"/>
                </a:lnTo>
                <a:lnTo>
                  <a:pt x="3299" y="724"/>
                </a:lnTo>
                <a:lnTo>
                  <a:pt x="3299" y="726"/>
                </a:lnTo>
                <a:lnTo>
                  <a:pt x="3302" y="728"/>
                </a:lnTo>
                <a:lnTo>
                  <a:pt x="3304" y="729"/>
                </a:lnTo>
                <a:lnTo>
                  <a:pt x="3305" y="733"/>
                </a:lnTo>
                <a:lnTo>
                  <a:pt x="3304" y="734"/>
                </a:lnTo>
                <a:lnTo>
                  <a:pt x="3303" y="736"/>
                </a:lnTo>
                <a:lnTo>
                  <a:pt x="3301" y="738"/>
                </a:lnTo>
                <a:lnTo>
                  <a:pt x="3315" y="738"/>
                </a:lnTo>
                <a:lnTo>
                  <a:pt x="3323" y="738"/>
                </a:lnTo>
                <a:lnTo>
                  <a:pt x="3329" y="738"/>
                </a:lnTo>
                <a:lnTo>
                  <a:pt x="3330" y="734"/>
                </a:lnTo>
                <a:lnTo>
                  <a:pt x="3329" y="731"/>
                </a:lnTo>
                <a:lnTo>
                  <a:pt x="3329" y="727"/>
                </a:lnTo>
                <a:lnTo>
                  <a:pt x="3329" y="725"/>
                </a:lnTo>
                <a:lnTo>
                  <a:pt x="3329" y="724"/>
                </a:lnTo>
                <a:lnTo>
                  <a:pt x="3331" y="721"/>
                </a:lnTo>
                <a:lnTo>
                  <a:pt x="3333" y="719"/>
                </a:lnTo>
                <a:lnTo>
                  <a:pt x="3338" y="712"/>
                </a:lnTo>
                <a:lnTo>
                  <a:pt x="3346" y="714"/>
                </a:lnTo>
                <a:lnTo>
                  <a:pt x="3355" y="715"/>
                </a:lnTo>
                <a:lnTo>
                  <a:pt x="3360" y="716"/>
                </a:lnTo>
                <a:lnTo>
                  <a:pt x="3364" y="715"/>
                </a:lnTo>
                <a:lnTo>
                  <a:pt x="3368" y="714"/>
                </a:lnTo>
                <a:lnTo>
                  <a:pt x="3370" y="713"/>
                </a:lnTo>
                <a:lnTo>
                  <a:pt x="3372" y="712"/>
                </a:lnTo>
                <a:lnTo>
                  <a:pt x="3373" y="710"/>
                </a:lnTo>
                <a:lnTo>
                  <a:pt x="3375" y="706"/>
                </a:lnTo>
                <a:lnTo>
                  <a:pt x="3376" y="701"/>
                </a:lnTo>
                <a:lnTo>
                  <a:pt x="3377" y="698"/>
                </a:lnTo>
                <a:lnTo>
                  <a:pt x="3376" y="699"/>
                </a:lnTo>
                <a:lnTo>
                  <a:pt x="3375" y="699"/>
                </a:lnTo>
                <a:lnTo>
                  <a:pt x="3374" y="701"/>
                </a:lnTo>
                <a:lnTo>
                  <a:pt x="3372" y="703"/>
                </a:lnTo>
                <a:lnTo>
                  <a:pt x="3372" y="704"/>
                </a:lnTo>
                <a:lnTo>
                  <a:pt x="3370" y="703"/>
                </a:lnTo>
                <a:lnTo>
                  <a:pt x="3370" y="701"/>
                </a:lnTo>
                <a:lnTo>
                  <a:pt x="3370" y="695"/>
                </a:lnTo>
                <a:lnTo>
                  <a:pt x="3371" y="687"/>
                </a:lnTo>
                <a:lnTo>
                  <a:pt x="3372" y="681"/>
                </a:lnTo>
                <a:lnTo>
                  <a:pt x="3374" y="675"/>
                </a:lnTo>
                <a:lnTo>
                  <a:pt x="3377" y="665"/>
                </a:lnTo>
                <a:lnTo>
                  <a:pt x="3378" y="659"/>
                </a:lnTo>
                <a:lnTo>
                  <a:pt x="3378" y="654"/>
                </a:lnTo>
                <a:lnTo>
                  <a:pt x="3377" y="650"/>
                </a:lnTo>
                <a:lnTo>
                  <a:pt x="3376" y="649"/>
                </a:lnTo>
                <a:lnTo>
                  <a:pt x="3374" y="648"/>
                </a:lnTo>
                <a:lnTo>
                  <a:pt x="3378" y="645"/>
                </a:lnTo>
                <a:lnTo>
                  <a:pt x="3379" y="644"/>
                </a:lnTo>
                <a:lnTo>
                  <a:pt x="3379" y="643"/>
                </a:lnTo>
                <a:lnTo>
                  <a:pt x="3378" y="642"/>
                </a:lnTo>
                <a:lnTo>
                  <a:pt x="3377" y="641"/>
                </a:lnTo>
                <a:lnTo>
                  <a:pt x="3378" y="640"/>
                </a:lnTo>
                <a:lnTo>
                  <a:pt x="3380" y="639"/>
                </a:lnTo>
                <a:lnTo>
                  <a:pt x="3383" y="638"/>
                </a:lnTo>
                <a:lnTo>
                  <a:pt x="3386" y="638"/>
                </a:lnTo>
                <a:lnTo>
                  <a:pt x="3391" y="638"/>
                </a:lnTo>
                <a:lnTo>
                  <a:pt x="3395" y="640"/>
                </a:lnTo>
                <a:lnTo>
                  <a:pt x="3398" y="640"/>
                </a:lnTo>
                <a:lnTo>
                  <a:pt x="3400" y="639"/>
                </a:lnTo>
                <a:lnTo>
                  <a:pt x="3408" y="628"/>
                </a:lnTo>
                <a:lnTo>
                  <a:pt x="3414" y="628"/>
                </a:lnTo>
                <a:lnTo>
                  <a:pt x="3414" y="626"/>
                </a:lnTo>
                <a:lnTo>
                  <a:pt x="3414" y="625"/>
                </a:lnTo>
                <a:lnTo>
                  <a:pt x="3413" y="624"/>
                </a:lnTo>
                <a:lnTo>
                  <a:pt x="3412" y="622"/>
                </a:lnTo>
                <a:lnTo>
                  <a:pt x="3410" y="621"/>
                </a:lnTo>
                <a:lnTo>
                  <a:pt x="3408" y="620"/>
                </a:lnTo>
                <a:lnTo>
                  <a:pt x="3414" y="617"/>
                </a:lnTo>
                <a:lnTo>
                  <a:pt x="3418" y="615"/>
                </a:lnTo>
                <a:lnTo>
                  <a:pt x="3420" y="614"/>
                </a:lnTo>
                <a:lnTo>
                  <a:pt x="3420" y="608"/>
                </a:lnTo>
                <a:lnTo>
                  <a:pt x="3412" y="598"/>
                </a:lnTo>
                <a:lnTo>
                  <a:pt x="3409" y="594"/>
                </a:lnTo>
                <a:lnTo>
                  <a:pt x="3405" y="590"/>
                </a:lnTo>
                <a:lnTo>
                  <a:pt x="3402" y="588"/>
                </a:lnTo>
                <a:lnTo>
                  <a:pt x="3397" y="586"/>
                </a:lnTo>
                <a:lnTo>
                  <a:pt x="3392" y="584"/>
                </a:lnTo>
                <a:lnTo>
                  <a:pt x="3386" y="583"/>
                </a:lnTo>
                <a:lnTo>
                  <a:pt x="3386" y="573"/>
                </a:lnTo>
                <a:lnTo>
                  <a:pt x="3387" y="566"/>
                </a:lnTo>
                <a:lnTo>
                  <a:pt x="3387" y="559"/>
                </a:lnTo>
                <a:lnTo>
                  <a:pt x="3388" y="552"/>
                </a:lnTo>
                <a:lnTo>
                  <a:pt x="3387" y="546"/>
                </a:lnTo>
                <a:lnTo>
                  <a:pt x="3386" y="543"/>
                </a:lnTo>
                <a:lnTo>
                  <a:pt x="3386" y="541"/>
                </a:lnTo>
                <a:lnTo>
                  <a:pt x="3384" y="539"/>
                </a:lnTo>
                <a:lnTo>
                  <a:pt x="3383" y="538"/>
                </a:lnTo>
                <a:lnTo>
                  <a:pt x="3389" y="538"/>
                </a:lnTo>
                <a:lnTo>
                  <a:pt x="3389" y="533"/>
                </a:lnTo>
                <a:lnTo>
                  <a:pt x="3390" y="531"/>
                </a:lnTo>
                <a:lnTo>
                  <a:pt x="3391" y="530"/>
                </a:lnTo>
                <a:lnTo>
                  <a:pt x="3389" y="526"/>
                </a:lnTo>
                <a:lnTo>
                  <a:pt x="3388" y="524"/>
                </a:lnTo>
                <a:lnTo>
                  <a:pt x="3388" y="522"/>
                </a:lnTo>
                <a:lnTo>
                  <a:pt x="3389" y="521"/>
                </a:lnTo>
                <a:lnTo>
                  <a:pt x="3390" y="520"/>
                </a:lnTo>
                <a:lnTo>
                  <a:pt x="3394" y="520"/>
                </a:lnTo>
                <a:lnTo>
                  <a:pt x="3397" y="519"/>
                </a:lnTo>
                <a:lnTo>
                  <a:pt x="3400" y="518"/>
                </a:lnTo>
                <a:lnTo>
                  <a:pt x="3401" y="517"/>
                </a:lnTo>
                <a:lnTo>
                  <a:pt x="3401" y="515"/>
                </a:lnTo>
                <a:lnTo>
                  <a:pt x="3401" y="513"/>
                </a:lnTo>
                <a:lnTo>
                  <a:pt x="3401" y="512"/>
                </a:lnTo>
                <a:lnTo>
                  <a:pt x="3400" y="508"/>
                </a:lnTo>
                <a:lnTo>
                  <a:pt x="3400" y="507"/>
                </a:lnTo>
                <a:lnTo>
                  <a:pt x="3402" y="506"/>
                </a:lnTo>
                <a:lnTo>
                  <a:pt x="3406" y="506"/>
                </a:lnTo>
                <a:lnTo>
                  <a:pt x="3409" y="505"/>
                </a:lnTo>
                <a:lnTo>
                  <a:pt x="3410" y="505"/>
                </a:lnTo>
                <a:lnTo>
                  <a:pt x="3411" y="504"/>
                </a:lnTo>
                <a:lnTo>
                  <a:pt x="3412" y="502"/>
                </a:lnTo>
                <a:lnTo>
                  <a:pt x="3413" y="499"/>
                </a:lnTo>
                <a:lnTo>
                  <a:pt x="3413" y="494"/>
                </a:lnTo>
                <a:lnTo>
                  <a:pt x="3414" y="488"/>
                </a:lnTo>
                <a:lnTo>
                  <a:pt x="3415" y="486"/>
                </a:lnTo>
                <a:lnTo>
                  <a:pt x="3417" y="485"/>
                </a:lnTo>
                <a:lnTo>
                  <a:pt x="3419" y="483"/>
                </a:lnTo>
                <a:lnTo>
                  <a:pt x="3423" y="482"/>
                </a:lnTo>
                <a:lnTo>
                  <a:pt x="3432" y="480"/>
                </a:lnTo>
                <a:lnTo>
                  <a:pt x="3441" y="479"/>
                </a:lnTo>
                <a:lnTo>
                  <a:pt x="3445" y="477"/>
                </a:lnTo>
                <a:lnTo>
                  <a:pt x="3448" y="476"/>
                </a:lnTo>
                <a:lnTo>
                  <a:pt x="3449" y="475"/>
                </a:lnTo>
                <a:lnTo>
                  <a:pt x="3450" y="473"/>
                </a:lnTo>
                <a:lnTo>
                  <a:pt x="3452" y="469"/>
                </a:lnTo>
                <a:lnTo>
                  <a:pt x="3454" y="464"/>
                </a:lnTo>
                <a:lnTo>
                  <a:pt x="3455" y="463"/>
                </a:lnTo>
                <a:lnTo>
                  <a:pt x="3456" y="462"/>
                </a:lnTo>
                <a:lnTo>
                  <a:pt x="3462" y="462"/>
                </a:lnTo>
                <a:lnTo>
                  <a:pt x="3463" y="458"/>
                </a:lnTo>
                <a:lnTo>
                  <a:pt x="3463" y="455"/>
                </a:lnTo>
                <a:lnTo>
                  <a:pt x="3462" y="453"/>
                </a:lnTo>
                <a:lnTo>
                  <a:pt x="3461" y="450"/>
                </a:lnTo>
                <a:lnTo>
                  <a:pt x="3460" y="448"/>
                </a:lnTo>
                <a:lnTo>
                  <a:pt x="3459" y="445"/>
                </a:lnTo>
                <a:lnTo>
                  <a:pt x="3458" y="441"/>
                </a:lnTo>
                <a:lnTo>
                  <a:pt x="3459" y="437"/>
                </a:lnTo>
                <a:lnTo>
                  <a:pt x="3460" y="434"/>
                </a:lnTo>
                <a:lnTo>
                  <a:pt x="3463" y="431"/>
                </a:lnTo>
                <a:lnTo>
                  <a:pt x="3466" y="428"/>
                </a:lnTo>
                <a:lnTo>
                  <a:pt x="3467" y="426"/>
                </a:lnTo>
                <a:lnTo>
                  <a:pt x="3467" y="425"/>
                </a:lnTo>
                <a:lnTo>
                  <a:pt x="3467" y="420"/>
                </a:lnTo>
                <a:lnTo>
                  <a:pt x="3470" y="419"/>
                </a:lnTo>
                <a:lnTo>
                  <a:pt x="3473" y="418"/>
                </a:lnTo>
                <a:lnTo>
                  <a:pt x="3476" y="418"/>
                </a:lnTo>
                <a:lnTo>
                  <a:pt x="3479" y="417"/>
                </a:lnTo>
                <a:lnTo>
                  <a:pt x="3481" y="414"/>
                </a:lnTo>
                <a:lnTo>
                  <a:pt x="3481" y="411"/>
                </a:lnTo>
                <a:lnTo>
                  <a:pt x="3481" y="409"/>
                </a:lnTo>
                <a:lnTo>
                  <a:pt x="3481" y="407"/>
                </a:lnTo>
                <a:lnTo>
                  <a:pt x="3481" y="405"/>
                </a:lnTo>
                <a:lnTo>
                  <a:pt x="3482" y="404"/>
                </a:lnTo>
                <a:lnTo>
                  <a:pt x="3485" y="403"/>
                </a:lnTo>
                <a:lnTo>
                  <a:pt x="3490" y="403"/>
                </a:lnTo>
                <a:lnTo>
                  <a:pt x="3493" y="409"/>
                </a:lnTo>
                <a:lnTo>
                  <a:pt x="3505" y="409"/>
                </a:lnTo>
                <a:lnTo>
                  <a:pt x="3516" y="410"/>
                </a:lnTo>
                <a:lnTo>
                  <a:pt x="3529" y="411"/>
                </a:lnTo>
                <a:lnTo>
                  <a:pt x="3531" y="424"/>
                </a:lnTo>
                <a:lnTo>
                  <a:pt x="3532" y="430"/>
                </a:lnTo>
                <a:lnTo>
                  <a:pt x="3532" y="434"/>
                </a:lnTo>
                <a:lnTo>
                  <a:pt x="3531" y="436"/>
                </a:lnTo>
                <a:lnTo>
                  <a:pt x="3529" y="438"/>
                </a:lnTo>
                <a:lnTo>
                  <a:pt x="3524" y="442"/>
                </a:lnTo>
                <a:lnTo>
                  <a:pt x="3519" y="447"/>
                </a:lnTo>
                <a:lnTo>
                  <a:pt x="3515" y="451"/>
                </a:lnTo>
                <a:lnTo>
                  <a:pt x="3513" y="456"/>
                </a:lnTo>
                <a:lnTo>
                  <a:pt x="3511" y="461"/>
                </a:lnTo>
                <a:lnTo>
                  <a:pt x="3509" y="466"/>
                </a:lnTo>
                <a:lnTo>
                  <a:pt x="3508" y="468"/>
                </a:lnTo>
                <a:lnTo>
                  <a:pt x="3507" y="470"/>
                </a:lnTo>
                <a:lnTo>
                  <a:pt x="3502" y="474"/>
                </a:lnTo>
                <a:lnTo>
                  <a:pt x="3495" y="478"/>
                </a:lnTo>
                <a:lnTo>
                  <a:pt x="3484" y="485"/>
                </a:lnTo>
                <a:lnTo>
                  <a:pt x="3484" y="486"/>
                </a:lnTo>
                <a:lnTo>
                  <a:pt x="3484" y="487"/>
                </a:lnTo>
                <a:lnTo>
                  <a:pt x="3484" y="490"/>
                </a:lnTo>
                <a:lnTo>
                  <a:pt x="3485" y="493"/>
                </a:lnTo>
                <a:lnTo>
                  <a:pt x="3484" y="496"/>
                </a:lnTo>
                <a:lnTo>
                  <a:pt x="3483" y="495"/>
                </a:lnTo>
                <a:lnTo>
                  <a:pt x="3481" y="493"/>
                </a:lnTo>
                <a:lnTo>
                  <a:pt x="3479" y="490"/>
                </a:lnTo>
                <a:lnTo>
                  <a:pt x="3476" y="494"/>
                </a:lnTo>
                <a:lnTo>
                  <a:pt x="3474" y="499"/>
                </a:lnTo>
                <a:lnTo>
                  <a:pt x="3470" y="507"/>
                </a:lnTo>
                <a:lnTo>
                  <a:pt x="3467" y="507"/>
                </a:lnTo>
                <a:lnTo>
                  <a:pt x="3467" y="511"/>
                </a:lnTo>
                <a:lnTo>
                  <a:pt x="3468" y="514"/>
                </a:lnTo>
                <a:lnTo>
                  <a:pt x="3471" y="521"/>
                </a:lnTo>
                <a:lnTo>
                  <a:pt x="3474" y="528"/>
                </a:lnTo>
                <a:lnTo>
                  <a:pt x="3475" y="530"/>
                </a:lnTo>
                <a:lnTo>
                  <a:pt x="3476" y="532"/>
                </a:lnTo>
                <a:lnTo>
                  <a:pt x="3476" y="537"/>
                </a:lnTo>
                <a:lnTo>
                  <a:pt x="3475" y="542"/>
                </a:lnTo>
                <a:lnTo>
                  <a:pt x="3474" y="546"/>
                </a:lnTo>
                <a:lnTo>
                  <a:pt x="3473" y="549"/>
                </a:lnTo>
                <a:lnTo>
                  <a:pt x="3473" y="552"/>
                </a:lnTo>
                <a:lnTo>
                  <a:pt x="3473" y="553"/>
                </a:lnTo>
                <a:lnTo>
                  <a:pt x="3473" y="558"/>
                </a:lnTo>
                <a:lnTo>
                  <a:pt x="3473" y="566"/>
                </a:lnTo>
                <a:lnTo>
                  <a:pt x="3476" y="564"/>
                </a:lnTo>
                <a:lnTo>
                  <a:pt x="3477" y="563"/>
                </a:lnTo>
                <a:lnTo>
                  <a:pt x="3479" y="563"/>
                </a:lnTo>
                <a:lnTo>
                  <a:pt x="3479" y="564"/>
                </a:lnTo>
                <a:lnTo>
                  <a:pt x="3479" y="565"/>
                </a:lnTo>
                <a:lnTo>
                  <a:pt x="3479" y="569"/>
                </a:lnTo>
                <a:lnTo>
                  <a:pt x="3478" y="572"/>
                </a:lnTo>
                <a:lnTo>
                  <a:pt x="3479" y="575"/>
                </a:lnTo>
                <a:lnTo>
                  <a:pt x="3484" y="572"/>
                </a:lnTo>
                <a:lnTo>
                  <a:pt x="3488" y="571"/>
                </a:lnTo>
                <a:lnTo>
                  <a:pt x="3489" y="571"/>
                </a:lnTo>
                <a:lnTo>
                  <a:pt x="3487" y="572"/>
                </a:lnTo>
                <a:lnTo>
                  <a:pt x="3493" y="575"/>
                </a:lnTo>
                <a:lnTo>
                  <a:pt x="3496" y="577"/>
                </a:lnTo>
                <a:lnTo>
                  <a:pt x="3499" y="579"/>
                </a:lnTo>
                <a:lnTo>
                  <a:pt x="3500" y="580"/>
                </a:lnTo>
                <a:lnTo>
                  <a:pt x="3500" y="581"/>
                </a:lnTo>
                <a:lnTo>
                  <a:pt x="3499" y="582"/>
                </a:lnTo>
                <a:lnTo>
                  <a:pt x="3498" y="582"/>
                </a:lnTo>
                <a:lnTo>
                  <a:pt x="3496" y="583"/>
                </a:lnTo>
                <a:lnTo>
                  <a:pt x="3490" y="583"/>
                </a:lnTo>
                <a:lnTo>
                  <a:pt x="3487" y="594"/>
                </a:lnTo>
                <a:lnTo>
                  <a:pt x="3489" y="594"/>
                </a:lnTo>
                <a:lnTo>
                  <a:pt x="3491" y="594"/>
                </a:lnTo>
                <a:lnTo>
                  <a:pt x="3495" y="594"/>
                </a:lnTo>
                <a:lnTo>
                  <a:pt x="3494" y="594"/>
                </a:lnTo>
                <a:lnTo>
                  <a:pt x="3494" y="593"/>
                </a:lnTo>
                <a:lnTo>
                  <a:pt x="3494" y="592"/>
                </a:lnTo>
                <a:lnTo>
                  <a:pt x="3495" y="590"/>
                </a:lnTo>
                <a:lnTo>
                  <a:pt x="3498" y="589"/>
                </a:lnTo>
                <a:lnTo>
                  <a:pt x="3500" y="588"/>
                </a:lnTo>
                <a:lnTo>
                  <a:pt x="3502" y="587"/>
                </a:lnTo>
                <a:lnTo>
                  <a:pt x="3501" y="589"/>
                </a:lnTo>
                <a:lnTo>
                  <a:pt x="3504" y="589"/>
                </a:lnTo>
                <a:lnTo>
                  <a:pt x="3504" y="593"/>
                </a:lnTo>
                <a:lnTo>
                  <a:pt x="3504" y="597"/>
                </a:lnTo>
                <a:lnTo>
                  <a:pt x="3505" y="598"/>
                </a:lnTo>
                <a:lnTo>
                  <a:pt x="3506" y="598"/>
                </a:lnTo>
                <a:lnTo>
                  <a:pt x="3508" y="599"/>
                </a:lnTo>
                <a:lnTo>
                  <a:pt x="3511" y="599"/>
                </a:lnTo>
                <a:lnTo>
                  <a:pt x="3512" y="600"/>
                </a:lnTo>
                <a:lnTo>
                  <a:pt x="3517" y="599"/>
                </a:lnTo>
                <a:lnTo>
                  <a:pt x="3521" y="598"/>
                </a:lnTo>
                <a:lnTo>
                  <a:pt x="3524" y="597"/>
                </a:lnTo>
                <a:lnTo>
                  <a:pt x="3529" y="590"/>
                </a:lnTo>
                <a:lnTo>
                  <a:pt x="3534" y="586"/>
                </a:lnTo>
                <a:lnTo>
                  <a:pt x="3536" y="584"/>
                </a:lnTo>
                <a:lnTo>
                  <a:pt x="3538" y="583"/>
                </a:lnTo>
                <a:lnTo>
                  <a:pt x="3540" y="583"/>
                </a:lnTo>
                <a:lnTo>
                  <a:pt x="3542" y="583"/>
                </a:lnTo>
                <a:lnTo>
                  <a:pt x="3544" y="583"/>
                </a:lnTo>
                <a:lnTo>
                  <a:pt x="3546" y="583"/>
                </a:lnTo>
                <a:lnTo>
                  <a:pt x="3544" y="580"/>
                </a:lnTo>
                <a:lnTo>
                  <a:pt x="3543" y="577"/>
                </a:lnTo>
                <a:lnTo>
                  <a:pt x="3550" y="576"/>
                </a:lnTo>
                <a:lnTo>
                  <a:pt x="3555" y="576"/>
                </a:lnTo>
                <a:lnTo>
                  <a:pt x="3559" y="576"/>
                </a:lnTo>
                <a:lnTo>
                  <a:pt x="3563" y="576"/>
                </a:lnTo>
                <a:lnTo>
                  <a:pt x="3569" y="577"/>
                </a:lnTo>
                <a:lnTo>
                  <a:pt x="3572" y="577"/>
                </a:lnTo>
                <a:lnTo>
                  <a:pt x="3575" y="577"/>
                </a:lnTo>
                <a:lnTo>
                  <a:pt x="3581" y="575"/>
                </a:lnTo>
                <a:lnTo>
                  <a:pt x="3588" y="572"/>
                </a:lnTo>
                <a:lnTo>
                  <a:pt x="3589" y="573"/>
                </a:lnTo>
                <a:lnTo>
                  <a:pt x="3589" y="574"/>
                </a:lnTo>
                <a:lnTo>
                  <a:pt x="3588" y="576"/>
                </a:lnTo>
                <a:lnTo>
                  <a:pt x="3585" y="580"/>
                </a:lnTo>
                <a:lnTo>
                  <a:pt x="3589" y="584"/>
                </a:lnTo>
                <a:lnTo>
                  <a:pt x="3594" y="588"/>
                </a:lnTo>
                <a:lnTo>
                  <a:pt x="3599" y="592"/>
                </a:lnTo>
                <a:lnTo>
                  <a:pt x="3602" y="594"/>
                </a:lnTo>
                <a:lnTo>
                  <a:pt x="3604" y="594"/>
                </a:lnTo>
                <a:lnTo>
                  <a:pt x="3608" y="592"/>
                </a:lnTo>
                <a:lnTo>
                  <a:pt x="3612" y="591"/>
                </a:lnTo>
                <a:lnTo>
                  <a:pt x="3614" y="591"/>
                </a:lnTo>
                <a:lnTo>
                  <a:pt x="3616" y="591"/>
                </a:lnTo>
                <a:lnTo>
                  <a:pt x="3618" y="593"/>
                </a:lnTo>
                <a:lnTo>
                  <a:pt x="3619" y="596"/>
                </a:lnTo>
                <a:lnTo>
                  <a:pt x="3621" y="598"/>
                </a:lnTo>
                <a:lnTo>
                  <a:pt x="3622" y="600"/>
                </a:lnTo>
                <a:lnTo>
                  <a:pt x="3624" y="600"/>
                </a:lnTo>
                <a:lnTo>
                  <a:pt x="3626" y="600"/>
                </a:lnTo>
                <a:lnTo>
                  <a:pt x="3628" y="599"/>
                </a:lnTo>
                <a:lnTo>
                  <a:pt x="3629" y="599"/>
                </a:lnTo>
                <a:lnTo>
                  <a:pt x="3630" y="600"/>
                </a:lnTo>
                <a:lnTo>
                  <a:pt x="3621" y="601"/>
                </a:lnTo>
                <a:lnTo>
                  <a:pt x="3608" y="603"/>
                </a:lnTo>
                <a:lnTo>
                  <a:pt x="3605" y="608"/>
                </a:lnTo>
                <a:lnTo>
                  <a:pt x="3599" y="608"/>
                </a:lnTo>
                <a:lnTo>
                  <a:pt x="3594" y="607"/>
                </a:lnTo>
                <a:lnTo>
                  <a:pt x="3589" y="606"/>
                </a:lnTo>
                <a:lnTo>
                  <a:pt x="3585" y="606"/>
                </a:lnTo>
                <a:lnTo>
                  <a:pt x="3584" y="616"/>
                </a:lnTo>
                <a:lnTo>
                  <a:pt x="3584" y="617"/>
                </a:lnTo>
                <a:lnTo>
                  <a:pt x="3584" y="618"/>
                </a:lnTo>
                <a:lnTo>
                  <a:pt x="3583" y="620"/>
                </a:lnTo>
                <a:lnTo>
                  <a:pt x="3580" y="620"/>
                </a:lnTo>
                <a:lnTo>
                  <a:pt x="3575" y="619"/>
                </a:lnTo>
                <a:lnTo>
                  <a:pt x="3564" y="616"/>
                </a:lnTo>
                <a:lnTo>
                  <a:pt x="3552" y="612"/>
                </a:lnTo>
                <a:lnTo>
                  <a:pt x="3547" y="611"/>
                </a:lnTo>
                <a:lnTo>
                  <a:pt x="3543" y="611"/>
                </a:lnTo>
                <a:lnTo>
                  <a:pt x="3542" y="611"/>
                </a:lnTo>
                <a:lnTo>
                  <a:pt x="3541" y="612"/>
                </a:lnTo>
                <a:lnTo>
                  <a:pt x="3540" y="614"/>
                </a:lnTo>
                <a:lnTo>
                  <a:pt x="3539" y="616"/>
                </a:lnTo>
                <a:lnTo>
                  <a:pt x="3538" y="617"/>
                </a:lnTo>
                <a:lnTo>
                  <a:pt x="3534" y="617"/>
                </a:lnTo>
                <a:lnTo>
                  <a:pt x="3531" y="617"/>
                </a:lnTo>
                <a:lnTo>
                  <a:pt x="3527" y="617"/>
                </a:lnTo>
                <a:lnTo>
                  <a:pt x="3524" y="617"/>
                </a:lnTo>
                <a:lnTo>
                  <a:pt x="3519" y="618"/>
                </a:lnTo>
                <a:lnTo>
                  <a:pt x="3514" y="621"/>
                </a:lnTo>
                <a:lnTo>
                  <a:pt x="3509" y="623"/>
                </a:lnTo>
                <a:lnTo>
                  <a:pt x="3504" y="625"/>
                </a:lnTo>
                <a:lnTo>
                  <a:pt x="3504" y="635"/>
                </a:lnTo>
                <a:lnTo>
                  <a:pt x="3504" y="648"/>
                </a:lnTo>
                <a:lnTo>
                  <a:pt x="3512" y="651"/>
                </a:lnTo>
                <a:lnTo>
                  <a:pt x="3513" y="657"/>
                </a:lnTo>
                <a:lnTo>
                  <a:pt x="3514" y="663"/>
                </a:lnTo>
                <a:lnTo>
                  <a:pt x="3513" y="667"/>
                </a:lnTo>
                <a:lnTo>
                  <a:pt x="3513" y="671"/>
                </a:lnTo>
                <a:lnTo>
                  <a:pt x="3511" y="679"/>
                </a:lnTo>
                <a:lnTo>
                  <a:pt x="3509" y="685"/>
                </a:lnTo>
                <a:lnTo>
                  <a:pt x="3507" y="690"/>
                </a:lnTo>
                <a:lnTo>
                  <a:pt x="3503" y="689"/>
                </a:lnTo>
                <a:lnTo>
                  <a:pt x="3498" y="689"/>
                </a:lnTo>
                <a:lnTo>
                  <a:pt x="3490" y="690"/>
                </a:lnTo>
                <a:lnTo>
                  <a:pt x="3484" y="679"/>
                </a:lnTo>
                <a:lnTo>
                  <a:pt x="3481" y="673"/>
                </a:lnTo>
                <a:lnTo>
                  <a:pt x="3479" y="667"/>
                </a:lnTo>
                <a:lnTo>
                  <a:pt x="3467" y="673"/>
                </a:lnTo>
                <a:lnTo>
                  <a:pt x="3467" y="675"/>
                </a:lnTo>
                <a:lnTo>
                  <a:pt x="3467" y="677"/>
                </a:lnTo>
                <a:lnTo>
                  <a:pt x="3467" y="681"/>
                </a:lnTo>
                <a:lnTo>
                  <a:pt x="3467" y="686"/>
                </a:lnTo>
                <a:lnTo>
                  <a:pt x="3467" y="690"/>
                </a:lnTo>
                <a:lnTo>
                  <a:pt x="3467" y="692"/>
                </a:lnTo>
                <a:lnTo>
                  <a:pt x="3465" y="694"/>
                </a:lnTo>
                <a:lnTo>
                  <a:pt x="3462" y="698"/>
                </a:lnTo>
                <a:lnTo>
                  <a:pt x="3458" y="703"/>
                </a:lnTo>
                <a:lnTo>
                  <a:pt x="3456" y="707"/>
                </a:lnTo>
                <a:lnTo>
                  <a:pt x="3455" y="711"/>
                </a:lnTo>
                <a:lnTo>
                  <a:pt x="3455" y="715"/>
                </a:lnTo>
                <a:lnTo>
                  <a:pt x="3453" y="720"/>
                </a:lnTo>
                <a:lnTo>
                  <a:pt x="3453" y="724"/>
                </a:lnTo>
                <a:lnTo>
                  <a:pt x="3453" y="731"/>
                </a:lnTo>
                <a:lnTo>
                  <a:pt x="3453" y="739"/>
                </a:lnTo>
                <a:lnTo>
                  <a:pt x="3453" y="746"/>
                </a:lnTo>
                <a:lnTo>
                  <a:pt x="3450" y="747"/>
                </a:lnTo>
                <a:lnTo>
                  <a:pt x="3447" y="749"/>
                </a:lnTo>
                <a:lnTo>
                  <a:pt x="3442" y="752"/>
                </a:lnTo>
                <a:lnTo>
                  <a:pt x="3445" y="743"/>
                </a:lnTo>
                <a:lnTo>
                  <a:pt x="3439" y="743"/>
                </a:lnTo>
                <a:lnTo>
                  <a:pt x="3437" y="746"/>
                </a:lnTo>
                <a:lnTo>
                  <a:pt x="3435" y="748"/>
                </a:lnTo>
                <a:lnTo>
                  <a:pt x="3432" y="750"/>
                </a:lnTo>
                <a:lnTo>
                  <a:pt x="3431" y="752"/>
                </a:lnTo>
                <a:lnTo>
                  <a:pt x="3430" y="755"/>
                </a:lnTo>
                <a:lnTo>
                  <a:pt x="3430" y="759"/>
                </a:lnTo>
                <a:lnTo>
                  <a:pt x="3431" y="762"/>
                </a:lnTo>
                <a:lnTo>
                  <a:pt x="3431" y="766"/>
                </a:lnTo>
                <a:lnTo>
                  <a:pt x="3429" y="769"/>
                </a:lnTo>
                <a:lnTo>
                  <a:pt x="3427" y="773"/>
                </a:lnTo>
                <a:lnTo>
                  <a:pt x="3424" y="772"/>
                </a:lnTo>
                <a:lnTo>
                  <a:pt x="3422" y="772"/>
                </a:lnTo>
                <a:lnTo>
                  <a:pt x="3421" y="771"/>
                </a:lnTo>
                <a:lnTo>
                  <a:pt x="3421" y="770"/>
                </a:lnTo>
                <a:lnTo>
                  <a:pt x="3422" y="770"/>
                </a:lnTo>
                <a:lnTo>
                  <a:pt x="3422" y="769"/>
                </a:lnTo>
                <a:lnTo>
                  <a:pt x="3421" y="769"/>
                </a:lnTo>
                <a:lnTo>
                  <a:pt x="3420" y="769"/>
                </a:lnTo>
                <a:lnTo>
                  <a:pt x="3414" y="774"/>
                </a:lnTo>
                <a:lnTo>
                  <a:pt x="3409" y="776"/>
                </a:lnTo>
                <a:lnTo>
                  <a:pt x="3405" y="777"/>
                </a:lnTo>
                <a:lnTo>
                  <a:pt x="3403" y="769"/>
                </a:lnTo>
                <a:lnTo>
                  <a:pt x="3405" y="769"/>
                </a:lnTo>
                <a:lnTo>
                  <a:pt x="3406" y="769"/>
                </a:lnTo>
                <a:lnTo>
                  <a:pt x="3407" y="768"/>
                </a:lnTo>
                <a:lnTo>
                  <a:pt x="3406" y="767"/>
                </a:lnTo>
                <a:lnTo>
                  <a:pt x="3405" y="765"/>
                </a:lnTo>
                <a:lnTo>
                  <a:pt x="3403" y="764"/>
                </a:lnTo>
                <a:lnTo>
                  <a:pt x="3400" y="763"/>
                </a:lnTo>
                <a:lnTo>
                  <a:pt x="3397" y="763"/>
                </a:lnTo>
                <a:lnTo>
                  <a:pt x="3391" y="764"/>
                </a:lnTo>
                <a:lnTo>
                  <a:pt x="3384" y="767"/>
                </a:lnTo>
                <a:lnTo>
                  <a:pt x="3377" y="771"/>
                </a:lnTo>
                <a:lnTo>
                  <a:pt x="3370" y="775"/>
                </a:lnTo>
                <a:lnTo>
                  <a:pt x="3362" y="779"/>
                </a:lnTo>
                <a:lnTo>
                  <a:pt x="3354" y="782"/>
                </a:lnTo>
                <a:lnTo>
                  <a:pt x="3346" y="784"/>
                </a:lnTo>
                <a:lnTo>
                  <a:pt x="3342" y="785"/>
                </a:lnTo>
                <a:lnTo>
                  <a:pt x="3338" y="786"/>
                </a:lnTo>
                <a:lnTo>
                  <a:pt x="3333" y="786"/>
                </a:lnTo>
                <a:lnTo>
                  <a:pt x="3331" y="786"/>
                </a:lnTo>
                <a:lnTo>
                  <a:pt x="3329" y="786"/>
                </a:lnTo>
                <a:lnTo>
                  <a:pt x="3321" y="783"/>
                </a:lnTo>
                <a:lnTo>
                  <a:pt x="3313" y="780"/>
                </a:lnTo>
                <a:lnTo>
                  <a:pt x="3310" y="774"/>
                </a:lnTo>
                <a:lnTo>
                  <a:pt x="3306" y="774"/>
                </a:lnTo>
                <a:lnTo>
                  <a:pt x="3301" y="774"/>
                </a:lnTo>
                <a:lnTo>
                  <a:pt x="3297" y="775"/>
                </a:lnTo>
                <a:lnTo>
                  <a:pt x="3293" y="774"/>
                </a:lnTo>
                <a:lnTo>
                  <a:pt x="3290" y="779"/>
                </a:lnTo>
                <a:lnTo>
                  <a:pt x="3289" y="781"/>
                </a:lnTo>
                <a:lnTo>
                  <a:pt x="3287" y="783"/>
                </a:lnTo>
                <a:lnTo>
                  <a:pt x="3285" y="783"/>
                </a:lnTo>
                <a:lnTo>
                  <a:pt x="3283" y="783"/>
                </a:lnTo>
                <a:lnTo>
                  <a:pt x="3281" y="782"/>
                </a:lnTo>
                <a:lnTo>
                  <a:pt x="3280" y="782"/>
                </a:lnTo>
                <a:lnTo>
                  <a:pt x="3279" y="783"/>
                </a:lnTo>
                <a:lnTo>
                  <a:pt x="3280" y="784"/>
                </a:lnTo>
                <a:lnTo>
                  <a:pt x="3280" y="785"/>
                </a:lnTo>
                <a:lnTo>
                  <a:pt x="3279" y="786"/>
                </a:lnTo>
                <a:lnTo>
                  <a:pt x="3279" y="788"/>
                </a:lnTo>
                <a:lnTo>
                  <a:pt x="3276" y="791"/>
                </a:lnTo>
                <a:lnTo>
                  <a:pt x="3273" y="786"/>
                </a:lnTo>
                <a:lnTo>
                  <a:pt x="3270" y="780"/>
                </a:lnTo>
                <a:lnTo>
                  <a:pt x="3267" y="780"/>
                </a:lnTo>
                <a:lnTo>
                  <a:pt x="3263" y="780"/>
                </a:lnTo>
                <a:lnTo>
                  <a:pt x="3259" y="781"/>
                </a:lnTo>
                <a:lnTo>
                  <a:pt x="3258" y="780"/>
                </a:lnTo>
                <a:lnTo>
                  <a:pt x="3256" y="780"/>
                </a:lnTo>
                <a:lnTo>
                  <a:pt x="3256" y="774"/>
                </a:lnTo>
                <a:lnTo>
                  <a:pt x="3255" y="771"/>
                </a:lnTo>
                <a:lnTo>
                  <a:pt x="3252" y="768"/>
                </a:lnTo>
                <a:lnTo>
                  <a:pt x="3248" y="763"/>
                </a:lnTo>
                <a:lnTo>
                  <a:pt x="3250" y="759"/>
                </a:lnTo>
                <a:lnTo>
                  <a:pt x="3254" y="755"/>
                </a:lnTo>
                <a:lnTo>
                  <a:pt x="3245" y="755"/>
                </a:lnTo>
                <a:lnTo>
                  <a:pt x="3245" y="752"/>
                </a:lnTo>
                <a:lnTo>
                  <a:pt x="3246" y="749"/>
                </a:lnTo>
                <a:lnTo>
                  <a:pt x="3249" y="744"/>
                </a:lnTo>
                <a:lnTo>
                  <a:pt x="3251" y="742"/>
                </a:lnTo>
                <a:lnTo>
                  <a:pt x="3251" y="741"/>
                </a:lnTo>
                <a:lnTo>
                  <a:pt x="3252" y="742"/>
                </a:lnTo>
                <a:lnTo>
                  <a:pt x="3251" y="746"/>
                </a:lnTo>
                <a:lnTo>
                  <a:pt x="3254" y="749"/>
                </a:lnTo>
                <a:lnTo>
                  <a:pt x="3256" y="752"/>
                </a:lnTo>
                <a:lnTo>
                  <a:pt x="3262" y="752"/>
                </a:lnTo>
                <a:lnTo>
                  <a:pt x="3265" y="759"/>
                </a:lnTo>
                <a:lnTo>
                  <a:pt x="3268" y="766"/>
                </a:lnTo>
                <a:lnTo>
                  <a:pt x="3265" y="751"/>
                </a:lnTo>
                <a:lnTo>
                  <a:pt x="3262" y="738"/>
                </a:lnTo>
                <a:lnTo>
                  <a:pt x="3259" y="738"/>
                </a:lnTo>
                <a:lnTo>
                  <a:pt x="3258" y="739"/>
                </a:lnTo>
                <a:lnTo>
                  <a:pt x="3257" y="739"/>
                </a:lnTo>
                <a:lnTo>
                  <a:pt x="3254" y="738"/>
                </a:lnTo>
                <a:lnTo>
                  <a:pt x="3255" y="732"/>
                </a:lnTo>
                <a:lnTo>
                  <a:pt x="3256" y="726"/>
                </a:lnTo>
                <a:lnTo>
                  <a:pt x="3257" y="721"/>
                </a:lnTo>
                <a:lnTo>
                  <a:pt x="3259" y="715"/>
                </a:lnTo>
                <a:lnTo>
                  <a:pt x="3263" y="718"/>
                </a:lnTo>
                <a:lnTo>
                  <a:pt x="3264" y="719"/>
                </a:lnTo>
                <a:lnTo>
                  <a:pt x="3265" y="719"/>
                </a:lnTo>
                <a:lnTo>
                  <a:pt x="3266" y="719"/>
                </a:lnTo>
                <a:lnTo>
                  <a:pt x="3268" y="718"/>
                </a:lnTo>
                <a:lnTo>
                  <a:pt x="3267" y="716"/>
                </a:lnTo>
                <a:lnTo>
                  <a:pt x="3267" y="714"/>
                </a:lnTo>
                <a:lnTo>
                  <a:pt x="3268" y="710"/>
                </a:lnTo>
                <a:lnTo>
                  <a:pt x="3259" y="710"/>
                </a:lnTo>
                <a:lnTo>
                  <a:pt x="3259" y="707"/>
                </a:lnTo>
                <a:lnTo>
                  <a:pt x="3258" y="705"/>
                </a:lnTo>
                <a:lnTo>
                  <a:pt x="3259" y="700"/>
                </a:lnTo>
                <a:lnTo>
                  <a:pt x="3259" y="695"/>
                </a:lnTo>
                <a:lnTo>
                  <a:pt x="3259" y="690"/>
                </a:lnTo>
                <a:lnTo>
                  <a:pt x="3252" y="689"/>
                </a:lnTo>
                <a:lnTo>
                  <a:pt x="3250" y="689"/>
                </a:lnTo>
                <a:lnTo>
                  <a:pt x="3248" y="687"/>
                </a:lnTo>
                <a:lnTo>
                  <a:pt x="3251" y="686"/>
                </a:lnTo>
                <a:lnTo>
                  <a:pt x="3253" y="686"/>
                </a:lnTo>
                <a:lnTo>
                  <a:pt x="3257" y="686"/>
                </a:lnTo>
                <a:lnTo>
                  <a:pt x="3258" y="686"/>
                </a:lnTo>
                <a:lnTo>
                  <a:pt x="3259" y="685"/>
                </a:lnTo>
                <a:lnTo>
                  <a:pt x="3262" y="681"/>
                </a:lnTo>
                <a:lnTo>
                  <a:pt x="3263" y="677"/>
                </a:lnTo>
                <a:lnTo>
                  <a:pt x="3264" y="672"/>
                </a:lnTo>
                <a:lnTo>
                  <a:pt x="3263" y="667"/>
                </a:lnTo>
                <a:lnTo>
                  <a:pt x="3263" y="666"/>
                </a:lnTo>
                <a:lnTo>
                  <a:pt x="3262" y="665"/>
                </a:lnTo>
                <a:lnTo>
                  <a:pt x="3255" y="669"/>
                </a:lnTo>
                <a:lnTo>
                  <a:pt x="3251" y="671"/>
                </a:lnTo>
                <a:lnTo>
                  <a:pt x="3248" y="673"/>
                </a:lnTo>
                <a:lnTo>
                  <a:pt x="3247" y="674"/>
                </a:lnTo>
                <a:lnTo>
                  <a:pt x="3246" y="676"/>
                </a:lnTo>
                <a:lnTo>
                  <a:pt x="3245" y="679"/>
                </a:lnTo>
                <a:lnTo>
                  <a:pt x="3244" y="682"/>
                </a:lnTo>
                <a:lnTo>
                  <a:pt x="3243" y="683"/>
                </a:lnTo>
                <a:lnTo>
                  <a:pt x="3242" y="684"/>
                </a:lnTo>
                <a:lnTo>
                  <a:pt x="3239" y="685"/>
                </a:lnTo>
                <a:lnTo>
                  <a:pt x="3235" y="685"/>
                </a:lnTo>
                <a:lnTo>
                  <a:pt x="3232" y="684"/>
                </a:lnTo>
                <a:lnTo>
                  <a:pt x="3228" y="684"/>
                </a:lnTo>
                <a:lnTo>
                  <a:pt x="3227" y="685"/>
                </a:lnTo>
                <a:lnTo>
                  <a:pt x="3225" y="686"/>
                </a:lnTo>
                <a:lnTo>
                  <a:pt x="3222" y="689"/>
                </a:lnTo>
                <a:lnTo>
                  <a:pt x="3220" y="693"/>
                </a:lnTo>
                <a:lnTo>
                  <a:pt x="3217" y="696"/>
                </a:lnTo>
                <a:lnTo>
                  <a:pt x="3218" y="697"/>
                </a:lnTo>
                <a:lnTo>
                  <a:pt x="3219" y="699"/>
                </a:lnTo>
                <a:lnTo>
                  <a:pt x="3220" y="701"/>
                </a:lnTo>
                <a:lnTo>
                  <a:pt x="3221" y="701"/>
                </a:lnTo>
                <a:lnTo>
                  <a:pt x="3223" y="701"/>
                </a:lnTo>
                <a:lnTo>
                  <a:pt x="3225" y="693"/>
                </a:lnTo>
                <a:lnTo>
                  <a:pt x="3231" y="693"/>
                </a:lnTo>
                <a:lnTo>
                  <a:pt x="3230" y="695"/>
                </a:lnTo>
                <a:lnTo>
                  <a:pt x="3229" y="698"/>
                </a:lnTo>
                <a:lnTo>
                  <a:pt x="3228" y="700"/>
                </a:lnTo>
                <a:lnTo>
                  <a:pt x="3228" y="701"/>
                </a:lnTo>
                <a:lnTo>
                  <a:pt x="3229" y="702"/>
                </a:lnTo>
                <a:lnTo>
                  <a:pt x="3231" y="701"/>
                </a:lnTo>
                <a:lnTo>
                  <a:pt x="3232" y="700"/>
                </a:lnTo>
                <a:lnTo>
                  <a:pt x="3233" y="699"/>
                </a:lnTo>
                <a:lnTo>
                  <a:pt x="3233" y="697"/>
                </a:lnTo>
                <a:lnTo>
                  <a:pt x="3233" y="695"/>
                </a:lnTo>
                <a:lnTo>
                  <a:pt x="3233" y="693"/>
                </a:lnTo>
                <a:lnTo>
                  <a:pt x="3233" y="691"/>
                </a:lnTo>
                <a:lnTo>
                  <a:pt x="3232" y="690"/>
                </a:lnTo>
                <a:lnTo>
                  <a:pt x="3231" y="690"/>
                </a:lnTo>
                <a:lnTo>
                  <a:pt x="3237" y="690"/>
                </a:lnTo>
                <a:lnTo>
                  <a:pt x="3240" y="690"/>
                </a:lnTo>
                <a:lnTo>
                  <a:pt x="3242" y="690"/>
                </a:lnTo>
                <a:lnTo>
                  <a:pt x="3242" y="691"/>
                </a:lnTo>
                <a:lnTo>
                  <a:pt x="3242" y="692"/>
                </a:lnTo>
                <a:lnTo>
                  <a:pt x="3242" y="695"/>
                </a:lnTo>
                <a:lnTo>
                  <a:pt x="3243" y="699"/>
                </a:lnTo>
                <a:lnTo>
                  <a:pt x="3243" y="700"/>
                </a:lnTo>
                <a:lnTo>
                  <a:pt x="3242" y="701"/>
                </a:lnTo>
                <a:lnTo>
                  <a:pt x="3241" y="702"/>
                </a:lnTo>
                <a:lnTo>
                  <a:pt x="3240" y="700"/>
                </a:lnTo>
                <a:lnTo>
                  <a:pt x="3239" y="699"/>
                </a:lnTo>
                <a:lnTo>
                  <a:pt x="3238" y="698"/>
                </a:lnTo>
                <a:lnTo>
                  <a:pt x="3237" y="698"/>
                </a:lnTo>
                <a:lnTo>
                  <a:pt x="3235" y="700"/>
                </a:lnTo>
                <a:lnTo>
                  <a:pt x="3233" y="704"/>
                </a:lnTo>
                <a:lnTo>
                  <a:pt x="3231" y="710"/>
                </a:lnTo>
                <a:lnTo>
                  <a:pt x="3214" y="710"/>
                </a:lnTo>
                <a:lnTo>
                  <a:pt x="3215" y="711"/>
                </a:lnTo>
                <a:lnTo>
                  <a:pt x="3216" y="712"/>
                </a:lnTo>
                <a:lnTo>
                  <a:pt x="3216" y="715"/>
                </a:lnTo>
                <a:lnTo>
                  <a:pt x="3214" y="721"/>
                </a:lnTo>
                <a:lnTo>
                  <a:pt x="3219" y="722"/>
                </a:lnTo>
                <a:lnTo>
                  <a:pt x="3221" y="722"/>
                </a:lnTo>
                <a:lnTo>
                  <a:pt x="3223" y="724"/>
                </a:lnTo>
                <a:lnTo>
                  <a:pt x="3223" y="729"/>
                </a:lnTo>
                <a:lnTo>
                  <a:pt x="3222" y="729"/>
                </a:lnTo>
                <a:lnTo>
                  <a:pt x="3222" y="730"/>
                </a:lnTo>
                <a:lnTo>
                  <a:pt x="3221" y="734"/>
                </a:lnTo>
                <a:lnTo>
                  <a:pt x="3220" y="743"/>
                </a:lnTo>
                <a:lnTo>
                  <a:pt x="3228" y="746"/>
                </a:lnTo>
                <a:lnTo>
                  <a:pt x="3229" y="750"/>
                </a:lnTo>
                <a:lnTo>
                  <a:pt x="3229" y="751"/>
                </a:lnTo>
                <a:lnTo>
                  <a:pt x="3229" y="752"/>
                </a:lnTo>
                <a:lnTo>
                  <a:pt x="3226" y="757"/>
                </a:lnTo>
                <a:lnTo>
                  <a:pt x="3225" y="760"/>
                </a:lnTo>
                <a:lnTo>
                  <a:pt x="3225" y="763"/>
                </a:lnTo>
                <a:lnTo>
                  <a:pt x="3231" y="763"/>
                </a:lnTo>
                <a:lnTo>
                  <a:pt x="3231" y="769"/>
                </a:lnTo>
                <a:lnTo>
                  <a:pt x="3232" y="773"/>
                </a:lnTo>
                <a:lnTo>
                  <a:pt x="3233" y="780"/>
                </a:lnTo>
                <a:lnTo>
                  <a:pt x="3234" y="788"/>
                </a:lnTo>
                <a:lnTo>
                  <a:pt x="3234" y="791"/>
                </a:lnTo>
                <a:lnTo>
                  <a:pt x="3234" y="794"/>
                </a:lnTo>
                <a:lnTo>
                  <a:pt x="3233" y="795"/>
                </a:lnTo>
                <a:lnTo>
                  <a:pt x="3233" y="796"/>
                </a:lnTo>
                <a:lnTo>
                  <a:pt x="3232" y="794"/>
                </a:lnTo>
                <a:lnTo>
                  <a:pt x="3231" y="791"/>
                </a:lnTo>
                <a:lnTo>
                  <a:pt x="3230" y="791"/>
                </a:lnTo>
                <a:lnTo>
                  <a:pt x="3229" y="792"/>
                </a:lnTo>
                <a:lnTo>
                  <a:pt x="3227" y="796"/>
                </a:lnTo>
                <a:lnTo>
                  <a:pt x="3225" y="802"/>
                </a:lnTo>
                <a:lnTo>
                  <a:pt x="3223" y="802"/>
                </a:lnTo>
                <a:lnTo>
                  <a:pt x="3221" y="802"/>
                </a:lnTo>
                <a:lnTo>
                  <a:pt x="3220" y="801"/>
                </a:lnTo>
                <a:lnTo>
                  <a:pt x="3219" y="801"/>
                </a:lnTo>
                <a:lnTo>
                  <a:pt x="3216" y="799"/>
                </a:lnTo>
                <a:lnTo>
                  <a:pt x="3214" y="799"/>
                </a:lnTo>
                <a:lnTo>
                  <a:pt x="3211" y="800"/>
                </a:lnTo>
                <a:lnTo>
                  <a:pt x="3210" y="801"/>
                </a:lnTo>
                <a:lnTo>
                  <a:pt x="3208" y="802"/>
                </a:lnTo>
                <a:lnTo>
                  <a:pt x="3205" y="804"/>
                </a:lnTo>
                <a:lnTo>
                  <a:pt x="3203" y="805"/>
                </a:lnTo>
                <a:lnTo>
                  <a:pt x="3203" y="808"/>
                </a:lnTo>
                <a:lnTo>
                  <a:pt x="3200" y="808"/>
                </a:lnTo>
                <a:lnTo>
                  <a:pt x="3197" y="807"/>
                </a:lnTo>
                <a:lnTo>
                  <a:pt x="3189" y="806"/>
                </a:lnTo>
                <a:lnTo>
                  <a:pt x="3185" y="805"/>
                </a:lnTo>
                <a:lnTo>
                  <a:pt x="3180" y="804"/>
                </a:lnTo>
                <a:lnTo>
                  <a:pt x="3176" y="804"/>
                </a:lnTo>
                <a:lnTo>
                  <a:pt x="3172" y="805"/>
                </a:lnTo>
                <a:lnTo>
                  <a:pt x="3169" y="814"/>
                </a:lnTo>
                <a:lnTo>
                  <a:pt x="3166" y="815"/>
                </a:lnTo>
                <a:lnTo>
                  <a:pt x="3163" y="815"/>
                </a:lnTo>
                <a:lnTo>
                  <a:pt x="3161" y="815"/>
                </a:lnTo>
                <a:lnTo>
                  <a:pt x="3158" y="817"/>
                </a:lnTo>
                <a:lnTo>
                  <a:pt x="3157" y="818"/>
                </a:lnTo>
                <a:lnTo>
                  <a:pt x="3156" y="819"/>
                </a:lnTo>
                <a:lnTo>
                  <a:pt x="3155" y="821"/>
                </a:lnTo>
                <a:lnTo>
                  <a:pt x="3154" y="823"/>
                </a:lnTo>
                <a:lnTo>
                  <a:pt x="3151" y="833"/>
                </a:lnTo>
                <a:lnTo>
                  <a:pt x="3150" y="844"/>
                </a:lnTo>
                <a:lnTo>
                  <a:pt x="3149" y="853"/>
                </a:lnTo>
                <a:lnTo>
                  <a:pt x="3132" y="854"/>
                </a:lnTo>
                <a:lnTo>
                  <a:pt x="3119" y="856"/>
                </a:lnTo>
                <a:lnTo>
                  <a:pt x="3108" y="859"/>
                </a:lnTo>
                <a:lnTo>
                  <a:pt x="3093" y="864"/>
                </a:lnTo>
                <a:lnTo>
                  <a:pt x="3095" y="875"/>
                </a:lnTo>
                <a:lnTo>
                  <a:pt x="3096" y="888"/>
                </a:lnTo>
                <a:lnTo>
                  <a:pt x="3093" y="889"/>
                </a:lnTo>
                <a:lnTo>
                  <a:pt x="3091" y="889"/>
                </a:lnTo>
                <a:lnTo>
                  <a:pt x="3085" y="890"/>
                </a:lnTo>
                <a:lnTo>
                  <a:pt x="3083" y="890"/>
                </a:lnTo>
                <a:lnTo>
                  <a:pt x="3081" y="891"/>
                </a:lnTo>
                <a:lnTo>
                  <a:pt x="3078" y="892"/>
                </a:lnTo>
                <a:lnTo>
                  <a:pt x="3076" y="893"/>
                </a:lnTo>
                <a:lnTo>
                  <a:pt x="3075" y="896"/>
                </a:lnTo>
                <a:lnTo>
                  <a:pt x="3075" y="899"/>
                </a:lnTo>
                <a:lnTo>
                  <a:pt x="3074" y="905"/>
                </a:lnTo>
                <a:lnTo>
                  <a:pt x="3072" y="906"/>
                </a:lnTo>
                <a:lnTo>
                  <a:pt x="3070" y="906"/>
                </a:lnTo>
                <a:lnTo>
                  <a:pt x="3066" y="907"/>
                </a:lnTo>
                <a:lnTo>
                  <a:pt x="3058" y="907"/>
                </a:lnTo>
                <a:lnTo>
                  <a:pt x="3051" y="906"/>
                </a:lnTo>
                <a:lnTo>
                  <a:pt x="3045" y="905"/>
                </a:lnTo>
                <a:lnTo>
                  <a:pt x="3045" y="896"/>
                </a:lnTo>
                <a:lnTo>
                  <a:pt x="3043" y="896"/>
                </a:lnTo>
                <a:lnTo>
                  <a:pt x="3041" y="896"/>
                </a:lnTo>
                <a:lnTo>
                  <a:pt x="3038" y="897"/>
                </a:lnTo>
                <a:lnTo>
                  <a:pt x="3036" y="898"/>
                </a:lnTo>
                <a:lnTo>
                  <a:pt x="3035" y="899"/>
                </a:lnTo>
                <a:lnTo>
                  <a:pt x="3034" y="900"/>
                </a:lnTo>
                <a:lnTo>
                  <a:pt x="3033" y="901"/>
                </a:lnTo>
                <a:lnTo>
                  <a:pt x="3034" y="902"/>
                </a:lnTo>
                <a:lnTo>
                  <a:pt x="3038" y="913"/>
                </a:lnTo>
                <a:lnTo>
                  <a:pt x="3041" y="919"/>
                </a:lnTo>
                <a:lnTo>
                  <a:pt x="3043" y="924"/>
                </a:lnTo>
                <a:lnTo>
                  <a:pt x="3043" y="930"/>
                </a:lnTo>
                <a:lnTo>
                  <a:pt x="3040" y="930"/>
                </a:lnTo>
                <a:lnTo>
                  <a:pt x="3038" y="929"/>
                </a:lnTo>
                <a:lnTo>
                  <a:pt x="3034" y="928"/>
                </a:lnTo>
                <a:lnTo>
                  <a:pt x="3031" y="927"/>
                </a:lnTo>
                <a:lnTo>
                  <a:pt x="3026" y="927"/>
                </a:lnTo>
                <a:lnTo>
                  <a:pt x="3017" y="933"/>
                </a:lnTo>
                <a:lnTo>
                  <a:pt x="3015" y="933"/>
                </a:lnTo>
                <a:lnTo>
                  <a:pt x="3014" y="932"/>
                </a:lnTo>
                <a:lnTo>
                  <a:pt x="3013" y="932"/>
                </a:lnTo>
                <a:lnTo>
                  <a:pt x="3012" y="931"/>
                </a:lnTo>
                <a:lnTo>
                  <a:pt x="3012" y="930"/>
                </a:lnTo>
                <a:lnTo>
                  <a:pt x="3012" y="929"/>
                </a:lnTo>
                <a:lnTo>
                  <a:pt x="3011" y="928"/>
                </a:lnTo>
                <a:lnTo>
                  <a:pt x="3010" y="927"/>
                </a:lnTo>
                <a:lnTo>
                  <a:pt x="3009" y="927"/>
                </a:lnTo>
                <a:lnTo>
                  <a:pt x="3007" y="927"/>
                </a:lnTo>
                <a:lnTo>
                  <a:pt x="3000" y="928"/>
                </a:lnTo>
                <a:lnTo>
                  <a:pt x="2991" y="930"/>
                </a:lnTo>
                <a:lnTo>
                  <a:pt x="2987" y="932"/>
                </a:lnTo>
                <a:lnTo>
                  <a:pt x="2984" y="933"/>
                </a:lnTo>
                <a:lnTo>
                  <a:pt x="2981" y="933"/>
                </a:lnTo>
                <a:lnTo>
                  <a:pt x="2989" y="939"/>
                </a:lnTo>
                <a:lnTo>
                  <a:pt x="2987" y="939"/>
                </a:lnTo>
                <a:lnTo>
                  <a:pt x="2985" y="940"/>
                </a:lnTo>
                <a:lnTo>
                  <a:pt x="2983" y="940"/>
                </a:lnTo>
                <a:lnTo>
                  <a:pt x="2981" y="941"/>
                </a:lnTo>
                <a:lnTo>
                  <a:pt x="2982" y="946"/>
                </a:lnTo>
                <a:lnTo>
                  <a:pt x="2982" y="950"/>
                </a:lnTo>
                <a:lnTo>
                  <a:pt x="2981" y="951"/>
                </a:lnTo>
                <a:lnTo>
                  <a:pt x="2981" y="953"/>
                </a:lnTo>
                <a:lnTo>
                  <a:pt x="2990" y="953"/>
                </a:lnTo>
                <a:lnTo>
                  <a:pt x="2994" y="953"/>
                </a:lnTo>
                <a:lnTo>
                  <a:pt x="2998" y="955"/>
                </a:lnTo>
                <a:lnTo>
                  <a:pt x="3006" y="958"/>
                </a:lnTo>
                <a:lnTo>
                  <a:pt x="3006" y="964"/>
                </a:lnTo>
                <a:lnTo>
                  <a:pt x="3017" y="958"/>
                </a:lnTo>
                <a:lnTo>
                  <a:pt x="3014" y="967"/>
                </a:lnTo>
                <a:lnTo>
                  <a:pt x="3018" y="968"/>
                </a:lnTo>
                <a:lnTo>
                  <a:pt x="3019" y="968"/>
                </a:lnTo>
                <a:lnTo>
                  <a:pt x="3020" y="972"/>
                </a:lnTo>
                <a:lnTo>
                  <a:pt x="3024" y="972"/>
                </a:lnTo>
                <a:lnTo>
                  <a:pt x="3029" y="972"/>
                </a:lnTo>
                <a:lnTo>
                  <a:pt x="3027" y="975"/>
                </a:lnTo>
                <a:lnTo>
                  <a:pt x="3026" y="979"/>
                </a:lnTo>
                <a:lnTo>
                  <a:pt x="3025" y="982"/>
                </a:lnTo>
                <a:lnTo>
                  <a:pt x="3025" y="984"/>
                </a:lnTo>
                <a:lnTo>
                  <a:pt x="3025" y="987"/>
                </a:lnTo>
                <a:lnTo>
                  <a:pt x="3026" y="989"/>
                </a:lnTo>
                <a:lnTo>
                  <a:pt x="3028" y="992"/>
                </a:lnTo>
                <a:lnTo>
                  <a:pt x="3030" y="994"/>
                </a:lnTo>
                <a:lnTo>
                  <a:pt x="3033" y="996"/>
                </a:lnTo>
                <a:lnTo>
                  <a:pt x="3037" y="998"/>
                </a:lnTo>
                <a:lnTo>
                  <a:pt x="3051" y="1003"/>
                </a:lnTo>
                <a:lnTo>
                  <a:pt x="3052" y="1024"/>
                </a:lnTo>
                <a:lnTo>
                  <a:pt x="3052" y="1032"/>
                </a:lnTo>
                <a:lnTo>
                  <a:pt x="3051" y="1040"/>
                </a:lnTo>
                <a:lnTo>
                  <a:pt x="3050" y="1047"/>
                </a:lnTo>
                <a:lnTo>
                  <a:pt x="3049" y="1054"/>
                </a:lnTo>
                <a:lnTo>
                  <a:pt x="3045" y="1071"/>
                </a:lnTo>
                <a:close/>
              </a:path>
            </a:pathLst>
          </a:custGeom>
          <a:solidFill>
            <a:schemeClr val="bg1">
              <a:lumMod val="85000"/>
            </a:schemeClr>
          </a:solidFill>
          <a:ln>
            <a:noFill/>
          </a:ln>
        </p:spPr>
        <p:txBody>
          <a:bodyPr vert="horz" wrap="square" lIns="68562" tIns="34281" rIns="68562" bIns="34281" numCol="1" anchor="t" anchorCtr="0" compatLnSpc="1">
            <a:prstTxWarp prst="textNoShape">
              <a:avLst/>
            </a:prstTxWarp>
          </a:bodyPr>
          <a:lstStyle/>
          <a:p>
            <a:endParaRPr lang="fi-FI" sz="1349"/>
          </a:p>
        </p:txBody>
      </p:sp>
      <p:sp>
        <p:nvSpPr>
          <p:cNvPr id="2" name="Title 1"/>
          <p:cNvSpPr>
            <a:spLocks noGrp="1"/>
          </p:cNvSpPr>
          <p:nvPr>
            <p:ph type="title" hasCustomPrompt="1"/>
          </p:nvPr>
        </p:nvSpPr>
        <p:spPr>
          <a:xfrm>
            <a:off x="0" y="573882"/>
            <a:ext cx="8729771" cy="456902"/>
          </a:xfrm>
        </p:spPr>
        <p:txBody>
          <a:bodyPr/>
          <a:lstStyle>
            <a:lvl1pPr>
              <a:defRPr sz="2249"/>
            </a:lvl1pPr>
          </a:lstStyle>
          <a:p>
            <a:r>
              <a:rPr lang="en-US" dirty="0"/>
              <a:t>Click to add title</a:t>
            </a:r>
          </a:p>
        </p:txBody>
      </p:sp>
      <p:sp>
        <p:nvSpPr>
          <p:cNvPr id="4" name="Date Placeholder 3"/>
          <p:cNvSpPr>
            <a:spLocks noGrp="1"/>
          </p:cNvSpPr>
          <p:nvPr>
            <p:ph type="dt" sz="half" idx="10"/>
          </p:nvPr>
        </p:nvSpPr>
        <p:spPr/>
        <p:txBody>
          <a:bodyPr/>
          <a:lstStyle/>
          <a:p>
            <a:fld id="{49DAB92B-1CD9-4A3D-B9E1-A0D421768470}" type="datetime1">
              <a:rPr lang="fi-FI" smtClean="0"/>
              <a:t>5.11.2023</a:t>
            </a:fld>
            <a:endParaRPr lang="en-US"/>
          </a:p>
        </p:txBody>
      </p:sp>
      <p:sp>
        <p:nvSpPr>
          <p:cNvPr id="5" name="Footer Placeholder 4"/>
          <p:cNvSpPr>
            <a:spLocks noGrp="1"/>
          </p:cNvSpPr>
          <p:nvPr>
            <p:ph type="ftr" sz="quarter" idx="11"/>
          </p:nvPr>
        </p:nvSpPr>
        <p:spPr/>
        <p:txBody>
          <a:bodyPr/>
          <a:lstStyle/>
          <a:p>
            <a:r>
              <a:rPr lang="en-US"/>
              <a:t>© Aalto University Executive Education</a:t>
            </a:r>
          </a:p>
        </p:txBody>
      </p:sp>
      <p:sp>
        <p:nvSpPr>
          <p:cNvPr id="6" name="Slide Number Placeholder 5"/>
          <p:cNvSpPr>
            <a:spLocks noGrp="1"/>
          </p:cNvSpPr>
          <p:nvPr>
            <p:ph type="sldNum" sz="quarter" idx="12"/>
          </p:nvPr>
        </p:nvSpPr>
        <p:spPr/>
        <p:txBody>
          <a:bodyPr/>
          <a:lstStyle/>
          <a:p>
            <a:fld id="{FCCA222D-FCF7-48C1-A274-EBDDEF75DC66}" type="slidenum">
              <a:rPr lang="en-US" smtClean="0"/>
              <a:t>‹#›</a:t>
            </a:fld>
            <a:endParaRPr lang="en-US"/>
          </a:p>
        </p:txBody>
      </p:sp>
    </p:spTree>
    <p:extLst>
      <p:ext uri="{BB962C8B-B14F-4D97-AF65-F5344CB8AC3E}">
        <p14:creationId xmlns:p14="http://schemas.microsoft.com/office/powerpoint/2010/main" val="2076785415"/>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5.xml"/><Relationship Id="rId18" Type="http://schemas.openxmlformats.org/officeDocument/2006/relationships/slideLayout" Target="../slideLayouts/slideLayout40.xml"/><Relationship Id="rId26" Type="http://schemas.openxmlformats.org/officeDocument/2006/relationships/slideLayout" Target="../slideLayouts/slideLayout48.xml"/><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5" Type="http://schemas.openxmlformats.org/officeDocument/2006/relationships/slideLayout" Target="../slideLayouts/slideLayout47.xml"/><Relationship Id="rId33" Type="http://schemas.openxmlformats.org/officeDocument/2006/relationships/image" Target="../media/image16.png"/><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29" Type="http://schemas.openxmlformats.org/officeDocument/2006/relationships/slideLayout" Target="../slideLayouts/slideLayout51.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slideLayout" Target="../slideLayouts/slideLayout46.xml"/><Relationship Id="rId32" Type="http://schemas.openxmlformats.org/officeDocument/2006/relationships/theme" Target="../theme/theme2.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slideLayout" Target="../slideLayouts/slideLayout45.xml"/><Relationship Id="rId28" Type="http://schemas.openxmlformats.org/officeDocument/2006/relationships/slideLayout" Target="../slideLayouts/slideLayout50.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31" Type="http://schemas.openxmlformats.org/officeDocument/2006/relationships/slideLayout" Target="../slideLayouts/slideLayout53.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 Id="rId27" Type="http://schemas.openxmlformats.org/officeDocument/2006/relationships/slideLayout" Target="../slideLayouts/slideLayout49.xml"/><Relationship Id="rId30" Type="http://schemas.openxmlformats.org/officeDocument/2006/relationships/slideLayout" Target="../slideLayouts/slideLayout52.xml"/><Relationship Id="rId8" Type="http://schemas.openxmlformats.org/officeDocument/2006/relationships/slideLayout" Target="../slideLayouts/slideLayout3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slideLayout" Target="../slideLayouts/slideLayout66.xml"/><Relationship Id="rId18" Type="http://schemas.openxmlformats.org/officeDocument/2006/relationships/slideLayout" Target="../slideLayouts/slideLayout71.xml"/><Relationship Id="rId3" Type="http://schemas.openxmlformats.org/officeDocument/2006/relationships/slideLayout" Target="../slideLayouts/slideLayout56.xml"/><Relationship Id="rId21" Type="http://schemas.openxmlformats.org/officeDocument/2006/relationships/slideLayout" Target="../slideLayouts/slideLayout74.xml"/><Relationship Id="rId7" Type="http://schemas.openxmlformats.org/officeDocument/2006/relationships/slideLayout" Target="../slideLayouts/slideLayout60.xml"/><Relationship Id="rId12" Type="http://schemas.openxmlformats.org/officeDocument/2006/relationships/slideLayout" Target="../slideLayouts/slideLayout65.xml"/><Relationship Id="rId17" Type="http://schemas.openxmlformats.org/officeDocument/2006/relationships/slideLayout" Target="../slideLayouts/slideLayout70.xml"/><Relationship Id="rId2" Type="http://schemas.openxmlformats.org/officeDocument/2006/relationships/slideLayout" Target="../slideLayouts/slideLayout55.xml"/><Relationship Id="rId16" Type="http://schemas.openxmlformats.org/officeDocument/2006/relationships/slideLayout" Target="../slideLayouts/slideLayout69.xml"/><Relationship Id="rId20" Type="http://schemas.openxmlformats.org/officeDocument/2006/relationships/slideLayout" Target="../slideLayouts/slideLayout73.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5" Type="http://schemas.openxmlformats.org/officeDocument/2006/relationships/slideLayout" Target="../slideLayouts/slideLayout58.xml"/><Relationship Id="rId15" Type="http://schemas.openxmlformats.org/officeDocument/2006/relationships/slideLayout" Target="../slideLayouts/slideLayout68.xml"/><Relationship Id="rId23" Type="http://schemas.openxmlformats.org/officeDocument/2006/relationships/theme" Target="../theme/theme3.xml"/><Relationship Id="rId10" Type="http://schemas.openxmlformats.org/officeDocument/2006/relationships/slideLayout" Target="../slideLayouts/slideLayout63.xml"/><Relationship Id="rId19" Type="http://schemas.openxmlformats.org/officeDocument/2006/relationships/slideLayout" Target="../slideLayouts/slideLayout72.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slideLayout" Target="../slideLayouts/slideLayout67.xml"/><Relationship Id="rId22" Type="http://schemas.openxmlformats.org/officeDocument/2006/relationships/slideLayout" Target="../slideLayouts/slideLayout75.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88.xml"/><Relationship Id="rId18" Type="http://schemas.openxmlformats.org/officeDocument/2006/relationships/slideLayout" Target="../slideLayouts/slideLayout93.xml"/><Relationship Id="rId26" Type="http://schemas.openxmlformats.org/officeDocument/2006/relationships/slideLayout" Target="../slideLayouts/slideLayout101.xml"/><Relationship Id="rId3" Type="http://schemas.openxmlformats.org/officeDocument/2006/relationships/slideLayout" Target="../slideLayouts/slideLayout78.xml"/><Relationship Id="rId21" Type="http://schemas.openxmlformats.org/officeDocument/2006/relationships/slideLayout" Target="../slideLayouts/slideLayout96.xml"/><Relationship Id="rId7" Type="http://schemas.openxmlformats.org/officeDocument/2006/relationships/slideLayout" Target="../slideLayouts/slideLayout82.xml"/><Relationship Id="rId12" Type="http://schemas.openxmlformats.org/officeDocument/2006/relationships/slideLayout" Target="../slideLayouts/slideLayout87.xml"/><Relationship Id="rId17" Type="http://schemas.openxmlformats.org/officeDocument/2006/relationships/slideLayout" Target="../slideLayouts/slideLayout92.xml"/><Relationship Id="rId25" Type="http://schemas.openxmlformats.org/officeDocument/2006/relationships/slideLayout" Target="../slideLayouts/slideLayout100.xml"/><Relationship Id="rId33" Type="http://schemas.openxmlformats.org/officeDocument/2006/relationships/image" Target="../media/image16.png"/><Relationship Id="rId2" Type="http://schemas.openxmlformats.org/officeDocument/2006/relationships/slideLayout" Target="../slideLayouts/slideLayout77.xml"/><Relationship Id="rId16" Type="http://schemas.openxmlformats.org/officeDocument/2006/relationships/slideLayout" Target="../slideLayouts/slideLayout91.xml"/><Relationship Id="rId20" Type="http://schemas.openxmlformats.org/officeDocument/2006/relationships/slideLayout" Target="../slideLayouts/slideLayout95.xml"/><Relationship Id="rId29" Type="http://schemas.openxmlformats.org/officeDocument/2006/relationships/slideLayout" Target="../slideLayouts/slideLayout104.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24" Type="http://schemas.openxmlformats.org/officeDocument/2006/relationships/slideLayout" Target="../slideLayouts/slideLayout99.xml"/><Relationship Id="rId32" Type="http://schemas.openxmlformats.org/officeDocument/2006/relationships/theme" Target="../theme/theme4.xml"/><Relationship Id="rId5" Type="http://schemas.openxmlformats.org/officeDocument/2006/relationships/slideLayout" Target="../slideLayouts/slideLayout80.xml"/><Relationship Id="rId15" Type="http://schemas.openxmlformats.org/officeDocument/2006/relationships/slideLayout" Target="../slideLayouts/slideLayout90.xml"/><Relationship Id="rId23" Type="http://schemas.openxmlformats.org/officeDocument/2006/relationships/slideLayout" Target="../slideLayouts/slideLayout98.xml"/><Relationship Id="rId28" Type="http://schemas.openxmlformats.org/officeDocument/2006/relationships/slideLayout" Target="../slideLayouts/slideLayout103.xml"/><Relationship Id="rId10" Type="http://schemas.openxmlformats.org/officeDocument/2006/relationships/slideLayout" Target="../slideLayouts/slideLayout85.xml"/><Relationship Id="rId19" Type="http://schemas.openxmlformats.org/officeDocument/2006/relationships/slideLayout" Target="../slideLayouts/slideLayout94.xml"/><Relationship Id="rId31" Type="http://schemas.openxmlformats.org/officeDocument/2006/relationships/slideLayout" Target="../slideLayouts/slideLayout106.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slideLayout" Target="../slideLayouts/slideLayout89.xml"/><Relationship Id="rId22" Type="http://schemas.openxmlformats.org/officeDocument/2006/relationships/slideLayout" Target="../slideLayouts/slideLayout97.xml"/><Relationship Id="rId27" Type="http://schemas.openxmlformats.org/officeDocument/2006/relationships/slideLayout" Target="../slideLayouts/slideLayout102.xml"/><Relationship Id="rId30" Type="http://schemas.openxmlformats.org/officeDocument/2006/relationships/slideLayout" Target="../slideLayouts/slideLayout105.xml"/><Relationship Id="rId8" Type="http://schemas.openxmlformats.org/officeDocument/2006/relationships/slideLayout" Target="../slideLayouts/slideLayout83.xml"/></Relationships>
</file>

<file path=ppt/slideMasters/_rels/slideMaster5.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109.xml"/><Relationship Id="rId7" Type="http://schemas.openxmlformats.org/officeDocument/2006/relationships/tags" Target="../tags/tag2.xml"/><Relationship Id="rId2" Type="http://schemas.openxmlformats.org/officeDocument/2006/relationships/slideLayout" Target="../slideLayouts/slideLayout108.xml"/><Relationship Id="rId1" Type="http://schemas.openxmlformats.org/officeDocument/2006/relationships/slideLayout" Target="../slideLayouts/slideLayout107.xml"/><Relationship Id="rId6" Type="http://schemas.openxmlformats.org/officeDocument/2006/relationships/tags" Target="../tags/tag1.xml"/><Relationship Id="rId5" Type="http://schemas.openxmlformats.org/officeDocument/2006/relationships/theme" Target="../theme/theme5.xml"/><Relationship Id="rId4" Type="http://schemas.openxmlformats.org/officeDocument/2006/relationships/slideLayout" Target="../slideLayouts/slideLayout110.xml"/><Relationship Id="rId9" Type="http://schemas.openxmlformats.org/officeDocument/2006/relationships/image" Target="../media/image20.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8.xml"/><Relationship Id="rId3" Type="http://schemas.openxmlformats.org/officeDocument/2006/relationships/slideLayout" Target="../slideLayouts/slideLayout113.xml"/><Relationship Id="rId7" Type="http://schemas.openxmlformats.org/officeDocument/2006/relationships/slideLayout" Target="../slideLayouts/slideLayout117.xml"/><Relationship Id="rId12" Type="http://schemas.openxmlformats.org/officeDocument/2006/relationships/theme" Target="../theme/theme6.xml"/><Relationship Id="rId2" Type="http://schemas.openxmlformats.org/officeDocument/2006/relationships/slideLayout" Target="../slideLayouts/slideLayout112.xml"/><Relationship Id="rId1" Type="http://schemas.openxmlformats.org/officeDocument/2006/relationships/slideLayout" Target="../slideLayouts/slideLayout111.xml"/><Relationship Id="rId6" Type="http://schemas.openxmlformats.org/officeDocument/2006/relationships/slideLayout" Target="../slideLayouts/slideLayout116.xml"/><Relationship Id="rId11" Type="http://schemas.openxmlformats.org/officeDocument/2006/relationships/slideLayout" Target="../slideLayouts/slideLayout121.xml"/><Relationship Id="rId5" Type="http://schemas.openxmlformats.org/officeDocument/2006/relationships/slideLayout" Target="../slideLayouts/slideLayout115.xml"/><Relationship Id="rId10" Type="http://schemas.openxmlformats.org/officeDocument/2006/relationships/slideLayout" Target="../slideLayouts/slideLayout120.xml"/><Relationship Id="rId4" Type="http://schemas.openxmlformats.org/officeDocument/2006/relationships/slideLayout" Target="../slideLayouts/slideLayout114.xml"/><Relationship Id="rId9" Type="http://schemas.openxmlformats.org/officeDocument/2006/relationships/slideLayout" Target="../slideLayouts/slideLayout119.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9.xml"/><Relationship Id="rId3" Type="http://schemas.openxmlformats.org/officeDocument/2006/relationships/slideLayout" Target="../slideLayouts/slideLayout124.xml"/><Relationship Id="rId7" Type="http://schemas.openxmlformats.org/officeDocument/2006/relationships/slideLayout" Target="../slideLayouts/slideLayout128.xml"/><Relationship Id="rId12" Type="http://schemas.openxmlformats.org/officeDocument/2006/relationships/theme" Target="../theme/theme7.xml"/><Relationship Id="rId2" Type="http://schemas.openxmlformats.org/officeDocument/2006/relationships/slideLayout" Target="../slideLayouts/slideLayout123.xml"/><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slideLayout" Target="../slideLayouts/slideLayout132.xml"/><Relationship Id="rId5" Type="http://schemas.openxmlformats.org/officeDocument/2006/relationships/slideLayout" Target="../slideLayouts/slideLayout126.xml"/><Relationship Id="rId10" Type="http://schemas.openxmlformats.org/officeDocument/2006/relationships/slideLayout" Target="../slideLayouts/slideLayout131.xml"/><Relationship Id="rId4" Type="http://schemas.openxmlformats.org/officeDocument/2006/relationships/slideLayout" Target="../slideLayouts/slideLayout125.xml"/><Relationship Id="rId9" Type="http://schemas.openxmlformats.org/officeDocument/2006/relationships/slideLayout" Target="../slideLayouts/slideLayout130.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0.xml"/><Relationship Id="rId3" Type="http://schemas.openxmlformats.org/officeDocument/2006/relationships/slideLayout" Target="../slideLayouts/slideLayout135.xml"/><Relationship Id="rId7" Type="http://schemas.openxmlformats.org/officeDocument/2006/relationships/slideLayout" Target="../slideLayouts/slideLayout139.xml"/><Relationship Id="rId12" Type="http://schemas.openxmlformats.org/officeDocument/2006/relationships/theme" Target="../theme/theme8.xml"/><Relationship Id="rId2" Type="http://schemas.openxmlformats.org/officeDocument/2006/relationships/slideLayout" Target="../slideLayouts/slideLayout134.xml"/><Relationship Id="rId1" Type="http://schemas.openxmlformats.org/officeDocument/2006/relationships/slideLayout" Target="../slideLayouts/slideLayout133.xml"/><Relationship Id="rId6" Type="http://schemas.openxmlformats.org/officeDocument/2006/relationships/slideLayout" Target="../slideLayouts/slideLayout138.xml"/><Relationship Id="rId11" Type="http://schemas.openxmlformats.org/officeDocument/2006/relationships/slideLayout" Target="../slideLayouts/slideLayout143.xml"/><Relationship Id="rId5" Type="http://schemas.openxmlformats.org/officeDocument/2006/relationships/slideLayout" Target="../slideLayouts/slideLayout137.xml"/><Relationship Id="rId10" Type="http://schemas.openxmlformats.org/officeDocument/2006/relationships/slideLayout" Target="../slideLayouts/slideLayout142.xml"/><Relationship Id="rId4" Type="http://schemas.openxmlformats.org/officeDocument/2006/relationships/slideLayout" Target="../slideLayouts/slideLayout136.xml"/><Relationship Id="rId9" Type="http://schemas.openxmlformats.org/officeDocument/2006/relationships/slideLayout" Target="../slideLayouts/slideLayout1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Slide Number Placeholder 5"/>
          <p:cNvSpPr>
            <a:spLocks noGrp="1"/>
          </p:cNvSpPr>
          <p:nvPr>
            <p:ph type="sldNum" sz="quarter" idx="4"/>
          </p:nvPr>
        </p:nvSpPr>
        <p:spPr>
          <a:xfrm>
            <a:off x="6678800" y="4848629"/>
            <a:ext cx="2057400" cy="172823"/>
          </a:xfrm>
          <a:prstGeom prst="rect">
            <a:avLst/>
          </a:prstGeom>
        </p:spPr>
        <p:txBody>
          <a:bodyPr vert="horz" lIns="91440" tIns="45720" rIns="91440" bIns="45720" rtlCol="0" anchor="ctr"/>
          <a:lstStyle>
            <a:lvl1pPr algn="r">
              <a:defRPr sz="900" baseline="0">
                <a:solidFill>
                  <a:schemeClr val="tx1"/>
                </a:solidFill>
              </a:defRPr>
            </a:lvl1pPr>
          </a:lstStyle>
          <a:p>
            <a:fld id="{28F7F04C-F568-F649-A2AE-EA61C66B69B4}" type="slidenum">
              <a:rPr lang="en-US" smtClean="0"/>
              <a:pPr/>
              <a:t>‹#›</a:t>
            </a:fld>
            <a:endParaRPr lang="en-US" dirty="0"/>
          </a:p>
        </p:txBody>
      </p:sp>
      <p:sp>
        <p:nvSpPr>
          <p:cNvPr id="4" name="Date Placeholder 3"/>
          <p:cNvSpPr>
            <a:spLocks noGrp="1"/>
          </p:cNvSpPr>
          <p:nvPr>
            <p:ph type="dt" sz="half" idx="2"/>
          </p:nvPr>
        </p:nvSpPr>
        <p:spPr>
          <a:xfrm>
            <a:off x="6678800" y="4672740"/>
            <a:ext cx="2057400" cy="175889"/>
          </a:xfrm>
          <a:prstGeom prst="rect">
            <a:avLst/>
          </a:prstGeom>
        </p:spPr>
        <p:txBody>
          <a:bodyPr vert="horz" lIns="91440" tIns="45720" rIns="91440" bIns="45720" rtlCol="0" anchor="ctr"/>
          <a:lstStyle>
            <a:lvl1pPr algn="r">
              <a:defRPr sz="900" baseline="0">
                <a:solidFill>
                  <a:schemeClr val="tx1"/>
                </a:solidFill>
              </a:defRPr>
            </a:lvl1pPr>
          </a:lstStyle>
          <a:p>
            <a:r>
              <a:rPr lang="fi-FI" dirty="0"/>
              <a:t>dd.mm.yyyy</a:t>
            </a:r>
            <a:endParaRPr lang="en-US" dirty="0"/>
          </a:p>
        </p:txBody>
      </p:sp>
      <p:sp>
        <p:nvSpPr>
          <p:cNvPr id="2" name="Alatunnisteen paikkamerkki 1">
            <a:extLst>
              <a:ext uri="{FF2B5EF4-FFF2-40B4-BE49-F238E27FC236}">
                <a16:creationId xmlns:a16="http://schemas.microsoft.com/office/drawing/2014/main" id="{1C150BC1-EEBC-48B9-AEAE-962A54F46FC4}"/>
              </a:ext>
            </a:extLst>
          </p:cNvPr>
          <p:cNvSpPr>
            <a:spLocks noGrp="1"/>
          </p:cNvSpPr>
          <p:nvPr>
            <p:ph type="ftr" sz="quarter" idx="3"/>
          </p:nvPr>
        </p:nvSpPr>
        <p:spPr>
          <a:xfrm>
            <a:off x="3028950" y="4849200"/>
            <a:ext cx="3086100" cy="172800"/>
          </a:xfrm>
          <a:prstGeom prst="rect">
            <a:avLst/>
          </a:prstGeom>
        </p:spPr>
        <p:txBody>
          <a:bodyPr vert="horz" lIns="91440" tIns="45720" rIns="91440" bIns="45720" rtlCol="0" anchor="ctr"/>
          <a:lstStyle>
            <a:lvl1pPr algn="ctr">
              <a:defRPr sz="900">
                <a:solidFill>
                  <a:schemeClr val="tx1"/>
                </a:solidFill>
              </a:defRPr>
            </a:lvl1pPr>
          </a:lstStyle>
          <a:p>
            <a:r>
              <a:rPr lang="fi-FI" dirty="0"/>
              <a:t>Your text here</a:t>
            </a:r>
          </a:p>
        </p:txBody>
      </p:sp>
    </p:spTree>
    <p:extLst>
      <p:ext uri="{BB962C8B-B14F-4D97-AF65-F5344CB8AC3E}">
        <p14:creationId xmlns:p14="http://schemas.microsoft.com/office/powerpoint/2010/main" val="1833754440"/>
      </p:ext>
    </p:extLst>
  </p:cSld>
  <p:clrMap bg1="lt1" tx1="dk1" bg2="lt2" tx2="dk2" accent1="accent1" accent2="accent2" accent3="accent3" accent4="accent4" accent5="accent5" accent6="accent6" hlink="hlink" folHlink="folHlink"/>
  <p:sldLayoutIdLst>
    <p:sldLayoutId id="2147483667" r:id="rId1"/>
    <p:sldLayoutId id="2147483650" r:id="rId2"/>
    <p:sldLayoutId id="2147483704" r:id="rId3"/>
    <p:sldLayoutId id="2147483708" r:id="rId4"/>
    <p:sldLayoutId id="2147483707" r:id="rId5"/>
    <p:sldLayoutId id="2147483694" r:id="rId6"/>
    <p:sldLayoutId id="2147483695" r:id="rId7"/>
    <p:sldLayoutId id="2147483702" r:id="rId8"/>
    <p:sldLayoutId id="2147483678" r:id="rId9"/>
    <p:sldLayoutId id="2147483705" r:id="rId10"/>
    <p:sldLayoutId id="2147483701" r:id="rId11"/>
    <p:sldLayoutId id="2147483697" r:id="rId12"/>
    <p:sldLayoutId id="2147483703" r:id="rId13"/>
    <p:sldLayoutId id="2147483691" r:id="rId14"/>
    <p:sldLayoutId id="2147483699" r:id="rId15"/>
    <p:sldLayoutId id="2147483679" r:id="rId16"/>
    <p:sldLayoutId id="2147483709" r:id="rId17"/>
    <p:sldLayoutId id="2147483710" r:id="rId18"/>
    <p:sldLayoutId id="2147483711" r:id="rId19"/>
    <p:sldLayoutId id="2147483712" r:id="rId20"/>
    <p:sldLayoutId id="2147483713" r:id="rId21"/>
    <p:sldLayoutId id="2147483714" r:id="rId22"/>
  </p:sldLayoutIdLst>
  <p:hf sldNum="0" hdr="0" ftr="0" dt="0"/>
  <p:txStyles>
    <p:titleStyle>
      <a:lvl1pPr algn="l" defTabSz="685800" rtl="0" eaLnBrk="1" latinLnBrk="0" hangingPunct="1">
        <a:lnSpc>
          <a:spcPct val="90000"/>
        </a:lnSpc>
        <a:spcBef>
          <a:spcPct val="0"/>
        </a:spcBef>
        <a:buNone/>
        <a:defRPr sz="3300" kern="1200" baseline="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81" userDrawn="1">
          <p15:clr>
            <a:srgbClr val="F26B43"/>
          </p15:clr>
        </p15:guide>
        <p15:guide id="3" orient="horz" pos="327"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 y="573882"/>
            <a:ext cx="8729770" cy="602326"/>
          </a:xfrm>
          <a:prstGeom prst="rect">
            <a:avLst/>
          </a:prstGeom>
          <a:solidFill>
            <a:srgbClr val="B1059D"/>
          </a:solidFill>
        </p:spPr>
        <p:txBody>
          <a:bodyPr vert="horz" wrap="square" lIns="540000" tIns="72000" rIns="540000" bIns="72000" rtlCol="0" anchor="t" anchorCtr="0">
            <a:spAutoFit/>
          </a:bodyPr>
          <a:lstStyle/>
          <a:p>
            <a:r>
              <a:rPr lang="en-US" dirty="0"/>
              <a:t>Click to add title</a:t>
            </a:r>
          </a:p>
        </p:txBody>
      </p:sp>
      <p:sp>
        <p:nvSpPr>
          <p:cNvPr id="3" name="Text Placeholder 2"/>
          <p:cNvSpPr>
            <a:spLocks noGrp="1"/>
          </p:cNvSpPr>
          <p:nvPr>
            <p:ph type="body" idx="1"/>
          </p:nvPr>
        </p:nvSpPr>
        <p:spPr>
          <a:xfrm>
            <a:off x="414230" y="1869673"/>
            <a:ext cx="8315541" cy="2538022"/>
          </a:xfrm>
          <a:prstGeom prst="rect">
            <a:avLst/>
          </a:prstGeom>
        </p:spPr>
        <p:txBody>
          <a:bodyPr vert="horz" lIns="36000" tIns="36000" rIns="36000" bIns="36000" rtlCol="0">
            <a:no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4" name="Date Placeholder 3"/>
          <p:cNvSpPr>
            <a:spLocks noGrp="1"/>
          </p:cNvSpPr>
          <p:nvPr>
            <p:ph type="dt" sz="half" idx="2"/>
          </p:nvPr>
        </p:nvSpPr>
        <p:spPr>
          <a:xfrm>
            <a:off x="252347" y="4785997"/>
            <a:ext cx="1404572" cy="162018"/>
          </a:xfrm>
          <a:prstGeom prst="rect">
            <a:avLst/>
          </a:prstGeom>
        </p:spPr>
        <p:txBody>
          <a:bodyPr vert="horz" lIns="36000" tIns="36000" rIns="36000" bIns="36000" rtlCol="0" anchor="ctr">
            <a:noAutofit/>
          </a:bodyPr>
          <a:lstStyle>
            <a:lvl1pPr algn="l">
              <a:defRPr sz="750">
                <a:solidFill>
                  <a:srgbClr val="B3B2B2"/>
                </a:solidFill>
              </a:defRPr>
            </a:lvl1pPr>
          </a:lstStyle>
          <a:p>
            <a:fld id="{84266EE4-B32D-421F-BB25-BEBAFA688870}" type="datetime1">
              <a:rPr lang="fi-FI" smtClean="0"/>
              <a:t>5.11.2023</a:t>
            </a:fld>
            <a:endParaRPr lang="en-US" dirty="0"/>
          </a:p>
        </p:txBody>
      </p:sp>
      <p:sp>
        <p:nvSpPr>
          <p:cNvPr id="5" name="Footer Placeholder 4"/>
          <p:cNvSpPr>
            <a:spLocks noGrp="1"/>
          </p:cNvSpPr>
          <p:nvPr>
            <p:ph type="ftr" sz="quarter" idx="3"/>
          </p:nvPr>
        </p:nvSpPr>
        <p:spPr>
          <a:xfrm>
            <a:off x="1656919" y="4785997"/>
            <a:ext cx="5830163" cy="165832"/>
          </a:xfrm>
          <a:prstGeom prst="rect">
            <a:avLst/>
          </a:prstGeom>
        </p:spPr>
        <p:txBody>
          <a:bodyPr vert="horz" lIns="36000" tIns="36000" rIns="36000" bIns="36000" rtlCol="0" anchor="ctr">
            <a:noAutofit/>
          </a:bodyPr>
          <a:lstStyle>
            <a:lvl1pPr algn="ctr">
              <a:defRPr sz="750">
                <a:solidFill>
                  <a:srgbClr val="B3B2B2"/>
                </a:solidFill>
              </a:defRPr>
            </a:lvl1pPr>
          </a:lstStyle>
          <a:p>
            <a:r>
              <a:rPr lang="en-US" dirty="0"/>
              <a:t>© Aalto University Executive Education</a:t>
            </a:r>
          </a:p>
        </p:txBody>
      </p:sp>
      <p:sp>
        <p:nvSpPr>
          <p:cNvPr id="6" name="Slide Number Placeholder 5"/>
          <p:cNvSpPr>
            <a:spLocks noGrp="1"/>
          </p:cNvSpPr>
          <p:nvPr>
            <p:ph type="sldNum" sz="quarter" idx="4"/>
          </p:nvPr>
        </p:nvSpPr>
        <p:spPr>
          <a:xfrm>
            <a:off x="7487082" y="4515967"/>
            <a:ext cx="1404273" cy="432048"/>
          </a:xfrm>
          <a:prstGeom prst="rect">
            <a:avLst/>
          </a:prstGeom>
        </p:spPr>
        <p:txBody>
          <a:bodyPr vert="horz" lIns="36000" tIns="36000" rIns="36000" bIns="36000" rtlCol="0" anchor="ctr">
            <a:noAutofit/>
          </a:bodyPr>
          <a:lstStyle>
            <a:lvl1pPr algn="r">
              <a:defRPr sz="3599" b="1">
                <a:solidFill>
                  <a:srgbClr val="B3B2B2"/>
                </a:solidFill>
              </a:defRPr>
            </a:lvl1pPr>
          </a:lstStyle>
          <a:p>
            <a:fld id="{FCCA222D-FCF7-48C1-A274-EBDDEF75DC66}" type="slidenum">
              <a:rPr lang="en-US" smtClean="0"/>
              <a:pPr/>
              <a:t>‹#›</a:t>
            </a:fld>
            <a:endParaRPr lang="en-US" dirty="0"/>
          </a:p>
        </p:txBody>
      </p:sp>
      <p:grpSp>
        <p:nvGrpSpPr>
          <p:cNvPr id="12" name="Group 11"/>
          <p:cNvGrpSpPr>
            <a:grpSpLocks noChangeAspect="1"/>
          </p:cNvGrpSpPr>
          <p:nvPr/>
        </p:nvGrpSpPr>
        <p:grpSpPr>
          <a:xfrm>
            <a:off x="7595548" y="249492"/>
            <a:ext cx="1294116" cy="199800"/>
            <a:chOff x="4067175" y="114301"/>
            <a:chExt cx="3630613" cy="560388"/>
          </a:xfrm>
        </p:grpSpPr>
        <p:sp>
          <p:nvSpPr>
            <p:cNvPr id="13" name="Freeform 6"/>
            <p:cNvSpPr>
              <a:spLocks noEditPoints="1"/>
            </p:cNvSpPr>
            <p:nvPr userDrawn="1"/>
          </p:nvSpPr>
          <p:spPr bwMode="auto">
            <a:xfrm>
              <a:off x="5749925" y="114301"/>
              <a:ext cx="1530350" cy="173038"/>
            </a:xfrm>
            <a:custGeom>
              <a:avLst/>
              <a:gdLst>
                <a:gd name="T0" fmla="*/ 922 w 964"/>
                <a:gd name="T1" fmla="*/ 84 h 109"/>
                <a:gd name="T2" fmla="*/ 918 w 964"/>
                <a:gd name="T3" fmla="*/ 109 h 109"/>
                <a:gd name="T4" fmla="*/ 944 w 964"/>
                <a:gd name="T5" fmla="*/ 25 h 109"/>
                <a:gd name="T6" fmla="*/ 860 w 964"/>
                <a:gd name="T7" fmla="*/ 68 h 109"/>
                <a:gd name="T8" fmla="*/ 890 w 964"/>
                <a:gd name="T9" fmla="*/ 89 h 109"/>
                <a:gd name="T10" fmla="*/ 890 w 964"/>
                <a:gd name="T11" fmla="*/ 39 h 109"/>
                <a:gd name="T12" fmla="*/ 819 w 964"/>
                <a:gd name="T13" fmla="*/ 89 h 109"/>
                <a:gd name="T14" fmla="*/ 793 w 964"/>
                <a:gd name="T15" fmla="*/ 26 h 109"/>
                <a:gd name="T16" fmla="*/ 753 w 964"/>
                <a:gd name="T17" fmla="*/ 33 h 109"/>
                <a:gd name="T18" fmla="*/ 757 w 964"/>
                <a:gd name="T19" fmla="*/ 58 h 109"/>
                <a:gd name="T20" fmla="*/ 788 w 964"/>
                <a:gd name="T21" fmla="*/ 72 h 109"/>
                <a:gd name="T22" fmla="*/ 767 w 964"/>
                <a:gd name="T23" fmla="*/ 70 h 109"/>
                <a:gd name="T24" fmla="*/ 772 w 964"/>
                <a:gd name="T25" fmla="*/ 90 h 109"/>
                <a:gd name="T26" fmla="*/ 806 w 964"/>
                <a:gd name="T27" fmla="*/ 73 h 109"/>
                <a:gd name="T28" fmla="*/ 788 w 964"/>
                <a:gd name="T29" fmla="*/ 49 h 109"/>
                <a:gd name="T30" fmla="*/ 777 w 964"/>
                <a:gd name="T31" fmla="*/ 37 h 109"/>
                <a:gd name="T32" fmla="*/ 700 w 964"/>
                <a:gd name="T33" fmla="*/ 89 h 109"/>
                <a:gd name="T34" fmla="*/ 729 w 964"/>
                <a:gd name="T35" fmla="*/ 42 h 109"/>
                <a:gd name="T36" fmla="*/ 723 w 964"/>
                <a:gd name="T37" fmla="*/ 27 h 109"/>
                <a:gd name="T38" fmla="*/ 643 w 964"/>
                <a:gd name="T39" fmla="*/ 42 h 109"/>
                <a:gd name="T40" fmla="*/ 666 w 964"/>
                <a:gd name="T41" fmla="*/ 44 h 109"/>
                <a:gd name="T42" fmla="*/ 682 w 964"/>
                <a:gd name="T43" fmla="*/ 38 h 109"/>
                <a:gd name="T44" fmla="*/ 647 w 964"/>
                <a:gd name="T45" fmla="*/ 24 h 109"/>
                <a:gd name="T46" fmla="*/ 623 w 964"/>
                <a:gd name="T47" fmla="*/ 46 h 109"/>
                <a:gd name="T48" fmla="*/ 641 w 964"/>
                <a:gd name="T49" fmla="*/ 88 h 109"/>
                <a:gd name="T50" fmla="*/ 679 w 964"/>
                <a:gd name="T51" fmla="*/ 82 h 109"/>
                <a:gd name="T52" fmla="*/ 656 w 964"/>
                <a:gd name="T53" fmla="*/ 76 h 109"/>
                <a:gd name="T54" fmla="*/ 687 w 964"/>
                <a:gd name="T55" fmla="*/ 62 h 109"/>
                <a:gd name="T56" fmla="*/ 575 w 964"/>
                <a:gd name="T57" fmla="*/ 89 h 109"/>
                <a:gd name="T58" fmla="*/ 521 w 964"/>
                <a:gd name="T59" fmla="*/ 89 h 109"/>
                <a:gd name="T60" fmla="*/ 467 w 964"/>
                <a:gd name="T61" fmla="*/ 42 h 109"/>
                <a:gd name="T62" fmla="*/ 483 w 964"/>
                <a:gd name="T63" fmla="*/ 44 h 109"/>
                <a:gd name="T64" fmla="*/ 497 w 964"/>
                <a:gd name="T65" fmla="*/ 29 h 109"/>
                <a:gd name="T66" fmla="*/ 463 w 964"/>
                <a:gd name="T67" fmla="*/ 25 h 109"/>
                <a:gd name="T68" fmla="*/ 398 w 964"/>
                <a:gd name="T69" fmla="*/ 73 h 109"/>
                <a:gd name="T70" fmla="*/ 376 w 964"/>
                <a:gd name="T71" fmla="*/ 63 h 109"/>
                <a:gd name="T72" fmla="*/ 364 w 964"/>
                <a:gd name="T73" fmla="*/ 81 h 109"/>
                <a:gd name="T74" fmla="*/ 406 w 964"/>
                <a:gd name="T75" fmla="*/ 89 h 109"/>
                <a:gd name="T76" fmla="*/ 427 w 964"/>
                <a:gd name="T77" fmla="*/ 60 h 109"/>
                <a:gd name="T78" fmla="*/ 292 w 964"/>
                <a:gd name="T79" fmla="*/ 49 h 109"/>
                <a:gd name="T80" fmla="*/ 284 w 964"/>
                <a:gd name="T81" fmla="*/ 74 h 109"/>
                <a:gd name="T82" fmla="*/ 263 w 964"/>
                <a:gd name="T83" fmla="*/ 61 h 109"/>
                <a:gd name="T84" fmla="*/ 274 w 964"/>
                <a:gd name="T85" fmla="*/ 38 h 109"/>
                <a:gd name="T86" fmla="*/ 247 w 964"/>
                <a:gd name="T87" fmla="*/ 40 h 109"/>
                <a:gd name="T88" fmla="*/ 249 w 964"/>
                <a:gd name="T89" fmla="*/ 76 h 109"/>
                <a:gd name="T90" fmla="*/ 291 w 964"/>
                <a:gd name="T91" fmla="*/ 88 h 109"/>
                <a:gd name="T92" fmla="*/ 311 w 964"/>
                <a:gd name="T93" fmla="*/ 57 h 109"/>
                <a:gd name="T94" fmla="*/ 291 w 964"/>
                <a:gd name="T95" fmla="*/ 26 h 109"/>
                <a:gd name="T96" fmla="*/ 196 w 964"/>
                <a:gd name="T97" fmla="*/ 26 h 109"/>
                <a:gd name="T98" fmla="*/ 214 w 964"/>
                <a:gd name="T99" fmla="*/ 88 h 109"/>
                <a:gd name="T100" fmla="*/ 224 w 964"/>
                <a:gd name="T101" fmla="*/ 70 h 109"/>
                <a:gd name="T102" fmla="*/ 184 w 964"/>
                <a:gd name="T103" fmla="*/ 0 h 109"/>
                <a:gd name="T104" fmla="*/ 108 w 964"/>
                <a:gd name="T105" fmla="*/ 71 h 109"/>
                <a:gd name="T106" fmla="*/ 110 w 964"/>
                <a:gd name="T107" fmla="*/ 45 h 109"/>
                <a:gd name="T108" fmla="*/ 130 w 964"/>
                <a:gd name="T109" fmla="*/ 41 h 109"/>
                <a:gd name="T110" fmla="*/ 103 w 964"/>
                <a:gd name="T111" fmla="*/ 52 h 109"/>
                <a:gd name="T112" fmla="*/ 91 w 964"/>
                <a:gd name="T113" fmla="*/ 79 h 109"/>
                <a:gd name="T114" fmla="*/ 123 w 964"/>
                <a:gd name="T115" fmla="*/ 89 h 109"/>
                <a:gd name="T116" fmla="*/ 149 w 964"/>
                <a:gd name="T117" fmla="*/ 42 h 109"/>
                <a:gd name="T118" fmla="*/ 115 w 964"/>
                <a:gd name="T119" fmla="*/ 23 h 109"/>
                <a:gd name="T120" fmla="*/ 93 w 964"/>
                <a:gd name="T121" fmla="*/ 45 h 109"/>
                <a:gd name="T122" fmla="*/ 56 w 964"/>
                <a:gd name="T1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4" h="109">
                  <a:moveTo>
                    <a:pt x="944" y="25"/>
                  </a:moveTo>
                  <a:lnTo>
                    <a:pt x="936" y="54"/>
                  </a:lnTo>
                  <a:lnTo>
                    <a:pt x="933" y="68"/>
                  </a:lnTo>
                  <a:lnTo>
                    <a:pt x="932" y="65"/>
                  </a:lnTo>
                  <a:lnTo>
                    <a:pt x="928" y="54"/>
                  </a:lnTo>
                  <a:lnTo>
                    <a:pt x="919" y="25"/>
                  </a:lnTo>
                  <a:lnTo>
                    <a:pt x="899" y="25"/>
                  </a:lnTo>
                  <a:lnTo>
                    <a:pt x="920" y="79"/>
                  </a:lnTo>
                  <a:lnTo>
                    <a:pt x="922" y="84"/>
                  </a:lnTo>
                  <a:lnTo>
                    <a:pt x="922" y="87"/>
                  </a:lnTo>
                  <a:lnTo>
                    <a:pt x="922" y="90"/>
                  </a:lnTo>
                  <a:lnTo>
                    <a:pt x="920" y="93"/>
                  </a:lnTo>
                  <a:lnTo>
                    <a:pt x="919" y="94"/>
                  </a:lnTo>
                  <a:lnTo>
                    <a:pt x="917" y="94"/>
                  </a:lnTo>
                  <a:lnTo>
                    <a:pt x="913" y="95"/>
                  </a:lnTo>
                  <a:lnTo>
                    <a:pt x="907" y="95"/>
                  </a:lnTo>
                  <a:lnTo>
                    <a:pt x="907" y="109"/>
                  </a:lnTo>
                  <a:lnTo>
                    <a:pt x="918" y="109"/>
                  </a:lnTo>
                  <a:lnTo>
                    <a:pt x="923" y="109"/>
                  </a:lnTo>
                  <a:lnTo>
                    <a:pt x="927" y="108"/>
                  </a:lnTo>
                  <a:lnTo>
                    <a:pt x="930" y="107"/>
                  </a:lnTo>
                  <a:lnTo>
                    <a:pt x="933" y="105"/>
                  </a:lnTo>
                  <a:lnTo>
                    <a:pt x="935" y="103"/>
                  </a:lnTo>
                  <a:lnTo>
                    <a:pt x="937" y="100"/>
                  </a:lnTo>
                  <a:lnTo>
                    <a:pt x="941" y="89"/>
                  </a:lnTo>
                  <a:lnTo>
                    <a:pt x="964" y="25"/>
                  </a:lnTo>
                  <a:lnTo>
                    <a:pt x="944" y="25"/>
                  </a:lnTo>
                  <a:close/>
                  <a:moveTo>
                    <a:pt x="890" y="26"/>
                  </a:moveTo>
                  <a:lnTo>
                    <a:pt x="879" y="26"/>
                  </a:lnTo>
                  <a:lnTo>
                    <a:pt x="879" y="5"/>
                  </a:lnTo>
                  <a:lnTo>
                    <a:pt x="860" y="5"/>
                  </a:lnTo>
                  <a:lnTo>
                    <a:pt x="860" y="26"/>
                  </a:lnTo>
                  <a:lnTo>
                    <a:pt x="851" y="26"/>
                  </a:lnTo>
                  <a:lnTo>
                    <a:pt x="851" y="39"/>
                  </a:lnTo>
                  <a:lnTo>
                    <a:pt x="860" y="39"/>
                  </a:lnTo>
                  <a:lnTo>
                    <a:pt x="860" y="68"/>
                  </a:lnTo>
                  <a:lnTo>
                    <a:pt x="860" y="74"/>
                  </a:lnTo>
                  <a:lnTo>
                    <a:pt x="861" y="79"/>
                  </a:lnTo>
                  <a:lnTo>
                    <a:pt x="862" y="82"/>
                  </a:lnTo>
                  <a:lnTo>
                    <a:pt x="863" y="84"/>
                  </a:lnTo>
                  <a:lnTo>
                    <a:pt x="866" y="86"/>
                  </a:lnTo>
                  <a:lnTo>
                    <a:pt x="869" y="88"/>
                  </a:lnTo>
                  <a:lnTo>
                    <a:pt x="873" y="88"/>
                  </a:lnTo>
                  <a:lnTo>
                    <a:pt x="879" y="89"/>
                  </a:lnTo>
                  <a:lnTo>
                    <a:pt x="890" y="89"/>
                  </a:lnTo>
                  <a:lnTo>
                    <a:pt x="890" y="75"/>
                  </a:lnTo>
                  <a:lnTo>
                    <a:pt x="883" y="75"/>
                  </a:lnTo>
                  <a:lnTo>
                    <a:pt x="881" y="74"/>
                  </a:lnTo>
                  <a:lnTo>
                    <a:pt x="880" y="74"/>
                  </a:lnTo>
                  <a:lnTo>
                    <a:pt x="879" y="73"/>
                  </a:lnTo>
                  <a:lnTo>
                    <a:pt x="879" y="70"/>
                  </a:lnTo>
                  <a:lnTo>
                    <a:pt x="879" y="64"/>
                  </a:lnTo>
                  <a:lnTo>
                    <a:pt x="879" y="39"/>
                  </a:lnTo>
                  <a:lnTo>
                    <a:pt x="890" y="39"/>
                  </a:lnTo>
                  <a:lnTo>
                    <a:pt x="890" y="26"/>
                  </a:lnTo>
                  <a:close/>
                  <a:moveTo>
                    <a:pt x="838" y="0"/>
                  </a:moveTo>
                  <a:lnTo>
                    <a:pt x="819" y="0"/>
                  </a:lnTo>
                  <a:lnTo>
                    <a:pt x="819" y="16"/>
                  </a:lnTo>
                  <a:lnTo>
                    <a:pt x="838" y="16"/>
                  </a:lnTo>
                  <a:lnTo>
                    <a:pt x="838" y="0"/>
                  </a:lnTo>
                  <a:close/>
                  <a:moveTo>
                    <a:pt x="838" y="25"/>
                  </a:moveTo>
                  <a:lnTo>
                    <a:pt x="819" y="25"/>
                  </a:lnTo>
                  <a:lnTo>
                    <a:pt x="819" y="89"/>
                  </a:lnTo>
                  <a:lnTo>
                    <a:pt x="838" y="89"/>
                  </a:lnTo>
                  <a:lnTo>
                    <a:pt x="838" y="25"/>
                  </a:lnTo>
                  <a:close/>
                  <a:moveTo>
                    <a:pt x="806" y="44"/>
                  </a:moveTo>
                  <a:lnTo>
                    <a:pt x="805" y="39"/>
                  </a:lnTo>
                  <a:lnTo>
                    <a:pt x="803" y="35"/>
                  </a:lnTo>
                  <a:lnTo>
                    <a:pt x="800" y="31"/>
                  </a:lnTo>
                  <a:lnTo>
                    <a:pt x="797" y="28"/>
                  </a:lnTo>
                  <a:lnTo>
                    <a:pt x="795" y="27"/>
                  </a:lnTo>
                  <a:lnTo>
                    <a:pt x="793" y="26"/>
                  </a:lnTo>
                  <a:lnTo>
                    <a:pt x="789" y="24"/>
                  </a:lnTo>
                  <a:lnTo>
                    <a:pt x="783" y="23"/>
                  </a:lnTo>
                  <a:lnTo>
                    <a:pt x="777" y="23"/>
                  </a:lnTo>
                  <a:lnTo>
                    <a:pt x="771" y="23"/>
                  </a:lnTo>
                  <a:lnTo>
                    <a:pt x="766" y="24"/>
                  </a:lnTo>
                  <a:lnTo>
                    <a:pt x="761" y="26"/>
                  </a:lnTo>
                  <a:lnTo>
                    <a:pt x="757" y="29"/>
                  </a:lnTo>
                  <a:lnTo>
                    <a:pt x="754" y="32"/>
                  </a:lnTo>
                  <a:lnTo>
                    <a:pt x="753" y="33"/>
                  </a:lnTo>
                  <a:lnTo>
                    <a:pt x="752" y="35"/>
                  </a:lnTo>
                  <a:lnTo>
                    <a:pt x="751" y="39"/>
                  </a:lnTo>
                  <a:lnTo>
                    <a:pt x="750" y="44"/>
                  </a:lnTo>
                  <a:lnTo>
                    <a:pt x="750" y="47"/>
                  </a:lnTo>
                  <a:lnTo>
                    <a:pt x="751" y="50"/>
                  </a:lnTo>
                  <a:lnTo>
                    <a:pt x="752" y="52"/>
                  </a:lnTo>
                  <a:lnTo>
                    <a:pt x="753" y="53"/>
                  </a:lnTo>
                  <a:lnTo>
                    <a:pt x="755" y="56"/>
                  </a:lnTo>
                  <a:lnTo>
                    <a:pt x="757" y="58"/>
                  </a:lnTo>
                  <a:lnTo>
                    <a:pt x="761" y="59"/>
                  </a:lnTo>
                  <a:lnTo>
                    <a:pt x="765" y="61"/>
                  </a:lnTo>
                  <a:lnTo>
                    <a:pt x="770" y="62"/>
                  </a:lnTo>
                  <a:lnTo>
                    <a:pt x="781" y="65"/>
                  </a:lnTo>
                  <a:lnTo>
                    <a:pt x="785" y="66"/>
                  </a:lnTo>
                  <a:lnTo>
                    <a:pt x="787" y="67"/>
                  </a:lnTo>
                  <a:lnTo>
                    <a:pt x="788" y="69"/>
                  </a:lnTo>
                  <a:lnTo>
                    <a:pt x="788" y="71"/>
                  </a:lnTo>
                  <a:lnTo>
                    <a:pt x="788" y="72"/>
                  </a:lnTo>
                  <a:lnTo>
                    <a:pt x="788" y="73"/>
                  </a:lnTo>
                  <a:lnTo>
                    <a:pt x="786" y="75"/>
                  </a:lnTo>
                  <a:lnTo>
                    <a:pt x="783" y="76"/>
                  </a:lnTo>
                  <a:lnTo>
                    <a:pt x="779" y="77"/>
                  </a:lnTo>
                  <a:lnTo>
                    <a:pt x="774" y="76"/>
                  </a:lnTo>
                  <a:lnTo>
                    <a:pt x="772" y="76"/>
                  </a:lnTo>
                  <a:lnTo>
                    <a:pt x="770" y="75"/>
                  </a:lnTo>
                  <a:lnTo>
                    <a:pt x="767" y="72"/>
                  </a:lnTo>
                  <a:lnTo>
                    <a:pt x="767" y="70"/>
                  </a:lnTo>
                  <a:lnTo>
                    <a:pt x="766" y="68"/>
                  </a:lnTo>
                  <a:lnTo>
                    <a:pt x="748" y="68"/>
                  </a:lnTo>
                  <a:lnTo>
                    <a:pt x="749" y="73"/>
                  </a:lnTo>
                  <a:lnTo>
                    <a:pt x="751" y="77"/>
                  </a:lnTo>
                  <a:lnTo>
                    <a:pt x="754" y="81"/>
                  </a:lnTo>
                  <a:lnTo>
                    <a:pt x="757" y="84"/>
                  </a:lnTo>
                  <a:lnTo>
                    <a:pt x="761" y="87"/>
                  </a:lnTo>
                  <a:lnTo>
                    <a:pt x="766" y="89"/>
                  </a:lnTo>
                  <a:lnTo>
                    <a:pt x="772" y="90"/>
                  </a:lnTo>
                  <a:lnTo>
                    <a:pt x="778" y="90"/>
                  </a:lnTo>
                  <a:lnTo>
                    <a:pt x="785" y="90"/>
                  </a:lnTo>
                  <a:lnTo>
                    <a:pt x="790" y="89"/>
                  </a:lnTo>
                  <a:lnTo>
                    <a:pt x="795" y="87"/>
                  </a:lnTo>
                  <a:lnTo>
                    <a:pt x="799" y="84"/>
                  </a:lnTo>
                  <a:lnTo>
                    <a:pt x="803" y="81"/>
                  </a:lnTo>
                  <a:lnTo>
                    <a:pt x="805" y="78"/>
                  </a:lnTo>
                  <a:lnTo>
                    <a:pt x="806" y="75"/>
                  </a:lnTo>
                  <a:lnTo>
                    <a:pt x="806" y="73"/>
                  </a:lnTo>
                  <a:lnTo>
                    <a:pt x="807" y="68"/>
                  </a:lnTo>
                  <a:lnTo>
                    <a:pt x="807" y="65"/>
                  </a:lnTo>
                  <a:lnTo>
                    <a:pt x="806" y="61"/>
                  </a:lnTo>
                  <a:lnTo>
                    <a:pt x="804" y="58"/>
                  </a:lnTo>
                  <a:lnTo>
                    <a:pt x="802" y="56"/>
                  </a:lnTo>
                  <a:lnTo>
                    <a:pt x="800" y="54"/>
                  </a:lnTo>
                  <a:lnTo>
                    <a:pt x="797" y="52"/>
                  </a:lnTo>
                  <a:lnTo>
                    <a:pt x="793" y="51"/>
                  </a:lnTo>
                  <a:lnTo>
                    <a:pt x="788" y="49"/>
                  </a:lnTo>
                  <a:lnTo>
                    <a:pt x="776" y="47"/>
                  </a:lnTo>
                  <a:lnTo>
                    <a:pt x="772" y="46"/>
                  </a:lnTo>
                  <a:lnTo>
                    <a:pt x="770" y="45"/>
                  </a:lnTo>
                  <a:lnTo>
                    <a:pt x="768" y="44"/>
                  </a:lnTo>
                  <a:lnTo>
                    <a:pt x="768" y="42"/>
                  </a:lnTo>
                  <a:lnTo>
                    <a:pt x="769" y="40"/>
                  </a:lnTo>
                  <a:lnTo>
                    <a:pt x="771" y="38"/>
                  </a:lnTo>
                  <a:lnTo>
                    <a:pt x="773" y="37"/>
                  </a:lnTo>
                  <a:lnTo>
                    <a:pt x="777" y="37"/>
                  </a:lnTo>
                  <a:lnTo>
                    <a:pt x="781" y="37"/>
                  </a:lnTo>
                  <a:lnTo>
                    <a:pt x="783" y="38"/>
                  </a:lnTo>
                  <a:lnTo>
                    <a:pt x="785" y="39"/>
                  </a:lnTo>
                  <a:lnTo>
                    <a:pt x="786" y="40"/>
                  </a:lnTo>
                  <a:lnTo>
                    <a:pt x="787" y="41"/>
                  </a:lnTo>
                  <a:lnTo>
                    <a:pt x="788" y="44"/>
                  </a:lnTo>
                  <a:lnTo>
                    <a:pt x="806" y="44"/>
                  </a:lnTo>
                  <a:close/>
                  <a:moveTo>
                    <a:pt x="700" y="25"/>
                  </a:moveTo>
                  <a:lnTo>
                    <a:pt x="700" y="89"/>
                  </a:lnTo>
                  <a:lnTo>
                    <a:pt x="719" y="89"/>
                  </a:lnTo>
                  <a:lnTo>
                    <a:pt x="719" y="71"/>
                  </a:lnTo>
                  <a:lnTo>
                    <a:pt x="719" y="56"/>
                  </a:lnTo>
                  <a:lnTo>
                    <a:pt x="720" y="52"/>
                  </a:lnTo>
                  <a:lnTo>
                    <a:pt x="721" y="48"/>
                  </a:lnTo>
                  <a:lnTo>
                    <a:pt x="722" y="46"/>
                  </a:lnTo>
                  <a:lnTo>
                    <a:pt x="724" y="45"/>
                  </a:lnTo>
                  <a:lnTo>
                    <a:pt x="727" y="42"/>
                  </a:lnTo>
                  <a:lnTo>
                    <a:pt x="729" y="42"/>
                  </a:lnTo>
                  <a:lnTo>
                    <a:pt x="731" y="41"/>
                  </a:lnTo>
                  <a:lnTo>
                    <a:pt x="735" y="40"/>
                  </a:lnTo>
                  <a:lnTo>
                    <a:pt x="740" y="41"/>
                  </a:lnTo>
                  <a:lnTo>
                    <a:pt x="740" y="23"/>
                  </a:lnTo>
                  <a:lnTo>
                    <a:pt x="735" y="23"/>
                  </a:lnTo>
                  <a:lnTo>
                    <a:pt x="731" y="24"/>
                  </a:lnTo>
                  <a:lnTo>
                    <a:pt x="728" y="24"/>
                  </a:lnTo>
                  <a:lnTo>
                    <a:pt x="725" y="26"/>
                  </a:lnTo>
                  <a:lnTo>
                    <a:pt x="723" y="27"/>
                  </a:lnTo>
                  <a:lnTo>
                    <a:pt x="721" y="30"/>
                  </a:lnTo>
                  <a:lnTo>
                    <a:pt x="719" y="33"/>
                  </a:lnTo>
                  <a:lnTo>
                    <a:pt x="718" y="36"/>
                  </a:lnTo>
                  <a:lnTo>
                    <a:pt x="718" y="25"/>
                  </a:lnTo>
                  <a:lnTo>
                    <a:pt x="700" y="25"/>
                  </a:lnTo>
                  <a:close/>
                  <a:moveTo>
                    <a:pt x="640" y="49"/>
                  </a:moveTo>
                  <a:lnTo>
                    <a:pt x="641" y="46"/>
                  </a:lnTo>
                  <a:lnTo>
                    <a:pt x="642" y="44"/>
                  </a:lnTo>
                  <a:lnTo>
                    <a:pt x="643" y="42"/>
                  </a:lnTo>
                  <a:lnTo>
                    <a:pt x="645" y="40"/>
                  </a:lnTo>
                  <a:lnTo>
                    <a:pt x="647" y="39"/>
                  </a:lnTo>
                  <a:lnTo>
                    <a:pt x="649" y="38"/>
                  </a:lnTo>
                  <a:lnTo>
                    <a:pt x="655" y="37"/>
                  </a:lnTo>
                  <a:lnTo>
                    <a:pt x="660" y="38"/>
                  </a:lnTo>
                  <a:lnTo>
                    <a:pt x="662" y="39"/>
                  </a:lnTo>
                  <a:lnTo>
                    <a:pt x="663" y="40"/>
                  </a:lnTo>
                  <a:lnTo>
                    <a:pt x="665" y="42"/>
                  </a:lnTo>
                  <a:lnTo>
                    <a:pt x="666" y="44"/>
                  </a:lnTo>
                  <a:lnTo>
                    <a:pt x="667" y="46"/>
                  </a:lnTo>
                  <a:lnTo>
                    <a:pt x="667" y="49"/>
                  </a:lnTo>
                  <a:lnTo>
                    <a:pt x="640" y="49"/>
                  </a:lnTo>
                  <a:close/>
                  <a:moveTo>
                    <a:pt x="687" y="62"/>
                  </a:moveTo>
                  <a:lnTo>
                    <a:pt x="686" y="56"/>
                  </a:lnTo>
                  <a:lnTo>
                    <a:pt x="686" y="51"/>
                  </a:lnTo>
                  <a:lnTo>
                    <a:pt x="685" y="47"/>
                  </a:lnTo>
                  <a:lnTo>
                    <a:pt x="684" y="43"/>
                  </a:lnTo>
                  <a:lnTo>
                    <a:pt x="682" y="38"/>
                  </a:lnTo>
                  <a:lnTo>
                    <a:pt x="679" y="34"/>
                  </a:lnTo>
                  <a:lnTo>
                    <a:pt x="676" y="31"/>
                  </a:lnTo>
                  <a:lnTo>
                    <a:pt x="673" y="28"/>
                  </a:lnTo>
                  <a:lnTo>
                    <a:pt x="669" y="26"/>
                  </a:lnTo>
                  <a:lnTo>
                    <a:pt x="667" y="25"/>
                  </a:lnTo>
                  <a:lnTo>
                    <a:pt x="665" y="24"/>
                  </a:lnTo>
                  <a:lnTo>
                    <a:pt x="660" y="23"/>
                  </a:lnTo>
                  <a:lnTo>
                    <a:pt x="655" y="23"/>
                  </a:lnTo>
                  <a:lnTo>
                    <a:pt x="647" y="24"/>
                  </a:lnTo>
                  <a:lnTo>
                    <a:pt x="641" y="26"/>
                  </a:lnTo>
                  <a:lnTo>
                    <a:pt x="638" y="27"/>
                  </a:lnTo>
                  <a:lnTo>
                    <a:pt x="635" y="29"/>
                  </a:lnTo>
                  <a:lnTo>
                    <a:pt x="630" y="32"/>
                  </a:lnTo>
                  <a:lnTo>
                    <a:pt x="628" y="35"/>
                  </a:lnTo>
                  <a:lnTo>
                    <a:pt x="627" y="37"/>
                  </a:lnTo>
                  <a:lnTo>
                    <a:pt x="625" y="40"/>
                  </a:lnTo>
                  <a:lnTo>
                    <a:pt x="624" y="43"/>
                  </a:lnTo>
                  <a:lnTo>
                    <a:pt x="623" y="46"/>
                  </a:lnTo>
                  <a:lnTo>
                    <a:pt x="622" y="50"/>
                  </a:lnTo>
                  <a:lnTo>
                    <a:pt x="621" y="53"/>
                  </a:lnTo>
                  <a:lnTo>
                    <a:pt x="621" y="57"/>
                  </a:lnTo>
                  <a:lnTo>
                    <a:pt x="622" y="64"/>
                  </a:lnTo>
                  <a:lnTo>
                    <a:pt x="624" y="71"/>
                  </a:lnTo>
                  <a:lnTo>
                    <a:pt x="626" y="76"/>
                  </a:lnTo>
                  <a:lnTo>
                    <a:pt x="630" y="81"/>
                  </a:lnTo>
                  <a:lnTo>
                    <a:pt x="635" y="85"/>
                  </a:lnTo>
                  <a:lnTo>
                    <a:pt x="641" y="88"/>
                  </a:lnTo>
                  <a:lnTo>
                    <a:pt x="644" y="89"/>
                  </a:lnTo>
                  <a:lnTo>
                    <a:pt x="647" y="90"/>
                  </a:lnTo>
                  <a:lnTo>
                    <a:pt x="650" y="90"/>
                  </a:lnTo>
                  <a:lnTo>
                    <a:pt x="655" y="90"/>
                  </a:lnTo>
                  <a:lnTo>
                    <a:pt x="661" y="90"/>
                  </a:lnTo>
                  <a:lnTo>
                    <a:pt x="666" y="89"/>
                  </a:lnTo>
                  <a:lnTo>
                    <a:pt x="671" y="87"/>
                  </a:lnTo>
                  <a:lnTo>
                    <a:pt x="675" y="85"/>
                  </a:lnTo>
                  <a:lnTo>
                    <a:pt x="679" y="82"/>
                  </a:lnTo>
                  <a:lnTo>
                    <a:pt x="680" y="80"/>
                  </a:lnTo>
                  <a:lnTo>
                    <a:pt x="682" y="78"/>
                  </a:lnTo>
                  <a:lnTo>
                    <a:pt x="684" y="74"/>
                  </a:lnTo>
                  <a:lnTo>
                    <a:pt x="686" y="70"/>
                  </a:lnTo>
                  <a:lnTo>
                    <a:pt x="667" y="70"/>
                  </a:lnTo>
                  <a:lnTo>
                    <a:pt x="665" y="73"/>
                  </a:lnTo>
                  <a:lnTo>
                    <a:pt x="662" y="74"/>
                  </a:lnTo>
                  <a:lnTo>
                    <a:pt x="659" y="75"/>
                  </a:lnTo>
                  <a:lnTo>
                    <a:pt x="656" y="76"/>
                  </a:lnTo>
                  <a:lnTo>
                    <a:pt x="653" y="76"/>
                  </a:lnTo>
                  <a:lnTo>
                    <a:pt x="649" y="75"/>
                  </a:lnTo>
                  <a:lnTo>
                    <a:pt x="647" y="74"/>
                  </a:lnTo>
                  <a:lnTo>
                    <a:pt x="645" y="72"/>
                  </a:lnTo>
                  <a:lnTo>
                    <a:pt x="643" y="70"/>
                  </a:lnTo>
                  <a:lnTo>
                    <a:pt x="642" y="68"/>
                  </a:lnTo>
                  <a:lnTo>
                    <a:pt x="641" y="65"/>
                  </a:lnTo>
                  <a:lnTo>
                    <a:pt x="640" y="62"/>
                  </a:lnTo>
                  <a:lnTo>
                    <a:pt x="687" y="62"/>
                  </a:lnTo>
                  <a:close/>
                  <a:moveTo>
                    <a:pt x="593" y="89"/>
                  </a:moveTo>
                  <a:lnTo>
                    <a:pt x="614" y="25"/>
                  </a:lnTo>
                  <a:lnTo>
                    <a:pt x="594" y="25"/>
                  </a:lnTo>
                  <a:lnTo>
                    <a:pt x="588" y="49"/>
                  </a:lnTo>
                  <a:lnTo>
                    <a:pt x="584" y="68"/>
                  </a:lnTo>
                  <a:lnTo>
                    <a:pt x="579" y="49"/>
                  </a:lnTo>
                  <a:lnTo>
                    <a:pt x="571" y="25"/>
                  </a:lnTo>
                  <a:lnTo>
                    <a:pt x="552" y="25"/>
                  </a:lnTo>
                  <a:lnTo>
                    <a:pt x="575" y="89"/>
                  </a:lnTo>
                  <a:lnTo>
                    <a:pt x="593" y="89"/>
                  </a:lnTo>
                  <a:close/>
                  <a:moveTo>
                    <a:pt x="540" y="0"/>
                  </a:moveTo>
                  <a:lnTo>
                    <a:pt x="521" y="0"/>
                  </a:lnTo>
                  <a:lnTo>
                    <a:pt x="521" y="16"/>
                  </a:lnTo>
                  <a:lnTo>
                    <a:pt x="540" y="16"/>
                  </a:lnTo>
                  <a:lnTo>
                    <a:pt x="540" y="0"/>
                  </a:lnTo>
                  <a:close/>
                  <a:moveTo>
                    <a:pt x="540" y="25"/>
                  </a:moveTo>
                  <a:lnTo>
                    <a:pt x="521" y="25"/>
                  </a:lnTo>
                  <a:lnTo>
                    <a:pt x="521" y="89"/>
                  </a:lnTo>
                  <a:lnTo>
                    <a:pt x="540" y="89"/>
                  </a:lnTo>
                  <a:lnTo>
                    <a:pt x="540" y="25"/>
                  </a:lnTo>
                  <a:close/>
                  <a:moveTo>
                    <a:pt x="445" y="25"/>
                  </a:moveTo>
                  <a:lnTo>
                    <a:pt x="445" y="89"/>
                  </a:lnTo>
                  <a:lnTo>
                    <a:pt x="464" y="89"/>
                  </a:lnTo>
                  <a:lnTo>
                    <a:pt x="464" y="53"/>
                  </a:lnTo>
                  <a:lnTo>
                    <a:pt x="465" y="46"/>
                  </a:lnTo>
                  <a:lnTo>
                    <a:pt x="465" y="44"/>
                  </a:lnTo>
                  <a:lnTo>
                    <a:pt x="467" y="42"/>
                  </a:lnTo>
                  <a:lnTo>
                    <a:pt x="468" y="41"/>
                  </a:lnTo>
                  <a:lnTo>
                    <a:pt x="470" y="40"/>
                  </a:lnTo>
                  <a:lnTo>
                    <a:pt x="472" y="39"/>
                  </a:lnTo>
                  <a:lnTo>
                    <a:pt x="475" y="39"/>
                  </a:lnTo>
                  <a:lnTo>
                    <a:pt x="477" y="39"/>
                  </a:lnTo>
                  <a:lnTo>
                    <a:pt x="479" y="40"/>
                  </a:lnTo>
                  <a:lnTo>
                    <a:pt x="481" y="41"/>
                  </a:lnTo>
                  <a:lnTo>
                    <a:pt x="482" y="43"/>
                  </a:lnTo>
                  <a:lnTo>
                    <a:pt x="483" y="44"/>
                  </a:lnTo>
                  <a:lnTo>
                    <a:pt x="484" y="47"/>
                  </a:lnTo>
                  <a:lnTo>
                    <a:pt x="484" y="54"/>
                  </a:lnTo>
                  <a:lnTo>
                    <a:pt x="484" y="89"/>
                  </a:lnTo>
                  <a:lnTo>
                    <a:pt x="503" y="89"/>
                  </a:lnTo>
                  <a:lnTo>
                    <a:pt x="503" y="47"/>
                  </a:lnTo>
                  <a:lnTo>
                    <a:pt x="503" y="42"/>
                  </a:lnTo>
                  <a:lnTo>
                    <a:pt x="502" y="37"/>
                  </a:lnTo>
                  <a:lnTo>
                    <a:pt x="500" y="33"/>
                  </a:lnTo>
                  <a:lnTo>
                    <a:pt x="497" y="29"/>
                  </a:lnTo>
                  <a:lnTo>
                    <a:pt x="494" y="27"/>
                  </a:lnTo>
                  <a:lnTo>
                    <a:pt x="490" y="25"/>
                  </a:lnTo>
                  <a:lnTo>
                    <a:pt x="486" y="23"/>
                  </a:lnTo>
                  <a:lnTo>
                    <a:pt x="481" y="23"/>
                  </a:lnTo>
                  <a:lnTo>
                    <a:pt x="476" y="23"/>
                  </a:lnTo>
                  <a:lnTo>
                    <a:pt x="472" y="25"/>
                  </a:lnTo>
                  <a:lnTo>
                    <a:pt x="468" y="27"/>
                  </a:lnTo>
                  <a:lnTo>
                    <a:pt x="463" y="31"/>
                  </a:lnTo>
                  <a:lnTo>
                    <a:pt x="463" y="25"/>
                  </a:lnTo>
                  <a:lnTo>
                    <a:pt x="445" y="25"/>
                  </a:lnTo>
                  <a:close/>
                  <a:moveTo>
                    <a:pt x="407" y="0"/>
                  </a:moveTo>
                  <a:lnTo>
                    <a:pt x="407" y="59"/>
                  </a:lnTo>
                  <a:lnTo>
                    <a:pt x="407" y="63"/>
                  </a:lnTo>
                  <a:lnTo>
                    <a:pt x="406" y="66"/>
                  </a:lnTo>
                  <a:lnTo>
                    <a:pt x="405" y="68"/>
                  </a:lnTo>
                  <a:lnTo>
                    <a:pt x="404" y="70"/>
                  </a:lnTo>
                  <a:lnTo>
                    <a:pt x="401" y="72"/>
                  </a:lnTo>
                  <a:lnTo>
                    <a:pt x="398" y="73"/>
                  </a:lnTo>
                  <a:lnTo>
                    <a:pt x="395" y="74"/>
                  </a:lnTo>
                  <a:lnTo>
                    <a:pt x="392" y="74"/>
                  </a:lnTo>
                  <a:lnTo>
                    <a:pt x="388" y="74"/>
                  </a:lnTo>
                  <a:lnTo>
                    <a:pt x="385" y="73"/>
                  </a:lnTo>
                  <a:lnTo>
                    <a:pt x="382" y="72"/>
                  </a:lnTo>
                  <a:lnTo>
                    <a:pt x="380" y="70"/>
                  </a:lnTo>
                  <a:lnTo>
                    <a:pt x="378" y="68"/>
                  </a:lnTo>
                  <a:lnTo>
                    <a:pt x="377" y="66"/>
                  </a:lnTo>
                  <a:lnTo>
                    <a:pt x="376" y="63"/>
                  </a:lnTo>
                  <a:lnTo>
                    <a:pt x="376" y="59"/>
                  </a:lnTo>
                  <a:lnTo>
                    <a:pt x="376" y="0"/>
                  </a:lnTo>
                  <a:lnTo>
                    <a:pt x="356" y="0"/>
                  </a:lnTo>
                  <a:lnTo>
                    <a:pt x="356" y="60"/>
                  </a:lnTo>
                  <a:lnTo>
                    <a:pt x="357" y="68"/>
                  </a:lnTo>
                  <a:lnTo>
                    <a:pt x="359" y="74"/>
                  </a:lnTo>
                  <a:lnTo>
                    <a:pt x="360" y="77"/>
                  </a:lnTo>
                  <a:lnTo>
                    <a:pt x="362" y="79"/>
                  </a:lnTo>
                  <a:lnTo>
                    <a:pt x="364" y="81"/>
                  </a:lnTo>
                  <a:lnTo>
                    <a:pt x="366" y="83"/>
                  </a:lnTo>
                  <a:lnTo>
                    <a:pt x="371" y="86"/>
                  </a:lnTo>
                  <a:lnTo>
                    <a:pt x="374" y="88"/>
                  </a:lnTo>
                  <a:lnTo>
                    <a:pt x="378" y="89"/>
                  </a:lnTo>
                  <a:lnTo>
                    <a:pt x="384" y="90"/>
                  </a:lnTo>
                  <a:lnTo>
                    <a:pt x="392" y="91"/>
                  </a:lnTo>
                  <a:lnTo>
                    <a:pt x="399" y="90"/>
                  </a:lnTo>
                  <a:lnTo>
                    <a:pt x="403" y="90"/>
                  </a:lnTo>
                  <a:lnTo>
                    <a:pt x="406" y="89"/>
                  </a:lnTo>
                  <a:lnTo>
                    <a:pt x="412" y="86"/>
                  </a:lnTo>
                  <a:lnTo>
                    <a:pt x="418" y="83"/>
                  </a:lnTo>
                  <a:lnTo>
                    <a:pt x="420" y="81"/>
                  </a:lnTo>
                  <a:lnTo>
                    <a:pt x="422" y="79"/>
                  </a:lnTo>
                  <a:lnTo>
                    <a:pt x="424" y="77"/>
                  </a:lnTo>
                  <a:lnTo>
                    <a:pt x="425" y="74"/>
                  </a:lnTo>
                  <a:lnTo>
                    <a:pt x="427" y="68"/>
                  </a:lnTo>
                  <a:lnTo>
                    <a:pt x="427" y="64"/>
                  </a:lnTo>
                  <a:lnTo>
                    <a:pt x="427" y="60"/>
                  </a:lnTo>
                  <a:lnTo>
                    <a:pt x="427" y="0"/>
                  </a:lnTo>
                  <a:lnTo>
                    <a:pt x="407" y="0"/>
                  </a:lnTo>
                  <a:close/>
                  <a:moveTo>
                    <a:pt x="277" y="38"/>
                  </a:moveTo>
                  <a:lnTo>
                    <a:pt x="281" y="38"/>
                  </a:lnTo>
                  <a:lnTo>
                    <a:pt x="284" y="39"/>
                  </a:lnTo>
                  <a:lnTo>
                    <a:pt x="286" y="41"/>
                  </a:lnTo>
                  <a:lnTo>
                    <a:pt x="289" y="43"/>
                  </a:lnTo>
                  <a:lnTo>
                    <a:pt x="290" y="46"/>
                  </a:lnTo>
                  <a:lnTo>
                    <a:pt x="292" y="49"/>
                  </a:lnTo>
                  <a:lnTo>
                    <a:pt x="292" y="53"/>
                  </a:lnTo>
                  <a:lnTo>
                    <a:pt x="293" y="57"/>
                  </a:lnTo>
                  <a:lnTo>
                    <a:pt x="292" y="61"/>
                  </a:lnTo>
                  <a:lnTo>
                    <a:pt x="292" y="65"/>
                  </a:lnTo>
                  <a:lnTo>
                    <a:pt x="290" y="68"/>
                  </a:lnTo>
                  <a:lnTo>
                    <a:pt x="289" y="71"/>
                  </a:lnTo>
                  <a:lnTo>
                    <a:pt x="288" y="72"/>
                  </a:lnTo>
                  <a:lnTo>
                    <a:pt x="286" y="73"/>
                  </a:lnTo>
                  <a:lnTo>
                    <a:pt x="284" y="74"/>
                  </a:lnTo>
                  <a:lnTo>
                    <a:pt x="281" y="75"/>
                  </a:lnTo>
                  <a:lnTo>
                    <a:pt x="277" y="75"/>
                  </a:lnTo>
                  <a:lnTo>
                    <a:pt x="274" y="75"/>
                  </a:lnTo>
                  <a:lnTo>
                    <a:pt x="271" y="74"/>
                  </a:lnTo>
                  <a:lnTo>
                    <a:pt x="269" y="73"/>
                  </a:lnTo>
                  <a:lnTo>
                    <a:pt x="266" y="71"/>
                  </a:lnTo>
                  <a:lnTo>
                    <a:pt x="265" y="68"/>
                  </a:lnTo>
                  <a:lnTo>
                    <a:pt x="264" y="65"/>
                  </a:lnTo>
                  <a:lnTo>
                    <a:pt x="263" y="61"/>
                  </a:lnTo>
                  <a:lnTo>
                    <a:pt x="263" y="57"/>
                  </a:lnTo>
                  <a:lnTo>
                    <a:pt x="263" y="52"/>
                  </a:lnTo>
                  <a:lnTo>
                    <a:pt x="264" y="49"/>
                  </a:lnTo>
                  <a:lnTo>
                    <a:pt x="265" y="46"/>
                  </a:lnTo>
                  <a:lnTo>
                    <a:pt x="266" y="43"/>
                  </a:lnTo>
                  <a:lnTo>
                    <a:pt x="267" y="42"/>
                  </a:lnTo>
                  <a:lnTo>
                    <a:pt x="269" y="41"/>
                  </a:lnTo>
                  <a:lnTo>
                    <a:pt x="271" y="39"/>
                  </a:lnTo>
                  <a:lnTo>
                    <a:pt x="274" y="38"/>
                  </a:lnTo>
                  <a:lnTo>
                    <a:pt x="277" y="38"/>
                  </a:lnTo>
                  <a:close/>
                  <a:moveTo>
                    <a:pt x="277" y="23"/>
                  </a:moveTo>
                  <a:lnTo>
                    <a:pt x="270" y="24"/>
                  </a:lnTo>
                  <a:lnTo>
                    <a:pt x="264" y="26"/>
                  </a:lnTo>
                  <a:lnTo>
                    <a:pt x="261" y="27"/>
                  </a:lnTo>
                  <a:lnTo>
                    <a:pt x="258" y="29"/>
                  </a:lnTo>
                  <a:lnTo>
                    <a:pt x="253" y="33"/>
                  </a:lnTo>
                  <a:lnTo>
                    <a:pt x="249" y="37"/>
                  </a:lnTo>
                  <a:lnTo>
                    <a:pt x="247" y="40"/>
                  </a:lnTo>
                  <a:lnTo>
                    <a:pt x="246" y="43"/>
                  </a:lnTo>
                  <a:lnTo>
                    <a:pt x="245" y="46"/>
                  </a:lnTo>
                  <a:lnTo>
                    <a:pt x="244" y="50"/>
                  </a:lnTo>
                  <a:lnTo>
                    <a:pt x="244" y="53"/>
                  </a:lnTo>
                  <a:lnTo>
                    <a:pt x="244" y="57"/>
                  </a:lnTo>
                  <a:lnTo>
                    <a:pt x="244" y="64"/>
                  </a:lnTo>
                  <a:lnTo>
                    <a:pt x="246" y="70"/>
                  </a:lnTo>
                  <a:lnTo>
                    <a:pt x="247" y="73"/>
                  </a:lnTo>
                  <a:lnTo>
                    <a:pt x="249" y="76"/>
                  </a:lnTo>
                  <a:lnTo>
                    <a:pt x="253" y="81"/>
                  </a:lnTo>
                  <a:lnTo>
                    <a:pt x="258" y="85"/>
                  </a:lnTo>
                  <a:lnTo>
                    <a:pt x="261" y="87"/>
                  </a:lnTo>
                  <a:lnTo>
                    <a:pt x="264" y="88"/>
                  </a:lnTo>
                  <a:lnTo>
                    <a:pt x="267" y="89"/>
                  </a:lnTo>
                  <a:lnTo>
                    <a:pt x="270" y="90"/>
                  </a:lnTo>
                  <a:lnTo>
                    <a:pt x="277" y="90"/>
                  </a:lnTo>
                  <a:lnTo>
                    <a:pt x="285" y="90"/>
                  </a:lnTo>
                  <a:lnTo>
                    <a:pt x="291" y="88"/>
                  </a:lnTo>
                  <a:lnTo>
                    <a:pt x="294" y="87"/>
                  </a:lnTo>
                  <a:lnTo>
                    <a:pt x="297" y="85"/>
                  </a:lnTo>
                  <a:lnTo>
                    <a:pt x="302" y="81"/>
                  </a:lnTo>
                  <a:lnTo>
                    <a:pt x="306" y="76"/>
                  </a:lnTo>
                  <a:lnTo>
                    <a:pt x="308" y="73"/>
                  </a:lnTo>
                  <a:lnTo>
                    <a:pt x="309" y="71"/>
                  </a:lnTo>
                  <a:lnTo>
                    <a:pt x="311" y="64"/>
                  </a:lnTo>
                  <a:lnTo>
                    <a:pt x="311" y="61"/>
                  </a:lnTo>
                  <a:lnTo>
                    <a:pt x="311" y="57"/>
                  </a:lnTo>
                  <a:lnTo>
                    <a:pt x="311" y="53"/>
                  </a:lnTo>
                  <a:lnTo>
                    <a:pt x="311" y="50"/>
                  </a:lnTo>
                  <a:lnTo>
                    <a:pt x="309" y="43"/>
                  </a:lnTo>
                  <a:lnTo>
                    <a:pt x="308" y="40"/>
                  </a:lnTo>
                  <a:lnTo>
                    <a:pt x="306" y="37"/>
                  </a:lnTo>
                  <a:lnTo>
                    <a:pt x="302" y="33"/>
                  </a:lnTo>
                  <a:lnTo>
                    <a:pt x="297" y="29"/>
                  </a:lnTo>
                  <a:lnTo>
                    <a:pt x="294" y="27"/>
                  </a:lnTo>
                  <a:lnTo>
                    <a:pt x="291" y="26"/>
                  </a:lnTo>
                  <a:lnTo>
                    <a:pt x="288" y="24"/>
                  </a:lnTo>
                  <a:lnTo>
                    <a:pt x="285" y="24"/>
                  </a:lnTo>
                  <a:lnTo>
                    <a:pt x="277" y="23"/>
                  </a:lnTo>
                  <a:close/>
                  <a:moveTo>
                    <a:pt x="235" y="26"/>
                  </a:moveTo>
                  <a:lnTo>
                    <a:pt x="224" y="26"/>
                  </a:lnTo>
                  <a:lnTo>
                    <a:pt x="224" y="5"/>
                  </a:lnTo>
                  <a:lnTo>
                    <a:pt x="205" y="5"/>
                  </a:lnTo>
                  <a:lnTo>
                    <a:pt x="205" y="26"/>
                  </a:lnTo>
                  <a:lnTo>
                    <a:pt x="196" y="26"/>
                  </a:lnTo>
                  <a:lnTo>
                    <a:pt x="196" y="39"/>
                  </a:lnTo>
                  <a:lnTo>
                    <a:pt x="205" y="39"/>
                  </a:lnTo>
                  <a:lnTo>
                    <a:pt x="205" y="68"/>
                  </a:lnTo>
                  <a:lnTo>
                    <a:pt x="205" y="74"/>
                  </a:lnTo>
                  <a:lnTo>
                    <a:pt x="206" y="79"/>
                  </a:lnTo>
                  <a:lnTo>
                    <a:pt x="207" y="82"/>
                  </a:lnTo>
                  <a:lnTo>
                    <a:pt x="209" y="84"/>
                  </a:lnTo>
                  <a:lnTo>
                    <a:pt x="211" y="86"/>
                  </a:lnTo>
                  <a:lnTo>
                    <a:pt x="214" y="88"/>
                  </a:lnTo>
                  <a:lnTo>
                    <a:pt x="218" y="88"/>
                  </a:lnTo>
                  <a:lnTo>
                    <a:pt x="224" y="89"/>
                  </a:lnTo>
                  <a:lnTo>
                    <a:pt x="235" y="89"/>
                  </a:lnTo>
                  <a:lnTo>
                    <a:pt x="235" y="75"/>
                  </a:lnTo>
                  <a:lnTo>
                    <a:pt x="228" y="75"/>
                  </a:lnTo>
                  <a:lnTo>
                    <a:pt x="226" y="74"/>
                  </a:lnTo>
                  <a:lnTo>
                    <a:pt x="225" y="74"/>
                  </a:lnTo>
                  <a:lnTo>
                    <a:pt x="224" y="73"/>
                  </a:lnTo>
                  <a:lnTo>
                    <a:pt x="224" y="70"/>
                  </a:lnTo>
                  <a:lnTo>
                    <a:pt x="224" y="64"/>
                  </a:lnTo>
                  <a:lnTo>
                    <a:pt x="224" y="39"/>
                  </a:lnTo>
                  <a:lnTo>
                    <a:pt x="235" y="39"/>
                  </a:lnTo>
                  <a:lnTo>
                    <a:pt x="235" y="26"/>
                  </a:lnTo>
                  <a:close/>
                  <a:moveTo>
                    <a:pt x="184" y="0"/>
                  </a:moveTo>
                  <a:lnTo>
                    <a:pt x="166" y="0"/>
                  </a:lnTo>
                  <a:lnTo>
                    <a:pt x="166" y="89"/>
                  </a:lnTo>
                  <a:lnTo>
                    <a:pt x="184" y="89"/>
                  </a:lnTo>
                  <a:lnTo>
                    <a:pt x="184" y="0"/>
                  </a:lnTo>
                  <a:close/>
                  <a:moveTo>
                    <a:pt x="131" y="68"/>
                  </a:moveTo>
                  <a:lnTo>
                    <a:pt x="129" y="72"/>
                  </a:lnTo>
                  <a:lnTo>
                    <a:pt x="126" y="74"/>
                  </a:lnTo>
                  <a:lnTo>
                    <a:pt x="122" y="76"/>
                  </a:lnTo>
                  <a:lnTo>
                    <a:pt x="117" y="76"/>
                  </a:lnTo>
                  <a:lnTo>
                    <a:pt x="114" y="76"/>
                  </a:lnTo>
                  <a:lnTo>
                    <a:pt x="111" y="74"/>
                  </a:lnTo>
                  <a:lnTo>
                    <a:pt x="109" y="72"/>
                  </a:lnTo>
                  <a:lnTo>
                    <a:pt x="108" y="71"/>
                  </a:lnTo>
                  <a:lnTo>
                    <a:pt x="108" y="69"/>
                  </a:lnTo>
                  <a:lnTo>
                    <a:pt x="109" y="67"/>
                  </a:lnTo>
                  <a:lnTo>
                    <a:pt x="110" y="65"/>
                  </a:lnTo>
                  <a:lnTo>
                    <a:pt x="113" y="63"/>
                  </a:lnTo>
                  <a:lnTo>
                    <a:pt x="118" y="62"/>
                  </a:lnTo>
                  <a:lnTo>
                    <a:pt x="124" y="60"/>
                  </a:lnTo>
                  <a:lnTo>
                    <a:pt x="131" y="58"/>
                  </a:lnTo>
                  <a:lnTo>
                    <a:pt x="131" y="68"/>
                  </a:lnTo>
                  <a:close/>
                  <a:moveTo>
                    <a:pt x="110" y="45"/>
                  </a:moveTo>
                  <a:lnTo>
                    <a:pt x="110" y="43"/>
                  </a:lnTo>
                  <a:lnTo>
                    <a:pt x="111" y="42"/>
                  </a:lnTo>
                  <a:lnTo>
                    <a:pt x="112" y="40"/>
                  </a:lnTo>
                  <a:lnTo>
                    <a:pt x="113" y="39"/>
                  </a:lnTo>
                  <a:lnTo>
                    <a:pt x="116" y="38"/>
                  </a:lnTo>
                  <a:lnTo>
                    <a:pt x="121" y="37"/>
                  </a:lnTo>
                  <a:lnTo>
                    <a:pt x="125" y="38"/>
                  </a:lnTo>
                  <a:lnTo>
                    <a:pt x="128" y="39"/>
                  </a:lnTo>
                  <a:lnTo>
                    <a:pt x="130" y="41"/>
                  </a:lnTo>
                  <a:lnTo>
                    <a:pt x="131" y="42"/>
                  </a:lnTo>
                  <a:lnTo>
                    <a:pt x="131" y="43"/>
                  </a:lnTo>
                  <a:lnTo>
                    <a:pt x="130" y="45"/>
                  </a:lnTo>
                  <a:lnTo>
                    <a:pt x="129" y="46"/>
                  </a:lnTo>
                  <a:lnTo>
                    <a:pt x="128" y="47"/>
                  </a:lnTo>
                  <a:lnTo>
                    <a:pt x="125" y="48"/>
                  </a:lnTo>
                  <a:lnTo>
                    <a:pt x="115" y="49"/>
                  </a:lnTo>
                  <a:lnTo>
                    <a:pt x="109" y="51"/>
                  </a:lnTo>
                  <a:lnTo>
                    <a:pt x="103" y="52"/>
                  </a:lnTo>
                  <a:lnTo>
                    <a:pt x="99" y="54"/>
                  </a:lnTo>
                  <a:lnTo>
                    <a:pt x="95" y="56"/>
                  </a:lnTo>
                  <a:lnTo>
                    <a:pt x="93" y="59"/>
                  </a:lnTo>
                  <a:lnTo>
                    <a:pt x="92" y="61"/>
                  </a:lnTo>
                  <a:lnTo>
                    <a:pt x="91" y="62"/>
                  </a:lnTo>
                  <a:lnTo>
                    <a:pt x="90" y="66"/>
                  </a:lnTo>
                  <a:lnTo>
                    <a:pt x="89" y="70"/>
                  </a:lnTo>
                  <a:lnTo>
                    <a:pt x="90" y="75"/>
                  </a:lnTo>
                  <a:lnTo>
                    <a:pt x="91" y="79"/>
                  </a:lnTo>
                  <a:lnTo>
                    <a:pt x="93" y="82"/>
                  </a:lnTo>
                  <a:lnTo>
                    <a:pt x="96" y="85"/>
                  </a:lnTo>
                  <a:lnTo>
                    <a:pt x="97" y="86"/>
                  </a:lnTo>
                  <a:lnTo>
                    <a:pt x="99" y="87"/>
                  </a:lnTo>
                  <a:lnTo>
                    <a:pt x="103" y="89"/>
                  </a:lnTo>
                  <a:lnTo>
                    <a:pt x="108" y="90"/>
                  </a:lnTo>
                  <a:lnTo>
                    <a:pt x="113" y="90"/>
                  </a:lnTo>
                  <a:lnTo>
                    <a:pt x="118" y="90"/>
                  </a:lnTo>
                  <a:lnTo>
                    <a:pt x="123" y="89"/>
                  </a:lnTo>
                  <a:lnTo>
                    <a:pt x="127" y="87"/>
                  </a:lnTo>
                  <a:lnTo>
                    <a:pt x="131" y="84"/>
                  </a:lnTo>
                  <a:lnTo>
                    <a:pt x="133" y="89"/>
                  </a:lnTo>
                  <a:lnTo>
                    <a:pt x="152" y="89"/>
                  </a:lnTo>
                  <a:lnTo>
                    <a:pt x="151" y="87"/>
                  </a:lnTo>
                  <a:lnTo>
                    <a:pt x="150" y="85"/>
                  </a:lnTo>
                  <a:lnTo>
                    <a:pt x="149" y="78"/>
                  </a:lnTo>
                  <a:lnTo>
                    <a:pt x="149" y="48"/>
                  </a:lnTo>
                  <a:lnTo>
                    <a:pt x="149" y="42"/>
                  </a:lnTo>
                  <a:lnTo>
                    <a:pt x="148" y="37"/>
                  </a:lnTo>
                  <a:lnTo>
                    <a:pt x="146" y="33"/>
                  </a:lnTo>
                  <a:lnTo>
                    <a:pt x="145" y="31"/>
                  </a:lnTo>
                  <a:lnTo>
                    <a:pt x="143" y="30"/>
                  </a:lnTo>
                  <a:lnTo>
                    <a:pt x="139" y="27"/>
                  </a:lnTo>
                  <a:lnTo>
                    <a:pt x="134" y="25"/>
                  </a:lnTo>
                  <a:lnTo>
                    <a:pt x="128" y="23"/>
                  </a:lnTo>
                  <a:lnTo>
                    <a:pt x="121" y="23"/>
                  </a:lnTo>
                  <a:lnTo>
                    <a:pt x="115" y="23"/>
                  </a:lnTo>
                  <a:lnTo>
                    <a:pt x="109" y="24"/>
                  </a:lnTo>
                  <a:lnTo>
                    <a:pt x="104" y="26"/>
                  </a:lnTo>
                  <a:lnTo>
                    <a:pt x="101" y="28"/>
                  </a:lnTo>
                  <a:lnTo>
                    <a:pt x="97" y="31"/>
                  </a:lnTo>
                  <a:lnTo>
                    <a:pt x="95" y="35"/>
                  </a:lnTo>
                  <a:lnTo>
                    <a:pt x="94" y="37"/>
                  </a:lnTo>
                  <a:lnTo>
                    <a:pt x="94" y="40"/>
                  </a:lnTo>
                  <a:lnTo>
                    <a:pt x="93" y="42"/>
                  </a:lnTo>
                  <a:lnTo>
                    <a:pt x="93" y="45"/>
                  </a:lnTo>
                  <a:lnTo>
                    <a:pt x="110" y="45"/>
                  </a:lnTo>
                  <a:close/>
                  <a:moveTo>
                    <a:pt x="52" y="55"/>
                  </a:moveTo>
                  <a:lnTo>
                    <a:pt x="32" y="55"/>
                  </a:lnTo>
                  <a:lnTo>
                    <a:pt x="43" y="20"/>
                  </a:lnTo>
                  <a:lnTo>
                    <a:pt x="52" y="55"/>
                  </a:lnTo>
                  <a:close/>
                  <a:moveTo>
                    <a:pt x="57" y="71"/>
                  </a:moveTo>
                  <a:lnTo>
                    <a:pt x="61" y="89"/>
                  </a:lnTo>
                  <a:lnTo>
                    <a:pt x="84" y="89"/>
                  </a:lnTo>
                  <a:lnTo>
                    <a:pt x="56" y="0"/>
                  </a:lnTo>
                  <a:lnTo>
                    <a:pt x="31" y="0"/>
                  </a:lnTo>
                  <a:lnTo>
                    <a:pt x="0" y="89"/>
                  </a:lnTo>
                  <a:lnTo>
                    <a:pt x="22" y="89"/>
                  </a:lnTo>
                  <a:lnTo>
                    <a:pt x="27" y="71"/>
                  </a:lnTo>
                  <a:lnTo>
                    <a:pt x="57" y="71"/>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14" name="Freeform 7"/>
            <p:cNvSpPr>
              <a:spLocks noEditPoints="1"/>
            </p:cNvSpPr>
            <p:nvPr userDrawn="1"/>
          </p:nvSpPr>
          <p:spPr bwMode="auto">
            <a:xfrm>
              <a:off x="5756275" y="325438"/>
              <a:ext cx="1941513" cy="142875"/>
            </a:xfrm>
            <a:custGeom>
              <a:avLst/>
              <a:gdLst>
                <a:gd name="T0" fmla="*/ 1197 w 1223"/>
                <a:gd name="T1" fmla="*/ 38 h 90"/>
                <a:gd name="T2" fmla="*/ 1220 w 1223"/>
                <a:gd name="T3" fmla="*/ 32 h 90"/>
                <a:gd name="T4" fmla="*/ 1120 w 1223"/>
                <a:gd name="T5" fmla="*/ 37 h 90"/>
                <a:gd name="T6" fmla="*/ 1131 w 1223"/>
                <a:gd name="T7" fmla="*/ 70 h 90"/>
                <a:gd name="T8" fmla="*/ 1105 w 1223"/>
                <a:gd name="T9" fmla="*/ 60 h 90"/>
                <a:gd name="T10" fmla="*/ 1112 w 1223"/>
                <a:gd name="T11" fmla="*/ 23 h 90"/>
                <a:gd name="T12" fmla="*/ 1088 w 1223"/>
                <a:gd name="T13" fmla="*/ 70 h 90"/>
                <a:gd name="T14" fmla="*/ 1136 w 1223"/>
                <a:gd name="T15" fmla="*/ 86 h 90"/>
                <a:gd name="T16" fmla="*/ 1150 w 1223"/>
                <a:gd name="T17" fmla="*/ 40 h 90"/>
                <a:gd name="T18" fmla="*/ 1074 w 1223"/>
                <a:gd name="T19" fmla="*/ 15 h 90"/>
                <a:gd name="T20" fmla="*/ 1002 w 1223"/>
                <a:gd name="T21" fmla="*/ 25 h 90"/>
                <a:gd name="T22" fmla="*/ 1041 w 1223"/>
                <a:gd name="T23" fmla="*/ 88 h 90"/>
                <a:gd name="T24" fmla="*/ 967 w 1223"/>
                <a:gd name="T25" fmla="*/ 74 h 90"/>
                <a:gd name="T26" fmla="*/ 966 w 1223"/>
                <a:gd name="T27" fmla="*/ 60 h 90"/>
                <a:gd name="T28" fmla="*/ 971 w 1223"/>
                <a:gd name="T29" fmla="*/ 40 h 90"/>
                <a:gd name="T30" fmla="*/ 934 w 1223"/>
                <a:gd name="T31" fmla="*/ 59 h 90"/>
                <a:gd name="T32" fmla="*/ 954 w 1223"/>
                <a:gd name="T33" fmla="*/ 90 h 90"/>
                <a:gd name="T34" fmla="*/ 990 w 1223"/>
                <a:gd name="T35" fmla="*/ 36 h 90"/>
                <a:gd name="T36" fmla="*/ 939 w 1223"/>
                <a:gd name="T37" fmla="*/ 31 h 90"/>
                <a:gd name="T38" fmla="*/ 907 w 1223"/>
                <a:gd name="T39" fmla="*/ 26 h 90"/>
                <a:gd name="T40" fmla="*/ 859 w 1223"/>
                <a:gd name="T41" fmla="*/ 49 h 90"/>
                <a:gd name="T42" fmla="*/ 891 w 1223"/>
                <a:gd name="T43" fmla="*/ 90 h 90"/>
                <a:gd name="T44" fmla="*/ 899 w 1223"/>
                <a:gd name="T45" fmla="*/ 72 h 90"/>
                <a:gd name="T46" fmla="*/ 878 w 1223"/>
                <a:gd name="T47" fmla="*/ 56 h 90"/>
                <a:gd name="T48" fmla="*/ 900 w 1223"/>
                <a:gd name="T49" fmla="*/ 42 h 90"/>
                <a:gd name="T50" fmla="*/ 823 w 1223"/>
                <a:gd name="T51" fmla="*/ 73 h 90"/>
                <a:gd name="T52" fmla="*/ 790 w 1223"/>
                <a:gd name="T53" fmla="*/ 71 h 90"/>
                <a:gd name="T54" fmla="*/ 828 w 1223"/>
                <a:gd name="T55" fmla="*/ 83 h 90"/>
                <a:gd name="T56" fmla="*/ 756 w 1223"/>
                <a:gd name="T57" fmla="*/ 52 h 90"/>
                <a:gd name="T58" fmla="*/ 735 w 1223"/>
                <a:gd name="T59" fmla="*/ 72 h 90"/>
                <a:gd name="T60" fmla="*/ 740 w 1223"/>
                <a:gd name="T61" fmla="*/ 38 h 90"/>
                <a:gd name="T62" fmla="*/ 719 w 1223"/>
                <a:gd name="T63" fmla="*/ 32 h 90"/>
                <a:gd name="T64" fmla="*/ 723 w 1223"/>
                <a:gd name="T65" fmla="*/ 85 h 90"/>
                <a:gd name="T66" fmla="*/ 757 w 1223"/>
                <a:gd name="T67" fmla="*/ 88 h 90"/>
                <a:gd name="T68" fmla="*/ 655 w 1223"/>
                <a:gd name="T69" fmla="*/ 34 h 90"/>
                <a:gd name="T70" fmla="*/ 556 w 1223"/>
                <a:gd name="T71" fmla="*/ 38 h 90"/>
                <a:gd name="T72" fmla="*/ 580 w 1223"/>
                <a:gd name="T73" fmla="*/ 41 h 90"/>
                <a:gd name="T74" fmla="*/ 533 w 1223"/>
                <a:gd name="T75" fmla="*/ 28 h 90"/>
                <a:gd name="T76" fmla="*/ 528 w 1223"/>
                <a:gd name="T77" fmla="*/ 81 h 90"/>
                <a:gd name="T78" fmla="*/ 577 w 1223"/>
                <a:gd name="T79" fmla="*/ 80 h 90"/>
                <a:gd name="T80" fmla="*/ 543 w 1223"/>
                <a:gd name="T81" fmla="*/ 72 h 90"/>
                <a:gd name="T82" fmla="*/ 471 w 1223"/>
                <a:gd name="T83" fmla="*/ 24 h 90"/>
                <a:gd name="T84" fmla="*/ 440 w 1223"/>
                <a:gd name="T85" fmla="*/ 88 h 90"/>
                <a:gd name="T86" fmla="*/ 376 w 1223"/>
                <a:gd name="T87" fmla="*/ 78 h 90"/>
                <a:gd name="T88" fmla="*/ 394 w 1223"/>
                <a:gd name="T89" fmla="*/ 69 h 90"/>
                <a:gd name="T90" fmla="*/ 329 w 1223"/>
                <a:gd name="T91" fmla="*/ 73 h 90"/>
                <a:gd name="T92" fmla="*/ 295 w 1223"/>
                <a:gd name="T93" fmla="*/ 71 h 90"/>
                <a:gd name="T94" fmla="*/ 333 w 1223"/>
                <a:gd name="T95" fmla="*/ 83 h 90"/>
                <a:gd name="T96" fmla="*/ 259 w 1223"/>
                <a:gd name="T97" fmla="*/ 23 h 90"/>
                <a:gd name="T98" fmla="*/ 221 w 1223"/>
                <a:gd name="T99" fmla="*/ 64 h 90"/>
                <a:gd name="T100" fmla="*/ 264 w 1223"/>
                <a:gd name="T101" fmla="*/ 88 h 90"/>
                <a:gd name="T102" fmla="*/ 257 w 1223"/>
                <a:gd name="T103" fmla="*/ 74 h 90"/>
                <a:gd name="T104" fmla="*/ 240 w 1223"/>
                <a:gd name="T105" fmla="*/ 50 h 90"/>
                <a:gd name="T106" fmla="*/ 264 w 1223"/>
                <a:gd name="T107" fmla="*/ 47 h 90"/>
                <a:gd name="T108" fmla="*/ 186 w 1223"/>
                <a:gd name="T109" fmla="*/ 40 h 90"/>
                <a:gd name="T110" fmla="*/ 202 w 1223"/>
                <a:gd name="T111" fmla="*/ 33 h 90"/>
                <a:gd name="T112" fmla="*/ 152 w 1223"/>
                <a:gd name="T113" fmla="*/ 34 h 90"/>
                <a:gd name="T114" fmla="*/ 165 w 1223"/>
                <a:gd name="T115" fmla="*/ 87 h 90"/>
                <a:gd name="T116" fmla="*/ 207 w 1223"/>
                <a:gd name="T117" fmla="*/ 74 h 90"/>
                <a:gd name="T118" fmla="*/ 166 w 1223"/>
                <a:gd name="T119" fmla="*/ 67 h 90"/>
                <a:gd name="T120" fmla="*/ 96 w 1223"/>
                <a:gd name="T121" fmla="*/ 88 h 90"/>
                <a:gd name="T122" fmla="*/ 60 w 1223"/>
                <a:gd name="T123" fmla="*/ 5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3" h="90">
                  <a:moveTo>
                    <a:pt x="1165" y="24"/>
                  </a:moveTo>
                  <a:lnTo>
                    <a:pt x="1165" y="88"/>
                  </a:lnTo>
                  <a:lnTo>
                    <a:pt x="1184" y="88"/>
                  </a:lnTo>
                  <a:lnTo>
                    <a:pt x="1184" y="52"/>
                  </a:lnTo>
                  <a:lnTo>
                    <a:pt x="1184" y="46"/>
                  </a:lnTo>
                  <a:lnTo>
                    <a:pt x="1185" y="44"/>
                  </a:lnTo>
                  <a:lnTo>
                    <a:pt x="1187" y="42"/>
                  </a:lnTo>
                  <a:lnTo>
                    <a:pt x="1188" y="40"/>
                  </a:lnTo>
                  <a:lnTo>
                    <a:pt x="1190" y="39"/>
                  </a:lnTo>
                  <a:lnTo>
                    <a:pt x="1192" y="38"/>
                  </a:lnTo>
                  <a:lnTo>
                    <a:pt x="1195" y="38"/>
                  </a:lnTo>
                  <a:lnTo>
                    <a:pt x="1197" y="38"/>
                  </a:lnTo>
                  <a:lnTo>
                    <a:pt x="1199" y="39"/>
                  </a:lnTo>
                  <a:lnTo>
                    <a:pt x="1201" y="40"/>
                  </a:lnTo>
                  <a:lnTo>
                    <a:pt x="1202" y="42"/>
                  </a:lnTo>
                  <a:lnTo>
                    <a:pt x="1203" y="44"/>
                  </a:lnTo>
                  <a:lnTo>
                    <a:pt x="1204" y="46"/>
                  </a:lnTo>
                  <a:lnTo>
                    <a:pt x="1204" y="53"/>
                  </a:lnTo>
                  <a:lnTo>
                    <a:pt x="1204" y="88"/>
                  </a:lnTo>
                  <a:lnTo>
                    <a:pt x="1223" y="88"/>
                  </a:lnTo>
                  <a:lnTo>
                    <a:pt x="1223" y="47"/>
                  </a:lnTo>
                  <a:lnTo>
                    <a:pt x="1223" y="41"/>
                  </a:lnTo>
                  <a:lnTo>
                    <a:pt x="1222" y="37"/>
                  </a:lnTo>
                  <a:lnTo>
                    <a:pt x="1220" y="32"/>
                  </a:lnTo>
                  <a:lnTo>
                    <a:pt x="1217" y="29"/>
                  </a:lnTo>
                  <a:lnTo>
                    <a:pt x="1214" y="26"/>
                  </a:lnTo>
                  <a:lnTo>
                    <a:pt x="1210" y="24"/>
                  </a:lnTo>
                  <a:lnTo>
                    <a:pt x="1206" y="23"/>
                  </a:lnTo>
                  <a:lnTo>
                    <a:pt x="1201" y="22"/>
                  </a:lnTo>
                  <a:lnTo>
                    <a:pt x="1196" y="23"/>
                  </a:lnTo>
                  <a:lnTo>
                    <a:pt x="1192" y="24"/>
                  </a:lnTo>
                  <a:lnTo>
                    <a:pt x="1188" y="27"/>
                  </a:lnTo>
                  <a:lnTo>
                    <a:pt x="1183" y="30"/>
                  </a:lnTo>
                  <a:lnTo>
                    <a:pt x="1183" y="24"/>
                  </a:lnTo>
                  <a:lnTo>
                    <a:pt x="1165" y="24"/>
                  </a:lnTo>
                  <a:close/>
                  <a:moveTo>
                    <a:pt x="1120" y="37"/>
                  </a:moveTo>
                  <a:lnTo>
                    <a:pt x="1123" y="38"/>
                  </a:lnTo>
                  <a:lnTo>
                    <a:pt x="1126" y="39"/>
                  </a:lnTo>
                  <a:lnTo>
                    <a:pt x="1129" y="40"/>
                  </a:lnTo>
                  <a:lnTo>
                    <a:pt x="1131" y="42"/>
                  </a:lnTo>
                  <a:lnTo>
                    <a:pt x="1132" y="45"/>
                  </a:lnTo>
                  <a:lnTo>
                    <a:pt x="1134" y="48"/>
                  </a:lnTo>
                  <a:lnTo>
                    <a:pt x="1134" y="52"/>
                  </a:lnTo>
                  <a:lnTo>
                    <a:pt x="1135" y="57"/>
                  </a:lnTo>
                  <a:lnTo>
                    <a:pt x="1134" y="61"/>
                  </a:lnTo>
                  <a:lnTo>
                    <a:pt x="1134" y="64"/>
                  </a:lnTo>
                  <a:lnTo>
                    <a:pt x="1132" y="67"/>
                  </a:lnTo>
                  <a:lnTo>
                    <a:pt x="1131" y="70"/>
                  </a:lnTo>
                  <a:lnTo>
                    <a:pt x="1130" y="71"/>
                  </a:lnTo>
                  <a:lnTo>
                    <a:pt x="1129" y="72"/>
                  </a:lnTo>
                  <a:lnTo>
                    <a:pt x="1126" y="74"/>
                  </a:lnTo>
                  <a:lnTo>
                    <a:pt x="1123" y="75"/>
                  </a:lnTo>
                  <a:lnTo>
                    <a:pt x="1120" y="75"/>
                  </a:lnTo>
                  <a:lnTo>
                    <a:pt x="1116" y="75"/>
                  </a:lnTo>
                  <a:lnTo>
                    <a:pt x="1113" y="74"/>
                  </a:lnTo>
                  <a:lnTo>
                    <a:pt x="1111" y="72"/>
                  </a:lnTo>
                  <a:lnTo>
                    <a:pt x="1109" y="70"/>
                  </a:lnTo>
                  <a:lnTo>
                    <a:pt x="1107" y="67"/>
                  </a:lnTo>
                  <a:lnTo>
                    <a:pt x="1106" y="64"/>
                  </a:lnTo>
                  <a:lnTo>
                    <a:pt x="1105" y="60"/>
                  </a:lnTo>
                  <a:lnTo>
                    <a:pt x="1105" y="56"/>
                  </a:lnTo>
                  <a:lnTo>
                    <a:pt x="1105" y="52"/>
                  </a:lnTo>
                  <a:lnTo>
                    <a:pt x="1106" y="48"/>
                  </a:lnTo>
                  <a:lnTo>
                    <a:pt x="1107" y="45"/>
                  </a:lnTo>
                  <a:lnTo>
                    <a:pt x="1109" y="42"/>
                  </a:lnTo>
                  <a:lnTo>
                    <a:pt x="1110" y="41"/>
                  </a:lnTo>
                  <a:lnTo>
                    <a:pt x="1111" y="40"/>
                  </a:lnTo>
                  <a:lnTo>
                    <a:pt x="1113" y="39"/>
                  </a:lnTo>
                  <a:lnTo>
                    <a:pt x="1116" y="38"/>
                  </a:lnTo>
                  <a:lnTo>
                    <a:pt x="1120" y="37"/>
                  </a:lnTo>
                  <a:close/>
                  <a:moveTo>
                    <a:pt x="1120" y="23"/>
                  </a:moveTo>
                  <a:lnTo>
                    <a:pt x="1112" y="23"/>
                  </a:lnTo>
                  <a:lnTo>
                    <a:pt x="1106" y="25"/>
                  </a:lnTo>
                  <a:lnTo>
                    <a:pt x="1103" y="26"/>
                  </a:lnTo>
                  <a:lnTo>
                    <a:pt x="1100" y="28"/>
                  </a:lnTo>
                  <a:lnTo>
                    <a:pt x="1095" y="32"/>
                  </a:lnTo>
                  <a:lnTo>
                    <a:pt x="1091" y="37"/>
                  </a:lnTo>
                  <a:lnTo>
                    <a:pt x="1090" y="40"/>
                  </a:lnTo>
                  <a:lnTo>
                    <a:pt x="1088" y="43"/>
                  </a:lnTo>
                  <a:lnTo>
                    <a:pt x="1087" y="46"/>
                  </a:lnTo>
                  <a:lnTo>
                    <a:pt x="1086" y="49"/>
                  </a:lnTo>
                  <a:lnTo>
                    <a:pt x="1086" y="56"/>
                  </a:lnTo>
                  <a:lnTo>
                    <a:pt x="1086" y="63"/>
                  </a:lnTo>
                  <a:lnTo>
                    <a:pt x="1088" y="70"/>
                  </a:lnTo>
                  <a:lnTo>
                    <a:pt x="1090" y="73"/>
                  </a:lnTo>
                  <a:lnTo>
                    <a:pt x="1091" y="76"/>
                  </a:lnTo>
                  <a:lnTo>
                    <a:pt x="1095" y="80"/>
                  </a:lnTo>
                  <a:lnTo>
                    <a:pt x="1100" y="84"/>
                  </a:lnTo>
                  <a:lnTo>
                    <a:pt x="1103" y="86"/>
                  </a:lnTo>
                  <a:lnTo>
                    <a:pt x="1106" y="87"/>
                  </a:lnTo>
                  <a:lnTo>
                    <a:pt x="1109" y="88"/>
                  </a:lnTo>
                  <a:lnTo>
                    <a:pt x="1112" y="89"/>
                  </a:lnTo>
                  <a:lnTo>
                    <a:pt x="1120" y="90"/>
                  </a:lnTo>
                  <a:lnTo>
                    <a:pt x="1127" y="89"/>
                  </a:lnTo>
                  <a:lnTo>
                    <a:pt x="1133" y="87"/>
                  </a:lnTo>
                  <a:lnTo>
                    <a:pt x="1136" y="86"/>
                  </a:lnTo>
                  <a:lnTo>
                    <a:pt x="1139" y="84"/>
                  </a:lnTo>
                  <a:lnTo>
                    <a:pt x="1144" y="80"/>
                  </a:lnTo>
                  <a:lnTo>
                    <a:pt x="1148" y="76"/>
                  </a:lnTo>
                  <a:lnTo>
                    <a:pt x="1150" y="73"/>
                  </a:lnTo>
                  <a:lnTo>
                    <a:pt x="1151" y="70"/>
                  </a:lnTo>
                  <a:lnTo>
                    <a:pt x="1153" y="64"/>
                  </a:lnTo>
                  <a:lnTo>
                    <a:pt x="1153" y="60"/>
                  </a:lnTo>
                  <a:lnTo>
                    <a:pt x="1154" y="57"/>
                  </a:lnTo>
                  <a:lnTo>
                    <a:pt x="1153" y="53"/>
                  </a:lnTo>
                  <a:lnTo>
                    <a:pt x="1153" y="49"/>
                  </a:lnTo>
                  <a:lnTo>
                    <a:pt x="1151" y="43"/>
                  </a:lnTo>
                  <a:lnTo>
                    <a:pt x="1150" y="40"/>
                  </a:lnTo>
                  <a:lnTo>
                    <a:pt x="1148" y="37"/>
                  </a:lnTo>
                  <a:lnTo>
                    <a:pt x="1144" y="32"/>
                  </a:lnTo>
                  <a:lnTo>
                    <a:pt x="1139" y="28"/>
                  </a:lnTo>
                  <a:lnTo>
                    <a:pt x="1136" y="26"/>
                  </a:lnTo>
                  <a:lnTo>
                    <a:pt x="1133" y="25"/>
                  </a:lnTo>
                  <a:lnTo>
                    <a:pt x="1130" y="24"/>
                  </a:lnTo>
                  <a:lnTo>
                    <a:pt x="1127" y="23"/>
                  </a:lnTo>
                  <a:lnTo>
                    <a:pt x="1120" y="23"/>
                  </a:lnTo>
                  <a:close/>
                  <a:moveTo>
                    <a:pt x="1074" y="0"/>
                  </a:moveTo>
                  <a:lnTo>
                    <a:pt x="1056" y="0"/>
                  </a:lnTo>
                  <a:lnTo>
                    <a:pt x="1056" y="15"/>
                  </a:lnTo>
                  <a:lnTo>
                    <a:pt x="1074" y="15"/>
                  </a:lnTo>
                  <a:lnTo>
                    <a:pt x="1074" y="0"/>
                  </a:lnTo>
                  <a:close/>
                  <a:moveTo>
                    <a:pt x="1074" y="24"/>
                  </a:moveTo>
                  <a:lnTo>
                    <a:pt x="1056" y="24"/>
                  </a:lnTo>
                  <a:lnTo>
                    <a:pt x="1056" y="88"/>
                  </a:lnTo>
                  <a:lnTo>
                    <a:pt x="1074" y="88"/>
                  </a:lnTo>
                  <a:lnTo>
                    <a:pt x="1074" y="24"/>
                  </a:lnTo>
                  <a:close/>
                  <a:moveTo>
                    <a:pt x="1041" y="25"/>
                  </a:moveTo>
                  <a:lnTo>
                    <a:pt x="1029" y="25"/>
                  </a:lnTo>
                  <a:lnTo>
                    <a:pt x="1029" y="5"/>
                  </a:lnTo>
                  <a:lnTo>
                    <a:pt x="1011" y="5"/>
                  </a:lnTo>
                  <a:lnTo>
                    <a:pt x="1011" y="25"/>
                  </a:lnTo>
                  <a:lnTo>
                    <a:pt x="1002" y="25"/>
                  </a:lnTo>
                  <a:lnTo>
                    <a:pt x="1002" y="38"/>
                  </a:lnTo>
                  <a:lnTo>
                    <a:pt x="1011" y="38"/>
                  </a:lnTo>
                  <a:lnTo>
                    <a:pt x="1011" y="67"/>
                  </a:lnTo>
                  <a:lnTo>
                    <a:pt x="1011" y="74"/>
                  </a:lnTo>
                  <a:lnTo>
                    <a:pt x="1011" y="78"/>
                  </a:lnTo>
                  <a:lnTo>
                    <a:pt x="1012" y="81"/>
                  </a:lnTo>
                  <a:lnTo>
                    <a:pt x="1014" y="84"/>
                  </a:lnTo>
                  <a:lnTo>
                    <a:pt x="1017" y="86"/>
                  </a:lnTo>
                  <a:lnTo>
                    <a:pt x="1020" y="87"/>
                  </a:lnTo>
                  <a:lnTo>
                    <a:pt x="1024" y="88"/>
                  </a:lnTo>
                  <a:lnTo>
                    <a:pt x="1029" y="88"/>
                  </a:lnTo>
                  <a:lnTo>
                    <a:pt x="1041" y="88"/>
                  </a:lnTo>
                  <a:lnTo>
                    <a:pt x="1041" y="74"/>
                  </a:lnTo>
                  <a:lnTo>
                    <a:pt x="1034" y="74"/>
                  </a:lnTo>
                  <a:lnTo>
                    <a:pt x="1032" y="74"/>
                  </a:lnTo>
                  <a:lnTo>
                    <a:pt x="1030" y="72"/>
                  </a:lnTo>
                  <a:lnTo>
                    <a:pt x="1029" y="69"/>
                  </a:lnTo>
                  <a:lnTo>
                    <a:pt x="1029" y="63"/>
                  </a:lnTo>
                  <a:lnTo>
                    <a:pt x="1029" y="38"/>
                  </a:lnTo>
                  <a:lnTo>
                    <a:pt x="1041" y="38"/>
                  </a:lnTo>
                  <a:lnTo>
                    <a:pt x="1041" y="25"/>
                  </a:lnTo>
                  <a:close/>
                  <a:moveTo>
                    <a:pt x="973" y="68"/>
                  </a:moveTo>
                  <a:lnTo>
                    <a:pt x="970" y="71"/>
                  </a:lnTo>
                  <a:lnTo>
                    <a:pt x="967" y="74"/>
                  </a:lnTo>
                  <a:lnTo>
                    <a:pt x="963" y="75"/>
                  </a:lnTo>
                  <a:lnTo>
                    <a:pt x="959" y="76"/>
                  </a:lnTo>
                  <a:lnTo>
                    <a:pt x="955" y="75"/>
                  </a:lnTo>
                  <a:lnTo>
                    <a:pt x="952" y="74"/>
                  </a:lnTo>
                  <a:lnTo>
                    <a:pt x="950" y="72"/>
                  </a:lnTo>
                  <a:lnTo>
                    <a:pt x="950" y="70"/>
                  </a:lnTo>
                  <a:lnTo>
                    <a:pt x="949" y="69"/>
                  </a:lnTo>
                  <a:lnTo>
                    <a:pt x="950" y="66"/>
                  </a:lnTo>
                  <a:lnTo>
                    <a:pt x="952" y="64"/>
                  </a:lnTo>
                  <a:lnTo>
                    <a:pt x="955" y="62"/>
                  </a:lnTo>
                  <a:lnTo>
                    <a:pt x="959" y="61"/>
                  </a:lnTo>
                  <a:lnTo>
                    <a:pt x="966" y="60"/>
                  </a:lnTo>
                  <a:lnTo>
                    <a:pt x="973" y="58"/>
                  </a:lnTo>
                  <a:lnTo>
                    <a:pt x="973" y="68"/>
                  </a:lnTo>
                  <a:close/>
                  <a:moveTo>
                    <a:pt x="951" y="44"/>
                  </a:moveTo>
                  <a:lnTo>
                    <a:pt x="951" y="43"/>
                  </a:lnTo>
                  <a:lnTo>
                    <a:pt x="952" y="41"/>
                  </a:lnTo>
                  <a:lnTo>
                    <a:pt x="953" y="40"/>
                  </a:lnTo>
                  <a:lnTo>
                    <a:pt x="954" y="39"/>
                  </a:lnTo>
                  <a:lnTo>
                    <a:pt x="958" y="37"/>
                  </a:lnTo>
                  <a:lnTo>
                    <a:pt x="962" y="37"/>
                  </a:lnTo>
                  <a:lnTo>
                    <a:pt x="966" y="37"/>
                  </a:lnTo>
                  <a:lnTo>
                    <a:pt x="970" y="38"/>
                  </a:lnTo>
                  <a:lnTo>
                    <a:pt x="971" y="40"/>
                  </a:lnTo>
                  <a:lnTo>
                    <a:pt x="972" y="41"/>
                  </a:lnTo>
                  <a:lnTo>
                    <a:pt x="972" y="43"/>
                  </a:lnTo>
                  <a:lnTo>
                    <a:pt x="972" y="44"/>
                  </a:lnTo>
                  <a:lnTo>
                    <a:pt x="971" y="46"/>
                  </a:lnTo>
                  <a:lnTo>
                    <a:pt x="969" y="46"/>
                  </a:lnTo>
                  <a:lnTo>
                    <a:pt x="966" y="47"/>
                  </a:lnTo>
                  <a:lnTo>
                    <a:pt x="956" y="49"/>
                  </a:lnTo>
                  <a:lnTo>
                    <a:pt x="950" y="50"/>
                  </a:lnTo>
                  <a:lnTo>
                    <a:pt x="945" y="52"/>
                  </a:lnTo>
                  <a:lnTo>
                    <a:pt x="940" y="54"/>
                  </a:lnTo>
                  <a:lnTo>
                    <a:pt x="937" y="56"/>
                  </a:lnTo>
                  <a:lnTo>
                    <a:pt x="934" y="59"/>
                  </a:lnTo>
                  <a:lnTo>
                    <a:pt x="933" y="60"/>
                  </a:lnTo>
                  <a:lnTo>
                    <a:pt x="932" y="62"/>
                  </a:lnTo>
                  <a:lnTo>
                    <a:pt x="931" y="66"/>
                  </a:lnTo>
                  <a:lnTo>
                    <a:pt x="931" y="70"/>
                  </a:lnTo>
                  <a:lnTo>
                    <a:pt x="931" y="74"/>
                  </a:lnTo>
                  <a:lnTo>
                    <a:pt x="933" y="78"/>
                  </a:lnTo>
                  <a:lnTo>
                    <a:pt x="935" y="81"/>
                  </a:lnTo>
                  <a:lnTo>
                    <a:pt x="937" y="84"/>
                  </a:lnTo>
                  <a:lnTo>
                    <a:pt x="941" y="87"/>
                  </a:lnTo>
                  <a:lnTo>
                    <a:pt x="945" y="88"/>
                  </a:lnTo>
                  <a:lnTo>
                    <a:pt x="949" y="89"/>
                  </a:lnTo>
                  <a:lnTo>
                    <a:pt x="954" y="90"/>
                  </a:lnTo>
                  <a:lnTo>
                    <a:pt x="960" y="90"/>
                  </a:lnTo>
                  <a:lnTo>
                    <a:pt x="964" y="88"/>
                  </a:lnTo>
                  <a:lnTo>
                    <a:pt x="968" y="86"/>
                  </a:lnTo>
                  <a:lnTo>
                    <a:pt x="973" y="83"/>
                  </a:lnTo>
                  <a:lnTo>
                    <a:pt x="974" y="88"/>
                  </a:lnTo>
                  <a:lnTo>
                    <a:pt x="993" y="88"/>
                  </a:lnTo>
                  <a:lnTo>
                    <a:pt x="992" y="86"/>
                  </a:lnTo>
                  <a:lnTo>
                    <a:pt x="991" y="84"/>
                  </a:lnTo>
                  <a:lnTo>
                    <a:pt x="991" y="77"/>
                  </a:lnTo>
                  <a:lnTo>
                    <a:pt x="991" y="48"/>
                  </a:lnTo>
                  <a:lnTo>
                    <a:pt x="991" y="41"/>
                  </a:lnTo>
                  <a:lnTo>
                    <a:pt x="990" y="36"/>
                  </a:lnTo>
                  <a:lnTo>
                    <a:pt x="988" y="32"/>
                  </a:lnTo>
                  <a:lnTo>
                    <a:pt x="986" y="31"/>
                  </a:lnTo>
                  <a:lnTo>
                    <a:pt x="985" y="29"/>
                  </a:lnTo>
                  <a:lnTo>
                    <a:pt x="980" y="26"/>
                  </a:lnTo>
                  <a:lnTo>
                    <a:pt x="975" y="24"/>
                  </a:lnTo>
                  <a:lnTo>
                    <a:pt x="969" y="23"/>
                  </a:lnTo>
                  <a:lnTo>
                    <a:pt x="962" y="23"/>
                  </a:lnTo>
                  <a:lnTo>
                    <a:pt x="956" y="23"/>
                  </a:lnTo>
                  <a:lnTo>
                    <a:pt x="951" y="24"/>
                  </a:lnTo>
                  <a:lnTo>
                    <a:pt x="946" y="26"/>
                  </a:lnTo>
                  <a:lnTo>
                    <a:pt x="942" y="28"/>
                  </a:lnTo>
                  <a:lnTo>
                    <a:pt x="939" y="31"/>
                  </a:lnTo>
                  <a:lnTo>
                    <a:pt x="937" y="35"/>
                  </a:lnTo>
                  <a:lnTo>
                    <a:pt x="936" y="37"/>
                  </a:lnTo>
                  <a:lnTo>
                    <a:pt x="935" y="39"/>
                  </a:lnTo>
                  <a:lnTo>
                    <a:pt x="934" y="42"/>
                  </a:lnTo>
                  <a:lnTo>
                    <a:pt x="934" y="44"/>
                  </a:lnTo>
                  <a:lnTo>
                    <a:pt x="951" y="44"/>
                  </a:lnTo>
                  <a:close/>
                  <a:moveTo>
                    <a:pt x="920" y="47"/>
                  </a:moveTo>
                  <a:lnTo>
                    <a:pt x="920" y="42"/>
                  </a:lnTo>
                  <a:lnTo>
                    <a:pt x="918" y="37"/>
                  </a:lnTo>
                  <a:lnTo>
                    <a:pt x="915" y="33"/>
                  </a:lnTo>
                  <a:lnTo>
                    <a:pt x="912" y="29"/>
                  </a:lnTo>
                  <a:lnTo>
                    <a:pt x="907" y="26"/>
                  </a:lnTo>
                  <a:lnTo>
                    <a:pt x="903" y="24"/>
                  </a:lnTo>
                  <a:lnTo>
                    <a:pt x="897" y="23"/>
                  </a:lnTo>
                  <a:lnTo>
                    <a:pt x="891" y="23"/>
                  </a:lnTo>
                  <a:lnTo>
                    <a:pt x="884" y="23"/>
                  </a:lnTo>
                  <a:lnTo>
                    <a:pt x="878" y="25"/>
                  </a:lnTo>
                  <a:lnTo>
                    <a:pt x="872" y="28"/>
                  </a:lnTo>
                  <a:lnTo>
                    <a:pt x="870" y="29"/>
                  </a:lnTo>
                  <a:lnTo>
                    <a:pt x="867" y="32"/>
                  </a:lnTo>
                  <a:lnTo>
                    <a:pt x="865" y="34"/>
                  </a:lnTo>
                  <a:lnTo>
                    <a:pt x="864" y="36"/>
                  </a:lnTo>
                  <a:lnTo>
                    <a:pt x="861" y="42"/>
                  </a:lnTo>
                  <a:lnTo>
                    <a:pt x="859" y="49"/>
                  </a:lnTo>
                  <a:lnTo>
                    <a:pt x="859" y="56"/>
                  </a:lnTo>
                  <a:lnTo>
                    <a:pt x="859" y="64"/>
                  </a:lnTo>
                  <a:lnTo>
                    <a:pt x="860" y="67"/>
                  </a:lnTo>
                  <a:lnTo>
                    <a:pt x="861" y="70"/>
                  </a:lnTo>
                  <a:lnTo>
                    <a:pt x="864" y="76"/>
                  </a:lnTo>
                  <a:lnTo>
                    <a:pt x="865" y="79"/>
                  </a:lnTo>
                  <a:lnTo>
                    <a:pt x="867" y="81"/>
                  </a:lnTo>
                  <a:lnTo>
                    <a:pt x="872" y="85"/>
                  </a:lnTo>
                  <a:lnTo>
                    <a:pt x="877" y="88"/>
                  </a:lnTo>
                  <a:lnTo>
                    <a:pt x="884" y="89"/>
                  </a:lnTo>
                  <a:lnTo>
                    <a:pt x="887" y="90"/>
                  </a:lnTo>
                  <a:lnTo>
                    <a:pt x="891" y="90"/>
                  </a:lnTo>
                  <a:lnTo>
                    <a:pt x="897" y="89"/>
                  </a:lnTo>
                  <a:lnTo>
                    <a:pt x="902" y="88"/>
                  </a:lnTo>
                  <a:lnTo>
                    <a:pt x="907" y="86"/>
                  </a:lnTo>
                  <a:lnTo>
                    <a:pt x="911" y="83"/>
                  </a:lnTo>
                  <a:lnTo>
                    <a:pt x="915" y="80"/>
                  </a:lnTo>
                  <a:lnTo>
                    <a:pt x="918" y="75"/>
                  </a:lnTo>
                  <a:lnTo>
                    <a:pt x="920" y="70"/>
                  </a:lnTo>
                  <a:lnTo>
                    <a:pt x="921" y="65"/>
                  </a:lnTo>
                  <a:lnTo>
                    <a:pt x="903" y="64"/>
                  </a:lnTo>
                  <a:lnTo>
                    <a:pt x="902" y="66"/>
                  </a:lnTo>
                  <a:lnTo>
                    <a:pt x="901" y="69"/>
                  </a:lnTo>
                  <a:lnTo>
                    <a:pt x="899" y="72"/>
                  </a:lnTo>
                  <a:lnTo>
                    <a:pt x="897" y="73"/>
                  </a:lnTo>
                  <a:lnTo>
                    <a:pt x="896" y="74"/>
                  </a:lnTo>
                  <a:lnTo>
                    <a:pt x="893" y="74"/>
                  </a:lnTo>
                  <a:lnTo>
                    <a:pt x="891" y="75"/>
                  </a:lnTo>
                  <a:lnTo>
                    <a:pt x="888" y="74"/>
                  </a:lnTo>
                  <a:lnTo>
                    <a:pt x="885" y="73"/>
                  </a:lnTo>
                  <a:lnTo>
                    <a:pt x="883" y="72"/>
                  </a:lnTo>
                  <a:lnTo>
                    <a:pt x="881" y="70"/>
                  </a:lnTo>
                  <a:lnTo>
                    <a:pt x="880" y="67"/>
                  </a:lnTo>
                  <a:lnTo>
                    <a:pt x="879" y="64"/>
                  </a:lnTo>
                  <a:lnTo>
                    <a:pt x="878" y="60"/>
                  </a:lnTo>
                  <a:lnTo>
                    <a:pt x="878" y="56"/>
                  </a:lnTo>
                  <a:lnTo>
                    <a:pt x="878" y="52"/>
                  </a:lnTo>
                  <a:lnTo>
                    <a:pt x="878" y="50"/>
                  </a:lnTo>
                  <a:lnTo>
                    <a:pt x="879" y="48"/>
                  </a:lnTo>
                  <a:lnTo>
                    <a:pt x="880" y="45"/>
                  </a:lnTo>
                  <a:lnTo>
                    <a:pt x="881" y="42"/>
                  </a:lnTo>
                  <a:lnTo>
                    <a:pt x="883" y="40"/>
                  </a:lnTo>
                  <a:lnTo>
                    <a:pt x="885" y="39"/>
                  </a:lnTo>
                  <a:lnTo>
                    <a:pt x="888" y="38"/>
                  </a:lnTo>
                  <a:lnTo>
                    <a:pt x="891" y="38"/>
                  </a:lnTo>
                  <a:lnTo>
                    <a:pt x="895" y="38"/>
                  </a:lnTo>
                  <a:lnTo>
                    <a:pt x="899" y="40"/>
                  </a:lnTo>
                  <a:lnTo>
                    <a:pt x="900" y="42"/>
                  </a:lnTo>
                  <a:lnTo>
                    <a:pt x="901" y="43"/>
                  </a:lnTo>
                  <a:lnTo>
                    <a:pt x="902" y="45"/>
                  </a:lnTo>
                  <a:lnTo>
                    <a:pt x="903" y="47"/>
                  </a:lnTo>
                  <a:lnTo>
                    <a:pt x="920" y="47"/>
                  </a:lnTo>
                  <a:close/>
                  <a:moveTo>
                    <a:pt x="847" y="24"/>
                  </a:moveTo>
                  <a:lnTo>
                    <a:pt x="828" y="24"/>
                  </a:lnTo>
                  <a:lnTo>
                    <a:pt x="828" y="60"/>
                  </a:lnTo>
                  <a:lnTo>
                    <a:pt x="828" y="67"/>
                  </a:lnTo>
                  <a:lnTo>
                    <a:pt x="827" y="69"/>
                  </a:lnTo>
                  <a:lnTo>
                    <a:pt x="826" y="70"/>
                  </a:lnTo>
                  <a:lnTo>
                    <a:pt x="825" y="72"/>
                  </a:lnTo>
                  <a:lnTo>
                    <a:pt x="823" y="73"/>
                  </a:lnTo>
                  <a:lnTo>
                    <a:pt x="821" y="74"/>
                  </a:lnTo>
                  <a:lnTo>
                    <a:pt x="818" y="74"/>
                  </a:lnTo>
                  <a:lnTo>
                    <a:pt x="816" y="74"/>
                  </a:lnTo>
                  <a:lnTo>
                    <a:pt x="814" y="73"/>
                  </a:lnTo>
                  <a:lnTo>
                    <a:pt x="812" y="72"/>
                  </a:lnTo>
                  <a:lnTo>
                    <a:pt x="810" y="70"/>
                  </a:lnTo>
                  <a:lnTo>
                    <a:pt x="809" y="67"/>
                  </a:lnTo>
                  <a:lnTo>
                    <a:pt x="808" y="60"/>
                  </a:lnTo>
                  <a:lnTo>
                    <a:pt x="808" y="24"/>
                  </a:lnTo>
                  <a:lnTo>
                    <a:pt x="789" y="24"/>
                  </a:lnTo>
                  <a:lnTo>
                    <a:pt x="789" y="64"/>
                  </a:lnTo>
                  <a:lnTo>
                    <a:pt x="790" y="71"/>
                  </a:lnTo>
                  <a:lnTo>
                    <a:pt x="791" y="76"/>
                  </a:lnTo>
                  <a:lnTo>
                    <a:pt x="792" y="78"/>
                  </a:lnTo>
                  <a:lnTo>
                    <a:pt x="793" y="80"/>
                  </a:lnTo>
                  <a:lnTo>
                    <a:pt x="795" y="83"/>
                  </a:lnTo>
                  <a:lnTo>
                    <a:pt x="799" y="86"/>
                  </a:lnTo>
                  <a:lnTo>
                    <a:pt x="803" y="88"/>
                  </a:lnTo>
                  <a:lnTo>
                    <a:pt x="808" y="89"/>
                  </a:lnTo>
                  <a:lnTo>
                    <a:pt x="812" y="90"/>
                  </a:lnTo>
                  <a:lnTo>
                    <a:pt x="818" y="89"/>
                  </a:lnTo>
                  <a:lnTo>
                    <a:pt x="822" y="88"/>
                  </a:lnTo>
                  <a:lnTo>
                    <a:pt x="826" y="85"/>
                  </a:lnTo>
                  <a:lnTo>
                    <a:pt x="828" y="83"/>
                  </a:lnTo>
                  <a:lnTo>
                    <a:pt x="829" y="81"/>
                  </a:lnTo>
                  <a:lnTo>
                    <a:pt x="829" y="88"/>
                  </a:lnTo>
                  <a:lnTo>
                    <a:pt x="847" y="88"/>
                  </a:lnTo>
                  <a:lnTo>
                    <a:pt x="847" y="24"/>
                  </a:lnTo>
                  <a:close/>
                  <a:moveTo>
                    <a:pt x="743" y="38"/>
                  </a:moveTo>
                  <a:lnTo>
                    <a:pt x="746" y="38"/>
                  </a:lnTo>
                  <a:lnTo>
                    <a:pt x="749" y="39"/>
                  </a:lnTo>
                  <a:lnTo>
                    <a:pt x="751" y="41"/>
                  </a:lnTo>
                  <a:lnTo>
                    <a:pt x="753" y="43"/>
                  </a:lnTo>
                  <a:lnTo>
                    <a:pt x="755" y="45"/>
                  </a:lnTo>
                  <a:lnTo>
                    <a:pt x="756" y="49"/>
                  </a:lnTo>
                  <a:lnTo>
                    <a:pt x="756" y="52"/>
                  </a:lnTo>
                  <a:lnTo>
                    <a:pt x="757" y="56"/>
                  </a:lnTo>
                  <a:lnTo>
                    <a:pt x="756" y="60"/>
                  </a:lnTo>
                  <a:lnTo>
                    <a:pt x="756" y="64"/>
                  </a:lnTo>
                  <a:lnTo>
                    <a:pt x="755" y="67"/>
                  </a:lnTo>
                  <a:lnTo>
                    <a:pt x="753" y="70"/>
                  </a:lnTo>
                  <a:lnTo>
                    <a:pt x="751" y="72"/>
                  </a:lnTo>
                  <a:lnTo>
                    <a:pt x="749" y="73"/>
                  </a:lnTo>
                  <a:lnTo>
                    <a:pt x="746" y="74"/>
                  </a:lnTo>
                  <a:lnTo>
                    <a:pt x="743" y="75"/>
                  </a:lnTo>
                  <a:lnTo>
                    <a:pt x="740" y="74"/>
                  </a:lnTo>
                  <a:lnTo>
                    <a:pt x="738" y="73"/>
                  </a:lnTo>
                  <a:lnTo>
                    <a:pt x="735" y="72"/>
                  </a:lnTo>
                  <a:lnTo>
                    <a:pt x="733" y="70"/>
                  </a:lnTo>
                  <a:lnTo>
                    <a:pt x="732" y="67"/>
                  </a:lnTo>
                  <a:lnTo>
                    <a:pt x="731" y="64"/>
                  </a:lnTo>
                  <a:lnTo>
                    <a:pt x="730" y="60"/>
                  </a:lnTo>
                  <a:lnTo>
                    <a:pt x="730" y="56"/>
                  </a:lnTo>
                  <a:lnTo>
                    <a:pt x="730" y="52"/>
                  </a:lnTo>
                  <a:lnTo>
                    <a:pt x="731" y="48"/>
                  </a:lnTo>
                  <a:lnTo>
                    <a:pt x="732" y="45"/>
                  </a:lnTo>
                  <a:lnTo>
                    <a:pt x="733" y="43"/>
                  </a:lnTo>
                  <a:lnTo>
                    <a:pt x="735" y="40"/>
                  </a:lnTo>
                  <a:lnTo>
                    <a:pt x="738" y="39"/>
                  </a:lnTo>
                  <a:lnTo>
                    <a:pt x="740" y="38"/>
                  </a:lnTo>
                  <a:lnTo>
                    <a:pt x="743" y="38"/>
                  </a:lnTo>
                  <a:close/>
                  <a:moveTo>
                    <a:pt x="775" y="0"/>
                  </a:moveTo>
                  <a:lnTo>
                    <a:pt x="756" y="0"/>
                  </a:lnTo>
                  <a:lnTo>
                    <a:pt x="756" y="29"/>
                  </a:lnTo>
                  <a:lnTo>
                    <a:pt x="753" y="26"/>
                  </a:lnTo>
                  <a:lnTo>
                    <a:pt x="749" y="24"/>
                  </a:lnTo>
                  <a:lnTo>
                    <a:pt x="745" y="23"/>
                  </a:lnTo>
                  <a:lnTo>
                    <a:pt x="740" y="22"/>
                  </a:lnTo>
                  <a:lnTo>
                    <a:pt x="734" y="23"/>
                  </a:lnTo>
                  <a:lnTo>
                    <a:pt x="728" y="25"/>
                  </a:lnTo>
                  <a:lnTo>
                    <a:pt x="723" y="28"/>
                  </a:lnTo>
                  <a:lnTo>
                    <a:pt x="719" y="32"/>
                  </a:lnTo>
                  <a:lnTo>
                    <a:pt x="716" y="37"/>
                  </a:lnTo>
                  <a:lnTo>
                    <a:pt x="713" y="42"/>
                  </a:lnTo>
                  <a:lnTo>
                    <a:pt x="712" y="46"/>
                  </a:lnTo>
                  <a:lnTo>
                    <a:pt x="712" y="49"/>
                  </a:lnTo>
                  <a:lnTo>
                    <a:pt x="711" y="56"/>
                  </a:lnTo>
                  <a:lnTo>
                    <a:pt x="712" y="64"/>
                  </a:lnTo>
                  <a:lnTo>
                    <a:pt x="712" y="67"/>
                  </a:lnTo>
                  <a:lnTo>
                    <a:pt x="713" y="70"/>
                  </a:lnTo>
                  <a:lnTo>
                    <a:pt x="716" y="76"/>
                  </a:lnTo>
                  <a:lnTo>
                    <a:pt x="717" y="78"/>
                  </a:lnTo>
                  <a:lnTo>
                    <a:pt x="719" y="81"/>
                  </a:lnTo>
                  <a:lnTo>
                    <a:pt x="723" y="85"/>
                  </a:lnTo>
                  <a:lnTo>
                    <a:pt x="728" y="87"/>
                  </a:lnTo>
                  <a:lnTo>
                    <a:pt x="730" y="88"/>
                  </a:lnTo>
                  <a:lnTo>
                    <a:pt x="733" y="89"/>
                  </a:lnTo>
                  <a:lnTo>
                    <a:pt x="736" y="90"/>
                  </a:lnTo>
                  <a:lnTo>
                    <a:pt x="739" y="90"/>
                  </a:lnTo>
                  <a:lnTo>
                    <a:pt x="745" y="89"/>
                  </a:lnTo>
                  <a:lnTo>
                    <a:pt x="747" y="89"/>
                  </a:lnTo>
                  <a:lnTo>
                    <a:pt x="749" y="88"/>
                  </a:lnTo>
                  <a:lnTo>
                    <a:pt x="751" y="87"/>
                  </a:lnTo>
                  <a:lnTo>
                    <a:pt x="753" y="85"/>
                  </a:lnTo>
                  <a:lnTo>
                    <a:pt x="757" y="81"/>
                  </a:lnTo>
                  <a:lnTo>
                    <a:pt x="757" y="88"/>
                  </a:lnTo>
                  <a:lnTo>
                    <a:pt x="775" y="88"/>
                  </a:lnTo>
                  <a:lnTo>
                    <a:pt x="775" y="0"/>
                  </a:lnTo>
                  <a:close/>
                  <a:moveTo>
                    <a:pt x="701" y="0"/>
                  </a:moveTo>
                  <a:lnTo>
                    <a:pt x="634" y="0"/>
                  </a:lnTo>
                  <a:lnTo>
                    <a:pt x="634" y="88"/>
                  </a:lnTo>
                  <a:lnTo>
                    <a:pt x="702" y="88"/>
                  </a:lnTo>
                  <a:lnTo>
                    <a:pt x="702" y="71"/>
                  </a:lnTo>
                  <a:lnTo>
                    <a:pt x="655" y="71"/>
                  </a:lnTo>
                  <a:lnTo>
                    <a:pt x="655" y="50"/>
                  </a:lnTo>
                  <a:lnTo>
                    <a:pt x="695" y="50"/>
                  </a:lnTo>
                  <a:lnTo>
                    <a:pt x="695" y="34"/>
                  </a:lnTo>
                  <a:lnTo>
                    <a:pt x="655" y="34"/>
                  </a:lnTo>
                  <a:lnTo>
                    <a:pt x="655" y="17"/>
                  </a:lnTo>
                  <a:lnTo>
                    <a:pt x="701" y="17"/>
                  </a:lnTo>
                  <a:lnTo>
                    <a:pt x="701" y="0"/>
                  </a:lnTo>
                  <a:close/>
                  <a:moveTo>
                    <a:pt x="538" y="48"/>
                  </a:moveTo>
                  <a:lnTo>
                    <a:pt x="539" y="46"/>
                  </a:lnTo>
                  <a:lnTo>
                    <a:pt x="540" y="43"/>
                  </a:lnTo>
                  <a:lnTo>
                    <a:pt x="541" y="41"/>
                  </a:lnTo>
                  <a:lnTo>
                    <a:pt x="543" y="40"/>
                  </a:lnTo>
                  <a:lnTo>
                    <a:pt x="544" y="38"/>
                  </a:lnTo>
                  <a:lnTo>
                    <a:pt x="547" y="38"/>
                  </a:lnTo>
                  <a:lnTo>
                    <a:pt x="552" y="37"/>
                  </a:lnTo>
                  <a:lnTo>
                    <a:pt x="556" y="38"/>
                  </a:lnTo>
                  <a:lnTo>
                    <a:pt x="558" y="38"/>
                  </a:lnTo>
                  <a:lnTo>
                    <a:pt x="560" y="40"/>
                  </a:lnTo>
                  <a:lnTo>
                    <a:pt x="562" y="41"/>
                  </a:lnTo>
                  <a:lnTo>
                    <a:pt x="563" y="43"/>
                  </a:lnTo>
                  <a:lnTo>
                    <a:pt x="564" y="46"/>
                  </a:lnTo>
                  <a:lnTo>
                    <a:pt x="564" y="48"/>
                  </a:lnTo>
                  <a:lnTo>
                    <a:pt x="538" y="48"/>
                  </a:lnTo>
                  <a:close/>
                  <a:moveTo>
                    <a:pt x="583" y="62"/>
                  </a:moveTo>
                  <a:lnTo>
                    <a:pt x="583" y="56"/>
                  </a:lnTo>
                  <a:lnTo>
                    <a:pt x="583" y="50"/>
                  </a:lnTo>
                  <a:lnTo>
                    <a:pt x="582" y="46"/>
                  </a:lnTo>
                  <a:lnTo>
                    <a:pt x="580" y="41"/>
                  </a:lnTo>
                  <a:lnTo>
                    <a:pt x="578" y="37"/>
                  </a:lnTo>
                  <a:lnTo>
                    <a:pt x="576" y="33"/>
                  </a:lnTo>
                  <a:lnTo>
                    <a:pt x="573" y="30"/>
                  </a:lnTo>
                  <a:lnTo>
                    <a:pt x="569" y="27"/>
                  </a:lnTo>
                  <a:lnTo>
                    <a:pt x="565" y="25"/>
                  </a:lnTo>
                  <a:lnTo>
                    <a:pt x="561" y="24"/>
                  </a:lnTo>
                  <a:lnTo>
                    <a:pt x="557" y="23"/>
                  </a:lnTo>
                  <a:lnTo>
                    <a:pt x="552" y="23"/>
                  </a:lnTo>
                  <a:lnTo>
                    <a:pt x="545" y="23"/>
                  </a:lnTo>
                  <a:lnTo>
                    <a:pt x="538" y="25"/>
                  </a:lnTo>
                  <a:lnTo>
                    <a:pt x="536" y="26"/>
                  </a:lnTo>
                  <a:lnTo>
                    <a:pt x="533" y="28"/>
                  </a:lnTo>
                  <a:lnTo>
                    <a:pt x="528" y="32"/>
                  </a:lnTo>
                  <a:lnTo>
                    <a:pt x="526" y="34"/>
                  </a:lnTo>
                  <a:lnTo>
                    <a:pt x="524" y="37"/>
                  </a:lnTo>
                  <a:lnTo>
                    <a:pt x="521" y="43"/>
                  </a:lnTo>
                  <a:lnTo>
                    <a:pt x="520" y="49"/>
                  </a:lnTo>
                  <a:lnTo>
                    <a:pt x="519" y="53"/>
                  </a:lnTo>
                  <a:lnTo>
                    <a:pt x="519" y="56"/>
                  </a:lnTo>
                  <a:lnTo>
                    <a:pt x="520" y="63"/>
                  </a:lnTo>
                  <a:lnTo>
                    <a:pt x="521" y="70"/>
                  </a:lnTo>
                  <a:lnTo>
                    <a:pt x="524" y="76"/>
                  </a:lnTo>
                  <a:lnTo>
                    <a:pt x="526" y="78"/>
                  </a:lnTo>
                  <a:lnTo>
                    <a:pt x="528" y="81"/>
                  </a:lnTo>
                  <a:lnTo>
                    <a:pt x="533" y="85"/>
                  </a:lnTo>
                  <a:lnTo>
                    <a:pt x="538" y="87"/>
                  </a:lnTo>
                  <a:lnTo>
                    <a:pt x="541" y="88"/>
                  </a:lnTo>
                  <a:lnTo>
                    <a:pt x="545" y="89"/>
                  </a:lnTo>
                  <a:lnTo>
                    <a:pt x="548" y="90"/>
                  </a:lnTo>
                  <a:lnTo>
                    <a:pt x="552" y="90"/>
                  </a:lnTo>
                  <a:lnTo>
                    <a:pt x="557" y="89"/>
                  </a:lnTo>
                  <a:lnTo>
                    <a:pt x="563" y="88"/>
                  </a:lnTo>
                  <a:lnTo>
                    <a:pt x="567" y="87"/>
                  </a:lnTo>
                  <a:lnTo>
                    <a:pt x="572" y="84"/>
                  </a:lnTo>
                  <a:lnTo>
                    <a:pt x="575" y="81"/>
                  </a:lnTo>
                  <a:lnTo>
                    <a:pt x="577" y="80"/>
                  </a:lnTo>
                  <a:lnTo>
                    <a:pt x="578" y="78"/>
                  </a:lnTo>
                  <a:lnTo>
                    <a:pt x="581" y="74"/>
                  </a:lnTo>
                  <a:lnTo>
                    <a:pt x="583" y="69"/>
                  </a:lnTo>
                  <a:lnTo>
                    <a:pt x="563" y="69"/>
                  </a:lnTo>
                  <a:lnTo>
                    <a:pt x="561" y="72"/>
                  </a:lnTo>
                  <a:lnTo>
                    <a:pt x="559" y="74"/>
                  </a:lnTo>
                  <a:lnTo>
                    <a:pt x="556" y="75"/>
                  </a:lnTo>
                  <a:lnTo>
                    <a:pt x="552" y="75"/>
                  </a:lnTo>
                  <a:lnTo>
                    <a:pt x="549" y="75"/>
                  </a:lnTo>
                  <a:lnTo>
                    <a:pt x="547" y="74"/>
                  </a:lnTo>
                  <a:lnTo>
                    <a:pt x="545" y="73"/>
                  </a:lnTo>
                  <a:lnTo>
                    <a:pt x="543" y="72"/>
                  </a:lnTo>
                  <a:lnTo>
                    <a:pt x="541" y="70"/>
                  </a:lnTo>
                  <a:lnTo>
                    <a:pt x="540" y="67"/>
                  </a:lnTo>
                  <a:lnTo>
                    <a:pt x="539" y="65"/>
                  </a:lnTo>
                  <a:lnTo>
                    <a:pt x="538" y="62"/>
                  </a:lnTo>
                  <a:lnTo>
                    <a:pt x="583" y="62"/>
                  </a:lnTo>
                  <a:close/>
                  <a:moveTo>
                    <a:pt x="493" y="88"/>
                  </a:moveTo>
                  <a:lnTo>
                    <a:pt x="514" y="24"/>
                  </a:lnTo>
                  <a:lnTo>
                    <a:pt x="494" y="24"/>
                  </a:lnTo>
                  <a:lnTo>
                    <a:pt x="488" y="49"/>
                  </a:lnTo>
                  <a:lnTo>
                    <a:pt x="484" y="67"/>
                  </a:lnTo>
                  <a:lnTo>
                    <a:pt x="479" y="49"/>
                  </a:lnTo>
                  <a:lnTo>
                    <a:pt x="471" y="24"/>
                  </a:lnTo>
                  <a:lnTo>
                    <a:pt x="452" y="24"/>
                  </a:lnTo>
                  <a:lnTo>
                    <a:pt x="475" y="88"/>
                  </a:lnTo>
                  <a:lnTo>
                    <a:pt x="493" y="88"/>
                  </a:lnTo>
                  <a:close/>
                  <a:moveTo>
                    <a:pt x="440" y="0"/>
                  </a:moveTo>
                  <a:lnTo>
                    <a:pt x="421" y="0"/>
                  </a:lnTo>
                  <a:lnTo>
                    <a:pt x="421" y="15"/>
                  </a:lnTo>
                  <a:lnTo>
                    <a:pt x="440" y="15"/>
                  </a:lnTo>
                  <a:lnTo>
                    <a:pt x="440" y="0"/>
                  </a:lnTo>
                  <a:close/>
                  <a:moveTo>
                    <a:pt x="440" y="24"/>
                  </a:moveTo>
                  <a:lnTo>
                    <a:pt x="421" y="24"/>
                  </a:lnTo>
                  <a:lnTo>
                    <a:pt x="421" y="88"/>
                  </a:lnTo>
                  <a:lnTo>
                    <a:pt x="440" y="88"/>
                  </a:lnTo>
                  <a:lnTo>
                    <a:pt x="440" y="24"/>
                  </a:lnTo>
                  <a:close/>
                  <a:moveTo>
                    <a:pt x="405" y="25"/>
                  </a:moveTo>
                  <a:lnTo>
                    <a:pt x="394" y="25"/>
                  </a:lnTo>
                  <a:lnTo>
                    <a:pt x="394" y="5"/>
                  </a:lnTo>
                  <a:lnTo>
                    <a:pt x="375" y="5"/>
                  </a:lnTo>
                  <a:lnTo>
                    <a:pt x="375" y="25"/>
                  </a:lnTo>
                  <a:lnTo>
                    <a:pt x="366" y="25"/>
                  </a:lnTo>
                  <a:lnTo>
                    <a:pt x="366" y="38"/>
                  </a:lnTo>
                  <a:lnTo>
                    <a:pt x="375" y="38"/>
                  </a:lnTo>
                  <a:lnTo>
                    <a:pt x="375" y="67"/>
                  </a:lnTo>
                  <a:lnTo>
                    <a:pt x="375" y="74"/>
                  </a:lnTo>
                  <a:lnTo>
                    <a:pt x="376" y="78"/>
                  </a:lnTo>
                  <a:lnTo>
                    <a:pt x="377" y="81"/>
                  </a:lnTo>
                  <a:lnTo>
                    <a:pt x="378" y="84"/>
                  </a:lnTo>
                  <a:lnTo>
                    <a:pt x="381" y="86"/>
                  </a:lnTo>
                  <a:lnTo>
                    <a:pt x="384" y="87"/>
                  </a:lnTo>
                  <a:lnTo>
                    <a:pt x="388" y="88"/>
                  </a:lnTo>
                  <a:lnTo>
                    <a:pt x="394" y="88"/>
                  </a:lnTo>
                  <a:lnTo>
                    <a:pt x="405" y="88"/>
                  </a:lnTo>
                  <a:lnTo>
                    <a:pt x="405" y="74"/>
                  </a:lnTo>
                  <a:lnTo>
                    <a:pt x="398" y="74"/>
                  </a:lnTo>
                  <a:lnTo>
                    <a:pt x="396" y="74"/>
                  </a:lnTo>
                  <a:lnTo>
                    <a:pt x="394" y="72"/>
                  </a:lnTo>
                  <a:lnTo>
                    <a:pt x="394" y="69"/>
                  </a:lnTo>
                  <a:lnTo>
                    <a:pt x="394" y="63"/>
                  </a:lnTo>
                  <a:lnTo>
                    <a:pt x="394" y="38"/>
                  </a:lnTo>
                  <a:lnTo>
                    <a:pt x="405" y="38"/>
                  </a:lnTo>
                  <a:lnTo>
                    <a:pt x="405" y="25"/>
                  </a:lnTo>
                  <a:close/>
                  <a:moveTo>
                    <a:pt x="353" y="24"/>
                  </a:moveTo>
                  <a:lnTo>
                    <a:pt x="334" y="24"/>
                  </a:lnTo>
                  <a:lnTo>
                    <a:pt x="334" y="60"/>
                  </a:lnTo>
                  <a:lnTo>
                    <a:pt x="334" y="67"/>
                  </a:lnTo>
                  <a:lnTo>
                    <a:pt x="333" y="69"/>
                  </a:lnTo>
                  <a:lnTo>
                    <a:pt x="332" y="70"/>
                  </a:lnTo>
                  <a:lnTo>
                    <a:pt x="331" y="72"/>
                  </a:lnTo>
                  <a:lnTo>
                    <a:pt x="329" y="73"/>
                  </a:lnTo>
                  <a:lnTo>
                    <a:pt x="327" y="74"/>
                  </a:lnTo>
                  <a:lnTo>
                    <a:pt x="324" y="74"/>
                  </a:lnTo>
                  <a:lnTo>
                    <a:pt x="322" y="74"/>
                  </a:lnTo>
                  <a:lnTo>
                    <a:pt x="319" y="73"/>
                  </a:lnTo>
                  <a:lnTo>
                    <a:pt x="317" y="72"/>
                  </a:lnTo>
                  <a:lnTo>
                    <a:pt x="316" y="70"/>
                  </a:lnTo>
                  <a:lnTo>
                    <a:pt x="314" y="67"/>
                  </a:lnTo>
                  <a:lnTo>
                    <a:pt x="314" y="60"/>
                  </a:lnTo>
                  <a:lnTo>
                    <a:pt x="314" y="24"/>
                  </a:lnTo>
                  <a:lnTo>
                    <a:pt x="295" y="24"/>
                  </a:lnTo>
                  <a:lnTo>
                    <a:pt x="295" y="64"/>
                  </a:lnTo>
                  <a:lnTo>
                    <a:pt x="295" y="71"/>
                  </a:lnTo>
                  <a:lnTo>
                    <a:pt x="296" y="76"/>
                  </a:lnTo>
                  <a:lnTo>
                    <a:pt x="297" y="78"/>
                  </a:lnTo>
                  <a:lnTo>
                    <a:pt x="298" y="80"/>
                  </a:lnTo>
                  <a:lnTo>
                    <a:pt x="301" y="83"/>
                  </a:lnTo>
                  <a:lnTo>
                    <a:pt x="305" y="86"/>
                  </a:lnTo>
                  <a:lnTo>
                    <a:pt x="309" y="88"/>
                  </a:lnTo>
                  <a:lnTo>
                    <a:pt x="313" y="89"/>
                  </a:lnTo>
                  <a:lnTo>
                    <a:pt x="318" y="90"/>
                  </a:lnTo>
                  <a:lnTo>
                    <a:pt x="323" y="89"/>
                  </a:lnTo>
                  <a:lnTo>
                    <a:pt x="328" y="88"/>
                  </a:lnTo>
                  <a:lnTo>
                    <a:pt x="332" y="85"/>
                  </a:lnTo>
                  <a:lnTo>
                    <a:pt x="333" y="83"/>
                  </a:lnTo>
                  <a:lnTo>
                    <a:pt x="335" y="81"/>
                  </a:lnTo>
                  <a:lnTo>
                    <a:pt x="335" y="88"/>
                  </a:lnTo>
                  <a:lnTo>
                    <a:pt x="353" y="88"/>
                  </a:lnTo>
                  <a:lnTo>
                    <a:pt x="353" y="24"/>
                  </a:lnTo>
                  <a:close/>
                  <a:moveTo>
                    <a:pt x="282" y="47"/>
                  </a:moveTo>
                  <a:lnTo>
                    <a:pt x="281" y="42"/>
                  </a:lnTo>
                  <a:lnTo>
                    <a:pt x="279" y="37"/>
                  </a:lnTo>
                  <a:lnTo>
                    <a:pt x="276" y="33"/>
                  </a:lnTo>
                  <a:lnTo>
                    <a:pt x="273" y="29"/>
                  </a:lnTo>
                  <a:lnTo>
                    <a:pt x="269" y="26"/>
                  </a:lnTo>
                  <a:lnTo>
                    <a:pt x="264" y="24"/>
                  </a:lnTo>
                  <a:lnTo>
                    <a:pt x="259" y="23"/>
                  </a:lnTo>
                  <a:lnTo>
                    <a:pt x="253" y="23"/>
                  </a:lnTo>
                  <a:lnTo>
                    <a:pt x="245" y="23"/>
                  </a:lnTo>
                  <a:lnTo>
                    <a:pt x="239" y="25"/>
                  </a:lnTo>
                  <a:lnTo>
                    <a:pt x="233" y="28"/>
                  </a:lnTo>
                  <a:lnTo>
                    <a:pt x="231" y="29"/>
                  </a:lnTo>
                  <a:lnTo>
                    <a:pt x="229" y="32"/>
                  </a:lnTo>
                  <a:lnTo>
                    <a:pt x="227" y="34"/>
                  </a:lnTo>
                  <a:lnTo>
                    <a:pt x="225" y="36"/>
                  </a:lnTo>
                  <a:lnTo>
                    <a:pt x="222" y="42"/>
                  </a:lnTo>
                  <a:lnTo>
                    <a:pt x="221" y="49"/>
                  </a:lnTo>
                  <a:lnTo>
                    <a:pt x="220" y="56"/>
                  </a:lnTo>
                  <a:lnTo>
                    <a:pt x="221" y="64"/>
                  </a:lnTo>
                  <a:lnTo>
                    <a:pt x="221" y="67"/>
                  </a:lnTo>
                  <a:lnTo>
                    <a:pt x="222" y="70"/>
                  </a:lnTo>
                  <a:lnTo>
                    <a:pt x="225" y="76"/>
                  </a:lnTo>
                  <a:lnTo>
                    <a:pt x="227" y="79"/>
                  </a:lnTo>
                  <a:lnTo>
                    <a:pt x="229" y="81"/>
                  </a:lnTo>
                  <a:lnTo>
                    <a:pt x="233" y="85"/>
                  </a:lnTo>
                  <a:lnTo>
                    <a:pt x="239" y="88"/>
                  </a:lnTo>
                  <a:lnTo>
                    <a:pt x="245" y="89"/>
                  </a:lnTo>
                  <a:lnTo>
                    <a:pt x="248" y="90"/>
                  </a:lnTo>
                  <a:lnTo>
                    <a:pt x="252" y="90"/>
                  </a:lnTo>
                  <a:lnTo>
                    <a:pt x="258" y="89"/>
                  </a:lnTo>
                  <a:lnTo>
                    <a:pt x="264" y="88"/>
                  </a:lnTo>
                  <a:lnTo>
                    <a:pt x="268" y="86"/>
                  </a:lnTo>
                  <a:lnTo>
                    <a:pt x="273" y="83"/>
                  </a:lnTo>
                  <a:lnTo>
                    <a:pt x="276" y="80"/>
                  </a:lnTo>
                  <a:lnTo>
                    <a:pt x="279" y="75"/>
                  </a:lnTo>
                  <a:lnTo>
                    <a:pt x="281" y="70"/>
                  </a:lnTo>
                  <a:lnTo>
                    <a:pt x="283" y="65"/>
                  </a:lnTo>
                  <a:lnTo>
                    <a:pt x="264" y="64"/>
                  </a:lnTo>
                  <a:lnTo>
                    <a:pt x="264" y="66"/>
                  </a:lnTo>
                  <a:lnTo>
                    <a:pt x="263" y="69"/>
                  </a:lnTo>
                  <a:lnTo>
                    <a:pt x="260" y="72"/>
                  </a:lnTo>
                  <a:lnTo>
                    <a:pt x="259" y="73"/>
                  </a:lnTo>
                  <a:lnTo>
                    <a:pt x="257" y="74"/>
                  </a:lnTo>
                  <a:lnTo>
                    <a:pt x="255" y="74"/>
                  </a:lnTo>
                  <a:lnTo>
                    <a:pt x="252" y="75"/>
                  </a:lnTo>
                  <a:lnTo>
                    <a:pt x="249" y="74"/>
                  </a:lnTo>
                  <a:lnTo>
                    <a:pt x="247" y="73"/>
                  </a:lnTo>
                  <a:lnTo>
                    <a:pt x="244" y="72"/>
                  </a:lnTo>
                  <a:lnTo>
                    <a:pt x="243" y="70"/>
                  </a:lnTo>
                  <a:lnTo>
                    <a:pt x="241" y="67"/>
                  </a:lnTo>
                  <a:lnTo>
                    <a:pt x="240" y="64"/>
                  </a:lnTo>
                  <a:lnTo>
                    <a:pt x="239" y="60"/>
                  </a:lnTo>
                  <a:lnTo>
                    <a:pt x="239" y="56"/>
                  </a:lnTo>
                  <a:lnTo>
                    <a:pt x="239" y="52"/>
                  </a:lnTo>
                  <a:lnTo>
                    <a:pt x="240" y="50"/>
                  </a:lnTo>
                  <a:lnTo>
                    <a:pt x="240" y="48"/>
                  </a:lnTo>
                  <a:lnTo>
                    <a:pt x="241" y="45"/>
                  </a:lnTo>
                  <a:lnTo>
                    <a:pt x="242" y="42"/>
                  </a:lnTo>
                  <a:lnTo>
                    <a:pt x="244" y="40"/>
                  </a:lnTo>
                  <a:lnTo>
                    <a:pt x="247" y="39"/>
                  </a:lnTo>
                  <a:lnTo>
                    <a:pt x="249" y="38"/>
                  </a:lnTo>
                  <a:lnTo>
                    <a:pt x="252" y="38"/>
                  </a:lnTo>
                  <a:lnTo>
                    <a:pt x="257" y="38"/>
                  </a:lnTo>
                  <a:lnTo>
                    <a:pt x="260" y="40"/>
                  </a:lnTo>
                  <a:lnTo>
                    <a:pt x="262" y="42"/>
                  </a:lnTo>
                  <a:lnTo>
                    <a:pt x="263" y="43"/>
                  </a:lnTo>
                  <a:lnTo>
                    <a:pt x="264" y="47"/>
                  </a:lnTo>
                  <a:lnTo>
                    <a:pt x="282" y="47"/>
                  </a:lnTo>
                  <a:close/>
                  <a:moveTo>
                    <a:pt x="164" y="48"/>
                  </a:moveTo>
                  <a:lnTo>
                    <a:pt x="165" y="46"/>
                  </a:lnTo>
                  <a:lnTo>
                    <a:pt x="166" y="43"/>
                  </a:lnTo>
                  <a:lnTo>
                    <a:pt x="167" y="41"/>
                  </a:lnTo>
                  <a:lnTo>
                    <a:pt x="169" y="40"/>
                  </a:lnTo>
                  <a:lnTo>
                    <a:pt x="171" y="38"/>
                  </a:lnTo>
                  <a:lnTo>
                    <a:pt x="173" y="38"/>
                  </a:lnTo>
                  <a:lnTo>
                    <a:pt x="178" y="37"/>
                  </a:lnTo>
                  <a:lnTo>
                    <a:pt x="183" y="38"/>
                  </a:lnTo>
                  <a:lnTo>
                    <a:pt x="185" y="38"/>
                  </a:lnTo>
                  <a:lnTo>
                    <a:pt x="186" y="40"/>
                  </a:lnTo>
                  <a:lnTo>
                    <a:pt x="188" y="41"/>
                  </a:lnTo>
                  <a:lnTo>
                    <a:pt x="189" y="43"/>
                  </a:lnTo>
                  <a:lnTo>
                    <a:pt x="190" y="46"/>
                  </a:lnTo>
                  <a:lnTo>
                    <a:pt x="190" y="48"/>
                  </a:lnTo>
                  <a:lnTo>
                    <a:pt x="164" y="48"/>
                  </a:lnTo>
                  <a:close/>
                  <a:moveTo>
                    <a:pt x="209" y="62"/>
                  </a:moveTo>
                  <a:lnTo>
                    <a:pt x="209" y="56"/>
                  </a:lnTo>
                  <a:lnTo>
                    <a:pt x="209" y="50"/>
                  </a:lnTo>
                  <a:lnTo>
                    <a:pt x="208" y="46"/>
                  </a:lnTo>
                  <a:lnTo>
                    <a:pt x="206" y="41"/>
                  </a:lnTo>
                  <a:lnTo>
                    <a:pt x="204" y="37"/>
                  </a:lnTo>
                  <a:lnTo>
                    <a:pt x="202" y="33"/>
                  </a:lnTo>
                  <a:lnTo>
                    <a:pt x="199" y="30"/>
                  </a:lnTo>
                  <a:lnTo>
                    <a:pt x="195" y="27"/>
                  </a:lnTo>
                  <a:lnTo>
                    <a:pt x="192" y="25"/>
                  </a:lnTo>
                  <a:lnTo>
                    <a:pt x="187" y="24"/>
                  </a:lnTo>
                  <a:lnTo>
                    <a:pt x="183" y="23"/>
                  </a:lnTo>
                  <a:lnTo>
                    <a:pt x="178" y="23"/>
                  </a:lnTo>
                  <a:lnTo>
                    <a:pt x="171" y="23"/>
                  </a:lnTo>
                  <a:lnTo>
                    <a:pt x="165" y="25"/>
                  </a:lnTo>
                  <a:lnTo>
                    <a:pt x="162" y="26"/>
                  </a:lnTo>
                  <a:lnTo>
                    <a:pt x="159" y="28"/>
                  </a:lnTo>
                  <a:lnTo>
                    <a:pt x="154" y="32"/>
                  </a:lnTo>
                  <a:lnTo>
                    <a:pt x="152" y="34"/>
                  </a:lnTo>
                  <a:lnTo>
                    <a:pt x="150" y="37"/>
                  </a:lnTo>
                  <a:lnTo>
                    <a:pt x="148" y="43"/>
                  </a:lnTo>
                  <a:lnTo>
                    <a:pt x="146" y="49"/>
                  </a:lnTo>
                  <a:lnTo>
                    <a:pt x="145" y="53"/>
                  </a:lnTo>
                  <a:lnTo>
                    <a:pt x="145" y="56"/>
                  </a:lnTo>
                  <a:lnTo>
                    <a:pt x="146" y="63"/>
                  </a:lnTo>
                  <a:lnTo>
                    <a:pt x="148" y="70"/>
                  </a:lnTo>
                  <a:lnTo>
                    <a:pt x="150" y="76"/>
                  </a:lnTo>
                  <a:lnTo>
                    <a:pt x="152" y="78"/>
                  </a:lnTo>
                  <a:lnTo>
                    <a:pt x="154" y="81"/>
                  </a:lnTo>
                  <a:lnTo>
                    <a:pt x="159" y="85"/>
                  </a:lnTo>
                  <a:lnTo>
                    <a:pt x="165" y="87"/>
                  </a:lnTo>
                  <a:lnTo>
                    <a:pt x="168" y="88"/>
                  </a:lnTo>
                  <a:lnTo>
                    <a:pt x="171" y="89"/>
                  </a:lnTo>
                  <a:lnTo>
                    <a:pt x="174" y="90"/>
                  </a:lnTo>
                  <a:lnTo>
                    <a:pt x="178" y="90"/>
                  </a:lnTo>
                  <a:lnTo>
                    <a:pt x="184" y="89"/>
                  </a:lnTo>
                  <a:lnTo>
                    <a:pt x="189" y="88"/>
                  </a:lnTo>
                  <a:lnTo>
                    <a:pt x="193" y="87"/>
                  </a:lnTo>
                  <a:lnTo>
                    <a:pt x="198" y="84"/>
                  </a:lnTo>
                  <a:lnTo>
                    <a:pt x="201" y="81"/>
                  </a:lnTo>
                  <a:lnTo>
                    <a:pt x="203" y="80"/>
                  </a:lnTo>
                  <a:lnTo>
                    <a:pt x="205" y="78"/>
                  </a:lnTo>
                  <a:lnTo>
                    <a:pt x="207" y="74"/>
                  </a:lnTo>
                  <a:lnTo>
                    <a:pt x="209" y="69"/>
                  </a:lnTo>
                  <a:lnTo>
                    <a:pt x="190" y="69"/>
                  </a:lnTo>
                  <a:lnTo>
                    <a:pt x="188" y="72"/>
                  </a:lnTo>
                  <a:lnTo>
                    <a:pt x="185" y="74"/>
                  </a:lnTo>
                  <a:lnTo>
                    <a:pt x="182" y="75"/>
                  </a:lnTo>
                  <a:lnTo>
                    <a:pt x="178" y="75"/>
                  </a:lnTo>
                  <a:lnTo>
                    <a:pt x="176" y="75"/>
                  </a:lnTo>
                  <a:lnTo>
                    <a:pt x="173" y="74"/>
                  </a:lnTo>
                  <a:lnTo>
                    <a:pt x="171" y="73"/>
                  </a:lnTo>
                  <a:lnTo>
                    <a:pt x="169" y="72"/>
                  </a:lnTo>
                  <a:lnTo>
                    <a:pt x="167" y="70"/>
                  </a:lnTo>
                  <a:lnTo>
                    <a:pt x="166" y="67"/>
                  </a:lnTo>
                  <a:lnTo>
                    <a:pt x="165" y="65"/>
                  </a:lnTo>
                  <a:lnTo>
                    <a:pt x="164" y="62"/>
                  </a:lnTo>
                  <a:lnTo>
                    <a:pt x="209" y="62"/>
                  </a:lnTo>
                  <a:close/>
                  <a:moveTo>
                    <a:pt x="118" y="55"/>
                  </a:moveTo>
                  <a:lnTo>
                    <a:pt x="139" y="24"/>
                  </a:lnTo>
                  <a:lnTo>
                    <a:pt x="118" y="24"/>
                  </a:lnTo>
                  <a:lnTo>
                    <a:pt x="108" y="40"/>
                  </a:lnTo>
                  <a:lnTo>
                    <a:pt x="98" y="24"/>
                  </a:lnTo>
                  <a:lnTo>
                    <a:pt x="77" y="24"/>
                  </a:lnTo>
                  <a:lnTo>
                    <a:pt x="98" y="55"/>
                  </a:lnTo>
                  <a:lnTo>
                    <a:pt x="75" y="88"/>
                  </a:lnTo>
                  <a:lnTo>
                    <a:pt x="96" y="88"/>
                  </a:lnTo>
                  <a:lnTo>
                    <a:pt x="108" y="70"/>
                  </a:lnTo>
                  <a:lnTo>
                    <a:pt x="120" y="88"/>
                  </a:lnTo>
                  <a:lnTo>
                    <a:pt x="142" y="88"/>
                  </a:lnTo>
                  <a:lnTo>
                    <a:pt x="118" y="55"/>
                  </a:lnTo>
                  <a:close/>
                  <a:moveTo>
                    <a:pt x="66" y="0"/>
                  </a:moveTo>
                  <a:lnTo>
                    <a:pt x="0" y="0"/>
                  </a:lnTo>
                  <a:lnTo>
                    <a:pt x="0" y="88"/>
                  </a:lnTo>
                  <a:lnTo>
                    <a:pt x="67" y="88"/>
                  </a:lnTo>
                  <a:lnTo>
                    <a:pt x="67" y="71"/>
                  </a:lnTo>
                  <a:lnTo>
                    <a:pt x="20" y="71"/>
                  </a:lnTo>
                  <a:lnTo>
                    <a:pt x="20" y="50"/>
                  </a:lnTo>
                  <a:lnTo>
                    <a:pt x="60" y="50"/>
                  </a:lnTo>
                  <a:lnTo>
                    <a:pt x="60" y="34"/>
                  </a:lnTo>
                  <a:lnTo>
                    <a:pt x="20" y="34"/>
                  </a:lnTo>
                  <a:lnTo>
                    <a:pt x="20" y="17"/>
                  </a:lnTo>
                  <a:lnTo>
                    <a:pt x="66" y="17"/>
                  </a:lnTo>
                  <a:lnTo>
                    <a:pt x="66" y="0"/>
                  </a:lnTo>
                  <a:close/>
                </a:path>
              </a:pathLst>
            </a:custGeom>
            <a:solidFill>
              <a:srgbClr val="928B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15" name="Freeform 8"/>
            <p:cNvSpPr>
              <a:spLocks noEditPoints="1"/>
            </p:cNvSpPr>
            <p:nvPr userDrawn="1"/>
          </p:nvSpPr>
          <p:spPr bwMode="auto">
            <a:xfrm>
              <a:off x="4067175" y="114301"/>
              <a:ext cx="566738" cy="560388"/>
            </a:xfrm>
            <a:custGeom>
              <a:avLst/>
              <a:gdLst>
                <a:gd name="T0" fmla="*/ 223 w 357"/>
                <a:gd name="T1" fmla="*/ 220 h 353"/>
                <a:gd name="T2" fmla="*/ 134 w 357"/>
                <a:gd name="T3" fmla="*/ 220 h 353"/>
                <a:gd name="T4" fmla="*/ 179 w 357"/>
                <a:gd name="T5" fmla="*/ 100 h 353"/>
                <a:gd name="T6" fmla="*/ 223 w 357"/>
                <a:gd name="T7" fmla="*/ 220 h 353"/>
                <a:gd name="T8" fmla="*/ 357 w 357"/>
                <a:gd name="T9" fmla="*/ 353 h 353"/>
                <a:gd name="T10" fmla="*/ 230 w 357"/>
                <a:gd name="T11" fmla="*/ 0 h 353"/>
                <a:gd name="T12" fmla="*/ 127 w 357"/>
                <a:gd name="T13" fmla="*/ 0 h 353"/>
                <a:gd name="T14" fmla="*/ 0 w 357"/>
                <a:gd name="T15" fmla="*/ 353 h 353"/>
                <a:gd name="T16" fmla="*/ 91 w 357"/>
                <a:gd name="T17" fmla="*/ 353 h 353"/>
                <a:gd name="T18" fmla="*/ 113 w 357"/>
                <a:gd name="T19" fmla="*/ 291 h 353"/>
                <a:gd name="T20" fmla="*/ 245 w 357"/>
                <a:gd name="T21" fmla="*/ 291 h 353"/>
                <a:gd name="T22" fmla="*/ 267 w 357"/>
                <a:gd name="T23" fmla="*/ 353 h 353"/>
                <a:gd name="T24" fmla="*/ 357 w 357"/>
                <a:gd name="T25"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7" h="353">
                  <a:moveTo>
                    <a:pt x="223" y="220"/>
                  </a:moveTo>
                  <a:lnTo>
                    <a:pt x="134" y="220"/>
                  </a:lnTo>
                  <a:lnTo>
                    <a:pt x="179" y="100"/>
                  </a:lnTo>
                  <a:lnTo>
                    <a:pt x="223" y="220"/>
                  </a:lnTo>
                  <a:close/>
                  <a:moveTo>
                    <a:pt x="357" y="353"/>
                  </a:moveTo>
                  <a:lnTo>
                    <a:pt x="230" y="0"/>
                  </a:lnTo>
                  <a:lnTo>
                    <a:pt x="127" y="0"/>
                  </a:lnTo>
                  <a:lnTo>
                    <a:pt x="0" y="353"/>
                  </a:lnTo>
                  <a:lnTo>
                    <a:pt x="91" y="353"/>
                  </a:lnTo>
                  <a:lnTo>
                    <a:pt x="113" y="291"/>
                  </a:lnTo>
                  <a:lnTo>
                    <a:pt x="245" y="291"/>
                  </a:lnTo>
                  <a:lnTo>
                    <a:pt x="267" y="353"/>
                  </a:lnTo>
                  <a:lnTo>
                    <a:pt x="357" y="353"/>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sp>
          <p:nvSpPr>
            <p:cNvPr id="16" name="Freeform 9"/>
            <p:cNvSpPr>
              <a:spLocks noEditPoints="1"/>
            </p:cNvSpPr>
            <p:nvPr userDrawn="1"/>
          </p:nvSpPr>
          <p:spPr bwMode="auto">
            <a:xfrm>
              <a:off x="4686300" y="114301"/>
              <a:ext cx="858838" cy="560388"/>
            </a:xfrm>
            <a:custGeom>
              <a:avLst/>
              <a:gdLst>
                <a:gd name="T0" fmla="*/ 541 w 541"/>
                <a:gd name="T1" fmla="*/ 75 h 353"/>
                <a:gd name="T2" fmla="*/ 541 w 541"/>
                <a:gd name="T3" fmla="*/ 0 h 353"/>
                <a:gd name="T4" fmla="*/ 303 w 541"/>
                <a:gd name="T5" fmla="*/ 0 h 353"/>
                <a:gd name="T6" fmla="*/ 303 w 541"/>
                <a:gd name="T7" fmla="*/ 353 h 353"/>
                <a:gd name="T8" fmla="*/ 541 w 541"/>
                <a:gd name="T9" fmla="*/ 353 h 353"/>
                <a:gd name="T10" fmla="*/ 541 w 541"/>
                <a:gd name="T11" fmla="*/ 278 h 353"/>
                <a:gd name="T12" fmla="*/ 388 w 541"/>
                <a:gd name="T13" fmla="*/ 278 h 353"/>
                <a:gd name="T14" fmla="*/ 388 w 541"/>
                <a:gd name="T15" fmla="*/ 210 h 353"/>
                <a:gd name="T16" fmla="*/ 536 w 541"/>
                <a:gd name="T17" fmla="*/ 210 h 353"/>
                <a:gd name="T18" fmla="*/ 536 w 541"/>
                <a:gd name="T19" fmla="*/ 139 h 353"/>
                <a:gd name="T20" fmla="*/ 388 w 541"/>
                <a:gd name="T21" fmla="*/ 139 h 353"/>
                <a:gd name="T22" fmla="*/ 388 w 541"/>
                <a:gd name="T23" fmla="*/ 75 h 353"/>
                <a:gd name="T24" fmla="*/ 541 w 541"/>
                <a:gd name="T25" fmla="*/ 75 h 353"/>
                <a:gd name="T26" fmla="*/ 239 w 541"/>
                <a:gd name="T27" fmla="*/ 75 h 353"/>
                <a:gd name="T28" fmla="*/ 239 w 541"/>
                <a:gd name="T29" fmla="*/ 0 h 353"/>
                <a:gd name="T30" fmla="*/ 0 w 541"/>
                <a:gd name="T31" fmla="*/ 0 h 353"/>
                <a:gd name="T32" fmla="*/ 0 w 541"/>
                <a:gd name="T33" fmla="*/ 353 h 353"/>
                <a:gd name="T34" fmla="*/ 239 w 541"/>
                <a:gd name="T35" fmla="*/ 353 h 353"/>
                <a:gd name="T36" fmla="*/ 239 w 541"/>
                <a:gd name="T37" fmla="*/ 278 h 353"/>
                <a:gd name="T38" fmla="*/ 85 w 541"/>
                <a:gd name="T39" fmla="*/ 278 h 353"/>
                <a:gd name="T40" fmla="*/ 85 w 541"/>
                <a:gd name="T41" fmla="*/ 210 h 353"/>
                <a:gd name="T42" fmla="*/ 235 w 541"/>
                <a:gd name="T43" fmla="*/ 210 h 353"/>
                <a:gd name="T44" fmla="*/ 235 w 541"/>
                <a:gd name="T45" fmla="*/ 139 h 353"/>
                <a:gd name="T46" fmla="*/ 85 w 541"/>
                <a:gd name="T47" fmla="*/ 139 h 353"/>
                <a:gd name="T48" fmla="*/ 85 w 541"/>
                <a:gd name="T49" fmla="*/ 75 h 353"/>
                <a:gd name="T50" fmla="*/ 239 w 541"/>
                <a:gd name="T51" fmla="*/ 75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1" h="353">
                  <a:moveTo>
                    <a:pt x="541" y="75"/>
                  </a:moveTo>
                  <a:lnTo>
                    <a:pt x="541" y="0"/>
                  </a:lnTo>
                  <a:lnTo>
                    <a:pt x="303" y="0"/>
                  </a:lnTo>
                  <a:lnTo>
                    <a:pt x="303" y="353"/>
                  </a:lnTo>
                  <a:lnTo>
                    <a:pt x="541" y="353"/>
                  </a:lnTo>
                  <a:lnTo>
                    <a:pt x="541" y="278"/>
                  </a:lnTo>
                  <a:lnTo>
                    <a:pt x="388" y="278"/>
                  </a:lnTo>
                  <a:lnTo>
                    <a:pt x="388" y="210"/>
                  </a:lnTo>
                  <a:lnTo>
                    <a:pt x="536" y="210"/>
                  </a:lnTo>
                  <a:lnTo>
                    <a:pt x="536" y="139"/>
                  </a:lnTo>
                  <a:lnTo>
                    <a:pt x="388" y="139"/>
                  </a:lnTo>
                  <a:lnTo>
                    <a:pt x="388" y="75"/>
                  </a:lnTo>
                  <a:lnTo>
                    <a:pt x="541" y="75"/>
                  </a:lnTo>
                  <a:close/>
                  <a:moveTo>
                    <a:pt x="239" y="75"/>
                  </a:moveTo>
                  <a:lnTo>
                    <a:pt x="239" y="0"/>
                  </a:lnTo>
                  <a:lnTo>
                    <a:pt x="0" y="0"/>
                  </a:lnTo>
                  <a:lnTo>
                    <a:pt x="0" y="353"/>
                  </a:lnTo>
                  <a:lnTo>
                    <a:pt x="239" y="353"/>
                  </a:lnTo>
                  <a:lnTo>
                    <a:pt x="239" y="278"/>
                  </a:lnTo>
                  <a:lnTo>
                    <a:pt x="85" y="278"/>
                  </a:lnTo>
                  <a:lnTo>
                    <a:pt x="85" y="210"/>
                  </a:lnTo>
                  <a:lnTo>
                    <a:pt x="235" y="210"/>
                  </a:lnTo>
                  <a:lnTo>
                    <a:pt x="235" y="139"/>
                  </a:lnTo>
                  <a:lnTo>
                    <a:pt x="85" y="139"/>
                  </a:lnTo>
                  <a:lnTo>
                    <a:pt x="85" y="75"/>
                  </a:lnTo>
                  <a:lnTo>
                    <a:pt x="239" y="75"/>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012"/>
            </a:p>
          </p:txBody>
        </p:sp>
      </p:grpSp>
      <p:sp>
        <p:nvSpPr>
          <p:cNvPr id="17" name="(c)" hidden="1"/>
          <p:cNvSpPr txBox="1"/>
          <p:nvPr userDrawn="1"/>
        </p:nvSpPr>
        <p:spPr>
          <a:xfrm>
            <a:off x="8971478" y="5168847"/>
            <a:ext cx="165110" cy="23083"/>
          </a:xfrm>
          <a:prstGeom prst="rect">
            <a:avLst/>
          </a:prstGeom>
          <a:noFill/>
        </p:spPr>
        <p:txBody>
          <a:bodyPr wrap="none" lIns="0" tIns="0" rIns="0" bIns="0" rtlCol="0">
            <a:spAutoFit/>
          </a:bodyPr>
          <a:lstStyle/>
          <a:p>
            <a:pPr algn="r"/>
            <a:r>
              <a:rPr lang="fi-FI" sz="150" dirty="0">
                <a:solidFill>
                  <a:schemeClr val="bg1"/>
                </a:solidFill>
                <a:latin typeface="+mn-lt"/>
              </a:rPr>
              <a:t>©grow. for</a:t>
            </a:r>
            <a:r>
              <a:rPr lang="fi-FI" sz="150" baseline="0" dirty="0">
                <a:solidFill>
                  <a:schemeClr val="bg1"/>
                </a:solidFill>
                <a:latin typeface="+mn-lt"/>
              </a:rPr>
              <a:t> aalto ee</a:t>
            </a:r>
            <a:endParaRPr lang="en-GB" sz="150" dirty="0" err="1">
              <a:solidFill>
                <a:schemeClr val="bg1"/>
              </a:solidFill>
              <a:latin typeface="+mn-lt"/>
            </a:endParaRPr>
          </a:p>
        </p:txBody>
      </p:sp>
      <p:pic>
        <p:nvPicPr>
          <p:cNvPr id="18" name="(logo)" descr="Z:\GRW (grow)\logot\copyright_grow.png" hidden="1"/>
          <p:cNvPicPr>
            <a:picLocks noChangeAspect="1" noChangeArrowheads="1"/>
          </p:cNvPicPr>
          <p:nvPr userDrawn="1"/>
        </p:nvPicPr>
        <p:blipFill>
          <a:blip r:embed="rId33" cstate="print">
            <a:extLst>
              <a:ext uri="{28A0092B-C50C-407E-A947-70E740481C1C}">
                <a14:useLocalDpi xmlns:a14="http://schemas.microsoft.com/office/drawing/2010/main" val="0"/>
              </a:ext>
            </a:extLst>
          </a:blip>
          <a:srcRect/>
          <a:stretch>
            <a:fillRect/>
          </a:stretch>
        </p:blipFill>
        <p:spPr bwMode="auto">
          <a:xfrm>
            <a:off x="0" y="-27000"/>
            <a:ext cx="45184" cy="13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16173704"/>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749" r:id="rId10"/>
    <p:sldLayoutId id="2147483750" r:id="rId11"/>
    <p:sldLayoutId id="2147483751" r:id="rId12"/>
    <p:sldLayoutId id="2147483752" r:id="rId13"/>
    <p:sldLayoutId id="2147483753" r:id="rId14"/>
    <p:sldLayoutId id="2147483754" r:id="rId15"/>
    <p:sldLayoutId id="2147483755" r:id="rId16"/>
    <p:sldLayoutId id="2147483756" r:id="rId17"/>
    <p:sldLayoutId id="2147483757" r:id="rId18"/>
    <p:sldLayoutId id="2147483758" r:id="rId19"/>
    <p:sldLayoutId id="2147483759" r:id="rId20"/>
    <p:sldLayoutId id="2147483760" r:id="rId21"/>
    <p:sldLayoutId id="2147483761" r:id="rId22"/>
    <p:sldLayoutId id="2147483762" r:id="rId23"/>
    <p:sldLayoutId id="2147483763" r:id="rId24"/>
    <p:sldLayoutId id="2147483764" r:id="rId25"/>
    <p:sldLayoutId id="2147483765" r:id="rId26"/>
    <p:sldLayoutId id="2147483766" r:id="rId27"/>
    <p:sldLayoutId id="2147483767" r:id="rId28"/>
    <p:sldLayoutId id="2147483768" r:id="rId29"/>
    <p:sldLayoutId id="2147483769" r:id="rId30"/>
    <p:sldLayoutId id="2147483770" r:id="rId31"/>
  </p:sldLayoutIdLst>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hf hdr="0" dt="0"/>
  <p:txStyles>
    <p:titleStyle>
      <a:lvl1pPr algn="l" defTabSz="685617" rtl="0" eaLnBrk="1" latinLnBrk="0" hangingPunct="1">
        <a:lnSpc>
          <a:spcPct val="90000"/>
        </a:lnSpc>
        <a:spcBef>
          <a:spcPct val="0"/>
        </a:spcBef>
        <a:buNone/>
        <a:defRPr sz="3299" b="1" kern="1200" spc="-22" baseline="0">
          <a:solidFill>
            <a:schemeClr val="bg1"/>
          </a:solidFill>
          <a:latin typeface="+mj-lt"/>
          <a:ea typeface="+mj-ea"/>
          <a:cs typeface="+mj-cs"/>
        </a:defRPr>
      </a:lvl1pPr>
    </p:titleStyle>
    <p:bodyStyle>
      <a:lvl1pPr marL="199972" indent="-199972" algn="l" defTabSz="685617" rtl="0" eaLnBrk="1" latinLnBrk="0" hangingPunct="1">
        <a:spcBef>
          <a:spcPts val="0"/>
        </a:spcBef>
        <a:spcAft>
          <a:spcPts val="450"/>
        </a:spcAft>
        <a:buFont typeface="Arial" pitchFamily="34" charset="0"/>
        <a:buChar char="•"/>
        <a:defRPr sz="1500" kern="1200">
          <a:solidFill>
            <a:schemeClr val="tx1"/>
          </a:solidFill>
          <a:latin typeface="+mn-lt"/>
          <a:ea typeface="+mn-ea"/>
          <a:cs typeface="+mn-cs"/>
        </a:defRPr>
      </a:lvl1pPr>
      <a:lvl2pPr marL="404705" indent="-204733" algn="l" defTabSz="685617" rtl="0" eaLnBrk="1" latinLnBrk="0" hangingPunct="1">
        <a:spcBef>
          <a:spcPts val="0"/>
        </a:spcBef>
        <a:spcAft>
          <a:spcPts val="450"/>
        </a:spcAft>
        <a:buFont typeface="Arial" pitchFamily="34" charset="0"/>
        <a:buChar char="–"/>
        <a:defRPr sz="1350" kern="1200">
          <a:solidFill>
            <a:schemeClr val="tx1"/>
          </a:solidFill>
          <a:latin typeface="+mn-lt"/>
          <a:ea typeface="+mn-ea"/>
          <a:cs typeface="+mn-cs"/>
        </a:defRPr>
      </a:lvl2pPr>
      <a:lvl3pPr marL="604676" indent="-199972" algn="l" defTabSz="685617" rtl="0" eaLnBrk="1" latinLnBrk="0" hangingPunct="1">
        <a:spcBef>
          <a:spcPts val="0"/>
        </a:spcBef>
        <a:spcAft>
          <a:spcPts val="450"/>
        </a:spcAft>
        <a:buFont typeface="Arial" pitchFamily="34" charset="0"/>
        <a:buChar char="•"/>
        <a:defRPr sz="1200" kern="1200">
          <a:solidFill>
            <a:schemeClr val="tx1"/>
          </a:solidFill>
          <a:latin typeface="+mn-lt"/>
          <a:ea typeface="+mn-ea"/>
          <a:cs typeface="+mn-cs"/>
        </a:defRPr>
      </a:lvl3pPr>
      <a:lvl4pPr marL="803458" indent="-198782" algn="l" defTabSz="685617" rtl="0" eaLnBrk="1" latinLnBrk="0" hangingPunct="1">
        <a:spcBef>
          <a:spcPts val="0"/>
        </a:spcBef>
        <a:spcAft>
          <a:spcPts val="450"/>
        </a:spcAft>
        <a:buFont typeface="Arial" pitchFamily="34" charset="0"/>
        <a:buChar char="–"/>
        <a:defRPr sz="1050" kern="1200">
          <a:solidFill>
            <a:schemeClr val="tx1"/>
          </a:solidFill>
          <a:latin typeface="+mn-lt"/>
          <a:ea typeface="+mn-ea"/>
          <a:cs typeface="+mn-cs"/>
        </a:defRPr>
      </a:lvl4pPr>
      <a:lvl5pPr marL="1009381" indent="-205924" algn="l" defTabSz="685617" rtl="0" eaLnBrk="1" latinLnBrk="0" hangingPunct="1">
        <a:spcBef>
          <a:spcPts val="0"/>
        </a:spcBef>
        <a:spcAft>
          <a:spcPts val="450"/>
        </a:spcAft>
        <a:buFont typeface="Arial" pitchFamily="34" charset="0"/>
        <a:buChar char="•"/>
        <a:defRPr sz="1050" kern="1200">
          <a:solidFill>
            <a:schemeClr val="tx1"/>
          </a:solidFill>
          <a:latin typeface="+mn-lt"/>
          <a:ea typeface="+mn-ea"/>
          <a:cs typeface="+mn-cs"/>
        </a:defRPr>
      </a:lvl5pPr>
      <a:lvl6pPr marL="1209352" indent="-199972" algn="l" defTabSz="685617" rtl="0" eaLnBrk="1" latinLnBrk="0" hangingPunct="1">
        <a:spcBef>
          <a:spcPct val="20000"/>
        </a:spcBef>
        <a:buFont typeface="Arial" pitchFamily="34" charset="0"/>
        <a:buChar char="•"/>
        <a:defRPr sz="900" kern="1200">
          <a:solidFill>
            <a:schemeClr val="tx1"/>
          </a:solidFill>
          <a:latin typeface="+mn-lt"/>
          <a:ea typeface="+mn-ea"/>
          <a:cs typeface="+mn-cs"/>
        </a:defRPr>
      </a:lvl6pPr>
      <a:lvl7pPr marL="1408134" indent="-198782" algn="l" defTabSz="685617" rtl="0" eaLnBrk="1" latinLnBrk="0" hangingPunct="1">
        <a:spcBef>
          <a:spcPct val="20000"/>
        </a:spcBef>
        <a:buFont typeface="Arial" pitchFamily="34" charset="0"/>
        <a:buChar char="•"/>
        <a:defRPr sz="900" kern="1200">
          <a:solidFill>
            <a:schemeClr val="tx1"/>
          </a:solidFill>
          <a:latin typeface="+mn-lt"/>
          <a:ea typeface="+mn-ea"/>
          <a:cs typeface="+mn-cs"/>
        </a:defRPr>
      </a:lvl7pPr>
      <a:lvl8pPr marL="1614057" indent="-205924" algn="l" defTabSz="685617" rtl="0" eaLnBrk="1" latinLnBrk="0" hangingPunct="1">
        <a:spcBef>
          <a:spcPct val="20000"/>
        </a:spcBef>
        <a:buFont typeface="Arial" pitchFamily="34" charset="0"/>
        <a:buChar char="•"/>
        <a:defRPr sz="900" kern="1200">
          <a:solidFill>
            <a:schemeClr val="tx1"/>
          </a:solidFill>
          <a:latin typeface="+mn-lt"/>
          <a:ea typeface="+mn-ea"/>
          <a:cs typeface="+mn-cs"/>
        </a:defRPr>
      </a:lvl8pPr>
      <a:lvl9pPr marL="1814029" indent="-199972" algn="l" defTabSz="685617" rtl="0" eaLnBrk="1" latinLnBrk="0" hangingPunct="1">
        <a:spcBef>
          <a:spcPct val="20000"/>
        </a:spcBef>
        <a:buFont typeface="Arial" pitchFamily="34" charset="0"/>
        <a:buChar char="•"/>
        <a:defRPr sz="900" kern="1200">
          <a:solidFill>
            <a:schemeClr val="tx1"/>
          </a:solidFill>
          <a:latin typeface="+mn-lt"/>
          <a:ea typeface="+mn-ea"/>
          <a:cs typeface="+mn-cs"/>
        </a:defRPr>
      </a:lvl9pPr>
    </p:bodyStyle>
    <p:otherStyle>
      <a:defPPr>
        <a:defRPr lang="fi-FI"/>
      </a:defPPr>
      <a:lvl1pPr marL="0" algn="l" defTabSz="685617" rtl="0" eaLnBrk="1" latinLnBrk="0" hangingPunct="1">
        <a:defRPr sz="1350" kern="1200">
          <a:solidFill>
            <a:schemeClr val="tx1"/>
          </a:solidFill>
          <a:latin typeface="+mn-lt"/>
          <a:ea typeface="+mn-ea"/>
          <a:cs typeface="+mn-cs"/>
        </a:defRPr>
      </a:lvl1pPr>
      <a:lvl2pPr marL="342809" algn="l" defTabSz="685617" rtl="0" eaLnBrk="1" latinLnBrk="0" hangingPunct="1">
        <a:defRPr sz="1350" kern="1200">
          <a:solidFill>
            <a:schemeClr val="tx1"/>
          </a:solidFill>
          <a:latin typeface="+mn-lt"/>
          <a:ea typeface="+mn-ea"/>
          <a:cs typeface="+mn-cs"/>
        </a:defRPr>
      </a:lvl2pPr>
      <a:lvl3pPr marL="685617" algn="l" defTabSz="685617" rtl="0" eaLnBrk="1" latinLnBrk="0" hangingPunct="1">
        <a:defRPr sz="1350" kern="1200">
          <a:solidFill>
            <a:schemeClr val="tx1"/>
          </a:solidFill>
          <a:latin typeface="+mn-lt"/>
          <a:ea typeface="+mn-ea"/>
          <a:cs typeface="+mn-cs"/>
        </a:defRPr>
      </a:lvl3pPr>
      <a:lvl4pPr marL="1028426" algn="l" defTabSz="685617" rtl="0" eaLnBrk="1" latinLnBrk="0" hangingPunct="1">
        <a:defRPr sz="1350" kern="1200">
          <a:solidFill>
            <a:schemeClr val="tx1"/>
          </a:solidFill>
          <a:latin typeface="+mn-lt"/>
          <a:ea typeface="+mn-ea"/>
          <a:cs typeface="+mn-cs"/>
        </a:defRPr>
      </a:lvl4pPr>
      <a:lvl5pPr marL="1371234" algn="l" defTabSz="685617" rtl="0" eaLnBrk="1" latinLnBrk="0" hangingPunct="1">
        <a:defRPr sz="1350" kern="1200">
          <a:solidFill>
            <a:schemeClr val="tx1"/>
          </a:solidFill>
          <a:latin typeface="+mn-lt"/>
          <a:ea typeface="+mn-ea"/>
          <a:cs typeface="+mn-cs"/>
        </a:defRPr>
      </a:lvl5pPr>
      <a:lvl6pPr marL="1714043" algn="l" defTabSz="685617" rtl="0" eaLnBrk="1" latinLnBrk="0" hangingPunct="1">
        <a:defRPr sz="1350" kern="1200">
          <a:solidFill>
            <a:schemeClr val="tx1"/>
          </a:solidFill>
          <a:latin typeface="+mn-lt"/>
          <a:ea typeface="+mn-ea"/>
          <a:cs typeface="+mn-cs"/>
        </a:defRPr>
      </a:lvl6pPr>
      <a:lvl7pPr marL="2056851" algn="l" defTabSz="685617" rtl="0" eaLnBrk="1" latinLnBrk="0" hangingPunct="1">
        <a:defRPr sz="1350" kern="1200">
          <a:solidFill>
            <a:schemeClr val="tx1"/>
          </a:solidFill>
          <a:latin typeface="+mn-lt"/>
          <a:ea typeface="+mn-ea"/>
          <a:cs typeface="+mn-cs"/>
        </a:defRPr>
      </a:lvl7pPr>
      <a:lvl8pPr marL="2399660" algn="l" defTabSz="685617" rtl="0" eaLnBrk="1" latinLnBrk="0" hangingPunct="1">
        <a:defRPr sz="1350" kern="1200">
          <a:solidFill>
            <a:schemeClr val="tx1"/>
          </a:solidFill>
          <a:latin typeface="+mn-lt"/>
          <a:ea typeface="+mn-ea"/>
          <a:cs typeface="+mn-cs"/>
        </a:defRPr>
      </a:lvl8pPr>
      <a:lvl9pPr marL="2742468" algn="l" defTabSz="685617"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Slide Number Placeholder 5"/>
          <p:cNvSpPr>
            <a:spLocks noGrp="1"/>
          </p:cNvSpPr>
          <p:nvPr>
            <p:ph type="sldNum" sz="quarter" idx="4"/>
          </p:nvPr>
        </p:nvSpPr>
        <p:spPr>
          <a:xfrm>
            <a:off x="6678800" y="4848629"/>
            <a:ext cx="2057400" cy="172823"/>
          </a:xfrm>
          <a:prstGeom prst="rect">
            <a:avLst/>
          </a:prstGeom>
        </p:spPr>
        <p:txBody>
          <a:bodyPr vert="horz" lIns="91440" tIns="45720" rIns="91440" bIns="45720" rtlCol="0" anchor="ctr"/>
          <a:lstStyle>
            <a:lvl1pPr algn="r">
              <a:defRPr sz="900" baseline="0">
                <a:solidFill>
                  <a:schemeClr val="tx1"/>
                </a:solidFill>
              </a:defRPr>
            </a:lvl1pPr>
          </a:lstStyle>
          <a:p>
            <a:fld id="{28F7F04C-F568-F649-A2AE-EA61C66B69B4}" type="slidenum">
              <a:rPr lang="en-US" smtClean="0"/>
              <a:pPr/>
              <a:t>‹#›</a:t>
            </a:fld>
            <a:endParaRPr lang="en-US" dirty="0"/>
          </a:p>
        </p:txBody>
      </p:sp>
      <p:sp>
        <p:nvSpPr>
          <p:cNvPr id="4" name="Date Placeholder 3"/>
          <p:cNvSpPr>
            <a:spLocks noGrp="1"/>
          </p:cNvSpPr>
          <p:nvPr>
            <p:ph type="dt" sz="half" idx="2"/>
          </p:nvPr>
        </p:nvSpPr>
        <p:spPr>
          <a:xfrm>
            <a:off x="6678800" y="4672740"/>
            <a:ext cx="2057400" cy="175889"/>
          </a:xfrm>
          <a:prstGeom prst="rect">
            <a:avLst/>
          </a:prstGeom>
        </p:spPr>
        <p:txBody>
          <a:bodyPr vert="horz" lIns="91440" tIns="45720" rIns="91440" bIns="45720" rtlCol="0" anchor="ctr"/>
          <a:lstStyle>
            <a:lvl1pPr algn="r">
              <a:defRPr sz="900" baseline="0">
                <a:solidFill>
                  <a:schemeClr val="tx1"/>
                </a:solidFill>
              </a:defRPr>
            </a:lvl1pPr>
          </a:lstStyle>
          <a:p>
            <a:r>
              <a:rPr lang="fi-FI" dirty="0"/>
              <a:t>dd.mm.yyyy</a:t>
            </a:r>
            <a:endParaRPr lang="en-US" dirty="0"/>
          </a:p>
        </p:txBody>
      </p:sp>
      <p:sp>
        <p:nvSpPr>
          <p:cNvPr id="2" name="Alatunnisteen paikkamerkki 1">
            <a:extLst>
              <a:ext uri="{FF2B5EF4-FFF2-40B4-BE49-F238E27FC236}">
                <a16:creationId xmlns:a16="http://schemas.microsoft.com/office/drawing/2014/main" id="{1C150BC1-EEBC-48B9-AEAE-962A54F46FC4}"/>
              </a:ext>
            </a:extLst>
          </p:cNvPr>
          <p:cNvSpPr>
            <a:spLocks noGrp="1"/>
          </p:cNvSpPr>
          <p:nvPr>
            <p:ph type="ftr" sz="quarter" idx="3"/>
          </p:nvPr>
        </p:nvSpPr>
        <p:spPr>
          <a:xfrm>
            <a:off x="3028950" y="4849200"/>
            <a:ext cx="3086100" cy="172800"/>
          </a:xfrm>
          <a:prstGeom prst="rect">
            <a:avLst/>
          </a:prstGeom>
        </p:spPr>
        <p:txBody>
          <a:bodyPr vert="horz" lIns="91440" tIns="45720" rIns="91440" bIns="45720" rtlCol="0" anchor="ctr"/>
          <a:lstStyle>
            <a:lvl1pPr algn="ctr">
              <a:defRPr sz="900">
                <a:solidFill>
                  <a:schemeClr val="tx1"/>
                </a:solidFill>
              </a:defRPr>
            </a:lvl1pPr>
          </a:lstStyle>
          <a:p>
            <a:r>
              <a:rPr lang="fi-FI" dirty="0"/>
              <a:t>Your text here</a:t>
            </a:r>
          </a:p>
        </p:txBody>
      </p:sp>
    </p:spTree>
    <p:extLst>
      <p:ext uri="{BB962C8B-B14F-4D97-AF65-F5344CB8AC3E}">
        <p14:creationId xmlns:p14="http://schemas.microsoft.com/office/powerpoint/2010/main" val="3964412302"/>
      </p:ext>
    </p:extLst>
  </p:cSld>
  <p:clrMap bg1="lt1" tx1="dk1" bg2="lt2" tx2="dk2" accent1="accent1" accent2="accent2" accent3="accent3" accent4="accent4" accent5="accent5" accent6="accent6" hlink="hlink" folHlink="folHlink"/>
  <p:sldLayoutIdLst>
    <p:sldLayoutId id="2147483845" r:id="rId1"/>
    <p:sldLayoutId id="2147483846" r:id="rId2"/>
    <p:sldLayoutId id="2147483847" r:id="rId3"/>
    <p:sldLayoutId id="2147483848" r:id="rId4"/>
    <p:sldLayoutId id="2147483849" r:id="rId5"/>
    <p:sldLayoutId id="2147483850" r:id="rId6"/>
    <p:sldLayoutId id="2147483851" r:id="rId7"/>
    <p:sldLayoutId id="2147483852" r:id="rId8"/>
    <p:sldLayoutId id="2147483853" r:id="rId9"/>
    <p:sldLayoutId id="2147483854" r:id="rId10"/>
    <p:sldLayoutId id="2147483855" r:id="rId11"/>
    <p:sldLayoutId id="2147483856" r:id="rId12"/>
    <p:sldLayoutId id="2147483857" r:id="rId13"/>
    <p:sldLayoutId id="2147483858" r:id="rId14"/>
    <p:sldLayoutId id="2147483859" r:id="rId15"/>
    <p:sldLayoutId id="2147483860" r:id="rId16"/>
    <p:sldLayoutId id="2147483861" r:id="rId17"/>
    <p:sldLayoutId id="2147483862" r:id="rId18"/>
    <p:sldLayoutId id="2147483863" r:id="rId19"/>
    <p:sldLayoutId id="2147483864" r:id="rId20"/>
    <p:sldLayoutId id="2147483865" r:id="rId21"/>
    <p:sldLayoutId id="2147483866" r:id="rId22"/>
  </p:sldLayoutIdLst>
  <p:hf sldNum="0" hdr="0" ftr="0" dt="0"/>
  <p:txStyles>
    <p:titleStyle>
      <a:lvl1pPr algn="l" defTabSz="685800" rtl="0" eaLnBrk="1" latinLnBrk="0" hangingPunct="1">
        <a:lnSpc>
          <a:spcPct val="90000"/>
        </a:lnSpc>
        <a:spcBef>
          <a:spcPct val="0"/>
        </a:spcBef>
        <a:buNone/>
        <a:defRPr sz="3300" kern="1200" baseline="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81">
          <p15:clr>
            <a:srgbClr val="F26B43"/>
          </p15:clr>
        </p15:guide>
        <p15:guide id="3" orient="horz" pos="327">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0" y="573882"/>
            <a:ext cx="8729771" cy="602326"/>
          </a:xfrm>
          <a:prstGeom prst="rect">
            <a:avLst/>
          </a:prstGeom>
          <a:solidFill>
            <a:srgbClr val="B1059D"/>
          </a:solidFill>
        </p:spPr>
        <p:txBody>
          <a:bodyPr vert="horz" wrap="square" lIns="540000" tIns="72000" rIns="540000" bIns="72000" rtlCol="0" anchor="t" anchorCtr="0">
            <a:spAutoFit/>
          </a:bodyPr>
          <a:lstStyle/>
          <a:p>
            <a:r>
              <a:rPr lang="en-US" dirty="0"/>
              <a:t>Click to add title</a:t>
            </a:r>
          </a:p>
        </p:txBody>
      </p:sp>
      <p:sp>
        <p:nvSpPr>
          <p:cNvPr id="3" name="Text Placeholder 2"/>
          <p:cNvSpPr>
            <a:spLocks noGrp="1"/>
          </p:cNvSpPr>
          <p:nvPr>
            <p:ph type="body" idx="1"/>
          </p:nvPr>
        </p:nvSpPr>
        <p:spPr>
          <a:xfrm>
            <a:off x="414230" y="1869674"/>
            <a:ext cx="8315541" cy="2538022"/>
          </a:xfrm>
          <a:prstGeom prst="rect">
            <a:avLst/>
          </a:prstGeom>
        </p:spPr>
        <p:txBody>
          <a:bodyPr vert="horz" lIns="36000" tIns="36000" rIns="36000" bIns="36000" rtlCol="0">
            <a:no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4" name="Date Placeholder 3"/>
          <p:cNvSpPr>
            <a:spLocks noGrp="1"/>
          </p:cNvSpPr>
          <p:nvPr>
            <p:ph type="dt" sz="half" idx="2"/>
          </p:nvPr>
        </p:nvSpPr>
        <p:spPr>
          <a:xfrm>
            <a:off x="252347" y="4785997"/>
            <a:ext cx="1404572" cy="162018"/>
          </a:xfrm>
          <a:prstGeom prst="rect">
            <a:avLst/>
          </a:prstGeom>
        </p:spPr>
        <p:txBody>
          <a:bodyPr vert="horz" lIns="36000" tIns="36000" rIns="36000" bIns="36000" rtlCol="0" anchor="ctr">
            <a:noAutofit/>
          </a:bodyPr>
          <a:lstStyle>
            <a:lvl1pPr algn="l">
              <a:defRPr sz="750">
                <a:solidFill>
                  <a:srgbClr val="B3B2B2"/>
                </a:solidFill>
              </a:defRPr>
            </a:lvl1pPr>
          </a:lstStyle>
          <a:p>
            <a:fld id="{84266EE4-B32D-421F-BB25-BEBAFA688870}" type="datetime1">
              <a:rPr lang="fi-FI" smtClean="0"/>
              <a:t>5.11.2023</a:t>
            </a:fld>
            <a:endParaRPr lang="en-US" dirty="0"/>
          </a:p>
        </p:txBody>
      </p:sp>
      <p:sp>
        <p:nvSpPr>
          <p:cNvPr id="5" name="Footer Placeholder 4"/>
          <p:cNvSpPr>
            <a:spLocks noGrp="1"/>
          </p:cNvSpPr>
          <p:nvPr>
            <p:ph type="ftr" sz="quarter" idx="3"/>
          </p:nvPr>
        </p:nvSpPr>
        <p:spPr>
          <a:xfrm>
            <a:off x="1656919" y="4785998"/>
            <a:ext cx="5830163" cy="165832"/>
          </a:xfrm>
          <a:prstGeom prst="rect">
            <a:avLst/>
          </a:prstGeom>
        </p:spPr>
        <p:txBody>
          <a:bodyPr vert="horz" lIns="36000" tIns="36000" rIns="36000" bIns="36000" rtlCol="0" anchor="ctr">
            <a:noAutofit/>
          </a:bodyPr>
          <a:lstStyle>
            <a:lvl1pPr algn="ctr">
              <a:defRPr sz="750">
                <a:solidFill>
                  <a:srgbClr val="B3B2B2"/>
                </a:solidFill>
              </a:defRPr>
            </a:lvl1pPr>
          </a:lstStyle>
          <a:p>
            <a:r>
              <a:rPr lang="en-US" dirty="0"/>
              <a:t>© Aalto University Executive Education</a:t>
            </a:r>
          </a:p>
        </p:txBody>
      </p:sp>
      <p:sp>
        <p:nvSpPr>
          <p:cNvPr id="6" name="Slide Number Placeholder 5"/>
          <p:cNvSpPr>
            <a:spLocks noGrp="1"/>
          </p:cNvSpPr>
          <p:nvPr>
            <p:ph type="sldNum" sz="quarter" idx="4"/>
          </p:nvPr>
        </p:nvSpPr>
        <p:spPr>
          <a:xfrm>
            <a:off x="7487082" y="4515967"/>
            <a:ext cx="1404273" cy="432048"/>
          </a:xfrm>
          <a:prstGeom prst="rect">
            <a:avLst/>
          </a:prstGeom>
        </p:spPr>
        <p:txBody>
          <a:bodyPr vert="horz" lIns="36000" tIns="36000" rIns="36000" bIns="36000" rtlCol="0" anchor="ctr">
            <a:noAutofit/>
          </a:bodyPr>
          <a:lstStyle>
            <a:lvl1pPr algn="r">
              <a:defRPr sz="3599" b="1">
                <a:solidFill>
                  <a:srgbClr val="B3B2B2"/>
                </a:solidFill>
              </a:defRPr>
            </a:lvl1pPr>
          </a:lstStyle>
          <a:p>
            <a:fld id="{FCCA222D-FCF7-48C1-A274-EBDDEF75DC66}" type="slidenum">
              <a:rPr lang="en-US" smtClean="0"/>
              <a:pPr/>
              <a:t>‹#›</a:t>
            </a:fld>
            <a:endParaRPr lang="en-US" dirty="0"/>
          </a:p>
        </p:txBody>
      </p:sp>
      <p:grpSp>
        <p:nvGrpSpPr>
          <p:cNvPr id="12" name="Group 11"/>
          <p:cNvGrpSpPr>
            <a:grpSpLocks noChangeAspect="1"/>
          </p:cNvGrpSpPr>
          <p:nvPr/>
        </p:nvGrpSpPr>
        <p:grpSpPr>
          <a:xfrm>
            <a:off x="7595548" y="249492"/>
            <a:ext cx="1294117" cy="199800"/>
            <a:chOff x="4067175" y="114301"/>
            <a:chExt cx="3630613" cy="560388"/>
          </a:xfrm>
        </p:grpSpPr>
        <p:sp>
          <p:nvSpPr>
            <p:cNvPr id="13" name="Freeform 6"/>
            <p:cNvSpPr>
              <a:spLocks noEditPoints="1"/>
            </p:cNvSpPr>
            <p:nvPr userDrawn="1"/>
          </p:nvSpPr>
          <p:spPr bwMode="auto">
            <a:xfrm>
              <a:off x="5749925" y="114301"/>
              <a:ext cx="1530350" cy="173038"/>
            </a:xfrm>
            <a:custGeom>
              <a:avLst/>
              <a:gdLst>
                <a:gd name="T0" fmla="*/ 922 w 964"/>
                <a:gd name="T1" fmla="*/ 84 h 109"/>
                <a:gd name="T2" fmla="*/ 918 w 964"/>
                <a:gd name="T3" fmla="*/ 109 h 109"/>
                <a:gd name="T4" fmla="*/ 944 w 964"/>
                <a:gd name="T5" fmla="*/ 25 h 109"/>
                <a:gd name="T6" fmla="*/ 860 w 964"/>
                <a:gd name="T7" fmla="*/ 68 h 109"/>
                <a:gd name="T8" fmla="*/ 890 w 964"/>
                <a:gd name="T9" fmla="*/ 89 h 109"/>
                <a:gd name="T10" fmla="*/ 890 w 964"/>
                <a:gd name="T11" fmla="*/ 39 h 109"/>
                <a:gd name="T12" fmla="*/ 819 w 964"/>
                <a:gd name="T13" fmla="*/ 89 h 109"/>
                <a:gd name="T14" fmla="*/ 793 w 964"/>
                <a:gd name="T15" fmla="*/ 26 h 109"/>
                <a:gd name="T16" fmla="*/ 753 w 964"/>
                <a:gd name="T17" fmla="*/ 33 h 109"/>
                <a:gd name="T18" fmla="*/ 757 w 964"/>
                <a:gd name="T19" fmla="*/ 58 h 109"/>
                <a:gd name="T20" fmla="*/ 788 w 964"/>
                <a:gd name="T21" fmla="*/ 72 h 109"/>
                <a:gd name="T22" fmla="*/ 767 w 964"/>
                <a:gd name="T23" fmla="*/ 70 h 109"/>
                <a:gd name="T24" fmla="*/ 772 w 964"/>
                <a:gd name="T25" fmla="*/ 90 h 109"/>
                <a:gd name="T26" fmla="*/ 806 w 964"/>
                <a:gd name="T27" fmla="*/ 73 h 109"/>
                <a:gd name="T28" fmla="*/ 788 w 964"/>
                <a:gd name="T29" fmla="*/ 49 h 109"/>
                <a:gd name="T30" fmla="*/ 777 w 964"/>
                <a:gd name="T31" fmla="*/ 37 h 109"/>
                <a:gd name="T32" fmla="*/ 700 w 964"/>
                <a:gd name="T33" fmla="*/ 89 h 109"/>
                <a:gd name="T34" fmla="*/ 729 w 964"/>
                <a:gd name="T35" fmla="*/ 42 h 109"/>
                <a:gd name="T36" fmla="*/ 723 w 964"/>
                <a:gd name="T37" fmla="*/ 27 h 109"/>
                <a:gd name="T38" fmla="*/ 643 w 964"/>
                <a:gd name="T39" fmla="*/ 42 h 109"/>
                <a:gd name="T40" fmla="*/ 666 w 964"/>
                <a:gd name="T41" fmla="*/ 44 h 109"/>
                <a:gd name="T42" fmla="*/ 682 w 964"/>
                <a:gd name="T43" fmla="*/ 38 h 109"/>
                <a:gd name="T44" fmla="*/ 647 w 964"/>
                <a:gd name="T45" fmla="*/ 24 h 109"/>
                <a:gd name="T46" fmla="*/ 623 w 964"/>
                <a:gd name="T47" fmla="*/ 46 h 109"/>
                <a:gd name="T48" fmla="*/ 641 w 964"/>
                <a:gd name="T49" fmla="*/ 88 h 109"/>
                <a:gd name="T50" fmla="*/ 679 w 964"/>
                <a:gd name="T51" fmla="*/ 82 h 109"/>
                <a:gd name="T52" fmla="*/ 656 w 964"/>
                <a:gd name="T53" fmla="*/ 76 h 109"/>
                <a:gd name="T54" fmla="*/ 687 w 964"/>
                <a:gd name="T55" fmla="*/ 62 h 109"/>
                <a:gd name="T56" fmla="*/ 575 w 964"/>
                <a:gd name="T57" fmla="*/ 89 h 109"/>
                <a:gd name="T58" fmla="*/ 521 w 964"/>
                <a:gd name="T59" fmla="*/ 89 h 109"/>
                <a:gd name="T60" fmla="*/ 467 w 964"/>
                <a:gd name="T61" fmla="*/ 42 h 109"/>
                <a:gd name="T62" fmla="*/ 483 w 964"/>
                <a:gd name="T63" fmla="*/ 44 h 109"/>
                <a:gd name="T64" fmla="*/ 497 w 964"/>
                <a:gd name="T65" fmla="*/ 29 h 109"/>
                <a:gd name="T66" fmla="*/ 463 w 964"/>
                <a:gd name="T67" fmla="*/ 25 h 109"/>
                <a:gd name="T68" fmla="*/ 398 w 964"/>
                <a:gd name="T69" fmla="*/ 73 h 109"/>
                <a:gd name="T70" fmla="*/ 376 w 964"/>
                <a:gd name="T71" fmla="*/ 63 h 109"/>
                <a:gd name="T72" fmla="*/ 364 w 964"/>
                <a:gd name="T73" fmla="*/ 81 h 109"/>
                <a:gd name="T74" fmla="*/ 406 w 964"/>
                <a:gd name="T75" fmla="*/ 89 h 109"/>
                <a:gd name="T76" fmla="*/ 427 w 964"/>
                <a:gd name="T77" fmla="*/ 60 h 109"/>
                <a:gd name="T78" fmla="*/ 292 w 964"/>
                <a:gd name="T79" fmla="*/ 49 h 109"/>
                <a:gd name="T80" fmla="*/ 284 w 964"/>
                <a:gd name="T81" fmla="*/ 74 h 109"/>
                <a:gd name="T82" fmla="*/ 263 w 964"/>
                <a:gd name="T83" fmla="*/ 61 h 109"/>
                <a:gd name="T84" fmla="*/ 274 w 964"/>
                <a:gd name="T85" fmla="*/ 38 h 109"/>
                <a:gd name="T86" fmla="*/ 247 w 964"/>
                <a:gd name="T87" fmla="*/ 40 h 109"/>
                <a:gd name="T88" fmla="*/ 249 w 964"/>
                <a:gd name="T89" fmla="*/ 76 h 109"/>
                <a:gd name="T90" fmla="*/ 291 w 964"/>
                <a:gd name="T91" fmla="*/ 88 h 109"/>
                <a:gd name="T92" fmla="*/ 311 w 964"/>
                <a:gd name="T93" fmla="*/ 57 h 109"/>
                <a:gd name="T94" fmla="*/ 291 w 964"/>
                <a:gd name="T95" fmla="*/ 26 h 109"/>
                <a:gd name="T96" fmla="*/ 196 w 964"/>
                <a:gd name="T97" fmla="*/ 26 h 109"/>
                <a:gd name="T98" fmla="*/ 214 w 964"/>
                <a:gd name="T99" fmla="*/ 88 h 109"/>
                <a:gd name="T100" fmla="*/ 224 w 964"/>
                <a:gd name="T101" fmla="*/ 70 h 109"/>
                <a:gd name="T102" fmla="*/ 184 w 964"/>
                <a:gd name="T103" fmla="*/ 0 h 109"/>
                <a:gd name="T104" fmla="*/ 108 w 964"/>
                <a:gd name="T105" fmla="*/ 71 h 109"/>
                <a:gd name="T106" fmla="*/ 110 w 964"/>
                <a:gd name="T107" fmla="*/ 45 h 109"/>
                <a:gd name="T108" fmla="*/ 130 w 964"/>
                <a:gd name="T109" fmla="*/ 41 h 109"/>
                <a:gd name="T110" fmla="*/ 103 w 964"/>
                <a:gd name="T111" fmla="*/ 52 h 109"/>
                <a:gd name="T112" fmla="*/ 91 w 964"/>
                <a:gd name="T113" fmla="*/ 79 h 109"/>
                <a:gd name="T114" fmla="*/ 123 w 964"/>
                <a:gd name="T115" fmla="*/ 89 h 109"/>
                <a:gd name="T116" fmla="*/ 149 w 964"/>
                <a:gd name="T117" fmla="*/ 42 h 109"/>
                <a:gd name="T118" fmla="*/ 115 w 964"/>
                <a:gd name="T119" fmla="*/ 23 h 109"/>
                <a:gd name="T120" fmla="*/ 93 w 964"/>
                <a:gd name="T121" fmla="*/ 45 h 109"/>
                <a:gd name="T122" fmla="*/ 56 w 964"/>
                <a:gd name="T12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4" h="109">
                  <a:moveTo>
                    <a:pt x="944" y="25"/>
                  </a:moveTo>
                  <a:lnTo>
                    <a:pt x="936" y="54"/>
                  </a:lnTo>
                  <a:lnTo>
                    <a:pt x="933" y="68"/>
                  </a:lnTo>
                  <a:lnTo>
                    <a:pt x="932" y="65"/>
                  </a:lnTo>
                  <a:lnTo>
                    <a:pt x="928" y="54"/>
                  </a:lnTo>
                  <a:lnTo>
                    <a:pt x="919" y="25"/>
                  </a:lnTo>
                  <a:lnTo>
                    <a:pt x="899" y="25"/>
                  </a:lnTo>
                  <a:lnTo>
                    <a:pt x="920" y="79"/>
                  </a:lnTo>
                  <a:lnTo>
                    <a:pt x="922" y="84"/>
                  </a:lnTo>
                  <a:lnTo>
                    <a:pt x="922" y="87"/>
                  </a:lnTo>
                  <a:lnTo>
                    <a:pt x="922" y="90"/>
                  </a:lnTo>
                  <a:lnTo>
                    <a:pt x="920" y="93"/>
                  </a:lnTo>
                  <a:lnTo>
                    <a:pt x="919" y="94"/>
                  </a:lnTo>
                  <a:lnTo>
                    <a:pt x="917" y="94"/>
                  </a:lnTo>
                  <a:lnTo>
                    <a:pt x="913" y="95"/>
                  </a:lnTo>
                  <a:lnTo>
                    <a:pt x="907" y="95"/>
                  </a:lnTo>
                  <a:lnTo>
                    <a:pt x="907" y="109"/>
                  </a:lnTo>
                  <a:lnTo>
                    <a:pt x="918" y="109"/>
                  </a:lnTo>
                  <a:lnTo>
                    <a:pt x="923" y="109"/>
                  </a:lnTo>
                  <a:lnTo>
                    <a:pt x="927" y="108"/>
                  </a:lnTo>
                  <a:lnTo>
                    <a:pt x="930" y="107"/>
                  </a:lnTo>
                  <a:lnTo>
                    <a:pt x="933" y="105"/>
                  </a:lnTo>
                  <a:lnTo>
                    <a:pt x="935" y="103"/>
                  </a:lnTo>
                  <a:lnTo>
                    <a:pt x="937" y="100"/>
                  </a:lnTo>
                  <a:lnTo>
                    <a:pt x="941" y="89"/>
                  </a:lnTo>
                  <a:lnTo>
                    <a:pt x="964" y="25"/>
                  </a:lnTo>
                  <a:lnTo>
                    <a:pt x="944" y="25"/>
                  </a:lnTo>
                  <a:close/>
                  <a:moveTo>
                    <a:pt x="890" y="26"/>
                  </a:moveTo>
                  <a:lnTo>
                    <a:pt x="879" y="26"/>
                  </a:lnTo>
                  <a:lnTo>
                    <a:pt x="879" y="5"/>
                  </a:lnTo>
                  <a:lnTo>
                    <a:pt x="860" y="5"/>
                  </a:lnTo>
                  <a:lnTo>
                    <a:pt x="860" y="26"/>
                  </a:lnTo>
                  <a:lnTo>
                    <a:pt x="851" y="26"/>
                  </a:lnTo>
                  <a:lnTo>
                    <a:pt x="851" y="39"/>
                  </a:lnTo>
                  <a:lnTo>
                    <a:pt x="860" y="39"/>
                  </a:lnTo>
                  <a:lnTo>
                    <a:pt x="860" y="68"/>
                  </a:lnTo>
                  <a:lnTo>
                    <a:pt x="860" y="74"/>
                  </a:lnTo>
                  <a:lnTo>
                    <a:pt x="861" y="79"/>
                  </a:lnTo>
                  <a:lnTo>
                    <a:pt x="862" y="82"/>
                  </a:lnTo>
                  <a:lnTo>
                    <a:pt x="863" y="84"/>
                  </a:lnTo>
                  <a:lnTo>
                    <a:pt x="866" y="86"/>
                  </a:lnTo>
                  <a:lnTo>
                    <a:pt x="869" y="88"/>
                  </a:lnTo>
                  <a:lnTo>
                    <a:pt x="873" y="88"/>
                  </a:lnTo>
                  <a:lnTo>
                    <a:pt x="879" y="89"/>
                  </a:lnTo>
                  <a:lnTo>
                    <a:pt x="890" y="89"/>
                  </a:lnTo>
                  <a:lnTo>
                    <a:pt x="890" y="75"/>
                  </a:lnTo>
                  <a:lnTo>
                    <a:pt x="883" y="75"/>
                  </a:lnTo>
                  <a:lnTo>
                    <a:pt x="881" y="74"/>
                  </a:lnTo>
                  <a:lnTo>
                    <a:pt x="880" y="74"/>
                  </a:lnTo>
                  <a:lnTo>
                    <a:pt x="879" y="73"/>
                  </a:lnTo>
                  <a:lnTo>
                    <a:pt x="879" y="70"/>
                  </a:lnTo>
                  <a:lnTo>
                    <a:pt x="879" y="64"/>
                  </a:lnTo>
                  <a:lnTo>
                    <a:pt x="879" y="39"/>
                  </a:lnTo>
                  <a:lnTo>
                    <a:pt x="890" y="39"/>
                  </a:lnTo>
                  <a:lnTo>
                    <a:pt x="890" y="26"/>
                  </a:lnTo>
                  <a:close/>
                  <a:moveTo>
                    <a:pt x="838" y="0"/>
                  </a:moveTo>
                  <a:lnTo>
                    <a:pt x="819" y="0"/>
                  </a:lnTo>
                  <a:lnTo>
                    <a:pt x="819" y="16"/>
                  </a:lnTo>
                  <a:lnTo>
                    <a:pt x="838" y="16"/>
                  </a:lnTo>
                  <a:lnTo>
                    <a:pt x="838" y="0"/>
                  </a:lnTo>
                  <a:close/>
                  <a:moveTo>
                    <a:pt x="838" y="25"/>
                  </a:moveTo>
                  <a:lnTo>
                    <a:pt x="819" y="25"/>
                  </a:lnTo>
                  <a:lnTo>
                    <a:pt x="819" y="89"/>
                  </a:lnTo>
                  <a:lnTo>
                    <a:pt x="838" y="89"/>
                  </a:lnTo>
                  <a:lnTo>
                    <a:pt x="838" y="25"/>
                  </a:lnTo>
                  <a:close/>
                  <a:moveTo>
                    <a:pt x="806" y="44"/>
                  </a:moveTo>
                  <a:lnTo>
                    <a:pt x="805" y="39"/>
                  </a:lnTo>
                  <a:lnTo>
                    <a:pt x="803" y="35"/>
                  </a:lnTo>
                  <a:lnTo>
                    <a:pt x="800" y="31"/>
                  </a:lnTo>
                  <a:lnTo>
                    <a:pt x="797" y="28"/>
                  </a:lnTo>
                  <a:lnTo>
                    <a:pt x="795" y="27"/>
                  </a:lnTo>
                  <a:lnTo>
                    <a:pt x="793" y="26"/>
                  </a:lnTo>
                  <a:lnTo>
                    <a:pt x="789" y="24"/>
                  </a:lnTo>
                  <a:lnTo>
                    <a:pt x="783" y="23"/>
                  </a:lnTo>
                  <a:lnTo>
                    <a:pt x="777" y="23"/>
                  </a:lnTo>
                  <a:lnTo>
                    <a:pt x="771" y="23"/>
                  </a:lnTo>
                  <a:lnTo>
                    <a:pt x="766" y="24"/>
                  </a:lnTo>
                  <a:lnTo>
                    <a:pt x="761" y="26"/>
                  </a:lnTo>
                  <a:lnTo>
                    <a:pt x="757" y="29"/>
                  </a:lnTo>
                  <a:lnTo>
                    <a:pt x="754" y="32"/>
                  </a:lnTo>
                  <a:lnTo>
                    <a:pt x="753" y="33"/>
                  </a:lnTo>
                  <a:lnTo>
                    <a:pt x="752" y="35"/>
                  </a:lnTo>
                  <a:lnTo>
                    <a:pt x="751" y="39"/>
                  </a:lnTo>
                  <a:lnTo>
                    <a:pt x="750" y="44"/>
                  </a:lnTo>
                  <a:lnTo>
                    <a:pt x="750" y="47"/>
                  </a:lnTo>
                  <a:lnTo>
                    <a:pt x="751" y="50"/>
                  </a:lnTo>
                  <a:lnTo>
                    <a:pt x="752" y="52"/>
                  </a:lnTo>
                  <a:lnTo>
                    <a:pt x="753" y="53"/>
                  </a:lnTo>
                  <a:lnTo>
                    <a:pt x="755" y="56"/>
                  </a:lnTo>
                  <a:lnTo>
                    <a:pt x="757" y="58"/>
                  </a:lnTo>
                  <a:lnTo>
                    <a:pt x="761" y="59"/>
                  </a:lnTo>
                  <a:lnTo>
                    <a:pt x="765" y="61"/>
                  </a:lnTo>
                  <a:lnTo>
                    <a:pt x="770" y="62"/>
                  </a:lnTo>
                  <a:lnTo>
                    <a:pt x="781" y="65"/>
                  </a:lnTo>
                  <a:lnTo>
                    <a:pt x="785" y="66"/>
                  </a:lnTo>
                  <a:lnTo>
                    <a:pt x="787" y="67"/>
                  </a:lnTo>
                  <a:lnTo>
                    <a:pt x="788" y="69"/>
                  </a:lnTo>
                  <a:lnTo>
                    <a:pt x="788" y="71"/>
                  </a:lnTo>
                  <a:lnTo>
                    <a:pt x="788" y="72"/>
                  </a:lnTo>
                  <a:lnTo>
                    <a:pt x="788" y="73"/>
                  </a:lnTo>
                  <a:lnTo>
                    <a:pt x="786" y="75"/>
                  </a:lnTo>
                  <a:lnTo>
                    <a:pt x="783" y="76"/>
                  </a:lnTo>
                  <a:lnTo>
                    <a:pt x="779" y="77"/>
                  </a:lnTo>
                  <a:lnTo>
                    <a:pt x="774" y="76"/>
                  </a:lnTo>
                  <a:lnTo>
                    <a:pt x="772" y="76"/>
                  </a:lnTo>
                  <a:lnTo>
                    <a:pt x="770" y="75"/>
                  </a:lnTo>
                  <a:lnTo>
                    <a:pt x="767" y="72"/>
                  </a:lnTo>
                  <a:lnTo>
                    <a:pt x="767" y="70"/>
                  </a:lnTo>
                  <a:lnTo>
                    <a:pt x="766" y="68"/>
                  </a:lnTo>
                  <a:lnTo>
                    <a:pt x="748" y="68"/>
                  </a:lnTo>
                  <a:lnTo>
                    <a:pt x="749" y="73"/>
                  </a:lnTo>
                  <a:lnTo>
                    <a:pt x="751" y="77"/>
                  </a:lnTo>
                  <a:lnTo>
                    <a:pt x="754" y="81"/>
                  </a:lnTo>
                  <a:lnTo>
                    <a:pt x="757" y="84"/>
                  </a:lnTo>
                  <a:lnTo>
                    <a:pt x="761" y="87"/>
                  </a:lnTo>
                  <a:lnTo>
                    <a:pt x="766" y="89"/>
                  </a:lnTo>
                  <a:lnTo>
                    <a:pt x="772" y="90"/>
                  </a:lnTo>
                  <a:lnTo>
                    <a:pt x="778" y="90"/>
                  </a:lnTo>
                  <a:lnTo>
                    <a:pt x="785" y="90"/>
                  </a:lnTo>
                  <a:lnTo>
                    <a:pt x="790" y="89"/>
                  </a:lnTo>
                  <a:lnTo>
                    <a:pt x="795" y="87"/>
                  </a:lnTo>
                  <a:lnTo>
                    <a:pt x="799" y="84"/>
                  </a:lnTo>
                  <a:lnTo>
                    <a:pt x="803" y="81"/>
                  </a:lnTo>
                  <a:lnTo>
                    <a:pt x="805" y="78"/>
                  </a:lnTo>
                  <a:lnTo>
                    <a:pt x="806" y="75"/>
                  </a:lnTo>
                  <a:lnTo>
                    <a:pt x="806" y="73"/>
                  </a:lnTo>
                  <a:lnTo>
                    <a:pt x="807" y="68"/>
                  </a:lnTo>
                  <a:lnTo>
                    <a:pt x="807" y="65"/>
                  </a:lnTo>
                  <a:lnTo>
                    <a:pt x="806" y="61"/>
                  </a:lnTo>
                  <a:lnTo>
                    <a:pt x="804" y="58"/>
                  </a:lnTo>
                  <a:lnTo>
                    <a:pt x="802" y="56"/>
                  </a:lnTo>
                  <a:lnTo>
                    <a:pt x="800" y="54"/>
                  </a:lnTo>
                  <a:lnTo>
                    <a:pt x="797" y="52"/>
                  </a:lnTo>
                  <a:lnTo>
                    <a:pt x="793" y="51"/>
                  </a:lnTo>
                  <a:lnTo>
                    <a:pt x="788" y="49"/>
                  </a:lnTo>
                  <a:lnTo>
                    <a:pt x="776" y="47"/>
                  </a:lnTo>
                  <a:lnTo>
                    <a:pt x="772" y="46"/>
                  </a:lnTo>
                  <a:lnTo>
                    <a:pt x="770" y="45"/>
                  </a:lnTo>
                  <a:lnTo>
                    <a:pt x="768" y="44"/>
                  </a:lnTo>
                  <a:lnTo>
                    <a:pt x="768" y="42"/>
                  </a:lnTo>
                  <a:lnTo>
                    <a:pt x="769" y="40"/>
                  </a:lnTo>
                  <a:lnTo>
                    <a:pt x="771" y="38"/>
                  </a:lnTo>
                  <a:lnTo>
                    <a:pt x="773" y="37"/>
                  </a:lnTo>
                  <a:lnTo>
                    <a:pt x="777" y="37"/>
                  </a:lnTo>
                  <a:lnTo>
                    <a:pt x="781" y="37"/>
                  </a:lnTo>
                  <a:lnTo>
                    <a:pt x="783" y="38"/>
                  </a:lnTo>
                  <a:lnTo>
                    <a:pt x="785" y="39"/>
                  </a:lnTo>
                  <a:lnTo>
                    <a:pt x="786" y="40"/>
                  </a:lnTo>
                  <a:lnTo>
                    <a:pt x="787" y="41"/>
                  </a:lnTo>
                  <a:lnTo>
                    <a:pt x="788" y="44"/>
                  </a:lnTo>
                  <a:lnTo>
                    <a:pt x="806" y="44"/>
                  </a:lnTo>
                  <a:close/>
                  <a:moveTo>
                    <a:pt x="700" y="25"/>
                  </a:moveTo>
                  <a:lnTo>
                    <a:pt x="700" y="89"/>
                  </a:lnTo>
                  <a:lnTo>
                    <a:pt x="719" y="89"/>
                  </a:lnTo>
                  <a:lnTo>
                    <a:pt x="719" y="71"/>
                  </a:lnTo>
                  <a:lnTo>
                    <a:pt x="719" y="56"/>
                  </a:lnTo>
                  <a:lnTo>
                    <a:pt x="720" y="52"/>
                  </a:lnTo>
                  <a:lnTo>
                    <a:pt x="721" y="48"/>
                  </a:lnTo>
                  <a:lnTo>
                    <a:pt x="722" y="46"/>
                  </a:lnTo>
                  <a:lnTo>
                    <a:pt x="724" y="45"/>
                  </a:lnTo>
                  <a:lnTo>
                    <a:pt x="727" y="42"/>
                  </a:lnTo>
                  <a:lnTo>
                    <a:pt x="729" y="42"/>
                  </a:lnTo>
                  <a:lnTo>
                    <a:pt x="731" y="41"/>
                  </a:lnTo>
                  <a:lnTo>
                    <a:pt x="735" y="40"/>
                  </a:lnTo>
                  <a:lnTo>
                    <a:pt x="740" y="41"/>
                  </a:lnTo>
                  <a:lnTo>
                    <a:pt x="740" y="23"/>
                  </a:lnTo>
                  <a:lnTo>
                    <a:pt x="735" y="23"/>
                  </a:lnTo>
                  <a:lnTo>
                    <a:pt x="731" y="24"/>
                  </a:lnTo>
                  <a:lnTo>
                    <a:pt x="728" y="24"/>
                  </a:lnTo>
                  <a:lnTo>
                    <a:pt x="725" y="26"/>
                  </a:lnTo>
                  <a:lnTo>
                    <a:pt x="723" y="27"/>
                  </a:lnTo>
                  <a:lnTo>
                    <a:pt x="721" y="30"/>
                  </a:lnTo>
                  <a:lnTo>
                    <a:pt x="719" y="33"/>
                  </a:lnTo>
                  <a:lnTo>
                    <a:pt x="718" y="36"/>
                  </a:lnTo>
                  <a:lnTo>
                    <a:pt x="718" y="25"/>
                  </a:lnTo>
                  <a:lnTo>
                    <a:pt x="700" y="25"/>
                  </a:lnTo>
                  <a:close/>
                  <a:moveTo>
                    <a:pt x="640" y="49"/>
                  </a:moveTo>
                  <a:lnTo>
                    <a:pt x="641" y="46"/>
                  </a:lnTo>
                  <a:lnTo>
                    <a:pt x="642" y="44"/>
                  </a:lnTo>
                  <a:lnTo>
                    <a:pt x="643" y="42"/>
                  </a:lnTo>
                  <a:lnTo>
                    <a:pt x="645" y="40"/>
                  </a:lnTo>
                  <a:lnTo>
                    <a:pt x="647" y="39"/>
                  </a:lnTo>
                  <a:lnTo>
                    <a:pt x="649" y="38"/>
                  </a:lnTo>
                  <a:lnTo>
                    <a:pt x="655" y="37"/>
                  </a:lnTo>
                  <a:lnTo>
                    <a:pt x="660" y="38"/>
                  </a:lnTo>
                  <a:lnTo>
                    <a:pt x="662" y="39"/>
                  </a:lnTo>
                  <a:lnTo>
                    <a:pt x="663" y="40"/>
                  </a:lnTo>
                  <a:lnTo>
                    <a:pt x="665" y="42"/>
                  </a:lnTo>
                  <a:lnTo>
                    <a:pt x="666" y="44"/>
                  </a:lnTo>
                  <a:lnTo>
                    <a:pt x="667" y="46"/>
                  </a:lnTo>
                  <a:lnTo>
                    <a:pt x="667" y="49"/>
                  </a:lnTo>
                  <a:lnTo>
                    <a:pt x="640" y="49"/>
                  </a:lnTo>
                  <a:close/>
                  <a:moveTo>
                    <a:pt x="687" y="62"/>
                  </a:moveTo>
                  <a:lnTo>
                    <a:pt x="686" y="56"/>
                  </a:lnTo>
                  <a:lnTo>
                    <a:pt x="686" y="51"/>
                  </a:lnTo>
                  <a:lnTo>
                    <a:pt x="685" y="47"/>
                  </a:lnTo>
                  <a:lnTo>
                    <a:pt x="684" y="43"/>
                  </a:lnTo>
                  <a:lnTo>
                    <a:pt x="682" y="38"/>
                  </a:lnTo>
                  <a:lnTo>
                    <a:pt x="679" y="34"/>
                  </a:lnTo>
                  <a:lnTo>
                    <a:pt x="676" y="31"/>
                  </a:lnTo>
                  <a:lnTo>
                    <a:pt x="673" y="28"/>
                  </a:lnTo>
                  <a:lnTo>
                    <a:pt x="669" y="26"/>
                  </a:lnTo>
                  <a:lnTo>
                    <a:pt x="667" y="25"/>
                  </a:lnTo>
                  <a:lnTo>
                    <a:pt x="665" y="24"/>
                  </a:lnTo>
                  <a:lnTo>
                    <a:pt x="660" y="23"/>
                  </a:lnTo>
                  <a:lnTo>
                    <a:pt x="655" y="23"/>
                  </a:lnTo>
                  <a:lnTo>
                    <a:pt x="647" y="24"/>
                  </a:lnTo>
                  <a:lnTo>
                    <a:pt x="641" y="26"/>
                  </a:lnTo>
                  <a:lnTo>
                    <a:pt x="638" y="27"/>
                  </a:lnTo>
                  <a:lnTo>
                    <a:pt x="635" y="29"/>
                  </a:lnTo>
                  <a:lnTo>
                    <a:pt x="630" y="32"/>
                  </a:lnTo>
                  <a:lnTo>
                    <a:pt x="628" y="35"/>
                  </a:lnTo>
                  <a:lnTo>
                    <a:pt x="627" y="37"/>
                  </a:lnTo>
                  <a:lnTo>
                    <a:pt x="625" y="40"/>
                  </a:lnTo>
                  <a:lnTo>
                    <a:pt x="624" y="43"/>
                  </a:lnTo>
                  <a:lnTo>
                    <a:pt x="623" y="46"/>
                  </a:lnTo>
                  <a:lnTo>
                    <a:pt x="622" y="50"/>
                  </a:lnTo>
                  <a:lnTo>
                    <a:pt x="621" y="53"/>
                  </a:lnTo>
                  <a:lnTo>
                    <a:pt x="621" y="57"/>
                  </a:lnTo>
                  <a:lnTo>
                    <a:pt x="622" y="64"/>
                  </a:lnTo>
                  <a:lnTo>
                    <a:pt x="624" y="71"/>
                  </a:lnTo>
                  <a:lnTo>
                    <a:pt x="626" y="76"/>
                  </a:lnTo>
                  <a:lnTo>
                    <a:pt x="630" y="81"/>
                  </a:lnTo>
                  <a:lnTo>
                    <a:pt x="635" y="85"/>
                  </a:lnTo>
                  <a:lnTo>
                    <a:pt x="641" y="88"/>
                  </a:lnTo>
                  <a:lnTo>
                    <a:pt x="644" y="89"/>
                  </a:lnTo>
                  <a:lnTo>
                    <a:pt x="647" y="90"/>
                  </a:lnTo>
                  <a:lnTo>
                    <a:pt x="650" y="90"/>
                  </a:lnTo>
                  <a:lnTo>
                    <a:pt x="655" y="90"/>
                  </a:lnTo>
                  <a:lnTo>
                    <a:pt x="661" y="90"/>
                  </a:lnTo>
                  <a:lnTo>
                    <a:pt x="666" y="89"/>
                  </a:lnTo>
                  <a:lnTo>
                    <a:pt x="671" y="87"/>
                  </a:lnTo>
                  <a:lnTo>
                    <a:pt x="675" y="85"/>
                  </a:lnTo>
                  <a:lnTo>
                    <a:pt x="679" y="82"/>
                  </a:lnTo>
                  <a:lnTo>
                    <a:pt x="680" y="80"/>
                  </a:lnTo>
                  <a:lnTo>
                    <a:pt x="682" y="78"/>
                  </a:lnTo>
                  <a:lnTo>
                    <a:pt x="684" y="74"/>
                  </a:lnTo>
                  <a:lnTo>
                    <a:pt x="686" y="70"/>
                  </a:lnTo>
                  <a:lnTo>
                    <a:pt x="667" y="70"/>
                  </a:lnTo>
                  <a:lnTo>
                    <a:pt x="665" y="73"/>
                  </a:lnTo>
                  <a:lnTo>
                    <a:pt x="662" y="74"/>
                  </a:lnTo>
                  <a:lnTo>
                    <a:pt x="659" y="75"/>
                  </a:lnTo>
                  <a:lnTo>
                    <a:pt x="656" y="76"/>
                  </a:lnTo>
                  <a:lnTo>
                    <a:pt x="653" y="76"/>
                  </a:lnTo>
                  <a:lnTo>
                    <a:pt x="649" y="75"/>
                  </a:lnTo>
                  <a:lnTo>
                    <a:pt x="647" y="74"/>
                  </a:lnTo>
                  <a:lnTo>
                    <a:pt x="645" y="72"/>
                  </a:lnTo>
                  <a:lnTo>
                    <a:pt x="643" y="70"/>
                  </a:lnTo>
                  <a:lnTo>
                    <a:pt x="642" y="68"/>
                  </a:lnTo>
                  <a:lnTo>
                    <a:pt x="641" y="65"/>
                  </a:lnTo>
                  <a:lnTo>
                    <a:pt x="640" y="62"/>
                  </a:lnTo>
                  <a:lnTo>
                    <a:pt x="687" y="62"/>
                  </a:lnTo>
                  <a:close/>
                  <a:moveTo>
                    <a:pt x="593" y="89"/>
                  </a:moveTo>
                  <a:lnTo>
                    <a:pt x="614" y="25"/>
                  </a:lnTo>
                  <a:lnTo>
                    <a:pt x="594" y="25"/>
                  </a:lnTo>
                  <a:lnTo>
                    <a:pt x="588" y="49"/>
                  </a:lnTo>
                  <a:lnTo>
                    <a:pt x="584" y="68"/>
                  </a:lnTo>
                  <a:lnTo>
                    <a:pt x="579" y="49"/>
                  </a:lnTo>
                  <a:lnTo>
                    <a:pt x="571" y="25"/>
                  </a:lnTo>
                  <a:lnTo>
                    <a:pt x="552" y="25"/>
                  </a:lnTo>
                  <a:lnTo>
                    <a:pt x="575" y="89"/>
                  </a:lnTo>
                  <a:lnTo>
                    <a:pt x="593" y="89"/>
                  </a:lnTo>
                  <a:close/>
                  <a:moveTo>
                    <a:pt x="540" y="0"/>
                  </a:moveTo>
                  <a:lnTo>
                    <a:pt x="521" y="0"/>
                  </a:lnTo>
                  <a:lnTo>
                    <a:pt x="521" y="16"/>
                  </a:lnTo>
                  <a:lnTo>
                    <a:pt x="540" y="16"/>
                  </a:lnTo>
                  <a:lnTo>
                    <a:pt x="540" y="0"/>
                  </a:lnTo>
                  <a:close/>
                  <a:moveTo>
                    <a:pt x="540" y="25"/>
                  </a:moveTo>
                  <a:lnTo>
                    <a:pt x="521" y="25"/>
                  </a:lnTo>
                  <a:lnTo>
                    <a:pt x="521" y="89"/>
                  </a:lnTo>
                  <a:lnTo>
                    <a:pt x="540" y="89"/>
                  </a:lnTo>
                  <a:lnTo>
                    <a:pt x="540" y="25"/>
                  </a:lnTo>
                  <a:close/>
                  <a:moveTo>
                    <a:pt x="445" y="25"/>
                  </a:moveTo>
                  <a:lnTo>
                    <a:pt x="445" y="89"/>
                  </a:lnTo>
                  <a:lnTo>
                    <a:pt x="464" y="89"/>
                  </a:lnTo>
                  <a:lnTo>
                    <a:pt x="464" y="53"/>
                  </a:lnTo>
                  <a:lnTo>
                    <a:pt x="465" y="46"/>
                  </a:lnTo>
                  <a:lnTo>
                    <a:pt x="465" y="44"/>
                  </a:lnTo>
                  <a:lnTo>
                    <a:pt x="467" y="42"/>
                  </a:lnTo>
                  <a:lnTo>
                    <a:pt x="468" y="41"/>
                  </a:lnTo>
                  <a:lnTo>
                    <a:pt x="470" y="40"/>
                  </a:lnTo>
                  <a:lnTo>
                    <a:pt x="472" y="39"/>
                  </a:lnTo>
                  <a:lnTo>
                    <a:pt x="475" y="39"/>
                  </a:lnTo>
                  <a:lnTo>
                    <a:pt x="477" y="39"/>
                  </a:lnTo>
                  <a:lnTo>
                    <a:pt x="479" y="40"/>
                  </a:lnTo>
                  <a:lnTo>
                    <a:pt x="481" y="41"/>
                  </a:lnTo>
                  <a:lnTo>
                    <a:pt x="482" y="43"/>
                  </a:lnTo>
                  <a:lnTo>
                    <a:pt x="483" y="44"/>
                  </a:lnTo>
                  <a:lnTo>
                    <a:pt x="484" y="47"/>
                  </a:lnTo>
                  <a:lnTo>
                    <a:pt x="484" y="54"/>
                  </a:lnTo>
                  <a:lnTo>
                    <a:pt x="484" y="89"/>
                  </a:lnTo>
                  <a:lnTo>
                    <a:pt x="503" y="89"/>
                  </a:lnTo>
                  <a:lnTo>
                    <a:pt x="503" y="47"/>
                  </a:lnTo>
                  <a:lnTo>
                    <a:pt x="503" y="42"/>
                  </a:lnTo>
                  <a:lnTo>
                    <a:pt x="502" y="37"/>
                  </a:lnTo>
                  <a:lnTo>
                    <a:pt x="500" y="33"/>
                  </a:lnTo>
                  <a:lnTo>
                    <a:pt x="497" y="29"/>
                  </a:lnTo>
                  <a:lnTo>
                    <a:pt x="494" y="27"/>
                  </a:lnTo>
                  <a:lnTo>
                    <a:pt x="490" y="25"/>
                  </a:lnTo>
                  <a:lnTo>
                    <a:pt x="486" y="23"/>
                  </a:lnTo>
                  <a:lnTo>
                    <a:pt x="481" y="23"/>
                  </a:lnTo>
                  <a:lnTo>
                    <a:pt x="476" y="23"/>
                  </a:lnTo>
                  <a:lnTo>
                    <a:pt x="472" y="25"/>
                  </a:lnTo>
                  <a:lnTo>
                    <a:pt x="468" y="27"/>
                  </a:lnTo>
                  <a:lnTo>
                    <a:pt x="463" y="31"/>
                  </a:lnTo>
                  <a:lnTo>
                    <a:pt x="463" y="25"/>
                  </a:lnTo>
                  <a:lnTo>
                    <a:pt x="445" y="25"/>
                  </a:lnTo>
                  <a:close/>
                  <a:moveTo>
                    <a:pt x="407" y="0"/>
                  </a:moveTo>
                  <a:lnTo>
                    <a:pt x="407" y="59"/>
                  </a:lnTo>
                  <a:lnTo>
                    <a:pt x="407" y="63"/>
                  </a:lnTo>
                  <a:lnTo>
                    <a:pt x="406" y="66"/>
                  </a:lnTo>
                  <a:lnTo>
                    <a:pt x="405" y="68"/>
                  </a:lnTo>
                  <a:lnTo>
                    <a:pt x="404" y="70"/>
                  </a:lnTo>
                  <a:lnTo>
                    <a:pt x="401" y="72"/>
                  </a:lnTo>
                  <a:lnTo>
                    <a:pt x="398" y="73"/>
                  </a:lnTo>
                  <a:lnTo>
                    <a:pt x="395" y="74"/>
                  </a:lnTo>
                  <a:lnTo>
                    <a:pt x="392" y="74"/>
                  </a:lnTo>
                  <a:lnTo>
                    <a:pt x="388" y="74"/>
                  </a:lnTo>
                  <a:lnTo>
                    <a:pt x="385" y="73"/>
                  </a:lnTo>
                  <a:lnTo>
                    <a:pt x="382" y="72"/>
                  </a:lnTo>
                  <a:lnTo>
                    <a:pt x="380" y="70"/>
                  </a:lnTo>
                  <a:lnTo>
                    <a:pt x="378" y="68"/>
                  </a:lnTo>
                  <a:lnTo>
                    <a:pt x="377" y="66"/>
                  </a:lnTo>
                  <a:lnTo>
                    <a:pt x="376" y="63"/>
                  </a:lnTo>
                  <a:lnTo>
                    <a:pt x="376" y="59"/>
                  </a:lnTo>
                  <a:lnTo>
                    <a:pt x="376" y="0"/>
                  </a:lnTo>
                  <a:lnTo>
                    <a:pt x="356" y="0"/>
                  </a:lnTo>
                  <a:lnTo>
                    <a:pt x="356" y="60"/>
                  </a:lnTo>
                  <a:lnTo>
                    <a:pt x="357" y="68"/>
                  </a:lnTo>
                  <a:lnTo>
                    <a:pt x="359" y="74"/>
                  </a:lnTo>
                  <a:lnTo>
                    <a:pt x="360" y="77"/>
                  </a:lnTo>
                  <a:lnTo>
                    <a:pt x="362" y="79"/>
                  </a:lnTo>
                  <a:lnTo>
                    <a:pt x="364" y="81"/>
                  </a:lnTo>
                  <a:lnTo>
                    <a:pt x="366" y="83"/>
                  </a:lnTo>
                  <a:lnTo>
                    <a:pt x="371" y="86"/>
                  </a:lnTo>
                  <a:lnTo>
                    <a:pt x="374" y="88"/>
                  </a:lnTo>
                  <a:lnTo>
                    <a:pt x="378" y="89"/>
                  </a:lnTo>
                  <a:lnTo>
                    <a:pt x="384" y="90"/>
                  </a:lnTo>
                  <a:lnTo>
                    <a:pt x="392" y="91"/>
                  </a:lnTo>
                  <a:lnTo>
                    <a:pt x="399" y="90"/>
                  </a:lnTo>
                  <a:lnTo>
                    <a:pt x="403" y="90"/>
                  </a:lnTo>
                  <a:lnTo>
                    <a:pt x="406" y="89"/>
                  </a:lnTo>
                  <a:lnTo>
                    <a:pt x="412" y="86"/>
                  </a:lnTo>
                  <a:lnTo>
                    <a:pt x="418" y="83"/>
                  </a:lnTo>
                  <a:lnTo>
                    <a:pt x="420" y="81"/>
                  </a:lnTo>
                  <a:lnTo>
                    <a:pt x="422" y="79"/>
                  </a:lnTo>
                  <a:lnTo>
                    <a:pt x="424" y="77"/>
                  </a:lnTo>
                  <a:lnTo>
                    <a:pt x="425" y="74"/>
                  </a:lnTo>
                  <a:lnTo>
                    <a:pt x="427" y="68"/>
                  </a:lnTo>
                  <a:lnTo>
                    <a:pt x="427" y="64"/>
                  </a:lnTo>
                  <a:lnTo>
                    <a:pt x="427" y="60"/>
                  </a:lnTo>
                  <a:lnTo>
                    <a:pt x="427" y="0"/>
                  </a:lnTo>
                  <a:lnTo>
                    <a:pt x="407" y="0"/>
                  </a:lnTo>
                  <a:close/>
                  <a:moveTo>
                    <a:pt x="277" y="38"/>
                  </a:moveTo>
                  <a:lnTo>
                    <a:pt x="281" y="38"/>
                  </a:lnTo>
                  <a:lnTo>
                    <a:pt x="284" y="39"/>
                  </a:lnTo>
                  <a:lnTo>
                    <a:pt x="286" y="41"/>
                  </a:lnTo>
                  <a:lnTo>
                    <a:pt x="289" y="43"/>
                  </a:lnTo>
                  <a:lnTo>
                    <a:pt x="290" y="46"/>
                  </a:lnTo>
                  <a:lnTo>
                    <a:pt x="292" y="49"/>
                  </a:lnTo>
                  <a:lnTo>
                    <a:pt x="292" y="53"/>
                  </a:lnTo>
                  <a:lnTo>
                    <a:pt x="293" y="57"/>
                  </a:lnTo>
                  <a:lnTo>
                    <a:pt x="292" y="61"/>
                  </a:lnTo>
                  <a:lnTo>
                    <a:pt x="292" y="65"/>
                  </a:lnTo>
                  <a:lnTo>
                    <a:pt x="290" y="68"/>
                  </a:lnTo>
                  <a:lnTo>
                    <a:pt x="289" y="71"/>
                  </a:lnTo>
                  <a:lnTo>
                    <a:pt x="288" y="72"/>
                  </a:lnTo>
                  <a:lnTo>
                    <a:pt x="286" y="73"/>
                  </a:lnTo>
                  <a:lnTo>
                    <a:pt x="284" y="74"/>
                  </a:lnTo>
                  <a:lnTo>
                    <a:pt x="281" y="75"/>
                  </a:lnTo>
                  <a:lnTo>
                    <a:pt x="277" y="75"/>
                  </a:lnTo>
                  <a:lnTo>
                    <a:pt x="274" y="75"/>
                  </a:lnTo>
                  <a:lnTo>
                    <a:pt x="271" y="74"/>
                  </a:lnTo>
                  <a:lnTo>
                    <a:pt x="269" y="73"/>
                  </a:lnTo>
                  <a:lnTo>
                    <a:pt x="266" y="71"/>
                  </a:lnTo>
                  <a:lnTo>
                    <a:pt x="265" y="68"/>
                  </a:lnTo>
                  <a:lnTo>
                    <a:pt x="264" y="65"/>
                  </a:lnTo>
                  <a:lnTo>
                    <a:pt x="263" y="61"/>
                  </a:lnTo>
                  <a:lnTo>
                    <a:pt x="263" y="57"/>
                  </a:lnTo>
                  <a:lnTo>
                    <a:pt x="263" y="52"/>
                  </a:lnTo>
                  <a:lnTo>
                    <a:pt x="264" y="49"/>
                  </a:lnTo>
                  <a:lnTo>
                    <a:pt x="265" y="46"/>
                  </a:lnTo>
                  <a:lnTo>
                    <a:pt x="266" y="43"/>
                  </a:lnTo>
                  <a:lnTo>
                    <a:pt x="267" y="42"/>
                  </a:lnTo>
                  <a:lnTo>
                    <a:pt x="269" y="41"/>
                  </a:lnTo>
                  <a:lnTo>
                    <a:pt x="271" y="39"/>
                  </a:lnTo>
                  <a:lnTo>
                    <a:pt x="274" y="38"/>
                  </a:lnTo>
                  <a:lnTo>
                    <a:pt x="277" y="38"/>
                  </a:lnTo>
                  <a:close/>
                  <a:moveTo>
                    <a:pt x="277" y="23"/>
                  </a:moveTo>
                  <a:lnTo>
                    <a:pt x="270" y="24"/>
                  </a:lnTo>
                  <a:lnTo>
                    <a:pt x="264" y="26"/>
                  </a:lnTo>
                  <a:lnTo>
                    <a:pt x="261" y="27"/>
                  </a:lnTo>
                  <a:lnTo>
                    <a:pt x="258" y="29"/>
                  </a:lnTo>
                  <a:lnTo>
                    <a:pt x="253" y="33"/>
                  </a:lnTo>
                  <a:lnTo>
                    <a:pt x="249" y="37"/>
                  </a:lnTo>
                  <a:lnTo>
                    <a:pt x="247" y="40"/>
                  </a:lnTo>
                  <a:lnTo>
                    <a:pt x="246" y="43"/>
                  </a:lnTo>
                  <a:lnTo>
                    <a:pt x="245" y="46"/>
                  </a:lnTo>
                  <a:lnTo>
                    <a:pt x="244" y="50"/>
                  </a:lnTo>
                  <a:lnTo>
                    <a:pt x="244" y="53"/>
                  </a:lnTo>
                  <a:lnTo>
                    <a:pt x="244" y="57"/>
                  </a:lnTo>
                  <a:lnTo>
                    <a:pt x="244" y="64"/>
                  </a:lnTo>
                  <a:lnTo>
                    <a:pt x="246" y="70"/>
                  </a:lnTo>
                  <a:lnTo>
                    <a:pt x="247" y="73"/>
                  </a:lnTo>
                  <a:lnTo>
                    <a:pt x="249" y="76"/>
                  </a:lnTo>
                  <a:lnTo>
                    <a:pt x="253" y="81"/>
                  </a:lnTo>
                  <a:lnTo>
                    <a:pt x="258" y="85"/>
                  </a:lnTo>
                  <a:lnTo>
                    <a:pt x="261" y="87"/>
                  </a:lnTo>
                  <a:lnTo>
                    <a:pt x="264" y="88"/>
                  </a:lnTo>
                  <a:lnTo>
                    <a:pt x="267" y="89"/>
                  </a:lnTo>
                  <a:lnTo>
                    <a:pt x="270" y="90"/>
                  </a:lnTo>
                  <a:lnTo>
                    <a:pt x="277" y="90"/>
                  </a:lnTo>
                  <a:lnTo>
                    <a:pt x="285" y="90"/>
                  </a:lnTo>
                  <a:lnTo>
                    <a:pt x="291" y="88"/>
                  </a:lnTo>
                  <a:lnTo>
                    <a:pt x="294" y="87"/>
                  </a:lnTo>
                  <a:lnTo>
                    <a:pt x="297" y="85"/>
                  </a:lnTo>
                  <a:lnTo>
                    <a:pt x="302" y="81"/>
                  </a:lnTo>
                  <a:lnTo>
                    <a:pt x="306" y="76"/>
                  </a:lnTo>
                  <a:lnTo>
                    <a:pt x="308" y="73"/>
                  </a:lnTo>
                  <a:lnTo>
                    <a:pt x="309" y="71"/>
                  </a:lnTo>
                  <a:lnTo>
                    <a:pt x="311" y="64"/>
                  </a:lnTo>
                  <a:lnTo>
                    <a:pt x="311" y="61"/>
                  </a:lnTo>
                  <a:lnTo>
                    <a:pt x="311" y="57"/>
                  </a:lnTo>
                  <a:lnTo>
                    <a:pt x="311" y="53"/>
                  </a:lnTo>
                  <a:lnTo>
                    <a:pt x="311" y="50"/>
                  </a:lnTo>
                  <a:lnTo>
                    <a:pt x="309" y="43"/>
                  </a:lnTo>
                  <a:lnTo>
                    <a:pt x="308" y="40"/>
                  </a:lnTo>
                  <a:lnTo>
                    <a:pt x="306" y="37"/>
                  </a:lnTo>
                  <a:lnTo>
                    <a:pt x="302" y="33"/>
                  </a:lnTo>
                  <a:lnTo>
                    <a:pt x="297" y="29"/>
                  </a:lnTo>
                  <a:lnTo>
                    <a:pt x="294" y="27"/>
                  </a:lnTo>
                  <a:lnTo>
                    <a:pt x="291" y="26"/>
                  </a:lnTo>
                  <a:lnTo>
                    <a:pt x="288" y="24"/>
                  </a:lnTo>
                  <a:lnTo>
                    <a:pt x="285" y="24"/>
                  </a:lnTo>
                  <a:lnTo>
                    <a:pt x="277" y="23"/>
                  </a:lnTo>
                  <a:close/>
                  <a:moveTo>
                    <a:pt x="235" y="26"/>
                  </a:moveTo>
                  <a:lnTo>
                    <a:pt x="224" y="26"/>
                  </a:lnTo>
                  <a:lnTo>
                    <a:pt x="224" y="5"/>
                  </a:lnTo>
                  <a:lnTo>
                    <a:pt x="205" y="5"/>
                  </a:lnTo>
                  <a:lnTo>
                    <a:pt x="205" y="26"/>
                  </a:lnTo>
                  <a:lnTo>
                    <a:pt x="196" y="26"/>
                  </a:lnTo>
                  <a:lnTo>
                    <a:pt x="196" y="39"/>
                  </a:lnTo>
                  <a:lnTo>
                    <a:pt x="205" y="39"/>
                  </a:lnTo>
                  <a:lnTo>
                    <a:pt x="205" y="68"/>
                  </a:lnTo>
                  <a:lnTo>
                    <a:pt x="205" y="74"/>
                  </a:lnTo>
                  <a:lnTo>
                    <a:pt x="206" y="79"/>
                  </a:lnTo>
                  <a:lnTo>
                    <a:pt x="207" y="82"/>
                  </a:lnTo>
                  <a:lnTo>
                    <a:pt x="209" y="84"/>
                  </a:lnTo>
                  <a:lnTo>
                    <a:pt x="211" y="86"/>
                  </a:lnTo>
                  <a:lnTo>
                    <a:pt x="214" y="88"/>
                  </a:lnTo>
                  <a:lnTo>
                    <a:pt x="218" y="88"/>
                  </a:lnTo>
                  <a:lnTo>
                    <a:pt x="224" y="89"/>
                  </a:lnTo>
                  <a:lnTo>
                    <a:pt x="235" y="89"/>
                  </a:lnTo>
                  <a:lnTo>
                    <a:pt x="235" y="75"/>
                  </a:lnTo>
                  <a:lnTo>
                    <a:pt x="228" y="75"/>
                  </a:lnTo>
                  <a:lnTo>
                    <a:pt x="226" y="74"/>
                  </a:lnTo>
                  <a:lnTo>
                    <a:pt x="225" y="74"/>
                  </a:lnTo>
                  <a:lnTo>
                    <a:pt x="224" y="73"/>
                  </a:lnTo>
                  <a:lnTo>
                    <a:pt x="224" y="70"/>
                  </a:lnTo>
                  <a:lnTo>
                    <a:pt x="224" y="64"/>
                  </a:lnTo>
                  <a:lnTo>
                    <a:pt x="224" y="39"/>
                  </a:lnTo>
                  <a:lnTo>
                    <a:pt x="235" y="39"/>
                  </a:lnTo>
                  <a:lnTo>
                    <a:pt x="235" y="26"/>
                  </a:lnTo>
                  <a:close/>
                  <a:moveTo>
                    <a:pt x="184" y="0"/>
                  </a:moveTo>
                  <a:lnTo>
                    <a:pt x="166" y="0"/>
                  </a:lnTo>
                  <a:lnTo>
                    <a:pt x="166" y="89"/>
                  </a:lnTo>
                  <a:lnTo>
                    <a:pt x="184" y="89"/>
                  </a:lnTo>
                  <a:lnTo>
                    <a:pt x="184" y="0"/>
                  </a:lnTo>
                  <a:close/>
                  <a:moveTo>
                    <a:pt x="131" y="68"/>
                  </a:moveTo>
                  <a:lnTo>
                    <a:pt x="129" y="72"/>
                  </a:lnTo>
                  <a:lnTo>
                    <a:pt x="126" y="74"/>
                  </a:lnTo>
                  <a:lnTo>
                    <a:pt x="122" y="76"/>
                  </a:lnTo>
                  <a:lnTo>
                    <a:pt x="117" y="76"/>
                  </a:lnTo>
                  <a:lnTo>
                    <a:pt x="114" y="76"/>
                  </a:lnTo>
                  <a:lnTo>
                    <a:pt x="111" y="74"/>
                  </a:lnTo>
                  <a:lnTo>
                    <a:pt x="109" y="72"/>
                  </a:lnTo>
                  <a:lnTo>
                    <a:pt x="108" y="71"/>
                  </a:lnTo>
                  <a:lnTo>
                    <a:pt x="108" y="69"/>
                  </a:lnTo>
                  <a:lnTo>
                    <a:pt x="109" y="67"/>
                  </a:lnTo>
                  <a:lnTo>
                    <a:pt x="110" y="65"/>
                  </a:lnTo>
                  <a:lnTo>
                    <a:pt x="113" y="63"/>
                  </a:lnTo>
                  <a:lnTo>
                    <a:pt x="118" y="62"/>
                  </a:lnTo>
                  <a:lnTo>
                    <a:pt x="124" y="60"/>
                  </a:lnTo>
                  <a:lnTo>
                    <a:pt x="131" y="58"/>
                  </a:lnTo>
                  <a:lnTo>
                    <a:pt x="131" y="68"/>
                  </a:lnTo>
                  <a:close/>
                  <a:moveTo>
                    <a:pt x="110" y="45"/>
                  </a:moveTo>
                  <a:lnTo>
                    <a:pt x="110" y="43"/>
                  </a:lnTo>
                  <a:lnTo>
                    <a:pt x="111" y="42"/>
                  </a:lnTo>
                  <a:lnTo>
                    <a:pt x="112" y="40"/>
                  </a:lnTo>
                  <a:lnTo>
                    <a:pt x="113" y="39"/>
                  </a:lnTo>
                  <a:lnTo>
                    <a:pt x="116" y="38"/>
                  </a:lnTo>
                  <a:lnTo>
                    <a:pt x="121" y="37"/>
                  </a:lnTo>
                  <a:lnTo>
                    <a:pt x="125" y="38"/>
                  </a:lnTo>
                  <a:lnTo>
                    <a:pt x="128" y="39"/>
                  </a:lnTo>
                  <a:lnTo>
                    <a:pt x="130" y="41"/>
                  </a:lnTo>
                  <a:lnTo>
                    <a:pt x="131" y="42"/>
                  </a:lnTo>
                  <a:lnTo>
                    <a:pt x="131" y="43"/>
                  </a:lnTo>
                  <a:lnTo>
                    <a:pt x="130" y="45"/>
                  </a:lnTo>
                  <a:lnTo>
                    <a:pt x="129" y="46"/>
                  </a:lnTo>
                  <a:lnTo>
                    <a:pt x="128" y="47"/>
                  </a:lnTo>
                  <a:lnTo>
                    <a:pt x="125" y="48"/>
                  </a:lnTo>
                  <a:lnTo>
                    <a:pt x="115" y="49"/>
                  </a:lnTo>
                  <a:lnTo>
                    <a:pt x="109" y="51"/>
                  </a:lnTo>
                  <a:lnTo>
                    <a:pt x="103" y="52"/>
                  </a:lnTo>
                  <a:lnTo>
                    <a:pt x="99" y="54"/>
                  </a:lnTo>
                  <a:lnTo>
                    <a:pt x="95" y="56"/>
                  </a:lnTo>
                  <a:lnTo>
                    <a:pt x="93" y="59"/>
                  </a:lnTo>
                  <a:lnTo>
                    <a:pt x="92" y="61"/>
                  </a:lnTo>
                  <a:lnTo>
                    <a:pt x="91" y="62"/>
                  </a:lnTo>
                  <a:lnTo>
                    <a:pt x="90" y="66"/>
                  </a:lnTo>
                  <a:lnTo>
                    <a:pt x="89" y="70"/>
                  </a:lnTo>
                  <a:lnTo>
                    <a:pt x="90" y="75"/>
                  </a:lnTo>
                  <a:lnTo>
                    <a:pt x="91" y="79"/>
                  </a:lnTo>
                  <a:lnTo>
                    <a:pt x="93" y="82"/>
                  </a:lnTo>
                  <a:lnTo>
                    <a:pt x="96" y="85"/>
                  </a:lnTo>
                  <a:lnTo>
                    <a:pt x="97" y="86"/>
                  </a:lnTo>
                  <a:lnTo>
                    <a:pt x="99" y="87"/>
                  </a:lnTo>
                  <a:lnTo>
                    <a:pt x="103" y="89"/>
                  </a:lnTo>
                  <a:lnTo>
                    <a:pt x="108" y="90"/>
                  </a:lnTo>
                  <a:lnTo>
                    <a:pt x="113" y="90"/>
                  </a:lnTo>
                  <a:lnTo>
                    <a:pt x="118" y="90"/>
                  </a:lnTo>
                  <a:lnTo>
                    <a:pt x="123" y="89"/>
                  </a:lnTo>
                  <a:lnTo>
                    <a:pt x="127" y="87"/>
                  </a:lnTo>
                  <a:lnTo>
                    <a:pt x="131" y="84"/>
                  </a:lnTo>
                  <a:lnTo>
                    <a:pt x="133" y="89"/>
                  </a:lnTo>
                  <a:lnTo>
                    <a:pt x="152" y="89"/>
                  </a:lnTo>
                  <a:lnTo>
                    <a:pt x="151" y="87"/>
                  </a:lnTo>
                  <a:lnTo>
                    <a:pt x="150" y="85"/>
                  </a:lnTo>
                  <a:lnTo>
                    <a:pt x="149" y="78"/>
                  </a:lnTo>
                  <a:lnTo>
                    <a:pt x="149" y="48"/>
                  </a:lnTo>
                  <a:lnTo>
                    <a:pt x="149" y="42"/>
                  </a:lnTo>
                  <a:lnTo>
                    <a:pt x="148" y="37"/>
                  </a:lnTo>
                  <a:lnTo>
                    <a:pt x="146" y="33"/>
                  </a:lnTo>
                  <a:lnTo>
                    <a:pt x="145" y="31"/>
                  </a:lnTo>
                  <a:lnTo>
                    <a:pt x="143" y="30"/>
                  </a:lnTo>
                  <a:lnTo>
                    <a:pt x="139" y="27"/>
                  </a:lnTo>
                  <a:lnTo>
                    <a:pt x="134" y="25"/>
                  </a:lnTo>
                  <a:lnTo>
                    <a:pt x="128" y="23"/>
                  </a:lnTo>
                  <a:lnTo>
                    <a:pt x="121" y="23"/>
                  </a:lnTo>
                  <a:lnTo>
                    <a:pt x="115" y="23"/>
                  </a:lnTo>
                  <a:lnTo>
                    <a:pt x="109" y="24"/>
                  </a:lnTo>
                  <a:lnTo>
                    <a:pt x="104" y="26"/>
                  </a:lnTo>
                  <a:lnTo>
                    <a:pt x="101" y="28"/>
                  </a:lnTo>
                  <a:lnTo>
                    <a:pt x="97" y="31"/>
                  </a:lnTo>
                  <a:lnTo>
                    <a:pt x="95" y="35"/>
                  </a:lnTo>
                  <a:lnTo>
                    <a:pt x="94" y="37"/>
                  </a:lnTo>
                  <a:lnTo>
                    <a:pt x="94" y="40"/>
                  </a:lnTo>
                  <a:lnTo>
                    <a:pt x="93" y="42"/>
                  </a:lnTo>
                  <a:lnTo>
                    <a:pt x="93" y="45"/>
                  </a:lnTo>
                  <a:lnTo>
                    <a:pt x="110" y="45"/>
                  </a:lnTo>
                  <a:close/>
                  <a:moveTo>
                    <a:pt x="52" y="55"/>
                  </a:moveTo>
                  <a:lnTo>
                    <a:pt x="32" y="55"/>
                  </a:lnTo>
                  <a:lnTo>
                    <a:pt x="43" y="20"/>
                  </a:lnTo>
                  <a:lnTo>
                    <a:pt x="52" y="55"/>
                  </a:lnTo>
                  <a:close/>
                  <a:moveTo>
                    <a:pt x="57" y="71"/>
                  </a:moveTo>
                  <a:lnTo>
                    <a:pt x="61" y="89"/>
                  </a:lnTo>
                  <a:lnTo>
                    <a:pt x="84" y="89"/>
                  </a:lnTo>
                  <a:lnTo>
                    <a:pt x="56" y="0"/>
                  </a:lnTo>
                  <a:lnTo>
                    <a:pt x="31" y="0"/>
                  </a:lnTo>
                  <a:lnTo>
                    <a:pt x="0" y="89"/>
                  </a:lnTo>
                  <a:lnTo>
                    <a:pt x="22" y="89"/>
                  </a:lnTo>
                  <a:lnTo>
                    <a:pt x="27" y="71"/>
                  </a:lnTo>
                  <a:lnTo>
                    <a:pt x="57" y="71"/>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14" name="Freeform 7"/>
            <p:cNvSpPr>
              <a:spLocks noEditPoints="1"/>
            </p:cNvSpPr>
            <p:nvPr userDrawn="1"/>
          </p:nvSpPr>
          <p:spPr bwMode="auto">
            <a:xfrm>
              <a:off x="5756275" y="325438"/>
              <a:ext cx="1941513" cy="142875"/>
            </a:xfrm>
            <a:custGeom>
              <a:avLst/>
              <a:gdLst>
                <a:gd name="T0" fmla="*/ 1197 w 1223"/>
                <a:gd name="T1" fmla="*/ 38 h 90"/>
                <a:gd name="T2" fmla="*/ 1220 w 1223"/>
                <a:gd name="T3" fmla="*/ 32 h 90"/>
                <a:gd name="T4" fmla="*/ 1120 w 1223"/>
                <a:gd name="T5" fmla="*/ 37 h 90"/>
                <a:gd name="T6" fmla="*/ 1131 w 1223"/>
                <a:gd name="T7" fmla="*/ 70 h 90"/>
                <a:gd name="T8" fmla="*/ 1105 w 1223"/>
                <a:gd name="T9" fmla="*/ 60 h 90"/>
                <a:gd name="T10" fmla="*/ 1112 w 1223"/>
                <a:gd name="T11" fmla="*/ 23 h 90"/>
                <a:gd name="T12" fmla="*/ 1088 w 1223"/>
                <a:gd name="T13" fmla="*/ 70 h 90"/>
                <a:gd name="T14" fmla="*/ 1136 w 1223"/>
                <a:gd name="T15" fmla="*/ 86 h 90"/>
                <a:gd name="T16" fmla="*/ 1150 w 1223"/>
                <a:gd name="T17" fmla="*/ 40 h 90"/>
                <a:gd name="T18" fmla="*/ 1074 w 1223"/>
                <a:gd name="T19" fmla="*/ 15 h 90"/>
                <a:gd name="T20" fmla="*/ 1002 w 1223"/>
                <a:gd name="T21" fmla="*/ 25 h 90"/>
                <a:gd name="T22" fmla="*/ 1041 w 1223"/>
                <a:gd name="T23" fmla="*/ 88 h 90"/>
                <a:gd name="T24" fmla="*/ 967 w 1223"/>
                <a:gd name="T25" fmla="*/ 74 h 90"/>
                <a:gd name="T26" fmla="*/ 966 w 1223"/>
                <a:gd name="T27" fmla="*/ 60 h 90"/>
                <a:gd name="T28" fmla="*/ 971 w 1223"/>
                <a:gd name="T29" fmla="*/ 40 h 90"/>
                <a:gd name="T30" fmla="*/ 934 w 1223"/>
                <a:gd name="T31" fmla="*/ 59 h 90"/>
                <a:gd name="T32" fmla="*/ 954 w 1223"/>
                <a:gd name="T33" fmla="*/ 90 h 90"/>
                <a:gd name="T34" fmla="*/ 990 w 1223"/>
                <a:gd name="T35" fmla="*/ 36 h 90"/>
                <a:gd name="T36" fmla="*/ 939 w 1223"/>
                <a:gd name="T37" fmla="*/ 31 h 90"/>
                <a:gd name="T38" fmla="*/ 907 w 1223"/>
                <a:gd name="T39" fmla="*/ 26 h 90"/>
                <a:gd name="T40" fmla="*/ 859 w 1223"/>
                <a:gd name="T41" fmla="*/ 49 h 90"/>
                <a:gd name="T42" fmla="*/ 891 w 1223"/>
                <a:gd name="T43" fmla="*/ 90 h 90"/>
                <a:gd name="T44" fmla="*/ 899 w 1223"/>
                <a:gd name="T45" fmla="*/ 72 h 90"/>
                <a:gd name="T46" fmla="*/ 878 w 1223"/>
                <a:gd name="T47" fmla="*/ 56 h 90"/>
                <a:gd name="T48" fmla="*/ 900 w 1223"/>
                <a:gd name="T49" fmla="*/ 42 h 90"/>
                <a:gd name="T50" fmla="*/ 823 w 1223"/>
                <a:gd name="T51" fmla="*/ 73 h 90"/>
                <a:gd name="T52" fmla="*/ 790 w 1223"/>
                <a:gd name="T53" fmla="*/ 71 h 90"/>
                <a:gd name="T54" fmla="*/ 828 w 1223"/>
                <a:gd name="T55" fmla="*/ 83 h 90"/>
                <a:gd name="T56" fmla="*/ 756 w 1223"/>
                <a:gd name="T57" fmla="*/ 52 h 90"/>
                <a:gd name="T58" fmla="*/ 735 w 1223"/>
                <a:gd name="T59" fmla="*/ 72 h 90"/>
                <a:gd name="T60" fmla="*/ 740 w 1223"/>
                <a:gd name="T61" fmla="*/ 38 h 90"/>
                <a:gd name="T62" fmla="*/ 719 w 1223"/>
                <a:gd name="T63" fmla="*/ 32 h 90"/>
                <a:gd name="T64" fmla="*/ 723 w 1223"/>
                <a:gd name="T65" fmla="*/ 85 h 90"/>
                <a:gd name="T66" fmla="*/ 757 w 1223"/>
                <a:gd name="T67" fmla="*/ 88 h 90"/>
                <a:gd name="T68" fmla="*/ 655 w 1223"/>
                <a:gd name="T69" fmla="*/ 34 h 90"/>
                <a:gd name="T70" fmla="*/ 556 w 1223"/>
                <a:gd name="T71" fmla="*/ 38 h 90"/>
                <a:gd name="T72" fmla="*/ 580 w 1223"/>
                <a:gd name="T73" fmla="*/ 41 h 90"/>
                <a:gd name="T74" fmla="*/ 533 w 1223"/>
                <a:gd name="T75" fmla="*/ 28 h 90"/>
                <a:gd name="T76" fmla="*/ 528 w 1223"/>
                <a:gd name="T77" fmla="*/ 81 h 90"/>
                <a:gd name="T78" fmla="*/ 577 w 1223"/>
                <a:gd name="T79" fmla="*/ 80 h 90"/>
                <a:gd name="T80" fmla="*/ 543 w 1223"/>
                <a:gd name="T81" fmla="*/ 72 h 90"/>
                <a:gd name="T82" fmla="*/ 471 w 1223"/>
                <a:gd name="T83" fmla="*/ 24 h 90"/>
                <a:gd name="T84" fmla="*/ 440 w 1223"/>
                <a:gd name="T85" fmla="*/ 88 h 90"/>
                <a:gd name="T86" fmla="*/ 376 w 1223"/>
                <a:gd name="T87" fmla="*/ 78 h 90"/>
                <a:gd name="T88" fmla="*/ 394 w 1223"/>
                <a:gd name="T89" fmla="*/ 69 h 90"/>
                <a:gd name="T90" fmla="*/ 329 w 1223"/>
                <a:gd name="T91" fmla="*/ 73 h 90"/>
                <a:gd name="T92" fmla="*/ 295 w 1223"/>
                <a:gd name="T93" fmla="*/ 71 h 90"/>
                <a:gd name="T94" fmla="*/ 333 w 1223"/>
                <a:gd name="T95" fmla="*/ 83 h 90"/>
                <a:gd name="T96" fmla="*/ 259 w 1223"/>
                <a:gd name="T97" fmla="*/ 23 h 90"/>
                <a:gd name="T98" fmla="*/ 221 w 1223"/>
                <a:gd name="T99" fmla="*/ 64 h 90"/>
                <a:gd name="T100" fmla="*/ 264 w 1223"/>
                <a:gd name="T101" fmla="*/ 88 h 90"/>
                <a:gd name="T102" fmla="*/ 257 w 1223"/>
                <a:gd name="T103" fmla="*/ 74 h 90"/>
                <a:gd name="T104" fmla="*/ 240 w 1223"/>
                <a:gd name="T105" fmla="*/ 50 h 90"/>
                <a:gd name="T106" fmla="*/ 264 w 1223"/>
                <a:gd name="T107" fmla="*/ 47 h 90"/>
                <a:gd name="T108" fmla="*/ 186 w 1223"/>
                <a:gd name="T109" fmla="*/ 40 h 90"/>
                <a:gd name="T110" fmla="*/ 202 w 1223"/>
                <a:gd name="T111" fmla="*/ 33 h 90"/>
                <a:gd name="T112" fmla="*/ 152 w 1223"/>
                <a:gd name="T113" fmla="*/ 34 h 90"/>
                <a:gd name="T114" fmla="*/ 165 w 1223"/>
                <a:gd name="T115" fmla="*/ 87 h 90"/>
                <a:gd name="T116" fmla="*/ 207 w 1223"/>
                <a:gd name="T117" fmla="*/ 74 h 90"/>
                <a:gd name="T118" fmla="*/ 166 w 1223"/>
                <a:gd name="T119" fmla="*/ 67 h 90"/>
                <a:gd name="T120" fmla="*/ 96 w 1223"/>
                <a:gd name="T121" fmla="*/ 88 h 90"/>
                <a:gd name="T122" fmla="*/ 60 w 1223"/>
                <a:gd name="T123" fmla="*/ 5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3" h="90">
                  <a:moveTo>
                    <a:pt x="1165" y="24"/>
                  </a:moveTo>
                  <a:lnTo>
                    <a:pt x="1165" y="88"/>
                  </a:lnTo>
                  <a:lnTo>
                    <a:pt x="1184" y="88"/>
                  </a:lnTo>
                  <a:lnTo>
                    <a:pt x="1184" y="52"/>
                  </a:lnTo>
                  <a:lnTo>
                    <a:pt x="1184" y="46"/>
                  </a:lnTo>
                  <a:lnTo>
                    <a:pt x="1185" y="44"/>
                  </a:lnTo>
                  <a:lnTo>
                    <a:pt x="1187" y="42"/>
                  </a:lnTo>
                  <a:lnTo>
                    <a:pt x="1188" y="40"/>
                  </a:lnTo>
                  <a:lnTo>
                    <a:pt x="1190" y="39"/>
                  </a:lnTo>
                  <a:lnTo>
                    <a:pt x="1192" y="38"/>
                  </a:lnTo>
                  <a:lnTo>
                    <a:pt x="1195" y="38"/>
                  </a:lnTo>
                  <a:lnTo>
                    <a:pt x="1197" y="38"/>
                  </a:lnTo>
                  <a:lnTo>
                    <a:pt x="1199" y="39"/>
                  </a:lnTo>
                  <a:lnTo>
                    <a:pt x="1201" y="40"/>
                  </a:lnTo>
                  <a:lnTo>
                    <a:pt x="1202" y="42"/>
                  </a:lnTo>
                  <a:lnTo>
                    <a:pt x="1203" y="44"/>
                  </a:lnTo>
                  <a:lnTo>
                    <a:pt x="1204" y="46"/>
                  </a:lnTo>
                  <a:lnTo>
                    <a:pt x="1204" y="53"/>
                  </a:lnTo>
                  <a:lnTo>
                    <a:pt x="1204" y="88"/>
                  </a:lnTo>
                  <a:lnTo>
                    <a:pt x="1223" y="88"/>
                  </a:lnTo>
                  <a:lnTo>
                    <a:pt x="1223" y="47"/>
                  </a:lnTo>
                  <a:lnTo>
                    <a:pt x="1223" y="41"/>
                  </a:lnTo>
                  <a:lnTo>
                    <a:pt x="1222" y="37"/>
                  </a:lnTo>
                  <a:lnTo>
                    <a:pt x="1220" y="32"/>
                  </a:lnTo>
                  <a:lnTo>
                    <a:pt x="1217" y="29"/>
                  </a:lnTo>
                  <a:lnTo>
                    <a:pt x="1214" y="26"/>
                  </a:lnTo>
                  <a:lnTo>
                    <a:pt x="1210" y="24"/>
                  </a:lnTo>
                  <a:lnTo>
                    <a:pt x="1206" y="23"/>
                  </a:lnTo>
                  <a:lnTo>
                    <a:pt x="1201" y="22"/>
                  </a:lnTo>
                  <a:lnTo>
                    <a:pt x="1196" y="23"/>
                  </a:lnTo>
                  <a:lnTo>
                    <a:pt x="1192" y="24"/>
                  </a:lnTo>
                  <a:lnTo>
                    <a:pt x="1188" y="27"/>
                  </a:lnTo>
                  <a:lnTo>
                    <a:pt x="1183" y="30"/>
                  </a:lnTo>
                  <a:lnTo>
                    <a:pt x="1183" y="24"/>
                  </a:lnTo>
                  <a:lnTo>
                    <a:pt x="1165" y="24"/>
                  </a:lnTo>
                  <a:close/>
                  <a:moveTo>
                    <a:pt x="1120" y="37"/>
                  </a:moveTo>
                  <a:lnTo>
                    <a:pt x="1123" y="38"/>
                  </a:lnTo>
                  <a:lnTo>
                    <a:pt x="1126" y="39"/>
                  </a:lnTo>
                  <a:lnTo>
                    <a:pt x="1129" y="40"/>
                  </a:lnTo>
                  <a:lnTo>
                    <a:pt x="1131" y="42"/>
                  </a:lnTo>
                  <a:lnTo>
                    <a:pt x="1132" y="45"/>
                  </a:lnTo>
                  <a:lnTo>
                    <a:pt x="1134" y="48"/>
                  </a:lnTo>
                  <a:lnTo>
                    <a:pt x="1134" y="52"/>
                  </a:lnTo>
                  <a:lnTo>
                    <a:pt x="1135" y="57"/>
                  </a:lnTo>
                  <a:lnTo>
                    <a:pt x="1134" y="61"/>
                  </a:lnTo>
                  <a:lnTo>
                    <a:pt x="1134" y="64"/>
                  </a:lnTo>
                  <a:lnTo>
                    <a:pt x="1132" y="67"/>
                  </a:lnTo>
                  <a:lnTo>
                    <a:pt x="1131" y="70"/>
                  </a:lnTo>
                  <a:lnTo>
                    <a:pt x="1130" y="71"/>
                  </a:lnTo>
                  <a:lnTo>
                    <a:pt x="1129" y="72"/>
                  </a:lnTo>
                  <a:lnTo>
                    <a:pt x="1126" y="74"/>
                  </a:lnTo>
                  <a:lnTo>
                    <a:pt x="1123" y="75"/>
                  </a:lnTo>
                  <a:lnTo>
                    <a:pt x="1120" y="75"/>
                  </a:lnTo>
                  <a:lnTo>
                    <a:pt x="1116" y="75"/>
                  </a:lnTo>
                  <a:lnTo>
                    <a:pt x="1113" y="74"/>
                  </a:lnTo>
                  <a:lnTo>
                    <a:pt x="1111" y="72"/>
                  </a:lnTo>
                  <a:lnTo>
                    <a:pt x="1109" y="70"/>
                  </a:lnTo>
                  <a:lnTo>
                    <a:pt x="1107" y="67"/>
                  </a:lnTo>
                  <a:lnTo>
                    <a:pt x="1106" y="64"/>
                  </a:lnTo>
                  <a:lnTo>
                    <a:pt x="1105" y="60"/>
                  </a:lnTo>
                  <a:lnTo>
                    <a:pt x="1105" y="56"/>
                  </a:lnTo>
                  <a:lnTo>
                    <a:pt x="1105" y="52"/>
                  </a:lnTo>
                  <a:lnTo>
                    <a:pt x="1106" y="48"/>
                  </a:lnTo>
                  <a:lnTo>
                    <a:pt x="1107" y="45"/>
                  </a:lnTo>
                  <a:lnTo>
                    <a:pt x="1109" y="42"/>
                  </a:lnTo>
                  <a:lnTo>
                    <a:pt x="1110" y="41"/>
                  </a:lnTo>
                  <a:lnTo>
                    <a:pt x="1111" y="40"/>
                  </a:lnTo>
                  <a:lnTo>
                    <a:pt x="1113" y="39"/>
                  </a:lnTo>
                  <a:lnTo>
                    <a:pt x="1116" y="38"/>
                  </a:lnTo>
                  <a:lnTo>
                    <a:pt x="1120" y="37"/>
                  </a:lnTo>
                  <a:close/>
                  <a:moveTo>
                    <a:pt x="1120" y="23"/>
                  </a:moveTo>
                  <a:lnTo>
                    <a:pt x="1112" y="23"/>
                  </a:lnTo>
                  <a:lnTo>
                    <a:pt x="1106" y="25"/>
                  </a:lnTo>
                  <a:lnTo>
                    <a:pt x="1103" y="26"/>
                  </a:lnTo>
                  <a:lnTo>
                    <a:pt x="1100" y="28"/>
                  </a:lnTo>
                  <a:lnTo>
                    <a:pt x="1095" y="32"/>
                  </a:lnTo>
                  <a:lnTo>
                    <a:pt x="1091" y="37"/>
                  </a:lnTo>
                  <a:lnTo>
                    <a:pt x="1090" y="40"/>
                  </a:lnTo>
                  <a:lnTo>
                    <a:pt x="1088" y="43"/>
                  </a:lnTo>
                  <a:lnTo>
                    <a:pt x="1087" y="46"/>
                  </a:lnTo>
                  <a:lnTo>
                    <a:pt x="1086" y="49"/>
                  </a:lnTo>
                  <a:lnTo>
                    <a:pt x="1086" y="56"/>
                  </a:lnTo>
                  <a:lnTo>
                    <a:pt x="1086" y="63"/>
                  </a:lnTo>
                  <a:lnTo>
                    <a:pt x="1088" y="70"/>
                  </a:lnTo>
                  <a:lnTo>
                    <a:pt x="1090" y="73"/>
                  </a:lnTo>
                  <a:lnTo>
                    <a:pt x="1091" y="76"/>
                  </a:lnTo>
                  <a:lnTo>
                    <a:pt x="1095" y="80"/>
                  </a:lnTo>
                  <a:lnTo>
                    <a:pt x="1100" y="84"/>
                  </a:lnTo>
                  <a:lnTo>
                    <a:pt x="1103" y="86"/>
                  </a:lnTo>
                  <a:lnTo>
                    <a:pt x="1106" y="87"/>
                  </a:lnTo>
                  <a:lnTo>
                    <a:pt x="1109" y="88"/>
                  </a:lnTo>
                  <a:lnTo>
                    <a:pt x="1112" y="89"/>
                  </a:lnTo>
                  <a:lnTo>
                    <a:pt x="1120" y="90"/>
                  </a:lnTo>
                  <a:lnTo>
                    <a:pt x="1127" y="89"/>
                  </a:lnTo>
                  <a:lnTo>
                    <a:pt x="1133" y="87"/>
                  </a:lnTo>
                  <a:lnTo>
                    <a:pt x="1136" y="86"/>
                  </a:lnTo>
                  <a:lnTo>
                    <a:pt x="1139" y="84"/>
                  </a:lnTo>
                  <a:lnTo>
                    <a:pt x="1144" y="80"/>
                  </a:lnTo>
                  <a:lnTo>
                    <a:pt x="1148" y="76"/>
                  </a:lnTo>
                  <a:lnTo>
                    <a:pt x="1150" y="73"/>
                  </a:lnTo>
                  <a:lnTo>
                    <a:pt x="1151" y="70"/>
                  </a:lnTo>
                  <a:lnTo>
                    <a:pt x="1153" y="64"/>
                  </a:lnTo>
                  <a:lnTo>
                    <a:pt x="1153" y="60"/>
                  </a:lnTo>
                  <a:lnTo>
                    <a:pt x="1154" y="57"/>
                  </a:lnTo>
                  <a:lnTo>
                    <a:pt x="1153" y="53"/>
                  </a:lnTo>
                  <a:lnTo>
                    <a:pt x="1153" y="49"/>
                  </a:lnTo>
                  <a:lnTo>
                    <a:pt x="1151" y="43"/>
                  </a:lnTo>
                  <a:lnTo>
                    <a:pt x="1150" y="40"/>
                  </a:lnTo>
                  <a:lnTo>
                    <a:pt x="1148" y="37"/>
                  </a:lnTo>
                  <a:lnTo>
                    <a:pt x="1144" y="32"/>
                  </a:lnTo>
                  <a:lnTo>
                    <a:pt x="1139" y="28"/>
                  </a:lnTo>
                  <a:lnTo>
                    <a:pt x="1136" y="26"/>
                  </a:lnTo>
                  <a:lnTo>
                    <a:pt x="1133" y="25"/>
                  </a:lnTo>
                  <a:lnTo>
                    <a:pt x="1130" y="24"/>
                  </a:lnTo>
                  <a:lnTo>
                    <a:pt x="1127" y="23"/>
                  </a:lnTo>
                  <a:lnTo>
                    <a:pt x="1120" y="23"/>
                  </a:lnTo>
                  <a:close/>
                  <a:moveTo>
                    <a:pt x="1074" y="0"/>
                  </a:moveTo>
                  <a:lnTo>
                    <a:pt x="1056" y="0"/>
                  </a:lnTo>
                  <a:lnTo>
                    <a:pt x="1056" y="15"/>
                  </a:lnTo>
                  <a:lnTo>
                    <a:pt x="1074" y="15"/>
                  </a:lnTo>
                  <a:lnTo>
                    <a:pt x="1074" y="0"/>
                  </a:lnTo>
                  <a:close/>
                  <a:moveTo>
                    <a:pt x="1074" y="24"/>
                  </a:moveTo>
                  <a:lnTo>
                    <a:pt x="1056" y="24"/>
                  </a:lnTo>
                  <a:lnTo>
                    <a:pt x="1056" y="88"/>
                  </a:lnTo>
                  <a:lnTo>
                    <a:pt x="1074" y="88"/>
                  </a:lnTo>
                  <a:lnTo>
                    <a:pt x="1074" y="24"/>
                  </a:lnTo>
                  <a:close/>
                  <a:moveTo>
                    <a:pt x="1041" y="25"/>
                  </a:moveTo>
                  <a:lnTo>
                    <a:pt x="1029" y="25"/>
                  </a:lnTo>
                  <a:lnTo>
                    <a:pt x="1029" y="5"/>
                  </a:lnTo>
                  <a:lnTo>
                    <a:pt x="1011" y="5"/>
                  </a:lnTo>
                  <a:lnTo>
                    <a:pt x="1011" y="25"/>
                  </a:lnTo>
                  <a:lnTo>
                    <a:pt x="1002" y="25"/>
                  </a:lnTo>
                  <a:lnTo>
                    <a:pt x="1002" y="38"/>
                  </a:lnTo>
                  <a:lnTo>
                    <a:pt x="1011" y="38"/>
                  </a:lnTo>
                  <a:lnTo>
                    <a:pt x="1011" y="67"/>
                  </a:lnTo>
                  <a:lnTo>
                    <a:pt x="1011" y="74"/>
                  </a:lnTo>
                  <a:lnTo>
                    <a:pt x="1011" y="78"/>
                  </a:lnTo>
                  <a:lnTo>
                    <a:pt x="1012" y="81"/>
                  </a:lnTo>
                  <a:lnTo>
                    <a:pt x="1014" y="84"/>
                  </a:lnTo>
                  <a:lnTo>
                    <a:pt x="1017" y="86"/>
                  </a:lnTo>
                  <a:lnTo>
                    <a:pt x="1020" y="87"/>
                  </a:lnTo>
                  <a:lnTo>
                    <a:pt x="1024" y="88"/>
                  </a:lnTo>
                  <a:lnTo>
                    <a:pt x="1029" y="88"/>
                  </a:lnTo>
                  <a:lnTo>
                    <a:pt x="1041" y="88"/>
                  </a:lnTo>
                  <a:lnTo>
                    <a:pt x="1041" y="74"/>
                  </a:lnTo>
                  <a:lnTo>
                    <a:pt x="1034" y="74"/>
                  </a:lnTo>
                  <a:lnTo>
                    <a:pt x="1032" y="74"/>
                  </a:lnTo>
                  <a:lnTo>
                    <a:pt x="1030" y="72"/>
                  </a:lnTo>
                  <a:lnTo>
                    <a:pt x="1029" y="69"/>
                  </a:lnTo>
                  <a:lnTo>
                    <a:pt x="1029" y="63"/>
                  </a:lnTo>
                  <a:lnTo>
                    <a:pt x="1029" y="38"/>
                  </a:lnTo>
                  <a:lnTo>
                    <a:pt x="1041" y="38"/>
                  </a:lnTo>
                  <a:lnTo>
                    <a:pt x="1041" y="25"/>
                  </a:lnTo>
                  <a:close/>
                  <a:moveTo>
                    <a:pt x="973" y="68"/>
                  </a:moveTo>
                  <a:lnTo>
                    <a:pt x="970" y="71"/>
                  </a:lnTo>
                  <a:lnTo>
                    <a:pt x="967" y="74"/>
                  </a:lnTo>
                  <a:lnTo>
                    <a:pt x="963" y="75"/>
                  </a:lnTo>
                  <a:lnTo>
                    <a:pt x="959" y="76"/>
                  </a:lnTo>
                  <a:lnTo>
                    <a:pt x="955" y="75"/>
                  </a:lnTo>
                  <a:lnTo>
                    <a:pt x="952" y="74"/>
                  </a:lnTo>
                  <a:lnTo>
                    <a:pt x="950" y="72"/>
                  </a:lnTo>
                  <a:lnTo>
                    <a:pt x="950" y="70"/>
                  </a:lnTo>
                  <a:lnTo>
                    <a:pt x="949" y="69"/>
                  </a:lnTo>
                  <a:lnTo>
                    <a:pt x="950" y="66"/>
                  </a:lnTo>
                  <a:lnTo>
                    <a:pt x="952" y="64"/>
                  </a:lnTo>
                  <a:lnTo>
                    <a:pt x="955" y="62"/>
                  </a:lnTo>
                  <a:lnTo>
                    <a:pt x="959" y="61"/>
                  </a:lnTo>
                  <a:lnTo>
                    <a:pt x="966" y="60"/>
                  </a:lnTo>
                  <a:lnTo>
                    <a:pt x="973" y="58"/>
                  </a:lnTo>
                  <a:lnTo>
                    <a:pt x="973" y="68"/>
                  </a:lnTo>
                  <a:close/>
                  <a:moveTo>
                    <a:pt x="951" y="44"/>
                  </a:moveTo>
                  <a:lnTo>
                    <a:pt x="951" y="43"/>
                  </a:lnTo>
                  <a:lnTo>
                    <a:pt x="952" y="41"/>
                  </a:lnTo>
                  <a:lnTo>
                    <a:pt x="953" y="40"/>
                  </a:lnTo>
                  <a:lnTo>
                    <a:pt x="954" y="39"/>
                  </a:lnTo>
                  <a:lnTo>
                    <a:pt x="958" y="37"/>
                  </a:lnTo>
                  <a:lnTo>
                    <a:pt x="962" y="37"/>
                  </a:lnTo>
                  <a:lnTo>
                    <a:pt x="966" y="37"/>
                  </a:lnTo>
                  <a:lnTo>
                    <a:pt x="970" y="38"/>
                  </a:lnTo>
                  <a:lnTo>
                    <a:pt x="971" y="40"/>
                  </a:lnTo>
                  <a:lnTo>
                    <a:pt x="972" y="41"/>
                  </a:lnTo>
                  <a:lnTo>
                    <a:pt x="972" y="43"/>
                  </a:lnTo>
                  <a:lnTo>
                    <a:pt x="972" y="44"/>
                  </a:lnTo>
                  <a:lnTo>
                    <a:pt x="971" y="46"/>
                  </a:lnTo>
                  <a:lnTo>
                    <a:pt x="969" y="46"/>
                  </a:lnTo>
                  <a:lnTo>
                    <a:pt x="966" y="47"/>
                  </a:lnTo>
                  <a:lnTo>
                    <a:pt x="956" y="49"/>
                  </a:lnTo>
                  <a:lnTo>
                    <a:pt x="950" y="50"/>
                  </a:lnTo>
                  <a:lnTo>
                    <a:pt x="945" y="52"/>
                  </a:lnTo>
                  <a:lnTo>
                    <a:pt x="940" y="54"/>
                  </a:lnTo>
                  <a:lnTo>
                    <a:pt x="937" y="56"/>
                  </a:lnTo>
                  <a:lnTo>
                    <a:pt x="934" y="59"/>
                  </a:lnTo>
                  <a:lnTo>
                    <a:pt x="933" y="60"/>
                  </a:lnTo>
                  <a:lnTo>
                    <a:pt x="932" y="62"/>
                  </a:lnTo>
                  <a:lnTo>
                    <a:pt x="931" y="66"/>
                  </a:lnTo>
                  <a:lnTo>
                    <a:pt x="931" y="70"/>
                  </a:lnTo>
                  <a:lnTo>
                    <a:pt x="931" y="74"/>
                  </a:lnTo>
                  <a:lnTo>
                    <a:pt x="933" y="78"/>
                  </a:lnTo>
                  <a:lnTo>
                    <a:pt x="935" y="81"/>
                  </a:lnTo>
                  <a:lnTo>
                    <a:pt x="937" y="84"/>
                  </a:lnTo>
                  <a:lnTo>
                    <a:pt x="941" y="87"/>
                  </a:lnTo>
                  <a:lnTo>
                    <a:pt x="945" y="88"/>
                  </a:lnTo>
                  <a:lnTo>
                    <a:pt x="949" y="89"/>
                  </a:lnTo>
                  <a:lnTo>
                    <a:pt x="954" y="90"/>
                  </a:lnTo>
                  <a:lnTo>
                    <a:pt x="960" y="90"/>
                  </a:lnTo>
                  <a:lnTo>
                    <a:pt x="964" y="88"/>
                  </a:lnTo>
                  <a:lnTo>
                    <a:pt x="968" y="86"/>
                  </a:lnTo>
                  <a:lnTo>
                    <a:pt x="973" y="83"/>
                  </a:lnTo>
                  <a:lnTo>
                    <a:pt x="974" y="88"/>
                  </a:lnTo>
                  <a:lnTo>
                    <a:pt x="993" y="88"/>
                  </a:lnTo>
                  <a:lnTo>
                    <a:pt x="992" y="86"/>
                  </a:lnTo>
                  <a:lnTo>
                    <a:pt x="991" y="84"/>
                  </a:lnTo>
                  <a:lnTo>
                    <a:pt x="991" y="77"/>
                  </a:lnTo>
                  <a:lnTo>
                    <a:pt x="991" y="48"/>
                  </a:lnTo>
                  <a:lnTo>
                    <a:pt x="991" y="41"/>
                  </a:lnTo>
                  <a:lnTo>
                    <a:pt x="990" y="36"/>
                  </a:lnTo>
                  <a:lnTo>
                    <a:pt x="988" y="32"/>
                  </a:lnTo>
                  <a:lnTo>
                    <a:pt x="986" y="31"/>
                  </a:lnTo>
                  <a:lnTo>
                    <a:pt x="985" y="29"/>
                  </a:lnTo>
                  <a:lnTo>
                    <a:pt x="980" y="26"/>
                  </a:lnTo>
                  <a:lnTo>
                    <a:pt x="975" y="24"/>
                  </a:lnTo>
                  <a:lnTo>
                    <a:pt x="969" y="23"/>
                  </a:lnTo>
                  <a:lnTo>
                    <a:pt x="962" y="23"/>
                  </a:lnTo>
                  <a:lnTo>
                    <a:pt x="956" y="23"/>
                  </a:lnTo>
                  <a:lnTo>
                    <a:pt x="951" y="24"/>
                  </a:lnTo>
                  <a:lnTo>
                    <a:pt x="946" y="26"/>
                  </a:lnTo>
                  <a:lnTo>
                    <a:pt x="942" y="28"/>
                  </a:lnTo>
                  <a:lnTo>
                    <a:pt x="939" y="31"/>
                  </a:lnTo>
                  <a:lnTo>
                    <a:pt x="937" y="35"/>
                  </a:lnTo>
                  <a:lnTo>
                    <a:pt x="936" y="37"/>
                  </a:lnTo>
                  <a:lnTo>
                    <a:pt x="935" y="39"/>
                  </a:lnTo>
                  <a:lnTo>
                    <a:pt x="934" y="42"/>
                  </a:lnTo>
                  <a:lnTo>
                    <a:pt x="934" y="44"/>
                  </a:lnTo>
                  <a:lnTo>
                    <a:pt x="951" y="44"/>
                  </a:lnTo>
                  <a:close/>
                  <a:moveTo>
                    <a:pt x="920" y="47"/>
                  </a:moveTo>
                  <a:lnTo>
                    <a:pt x="920" y="42"/>
                  </a:lnTo>
                  <a:lnTo>
                    <a:pt x="918" y="37"/>
                  </a:lnTo>
                  <a:lnTo>
                    <a:pt x="915" y="33"/>
                  </a:lnTo>
                  <a:lnTo>
                    <a:pt x="912" y="29"/>
                  </a:lnTo>
                  <a:lnTo>
                    <a:pt x="907" y="26"/>
                  </a:lnTo>
                  <a:lnTo>
                    <a:pt x="903" y="24"/>
                  </a:lnTo>
                  <a:lnTo>
                    <a:pt x="897" y="23"/>
                  </a:lnTo>
                  <a:lnTo>
                    <a:pt x="891" y="23"/>
                  </a:lnTo>
                  <a:lnTo>
                    <a:pt x="884" y="23"/>
                  </a:lnTo>
                  <a:lnTo>
                    <a:pt x="878" y="25"/>
                  </a:lnTo>
                  <a:lnTo>
                    <a:pt x="872" y="28"/>
                  </a:lnTo>
                  <a:lnTo>
                    <a:pt x="870" y="29"/>
                  </a:lnTo>
                  <a:lnTo>
                    <a:pt x="867" y="32"/>
                  </a:lnTo>
                  <a:lnTo>
                    <a:pt x="865" y="34"/>
                  </a:lnTo>
                  <a:lnTo>
                    <a:pt x="864" y="36"/>
                  </a:lnTo>
                  <a:lnTo>
                    <a:pt x="861" y="42"/>
                  </a:lnTo>
                  <a:lnTo>
                    <a:pt x="859" y="49"/>
                  </a:lnTo>
                  <a:lnTo>
                    <a:pt x="859" y="56"/>
                  </a:lnTo>
                  <a:lnTo>
                    <a:pt x="859" y="64"/>
                  </a:lnTo>
                  <a:lnTo>
                    <a:pt x="860" y="67"/>
                  </a:lnTo>
                  <a:lnTo>
                    <a:pt x="861" y="70"/>
                  </a:lnTo>
                  <a:lnTo>
                    <a:pt x="864" y="76"/>
                  </a:lnTo>
                  <a:lnTo>
                    <a:pt x="865" y="79"/>
                  </a:lnTo>
                  <a:lnTo>
                    <a:pt x="867" y="81"/>
                  </a:lnTo>
                  <a:lnTo>
                    <a:pt x="872" y="85"/>
                  </a:lnTo>
                  <a:lnTo>
                    <a:pt x="877" y="88"/>
                  </a:lnTo>
                  <a:lnTo>
                    <a:pt x="884" y="89"/>
                  </a:lnTo>
                  <a:lnTo>
                    <a:pt x="887" y="90"/>
                  </a:lnTo>
                  <a:lnTo>
                    <a:pt x="891" y="90"/>
                  </a:lnTo>
                  <a:lnTo>
                    <a:pt x="897" y="89"/>
                  </a:lnTo>
                  <a:lnTo>
                    <a:pt x="902" y="88"/>
                  </a:lnTo>
                  <a:lnTo>
                    <a:pt x="907" y="86"/>
                  </a:lnTo>
                  <a:lnTo>
                    <a:pt x="911" y="83"/>
                  </a:lnTo>
                  <a:lnTo>
                    <a:pt x="915" y="80"/>
                  </a:lnTo>
                  <a:lnTo>
                    <a:pt x="918" y="75"/>
                  </a:lnTo>
                  <a:lnTo>
                    <a:pt x="920" y="70"/>
                  </a:lnTo>
                  <a:lnTo>
                    <a:pt x="921" y="65"/>
                  </a:lnTo>
                  <a:lnTo>
                    <a:pt x="903" y="64"/>
                  </a:lnTo>
                  <a:lnTo>
                    <a:pt x="902" y="66"/>
                  </a:lnTo>
                  <a:lnTo>
                    <a:pt x="901" y="69"/>
                  </a:lnTo>
                  <a:lnTo>
                    <a:pt x="899" y="72"/>
                  </a:lnTo>
                  <a:lnTo>
                    <a:pt x="897" y="73"/>
                  </a:lnTo>
                  <a:lnTo>
                    <a:pt x="896" y="74"/>
                  </a:lnTo>
                  <a:lnTo>
                    <a:pt x="893" y="74"/>
                  </a:lnTo>
                  <a:lnTo>
                    <a:pt x="891" y="75"/>
                  </a:lnTo>
                  <a:lnTo>
                    <a:pt x="888" y="74"/>
                  </a:lnTo>
                  <a:lnTo>
                    <a:pt x="885" y="73"/>
                  </a:lnTo>
                  <a:lnTo>
                    <a:pt x="883" y="72"/>
                  </a:lnTo>
                  <a:lnTo>
                    <a:pt x="881" y="70"/>
                  </a:lnTo>
                  <a:lnTo>
                    <a:pt x="880" y="67"/>
                  </a:lnTo>
                  <a:lnTo>
                    <a:pt x="879" y="64"/>
                  </a:lnTo>
                  <a:lnTo>
                    <a:pt x="878" y="60"/>
                  </a:lnTo>
                  <a:lnTo>
                    <a:pt x="878" y="56"/>
                  </a:lnTo>
                  <a:lnTo>
                    <a:pt x="878" y="52"/>
                  </a:lnTo>
                  <a:lnTo>
                    <a:pt x="878" y="50"/>
                  </a:lnTo>
                  <a:lnTo>
                    <a:pt x="879" y="48"/>
                  </a:lnTo>
                  <a:lnTo>
                    <a:pt x="880" y="45"/>
                  </a:lnTo>
                  <a:lnTo>
                    <a:pt x="881" y="42"/>
                  </a:lnTo>
                  <a:lnTo>
                    <a:pt x="883" y="40"/>
                  </a:lnTo>
                  <a:lnTo>
                    <a:pt x="885" y="39"/>
                  </a:lnTo>
                  <a:lnTo>
                    <a:pt x="888" y="38"/>
                  </a:lnTo>
                  <a:lnTo>
                    <a:pt x="891" y="38"/>
                  </a:lnTo>
                  <a:lnTo>
                    <a:pt x="895" y="38"/>
                  </a:lnTo>
                  <a:lnTo>
                    <a:pt x="899" y="40"/>
                  </a:lnTo>
                  <a:lnTo>
                    <a:pt x="900" y="42"/>
                  </a:lnTo>
                  <a:lnTo>
                    <a:pt x="901" y="43"/>
                  </a:lnTo>
                  <a:lnTo>
                    <a:pt x="902" y="45"/>
                  </a:lnTo>
                  <a:lnTo>
                    <a:pt x="903" y="47"/>
                  </a:lnTo>
                  <a:lnTo>
                    <a:pt x="920" y="47"/>
                  </a:lnTo>
                  <a:close/>
                  <a:moveTo>
                    <a:pt x="847" y="24"/>
                  </a:moveTo>
                  <a:lnTo>
                    <a:pt x="828" y="24"/>
                  </a:lnTo>
                  <a:lnTo>
                    <a:pt x="828" y="60"/>
                  </a:lnTo>
                  <a:lnTo>
                    <a:pt x="828" y="67"/>
                  </a:lnTo>
                  <a:lnTo>
                    <a:pt x="827" y="69"/>
                  </a:lnTo>
                  <a:lnTo>
                    <a:pt x="826" y="70"/>
                  </a:lnTo>
                  <a:lnTo>
                    <a:pt x="825" y="72"/>
                  </a:lnTo>
                  <a:lnTo>
                    <a:pt x="823" y="73"/>
                  </a:lnTo>
                  <a:lnTo>
                    <a:pt x="821" y="74"/>
                  </a:lnTo>
                  <a:lnTo>
                    <a:pt x="818" y="74"/>
                  </a:lnTo>
                  <a:lnTo>
                    <a:pt x="816" y="74"/>
                  </a:lnTo>
                  <a:lnTo>
                    <a:pt x="814" y="73"/>
                  </a:lnTo>
                  <a:lnTo>
                    <a:pt x="812" y="72"/>
                  </a:lnTo>
                  <a:lnTo>
                    <a:pt x="810" y="70"/>
                  </a:lnTo>
                  <a:lnTo>
                    <a:pt x="809" y="67"/>
                  </a:lnTo>
                  <a:lnTo>
                    <a:pt x="808" y="60"/>
                  </a:lnTo>
                  <a:lnTo>
                    <a:pt x="808" y="24"/>
                  </a:lnTo>
                  <a:lnTo>
                    <a:pt x="789" y="24"/>
                  </a:lnTo>
                  <a:lnTo>
                    <a:pt x="789" y="64"/>
                  </a:lnTo>
                  <a:lnTo>
                    <a:pt x="790" y="71"/>
                  </a:lnTo>
                  <a:lnTo>
                    <a:pt x="791" y="76"/>
                  </a:lnTo>
                  <a:lnTo>
                    <a:pt x="792" y="78"/>
                  </a:lnTo>
                  <a:lnTo>
                    <a:pt x="793" y="80"/>
                  </a:lnTo>
                  <a:lnTo>
                    <a:pt x="795" y="83"/>
                  </a:lnTo>
                  <a:lnTo>
                    <a:pt x="799" y="86"/>
                  </a:lnTo>
                  <a:lnTo>
                    <a:pt x="803" y="88"/>
                  </a:lnTo>
                  <a:lnTo>
                    <a:pt x="808" y="89"/>
                  </a:lnTo>
                  <a:lnTo>
                    <a:pt x="812" y="90"/>
                  </a:lnTo>
                  <a:lnTo>
                    <a:pt x="818" y="89"/>
                  </a:lnTo>
                  <a:lnTo>
                    <a:pt x="822" y="88"/>
                  </a:lnTo>
                  <a:lnTo>
                    <a:pt x="826" y="85"/>
                  </a:lnTo>
                  <a:lnTo>
                    <a:pt x="828" y="83"/>
                  </a:lnTo>
                  <a:lnTo>
                    <a:pt x="829" y="81"/>
                  </a:lnTo>
                  <a:lnTo>
                    <a:pt x="829" y="88"/>
                  </a:lnTo>
                  <a:lnTo>
                    <a:pt x="847" y="88"/>
                  </a:lnTo>
                  <a:lnTo>
                    <a:pt x="847" y="24"/>
                  </a:lnTo>
                  <a:close/>
                  <a:moveTo>
                    <a:pt x="743" y="38"/>
                  </a:moveTo>
                  <a:lnTo>
                    <a:pt x="746" y="38"/>
                  </a:lnTo>
                  <a:lnTo>
                    <a:pt x="749" y="39"/>
                  </a:lnTo>
                  <a:lnTo>
                    <a:pt x="751" y="41"/>
                  </a:lnTo>
                  <a:lnTo>
                    <a:pt x="753" y="43"/>
                  </a:lnTo>
                  <a:lnTo>
                    <a:pt x="755" y="45"/>
                  </a:lnTo>
                  <a:lnTo>
                    <a:pt x="756" y="49"/>
                  </a:lnTo>
                  <a:lnTo>
                    <a:pt x="756" y="52"/>
                  </a:lnTo>
                  <a:lnTo>
                    <a:pt x="757" y="56"/>
                  </a:lnTo>
                  <a:lnTo>
                    <a:pt x="756" y="60"/>
                  </a:lnTo>
                  <a:lnTo>
                    <a:pt x="756" y="64"/>
                  </a:lnTo>
                  <a:lnTo>
                    <a:pt x="755" y="67"/>
                  </a:lnTo>
                  <a:lnTo>
                    <a:pt x="753" y="70"/>
                  </a:lnTo>
                  <a:lnTo>
                    <a:pt x="751" y="72"/>
                  </a:lnTo>
                  <a:lnTo>
                    <a:pt x="749" y="73"/>
                  </a:lnTo>
                  <a:lnTo>
                    <a:pt x="746" y="74"/>
                  </a:lnTo>
                  <a:lnTo>
                    <a:pt x="743" y="75"/>
                  </a:lnTo>
                  <a:lnTo>
                    <a:pt x="740" y="74"/>
                  </a:lnTo>
                  <a:lnTo>
                    <a:pt x="738" y="73"/>
                  </a:lnTo>
                  <a:lnTo>
                    <a:pt x="735" y="72"/>
                  </a:lnTo>
                  <a:lnTo>
                    <a:pt x="733" y="70"/>
                  </a:lnTo>
                  <a:lnTo>
                    <a:pt x="732" y="67"/>
                  </a:lnTo>
                  <a:lnTo>
                    <a:pt x="731" y="64"/>
                  </a:lnTo>
                  <a:lnTo>
                    <a:pt x="730" y="60"/>
                  </a:lnTo>
                  <a:lnTo>
                    <a:pt x="730" y="56"/>
                  </a:lnTo>
                  <a:lnTo>
                    <a:pt x="730" y="52"/>
                  </a:lnTo>
                  <a:lnTo>
                    <a:pt x="731" y="48"/>
                  </a:lnTo>
                  <a:lnTo>
                    <a:pt x="732" y="45"/>
                  </a:lnTo>
                  <a:lnTo>
                    <a:pt x="733" y="43"/>
                  </a:lnTo>
                  <a:lnTo>
                    <a:pt x="735" y="40"/>
                  </a:lnTo>
                  <a:lnTo>
                    <a:pt x="738" y="39"/>
                  </a:lnTo>
                  <a:lnTo>
                    <a:pt x="740" y="38"/>
                  </a:lnTo>
                  <a:lnTo>
                    <a:pt x="743" y="38"/>
                  </a:lnTo>
                  <a:close/>
                  <a:moveTo>
                    <a:pt x="775" y="0"/>
                  </a:moveTo>
                  <a:lnTo>
                    <a:pt x="756" y="0"/>
                  </a:lnTo>
                  <a:lnTo>
                    <a:pt x="756" y="29"/>
                  </a:lnTo>
                  <a:lnTo>
                    <a:pt x="753" y="26"/>
                  </a:lnTo>
                  <a:lnTo>
                    <a:pt x="749" y="24"/>
                  </a:lnTo>
                  <a:lnTo>
                    <a:pt x="745" y="23"/>
                  </a:lnTo>
                  <a:lnTo>
                    <a:pt x="740" y="22"/>
                  </a:lnTo>
                  <a:lnTo>
                    <a:pt x="734" y="23"/>
                  </a:lnTo>
                  <a:lnTo>
                    <a:pt x="728" y="25"/>
                  </a:lnTo>
                  <a:lnTo>
                    <a:pt x="723" y="28"/>
                  </a:lnTo>
                  <a:lnTo>
                    <a:pt x="719" y="32"/>
                  </a:lnTo>
                  <a:lnTo>
                    <a:pt x="716" y="37"/>
                  </a:lnTo>
                  <a:lnTo>
                    <a:pt x="713" y="42"/>
                  </a:lnTo>
                  <a:lnTo>
                    <a:pt x="712" y="46"/>
                  </a:lnTo>
                  <a:lnTo>
                    <a:pt x="712" y="49"/>
                  </a:lnTo>
                  <a:lnTo>
                    <a:pt x="711" y="56"/>
                  </a:lnTo>
                  <a:lnTo>
                    <a:pt x="712" y="64"/>
                  </a:lnTo>
                  <a:lnTo>
                    <a:pt x="712" y="67"/>
                  </a:lnTo>
                  <a:lnTo>
                    <a:pt x="713" y="70"/>
                  </a:lnTo>
                  <a:lnTo>
                    <a:pt x="716" y="76"/>
                  </a:lnTo>
                  <a:lnTo>
                    <a:pt x="717" y="78"/>
                  </a:lnTo>
                  <a:lnTo>
                    <a:pt x="719" y="81"/>
                  </a:lnTo>
                  <a:lnTo>
                    <a:pt x="723" y="85"/>
                  </a:lnTo>
                  <a:lnTo>
                    <a:pt x="728" y="87"/>
                  </a:lnTo>
                  <a:lnTo>
                    <a:pt x="730" y="88"/>
                  </a:lnTo>
                  <a:lnTo>
                    <a:pt x="733" y="89"/>
                  </a:lnTo>
                  <a:lnTo>
                    <a:pt x="736" y="90"/>
                  </a:lnTo>
                  <a:lnTo>
                    <a:pt x="739" y="90"/>
                  </a:lnTo>
                  <a:lnTo>
                    <a:pt x="745" y="89"/>
                  </a:lnTo>
                  <a:lnTo>
                    <a:pt x="747" y="89"/>
                  </a:lnTo>
                  <a:lnTo>
                    <a:pt x="749" y="88"/>
                  </a:lnTo>
                  <a:lnTo>
                    <a:pt x="751" y="87"/>
                  </a:lnTo>
                  <a:lnTo>
                    <a:pt x="753" y="85"/>
                  </a:lnTo>
                  <a:lnTo>
                    <a:pt x="757" y="81"/>
                  </a:lnTo>
                  <a:lnTo>
                    <a:pt x="757" y="88"/>
                  </a:lnTo>
                  <a:lnTo>
                    <a:pt x="775" y="88"/>
                  </a:lnTo>
                  <a:lnTo>
                    <a:pt x="775" y="0"/>
                  </a:lnTo>
                  <a:close/>
                  <a:moveTo>
                    <a:pt x="701" y="0"/>
                  </a:moveTo>
                  <a:lnTo>
                    <a:pt x="634" y="0"/>
                  </a:lnTo>
                  <a:lnTo>
                    <a:pt x="634" y="88"/>
                  </a:lnTo>
                  <a:lnTo>
                    <a:pt x="702" y="88"/>
                  </a:lnTo>
                  <a:lnTo>
                    <a:pt x="702" y="71"/>
                  </a:lnTo>
                  <a:lnTo>
                    <a:pt x="655" y="71"/>
                  </a:lnTo>
                  <a:lnTo>
                    <a:pt x="655" y="50"/>
                  </a:lnTo>
                  <a:lnTo>
                    <a:pt x="695" y="50"/>
                  </a:lnTo>
                  <a:lnTo>
                    <a:pt x="695" y="34"/>
                  </a:lnTo>
                  <a:lnTo>
                    <a:pt x="655" y="34"/>
                  </a:lnTo>
                  <a:lnTo>
                    <a:pt x="655" y="17"/>
                  </a:lnTo>
                  <a:lnTo>
                    <a:pt x="701" y="17"/>
                  </a:lnTo>
                  <a:lnTo>
                    <a:pt x="701" y="0"/>
                  </a:lnTo>
                  <a:close/>
                  <a:moveTo>
                    <a:pt x="538" y="48"/>
                  </a:moveTo>
                  <a:lnTo>
                    <a:pt x="539" y="46"/>
                  </a:lnTo>
                  <a:lnTo>
                    <a:pt x="540" y="43"/>
                  </a:lnTo>
                  <a:lnTo>
                    <a:pt x="541" y="41"/>
                  </a:lnTo>
                  <a:lnTo>
                    <a:pt x="543" y="40"/>
                  </a:lnTo>
                  <a:lnTo>
                    <a:pt x="544" y="38"/>
                  </a:lnTo>
                  <a:lnTo>
                    <a:pt x="547" y="38"/>
                  </a:lnTo>
                  <a:lnTo>
                    <a:pt x="552" y="37"/>
                  </a:lnTo>
                  <a:lnTo>
                    <a:pt x="556" y="38"/>
                  </a:lnTo>
                  <a:lnTo>
                    <a:pt x="558" y="38"/>
                  </a:lnTo>
                  <a:lnTo>
                    <a:pt x="560" y="40"/>
                  </a:lnTo>
                  <a:lnTo>
                    <a:pt x="562" y="41"/>
                  </a:lnTo>
                  <a:lnTo>
                    <a:pt x="563" y="43"/>
                  </a:lnTo>
                  <a:lnTo>
                    <a:pt x="564" y="46"/>
                  </a:lnTo>
                  <a:lnTo>
                    <a:pt x="564" y="48"/>
                  </a:lnTo>
                  <a:lnTo>
                    <a:pt x="538" y="48"/>
                  </a:lnTo>
                  <a:close/>
                  <a:moveTo>
                    <a:pt x="583" y="62"/>
                  </a:moveTo>
                  <a:lnTo>
                    <a:pt x="583" y="56"/>
                  </a:lnTo>
                  <a:lnTo>
                    <a:pt x="583" y="50"/>
                  </a:lnTo>
                  <a:lnTo>
                    <a:pt x="582" y="46"/>
                  </a:lnTo>
                  <a:lnTo>
                    <a:pt x="580" y="41"/>
                  </a:lnTo>
                  <a:lnTo>
                    <a:pt x="578" y="37"/>
                  </a:lnTo>
                  <a:lnTo>
                    <a:pt x="576" y="33"/>
                  </a:lnTo>
                  <a:lnTo>
                    <a:pt x="573" y="30"/>
                  </a:lnTo>
                  <a:lnTo>
                    <a:pt x="569" y="27"/>
                  </a:lnTo>
                  <a:lnTo>
                    <a:pt x="565" y="25"/>
                  </a:lnTo>
                  <a:lnTo>
                    <a:pt x="561" y="24"/>
                  </a:lnTo>
                  <a:lnTo>
                    <a:pt x="557" y="23"/>
                  </a:lnTo>
                  <a:lnTo>
                    <a:pt x="552" y="23"/>
                  </a:lnTo>
                  <a:lnTo>
                    <a:pt x="545" y="23"/>
                  </a:lnTo>
                  <a:lnTo>
                    <a:pt x="538" y="25"/>
                  </a:lnTo>
                  <a:lnTo>
                    <a:pt x="536" y="26"/>
                  </a:lnTo>
                  <a:lnTo>
                    <a:pt x="533" y="28"/>
                  </a:lnTo>
                  <a:lnTo>
                    <a:pt x="528" y="32"/>
                  </a:lnTo>
                  <a:lnTo>
                    <a:pt x="526" y="34"/>
                  </a:lnTo>
                  <a:lnTo>
                    <a:pt x="524" y="37"/>
                  </a:lnTo>
                  <a:lnTo>
                    <a:pt x="521" y="43"/>
                  </a:lnTo>
                  <a:lnTo>
                    <a:pt x="520" y="49"/>
                  </a:lnTo>
                  <a:lnTo>
                    <a:pt x="519" y="53"/>
                  </a:lnTo>
                  <a:lnTo>
                    <a:pt x="519" y="56"/>
                  </a:lnTo>
                  <a:lnTo>
                    <a:pt x="520" y="63"/>
                  </a:lnTo>
                  <a:lnTo>
                    <a:pt x="521" y="70"/>
                  </a:lnTo>
                  <a:lnTo>
                    <a:pt x="524" y="76"/>
                  </a:lnTo>
                  <a:lnTo>
                    <a:pt x="526" y="78"/>
                  </a:lnTo>
                  <a:lnTo>
                    <a:pt x="528" y="81"/>
                  </a:lnTo>
                  <a:lnTo>
                    <a:pt x="533" y="85"/>
                  </a:lnTo>
                  <a:lnTo>
                    <a:pt x="538" y="87"/>
                  </a:lnTo>
                  <a:lnTo>
                    <a:pt x="541" y="88"/>
                  </a:lnTo>
                  <a:lnTo>
                    <a:pt x="545" y="89"/>
                  </a:lnTo>
                  <a:lnTo>
                    <a:pt x="548" y="90"/>
                  </a:lnTo>
                  <a:lnTo>
                    <a:pt x="552" y="90"/>
                  </a:lnTo>
                  <a:lnTo>
                    <a:pt x="557" y="89"/>
                  </a:lnTo>
                  <a:lnTo>
                    <a:pt x="563" y="88"/>
                  </a:lnTo>
                  <a:lnTo>
                    <a:pt x="567" y="87"/>
                  </a:lnTo>
                  <a:lnTo>
                    <a:pt x="572" y="84"/>
                  </a:lnTo>
                  <a:lnTo>
                    <a:pt x="575" y="81"/>
                  </a:lnTo>
                  <a:lnTo>
                    <a:pt x="577" y="80"/>
                  </a:lnTo>
                  <a:lnTo>
                    <a:pt x="578" y="78"/>
                  </a:lnTo>
                  <a:lnTo>
                    <a:pt x="581" y="74"/>
                  </a:lnTo>
                  <a:lnTo>
                    <a:pt x="583" y="69"/>
                  </a:lnTo>
                  <a:lnTo>
                    <a:pt x="563" y="69"/>
                  </a:lnTo>
                  <a:lnTo>
                    <a:pt x="561" y="72"/>
                  </a:lnTo>
                  <a:lnTo>
                    <a:pt x="559" y="74"/>
                  </a:lnTo>
                  <a:lnTo>
                    <a:pt x="556" y="75"/>
                  </a:lnTo>
                  <a:lnTo>
                    <a:pt x="552" y="75"/>
                  </a:lnTo>
                  <a:lnTo>
                    <a:pt x="549" y="75"/>
                  </a:lnTo>
                  <a:lnTo>
                    <a:pt x="547" y="74"/>
                  </a:lnTo>
                  <a:lnTo>
                    <a:pt x="545" y="73"/>
                  </a:lnTo>
                  <a:lnTo>
                    <a:pt x="543" y="72"/>
                  </a:lnTo>
                  <a:lnTo>
                    <a:pt x="541" y="70"/>
                  </a:lnTo>
                  <a:lnTo>
                    <a:pt x="540" y="67"/>
                  </a:lnTo>
                  <a:lnTo>
                    <a:pt x="539" y="65"/>
                  </a:lnTo>
                  <a:lnTo>
                    <a:pt x="538" y="62"/>
                  </a:lnTo>
                  <a:lnTo>
                    <a:pt x="583" y="62"/>
                  </a:lnTo>
                  <a:close/>
                  <a:moveTo>
                    <a:pt x="493" y="88"/>
                  </a:moveTo>
                  <a:lnTo>
                    <a:pt x="514" y="24"/>
                  </a:lnTo>
                  <a:lnTo>
                    <a:pt x="494" y="24"/>
                  </a:lnTo>
                  <a:lnTo>
                    <a:pt x="488" y="49"/>
                  </a:lnTo>
                  <a:lnTo>
                    <a:pt x="484" y="67"/>
                  </a:lnTo>
                  <a:lnTo>
                    <a:pt x="479" y="49"/>
                  </a:lnTo>
                  <a:lnTo>
                    <a:pt x="471" y="24"/>
                  </a:lnTo>
                  <a:lnTo>
                    <a:pt x="452" y="24"/>
                  </a:lnTo>
                  <a:lnTo>
                    <a:pt x="475" y="88"/>
                  </a:lnTo>
                  <a:lnTo>
                    <a:pt x="493" y="88"/>
                  </a:lnTo>
                  <a:close/>
                  <a:moveTo>
                    <a:pt x="440" y="0"/>
                  </a:moveTo>
                  <a:lnTo>
                    <a:pt x="421" y="0"/>
                  </a:lnTo>
                  <a:lnTo>
                    <a:pt x="421" y="15"/>
                  </a:lnTo>
                  <a:lnTo>
                    <a:pt x="440" y="15"/>
                  </a:lnTo>
                  <a:lnTo>
                    <a:pt x="440" y="0"/>
                  </a:lnTo>
                  <a:close/>
                  <a:moveTo>
                    <a:pt x="440" y="24"/>
                  </a:moveTo>
                  <a:lnTo>
                    <a:pt x="421" y="24"/>
                  </a:lnTo>
                  <a:lnTo>
                    <a:pt x="421" y="88"/>
                  </a:lnTo>
                  <a:lnTo>
                    <a:pt x="440" y="88"/>
                  </a:lnTo>
                  <a:lnTo>
                    <a:pt x="440" y="24"/>
                  </a:lnTo>
                  <a:close/>
                  <a:moveTo>
                    <a:pt x="405" y="25"/>
                  </a:moveTo>
                  <a:lnTo>
                    <a:pt x="394" y="25"/>
                  </a:lnTo>
                  <a:lnTo>
                    <a:pt x="394" y="5"/>
                  </a:lnTo>
                  <a:lnTo>
                    <a:pt x="375" y="5"/>
                  </a:lnTo>
                  <a:lnTo>
                    <a:pt x="375" y="25"/>
                  </a:lnTo>
                  <a:lnTo>
                    <a:pt x="366" y="25"/>
                  </a:lnTo>
                  <a:lnTo>
                    <a:pt x="366" y="38"/>
                  </a:lnTo>
                  <a:lnTo>
                    <a:pt x="375" y="38"/>
                  </a:lnTo>
                  <a:lnTo>
                    <a:pt x="375" y="67"/>
                  </a:lnTo>
                  <a:lnTo>
                    <a:pt x="375" y="74"/>
                  </a:lnTo>
                  <a:lnTo>
                    <a:pt x="376" y="78"/>
                  </a:lnTo>
                  <a:lnTo>
                    <a:pt x="377" y="81"/>
                  </a:lnTo>
                  <a:lnTo>
                    <a:pt x="378" y="84"/>
                  </a:lnTo>
                  <a:lnTo>
                    <a:pt x="381" y="86"/>
                  </a:lnTo>
                  <a:lnTo>
                    <a:pt x="384" y="87"/>
                  </a:lnTo>
                  <a:lnTo>
                    <a:pt x="388" y="88"/>
                  </a:lnTo>
                  <a:lnTo>
                    <a:pt x="394" y="88"/>
                  </a:lnTo>
                  <a:lnTo>
                    <a:pt x="405" y="88"/>
                  </a:lnTo>
                  <a:lnTo>
                    <a:pt x="405" y="74"/>
                  </a:lnTo>
                  <a:lnTo>
                    <a:pt x="398" y="74"/>
                  </a:lnTo>
                  <a:lnTo>
                    <a:pt x="396" y="74"/>
                  </a:lnTo>
                  <a:lnTo>
                    <a:pt x="394" y="72"/>
                  </a:lnTo>
                  <a:lnTo>
                    <a:pt x="394" y="69"/>
                  </a:lnTo>
                  <a:lnTo>
                    <a:pt x="394" y="63"/>
                  </a:lnTo>
                  <a:lnTo>
                    <a:pt x="394" y="38"/>
                  </a:lnTo>
                  <a:lnTo>
                    <a:pt x="405" y="38"/>
                  </a:lnTo>
                  <a:lnTo>
                    <a:pt x="405" y="25"/>
                  </a:lnTo>
                  <a:close/>
                  <a:moveTo>
                    <a:pt x="353" y="24"/>
                  </a:moveTo>
                  <a:lnTo>
                    <a:pt x="334" y="24"/>
                  </a:lnTo>
                  <a:lnTo>
                    <a:pt x="334" y="60"/>
                  </a:lnTo>
                  <a:lnTo>
                    <a:pt x="334" y="67"/>
                  </a:lnTo>
                  <a:lnTo>
                    <a:pt x="333" y="69"/>
                  </a:lnTo>
                  <a:lnTo>
                    <a:pt x="332" y="70"/>
                  </a:lnTo>
                  <a:lnTo>
                    <a:pt x="331" y="72"/>
                  </a:lnTo>
                  <a:lnTo>
                    <a:pt x="329" y="73"/>
                  </a:lnTo>
                  <a:lnTo>
                    <a:pt x="327" y="74"/>
                  </a:lnTo>
                  <a:lnTo>
                    <a:pt x="324" y="74"/>
                  </a:lnTo>
                  <a:lnTo>
                    <a:pt x="322" y="74"/>
                  </a:lnTo>
                  <a:lnTo>
                    <a:pt x="319" y="73"/>
                  </a:lnTo>
                  <a:lnTo>
                    <a:pt x="317" y="72"/>
                  </a:lnTo>
                  <a:lnTo>
                    <a:pt x="316" y="70"/>
                  </a:lnTo>
                  <a:lnTo>
                    <a:pt x="314" y="67"/>
                  </a:lnTo>
                  <a:lnTo>
                    <a:pt x="314" y="60"/>
                  </a:lnTo>
                  <a:lnTo>
                    <a:pt x="314" y="24"/>
                  </a:lnTo>
                  <a:lnTo>
                    <a:pt x="295" y="24"/>
                  </a:lnTo>
                  <a:lnTo>
                    <a:pt x="295" y="64"/>
                  </a:lnTo>
                  <a:lnTo>
                    <a:pt x="295" y="71"/>
                  </a:lnTo>
                  <a:lnTo>
                    <a:pt x="296" y="76"/>
                  </a:lnTo>
                  <a:lnTo>
                    <a:pt x="297" y="78"/>
                  </a:lnTo>
                  <a:lnTo>
                    <a:pt x="298" y="80"/>
                  </a:lnTo>
                  <a:lnTo>
                    <a:pt x="301" y="83"/>
                  </a:lnTo>
                  <a:lnTo>
                    <a:pt x="305" y="86"/>
                  </a:lnTo>
                  <a:lnTo>
                    <a:pt x="309" y="88"/>
                  </a:lnTo>
                  <a:lnTo>
                    <a:pt x="313" y="89"/>
                  </a:lnTo>
                  <a:lnTo>
                    <a:pt x="318" y="90"/>
                  </a:lnTo>
                  <a:lnTo>
                    <a:pt x="323" y="89"/>
                  </a:lnTo>
                  <a:lnTo>
                    <a:pt x="328" y="88"/>
                  </a:lnTo>
                  <a:lnTo>
                    <a:pt x="332" y="85"/>
                  </a:lnTo>
                  <a:lnTo>
                    <a:pt x="333" y="83"/>
                  </a:lnTo>
                  <a:lnTo>
                    <a:pt x="335" y="81"/>
                  </a:lnTo>
                  <a:lnTo>
                    <a:pt x="335" y="88"/>
                  </a:lnTo>
                  <a:lnTo>
                    <a:pt x="353" y="88"/>
                  </a:lnTo>
                  <a:lnTo>
                    <a:pt x="353" y="24"/>
                  </a:lnTo>
                  <a:close/>
                  <a:moveTo>
                    <a:pt x="282" y="47"/>
                  </a:moveTo>
                  <a:lnTo>
                    <a:pt x="281" y="42"/>
                  </a:lnTo>
                  <a:lnTo>
                    <a:pt x="279" y="37"/>
                  </a:lnTo>
                  <a:lnTo>
                    <a:pt x="276" y="33"/>
                  </a:lnTo>
                  <a:lnTo>
                    <a:pt x="273" y="29"/>
                  </a:lnTo>
                  <a:lnTo>
                    <a:pt x="269" y="26"/>
                  </a:lnTo>
                  <a:lnTo>
                    <a:pt x="264" y="24"/>
                  </a:lnTo>
                  <a:lnTo>
                    <a:pt x="259" y="23"/>
                  </a:lnTo>
                  <a:lnTo>
                    <a:pt x="253" y="23"/>
                  </a:lnTo>
                  <a:lnTo>
                    <a:pt x="245" y="23"/>
                  </a:lnTo>
                  <a:lnTo>
                    <a:pt x="239" y="25"/>
                  </a:lnTo>
                  <a:lnTo>
                    <a:pt x="233" y="28"/>
                  </a:lnTo>
                  <a:lnTo>
                    <a:pt x="231" y="29"/>
                  </a:lnTo>
                  <a:lnTo>
                    <a:pt x="229" y="32"/>
                  </a:lnTo>
                  <a:lnTo>
                    <a:pt x="227" y="34"/>
                  </a:lnTo>
                  <a:lnTo>
                    <a:pt x="225" y="36"/>
                  </a:lnTo>
                  <a:lnTo>
                    <a:pt x="222" y="42"/>
                  </a:lnTo>
                  <a:lnTo>
                    <a:pt x="221" y="49"/>
                  </a:lnTo>
                  <a:lnTo>
                    <a:pt x="220" y="56"/>
                  </a:lnTo>
                  <a:lnTo>
                    <a:pt x="221" y="64"/>
                  </a:lnTo>
                  <a:lnTo>
                    <a:pt x="221" y="67"/>
                  </a:lnTo>
                  <a:lnTo>
                    <a:pt x="222" y="70"/>
                  </a:lnTo>
                  <a:lnTo>
                    <a:pt x="225" y="76"/>
                  </a:lnTo>
                  <a:lnTo>
                    <a:pt x="227" y="79"/>
                  </a:lnTo>
                  <a:lnTo>
                    <a:pt x="229" y="81"/>
                  </a:lnTo>
                  <a:lnTo>
                    <a:pt x="233" y="85"/>
                  </a:lnTo>
                  <a:lnTo>
                    <a:pt x="239" y="88"/>
                  </a:lnTo>
                  <a:lnTo>
                    <a:pt x="245" y="89"/>
                  </a:lnTo>
                  <a:lnTo>
                    <a:pt x="248" y="90"/>
                  </a:lnTo>
                  <a:lnTo>
                    <a:pt x="252" y="90"/>
                  </a:lnTo>
                  <a:lnTo>
                    <a:pt x="258" y="89"/>
                  </a:lnTo>
                  <a:lnTo>
                    <a:pt x="264" y="88"/>
                  </a:lnTo>
                  <a:lnTo>
                    <a:pt x="268" y="86"/>
                  </a:lnTo>
                  <a:lnTo>
                    <a:pt x="273" y="83"/>
                  </a:lnTo>
                  <a:lnTo>
                    <a:pt x="276" y="80"/>
                  </a:lnTo>
                  <a:lnTo>
                    <a:pt x="279" y="75"/>
                  </a:lnTo>
                  <a:lnTo>
                    <a:pt x="281" y="70"/>
                  </a:lnTo>
                  <a:lnTo>
                    <a:pt x="283" y="65"/>
                  </a:lnTo>
                  <a:lnTo>
                    <a:pt x="264" y="64"/>
                  </a:lnTo>
                  <a:lnTo>
                    <a:pt x="264" y="66"/>
                  </a:lnTo>
                  <a:lnTo>
                    <a:pt x="263" y="69"/>
                  </a:lnTo>
                  <a:lnTo>
                    <a:pt x="260" y="72"/>
                  </a:lnTo>
                  <a:lnTo>
                    <a:pt x="259" y="73"/>
                  </a:lnTo>
                  <a:lnTo>
                    <a:pt x="257" y="74"/>
                  </a:lnTo>
                  <a:lnTo>
                    <a:pt x="255" y="74"/>
                  </a:lnTo>
                  <a:lnTo>
                    <a:pt x="252" y="75"/>
                  </a:lnTo>
                  <a:lnTo>
                    <a:pt x="249" y="74"/>
                  </a:lnTo>
                  <a:lnTo>
                    <a:pt x="247" y="73"/>
                  </a:lnTo>
                  <a:lnTo>
                    <a:pt x="244" y="72"/>
                  </a:lnTo>
                  <a:lnTo>
                    <a:pt x="243" y="70"/>
                  </a:lnTo>
                  <a:lnTo>
                    <a:pt x="241" y="67"/>
                  </a:lnTo>
                  <a:lnTo>
                    <a:pt x="240" y="64"/>
                  </a:lnTo>
                  <a:lnTo>
                    <a:pt x="239" y="60"/>
                  </a:lnTo>
                  <a:lnTo>
                    <a:pt x="239" y="56"/>
                  </a:lnTo>
                  <a:lnTo>
                    <a:pt x="239" y="52"/>
                  </a:lnTo>
                  <a:lnTo>
                    <a:pt x="240" y="50"/>
                  </a:lnTo>
                  <a:lnTo>
                    <a:pt x="240" y="48"/>
                  </a:lnTo>
                  <a:lnTo>
                    <a:pt x="241" y="45"/>
                  </a:lnTo>
                  <a:lnTo>
                    <a:pt x="242" y="42"/>
                  </a:lnTo>
                  <a:lnTo>
                    <a:pt x="244" y="40"/>
                  </a:lnTo>
                  <a:lnTo>
                    <a:pt x="247" y="39"/>
                  </a:lnTo>
                  <a:lnTo>
                    <a:pt x="249" y="38"/>
                  </a:lnTo>
                  <a:lnTo>
                    <a:pt x="252" y="38"/>
                  </a:lnTo>
                  <a:lnTo>
                    <a:pt x="257" y="38"/>
                  </a:lnTo>
                  <a:lnTo>
                    <a:pt x="260" y="40"/>
                  </a:lnTo>
                  <a:lnTo>
                    <a:pt x="262" y="42"/>
                  </a:lnTo>
                  <a:lnTo>
                    <a:pt x="263" y="43"/>
                  </a:lnTo>
                  <a:lnTo>
                    <a:pt x="264" y="47"/>
                  </a:lnTo>
                  <a:lnTo>
                    <a:pt x="282" y="47"/>
                  </a:lnTo>
                  <a:close/>
                  <a:moveTo>
                    <a:pt x="164" y="48"/>
                  </a:moveTo>
                  <a:lnTo>
                    <a:pt x="165" y="46"/>
                  </a:lnTo>
                  <a:lnTo>
                    <a:pt x="166" y="43"/>
                  </a:lnTo>
                  <a:lnTo>
                    <a:pt x="167" y="41"/>
                  </a:lnTo>
                  <a:lnTo>
                    <a:pt x="169" y="40"/>
                  </a:lnTo>
                  <a:lnTo>
                    <a:pt x="171" y="38"/>
                  </a:lnTo>
                  <a:lnTo>
                    <a:pt x="173" y="38"/>
                  </a:lnTo>
                  <a:lnTo>
                    <a:pt x="178" y="37"/>
                  </a:lnTo>
                  <a:lnTo>
                    <a:pt x="183" y="38"/>
                  </a:lnTo>
                  <a:lnTo>
                    <a:pt x="185" y="38"/>
                  </a:lnTo>
                  <a:lnTo>
                    <a:pt x="186" y="40"/>
                  </a:lnTo>
                  <a:lnTo>
                    <a:pt x="188" y="41"/>
                  </a:lnTo>
                  <a:lnTo>
                    <a:pt x="189" y="43"/>
                  </a:lnTo>
                  <a:lnTo>
                    <a:pt x="190" y="46"/>
                  </a:lnTo>
                  <a:lnTo>
                    <a:pt x="190" y="48"/>
                  </a:lnTo>
                  <a:lnTo>
                    <a:pt x="164" y="48"/>
                  </a:lnTo>
                  <a:close/>
                  <a:moveTo>
                    <a:pt x="209" y="62"/>
                  </a:moveTo>
                  <a:lnTo>
                    <a:pt x="209" y="56"/>
                  </a:lnTo>
                  <a:lnTo>
                    <a:pt x="209" y="50"/>
                  </a:lnTo>
                  <a:lnTo>
                    <a:pt x="208" y="46"/>
                  </a:lnTo>
                  <a:lnTo>
                    <a:pt x="206" y="41"/>
                  </a:lnTo>
                  <a:lnTo>
                    <a:pt x="204" y="37"/>
                  </a:lnTo>
                  <a:lnTo>
                    <a:pt x="202" y="33"/>
                  </a:lnTo>
                  <a:lnTo>
                    <a:pt x="199" y="30"/>
                  </a:lnTo>
                  <a:lnTo>
                    <a:pt x="195" y="27"/>
                  </a:lnTo>
                  <a:lnTo>
                    <a:pt x="192" y="25"/>
                  </a:lnTo>
                  <a:lnTo>
                    <a:pt x="187" y="24"/>
                  </a:lnTo>
                  <a:lnTo>
                    <a:pt x="183" y="23"/>
                  </a:lnTo>
                  <a:lnTo>
                    <a:pt x="178" y="23"/>
                  </a:lnTo>
                  <a:lnTo>
                    <a:pt x="171" y="23"/>
                  </a:lnTo>
                  <a:lnTo>
                    <a:pt x="165" y="25"/>
                  </a:lnTo>
                  <a:lnTo>
                    <a:pt x="162" y="26"/>
                  </a:lnTo>
                  <a:lnTo>
                    <a:pt x="159" y="28"/>
                  </a:lnTo>
                  <a:lnTo>
                    <a:pt x="154" y="32"/>
                  </a:lnTo>
                  <a:lnTo>
                    <a:pt x="152" y="34"/>
                  </a:lnTo>
                  <a:lnTo>
                    <a:pt x="150" y="37"/>
                  </a:lnTo>
                  <a:lnTo>
                    <a:pt x="148" y="43"/>
                  </a:lnTo>
                  <a:lnTo>
                    <a:pt x="146" y="49"/>
                  </a:lnTo>
                  <a:lnTo>
                    <a:pt x="145" y="53"/>
                  </a:lnTo>
                  <a:lnTo>
                    <a:pt x="145" y="56"/>
                  </a:lnTo>
                  <a:lnTo>
                    <a:pt x="146" y="63"/>
                  </a:lnTo>
                  <a:lnTo>
                    <a:pt x="148" y="70"/>
                  </a:lnTo>
                  <a:lnTo>
                    <a:pt x="150" y="76"/>
                  </a:lnTo>
                  <a:lnTo>
                    <a:pt x="152" y="78"/>
                  </a:lnTo>
                  <a:lnTo>
                    <a:pt x="154" y="81"/>
                  </a:lnTo>
                  <a:lnTo>
                    <a:pt x="159" y="85"/>
                  </a:lnTo>
                  <a:lnTo>
                    <a:pt x="165" y="87"/>
                  </a:lnTo>
                  <a:lnTo>
                    <a:pt x="168" y="88"/>
                  </a:lnTo>
                  <a:lnTo>
                    <a:pt x="171" y="89"/>
                  </a:lnTo>
                  <a:lnTo>
                    <a:pt x="174" y="90"/>
                  </a:lnTo>
                  <a:lnTo>
                    <a:pt x="178" y="90"/>
                  </a:lnTo>
                  <a:lnTo>
                    <a:pt x="184" y="89"/>
                  </a:lnTo>
                  <a:lnTo>
                    <a:pt x="189" y="88"/>
                  </a:lnTo>
                  <a:lnTo>
                    <a:pt x="193" y="87"/>
                  </a:lnTo>
                  <a:lnTo>
                    <a:pt x="198" y="84"/>
                  </a:lnTo>
                  <a:lnTo>
                    <a:pt x="201" y="81"/>
                  </a:lnTo>
                  <a:lnTo>
                    <a:pt x="203" y="80"/>
                  </a:lnTo>
                  <a:lnTo>
                    <a:pt x="205" y="78"/>
                  </a:lnTo>
                  <a:lnTo>
                    <a:pt x="207" y="74"/>
                  </a:lnTo>
                  <a:lnTo>
                    <a:pt x="209" y="69"/>
                  </a:lnTo>
                  <a:lnTo>
                    <a:pt x="190" y="69"/>
                  </a:lnTo>
                  <a:lnTo>
                    <a:pt x="188" y="72"/>
                  </a:lnTo>
                  <a:lnTo>
                    <a:pt x="185" y="74"/>
                  </a:lnTo>
                  <a:lnTo>
                    <a:pt x="182" y="75"/>
                  </a:lnTo>
                  <a:lnTo>
                    <a:pt x="178" y="75"/>
                  </a:lnTo>
                  <a:lnTo>
                    <a:pt x="176" y="75"/>
                  </a:lnTo>
                  <a:lnTo>
                    <a:pt x="173" y="74"/>
                  </a:lnTo>
                  <a:lnTo>
                    <a:pt x="171" y="73"/>
                  </a:lnTo>
                  <a:lnTo>
                    <a:pt x="169" y="72"/>
                  </a:lnTo>
                  <a:lnTo>
                    <a:pt x="167" y="70"/>
                  </a:lnTo>
                  <a:lnTo>
                    <a:pt x="166" y="67"/>
                  </a:lnTo>
                  <a:lnTo>
                    <a:pt x="165" y="65"/>
                  </a:lnTo>
                  <a:lnTo>
                    <a:pt x="164" y="62"/>
                  </a:lnTo>
                  <a:lnTo>
                    <a:pt x="209" y="62"/>
                  </a:lnTo>
                  <a:close/>
                  <a:moveTo>
                    <a:pt x="118" y="55"/>
                  </a:moveTo>
                  <a:lnTo>
                    <a:pt x="139" y="24"/>
                  </a:lnTo>
                  <a:lnTo>
                    <a:pt x="118" y="24"/>
                  </a:lnTo>
                  <a:lnTo>
                    <a:pt x="108" y="40"/>
                  </a:lnTo>
                  <a:lnTo>
                    <a:pt x="98" y="24"/>
                  </a:lnTo>
                  <a:lnTo>
                    <a:pt x="77" y="24"/>
                  </a:lnTo>
                  <a:lnTo>
                    <a:pt x="98" y="55"/>
                  </a:lnTo>
                  <a:lnTo>
                    <a:pt x="75" y="88"/>
                  </a:lnTo>
                  <a:lnTo>
                    <a:pt x="96" y="88"/>
                  </a:lnTo>
                  <a:lnTo>
                    <a:pt x="108" y="70"/>
                  </a:lnTo>
                  <a:lnTo>
                    <a:pt x="120" y="88"/>
                  </a:lnTo>
                  <a:lnTo>
                    <a:pt x="142" y="88"/>
                  </a:lnTo>
                  <a:lnTo>
                    <a:pt x="118" y="55"/>
                  </a:lnTo>
                  <a:close/>
                  <a:moveTo>
                    <a:pt x="66" y="0"/>
                  </a:moveTo>
                  <a:lnTo>
                    <a:pt x="0" y="0"/>
                  </a:lnTo>
                  <a:lnTo>
                    <a:pt x="0" y="88"/>
                  </a:lnTo>
                  <a:lnTo>
                    <a:pt x="67" y="88"/>
                  </a:lnTo>
                  <a:lnTo>
                    <a:pt x="67" y="71"/>
                  </a:lnTo>
                  <a:lnTo>
                    <a:pt x="20" y="71"/>
                  </a:lnTo>
                  <a:lnTo>
                    <a:pt x="20" y="50"/>
                  </a:lnTo>
                  <a:lnTo>
                    <a:pt x="60" y="50"/>
                  </a:lnTo>
                  <a:lnTo>
                    <a:pt x="60" y="34"/>
                  </a:lnTo>
                  <a:lnTo>
                    <a:pt x="20" y="34"/>
                  </a:lnTo>
                  <a:lnTo>
                    <a:pt x="20" y="17"/>
                  </a:lnTo>
                  <a:lnTo>
                    <a:pt x="66" y="17"/>
                  </a:lnTo>
                  <a:lnTo>
                    <a:pt x="66" y="0"/>
                  </a:lnTo>
                  <a:close/>
                </a:path>
              </a:pathLst>
            </a:custGeom>
            <a:solidFill>
              <a:srgbClr val="928B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15" name="Freeform 8"/>
            <p:cNvSpPr>
              <a:spLocks noEditPoints="1"/>
            </p:cNvSpPr>
            <p:nvPr userDrawn="1"/>
          </p:nvSpPr>
          <p:spPr bwMode="auto">
            <a:xfrm>
              <a:off x="4067175" y="114301"/>
              <a:ext cx="566738" cy="560388"/>
            </a:xfrm>
            <a:custGeom>
              <a:avLst/>
              <a:gdLst>
                <a:gd name="T0" fmla="*/ 223 w 357"/>
                <a:gd name="T1" fmla="*/ 220 h 353"/>
                <a:gd name="T2" fmla="*/ 134 w 357"/>
                <a:gd name="T3" fmla="*/ 220 h 353"/>
                <a:gd name="T4" fmla="*/ 179 w 357"/>
                <a:gd name="T5" fmla="*/ 100 h 353"/>
                <a:gd name="T6" fmla="*/ 223 w 357"/>
                <a:gd name="T7" fmla="*/ 220 h 353"/>
                <a:gd name="T8" fmla="*/ 357 w 357"/>
                <a:gd name="T9" fmla="*/ 353 h 353"/>
                <a:gd name="T10" fmla="*/ 230 w 357"/>
                <a:gd name="T11" fmla="*/ 0 h 353"/>
                <a:gd name="T12" fmla="*/ 127 w 357"/>
                <a:gd name="T13" fmla="*/ 0 h 353"/>
                <a:gd name="T14" fmla="*/ 0 w 357"/>
                <a:gd name="T15" fmla="*/ 353 h 353"/>
                <a:gd name="T16" fmla="*/ 91 w 357"/>
                <a:gd name="T17" fmla="*/ 353 h 353"/>
                <a:gd name="T18" fmla="*/ 113 w 357"/>
                <a:gd name="T19" fmla="*/ 291 h 353"/>
                <a:gd name="T20" fmla="*/ 245 w 357"/>
                <a:gd name="T21" fmla="*/ 291 h 353"/>
                <a:gd name="T22" fmla="*/ 267 w 357"/>
                <a:gd name="T23" fmla="*/ 353 h 353"/>
                <a:gd name="T24" fmla="*/ 357 w 357"/>
                <a:gd name="T25"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7" h="353">
                  <a:moveTo>
                    <a:pt x="223" y="220"/>
                  </a:moveTo>
                  <a:lnTo>
                    <a:pt x="134" y="220"/>
                  </a:lnTo>
                  <a:lnTo>
                    <a:pt x="179" y="100"/>
                  </a:lnTo>
                  <a:lnTo>
                    <a:pt x="223" y="220"/>
                  </a:lnTo>
                  <a:close/>
                  <a:moveTo>
                    <a:pt x="357" y="353"/>
                  </a:moveTo>
                  <a:lnTo>
                    <a:pt x="230" y="0"/>
                  </a:lnTo>
                  <a:lnTo>
                    <a:pt x="127" y="0"/>
                  </a:lnTo>
                  <a:lnTo>
                    <a:pt x="0" y="353"/>
                  </a:lnTo>
                  <a:lnTo>
                    <a:pt x="91" y="353"/>
                  </a:lnTo>
                  <a:lnTo>
                    <a:pt x="113" y="291"/>
                  </a:lnTo>
                  <a:lnTo>
                    <a:pt x="245" y="291"/>
                  </a:lnTo>
                  <a:lnTo>
                    <a:pt x="267" y="353"/>
                  </a:lnTo>
                  <a:lnTo>
                    <a:pt x="357" y="353"/>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sp>
          <p:nvSpPr>
            <p:cNvPr id="16" name="Freeform 9"/>
            <p:cNvSpPr>
              <a:spLocks noEditPoints="1"/>
            </p:cNvSpPr>
            <p:nvPr userDrawn="1"/>
          </p:nvSpPr>
          <p:spPr bwMode="auto">
            <a:xfrm>
              <a:off x="4686300" y="114301"/>
              <a:ext cx="858838" cy="560388"/>
            </a:xfrm>
            <a:custGeom>
              <a:avLst/>
              <a:gdLst>
                <a:gd name="T0" fmla="*/ 541 w 541"/>
                <a:gd name="T1" fmla="*/ 75 h 353"/>
                <a:gd name="T2" fmla="*/ 541 w 541"/>
                <a:gd name="T3" fmla="*/ 0 h 353"/>
                <a:gd name="T4" fmla="*/ 303 w 541"/>
                <a:gd name="T5" fmla="*/ 0 h 353"/>
                <a:gd name="T6" fmla="*/ 303 w 541"/>
                <a:gd name="T7" fmla="*/ 353 h 353"/>
                <a:gd name="T8" fmla="*/ 541 w 541"/>
                <a:gd name="T9" fmla="*/ 353 h 353"/>
                <a:gd name="T10" fmla="*/ 541 w 541"/>
                <a:gd name="T11" fmla="*/ 278 h 353"/>
                <a:gd name="T12" fmla="*/ 388 w 541"/>
                <a:gd name="T13" fmla="*/ 278 h 353"/>
                <a:gd name="T14" fmla="*/ 388 w 541"/>
                <a:gd name="T15" fmla="*/ 210 h 353"/>
                <a:gd name="T16" fmla="*/ 536 w 541"/>
                <a:gd name="T17" fmla="*/ 210 h 353"/>
                <a:gd name="T18" fmla="*/ 536 w 541"/>
                <a:gd name="T19" fmla="*/ 139 h 353"/>
                <a:gd name="T20" fmla="*/ 388 w 541"/>
                <a:gd name="T21" fmla="*/ 139 h 353"/>
                <a:gd name="T22" fmla="*/ 388 w 541"/>
                <a:gd name="T23" fmla="*/ 75 h 353"/>
                <a:gd name="T24" fmla="*/ 541 w 541"/>
                <a:gd name="T25" fmla="*/ 75 h 353"/>
                <a:gd name="T26" fmla="*/ 239 w 541"/>
                <a:gd name="T27" fmla="*/ 75 h 353"/>
                <a:gd name="T28" fmla="*/ 239 w 541"/>
                <a:gd name="T29" fmla="*/ 0 h 353"/>
                <a:gd name="T30" fmla="*/ 0 w 541"/>
                <a:gd name="T31" fmla="*/ 0 h 353"/>
                <a:gd name="T32" fmla="*/ 0 w 541"/>
                <a:gd name="T33" fmla="*/ 353 h 353"/>
                <a:gd name="T34" fmla="*/ 239 w 541"/>
                <a:gd name="T35" fmla="*/ 353 h 353"/>
                <a:gd name="T36" fmla="*/ 239 w 541"/>
                <a:gd name="T37" fmla="*/ 278 h 353"/>
                <a:gd name="T38" fmla="*/ 85 w 541"/>
                <a:gd name="T39" fmla="*/ 278 h 353"/>
                <a:gd name="T40" fmla="*/ 85 w 541"/>
                <a:gd name="T41" fmla="*/ 210 h 353"/>
                <a:gd name="T42" fmla="*/ 235 w 541"/>
                <a:gd name="T43" fmla="*/ 210 h 353"/>
                <a:gd name="T44" fmla="*/ 235 w 541"/>
                <a:gd name="T45" fmla="*/ 139 h 353"/>
                <a:gd name="T46" fmla="*/ 85 w 541"/>
                <a:gd name="T47" fmla="*/ 139 h 353"/>
                <a:gd name="T48" fmla="*/ 85 w 541"/>
                <a:gd name="T49" fmla="*/ 75 h 353"/>
                <a:gd name="T50" fmla="*/ 239 w 541"/>
                <a:gd name="T51" fmla="*/ 75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1" h="353">
                  <a:moveTo>
                    <a:pt x="541" y="75"/>
                  </a:moveTo>
                  <a:lnTo>
                    <a:pt x="541" y="0"/>
                  </a:lnTo>
                  <a:lnTo>
                    <a:pt x="303" y="0"/>
                  </a:lnTo>
                  <a:lnTo>
                    <a:pt x="303" y="353"/>
                  </a:lnTo>
                  <a:lnTo>
                    <a:pt x="541" y="353"/>
                  </a:lnTo>
                  <a:lnTo>
                    <a:pt x="541" y="278"/>
                  </a:lnTo>
                  <a:lnTo>
                    <a:pt x="388" y="278"/>
                  </a:lnTo>
                  <a:lnTo>
                    <a:pt x="388" y="210"/>
                  </a:lnTo>
                  <a:lnTo>
                    <a:pt x="536" y="210"/>
                  </a:lnTo>
                  <a:lnTo>
                    <a:pt x="536" y="139"/>
                  </a:lnTo>
                  <a:lnTo>
                    <a:pt x="388" y="139"/>
                  </a:lnTo>
                  <a:lnTo>
                    <a:pt x="388" y="75"/>
                  </a:lnTo>
                  <a:lnTo>
                    <a:pt x="541" y="75"/>
                  </a:lnTo>
                  <a:close/>
                  <a:moveTo>
                    <a:pt x="239" y="75"/>
                  </a:moveTo>
                  <a:lnTo>
                    <a:pt x="239" y="0"/>
                  </a:lnTo>
                  <a:lnTo>
                    <a:pt x="0" y="0"/>
                  </a:lnTo>
                  <a:lnTo>
                    <a:pt x="0" y="353"/>
                  </a:lnTo>
                  <a:lnTo>
                    <a:pt x="239" y="353"/>
                  </a:lnTo>
                  <a:lnTo>
                    <a:pt x="239" y="278"/>
                  </a:lnTo>
                  <a:lnTo>
                    <a:pt x="85" y="278"/>
                  </a:lnTo>
                  <a:lnTo>
                    <a:pt x="85" y="210"/>
                  </a:lnTo>
                  <a:lnTo>
                    <a:pt x="235" y="210"/>
                  </a:lnTo>
                  <a:lnTo>
                    <a:pt x="235" y="139"/>
                  </a:lnTo>
                  <a:lnTo>
                    <a:pt x="85" y="139"/>
                  </a:lnTo>
                  <a:lnTo>
                    <a:pt x="85" y="75"/>
                  </a:lnTo>
                  <a:lnTo>
                    <a:pt x="239" y="75"/>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i-FI" sz="1349"/>
            </a:p>
          </p:txBody>
        </p:sp>
      </p:grpSp>
      <p:sp>
        <p:nvSpPr>
          <p:cNvPr id="17" name="(c)" hidden="1"/>
          <p:cNvSpPr txBox="1"/>
          <p:nvPr userDrawn="1"/>
        </p:nvSpPr>
        <p:spPr>
          <a:xfrm>
            <a:off x="8971479" y="5168847"/>
            <a:ext cx="165110" cy="23083"/>
          </a:xfrm>
          <a:prstGeom prst="rect">
            <a:avLst/>
          </a:prstGeom>
          <a:noFill/>
        </p:spPr>
        <p:txBody>
          <a:bodyPr wrap="none" lIns="0" tIns="0" rIns="0" bIns="0" rtlCol="0">
            <a:spAutoFit/>
          </a:bodyPr>
          <a:lstStyle/>
          <a:p>
            <a:pPr algn="r"/>
            <a:r>
              <a:rPr lang="fi-FI" sz="150" dirty="0">
                <a:solidFill>
                  <a:schemeClr val="bg1"/>
                </a:solidFill>
                <a:latin typeface="+mn-lt"/>
              </a:rPr>
              <a:t>©grow. for</a:t>
            </a:r>
            <a:r>
              <a:rPr lang="fi-FI" sz="150" baseline="0" dirty="0">
                <a:solidFill>
                  <a:schemeClr val="bg1"/>
                </a:solidFill>
                <a:latin typeface="+mn-lt"/>
              </a:rPr>
              <a:t> aalto ee</a:t>
            </a:r>
            <a:endParaRPr lang="en-GB" sz="150" dirty="0" err="1">
              <a:solidFill>
                <a:schemeClr val="bg1"/>
              </a:solidFill>
              <a:latin typeface="+mn-lt"/>
            </a:endParaRPr>
          </a:p>
        </p:txBody>
      </p:sp>
      <p:pic>
        <p:nvPicPr>
          <p:cNvPr id="18" name="(logo)" descr="Z:\GRW (grow)\logot\copyright_grow.png" hidden="1"/>
          <p:cNvPicPr>
            <a:picLocks noChangeAspect="1" noChangeArrowheads="1"/>
          </p:cNvPicPr>
          <p:nvPr userDrawn="1"/>
        </p:nvPicPr>
        <p:blipFill>
          <a:blip r:embed="rId33" cstate="print">
            <a:extLst>
              <a:ext uri="{28A0092B-C50C-407E-A947-70E740481C1C}">
                <a14:useLocalDpi xmlns:a14="http://schemas.microsoft.com/office/drawing/2010/main" val="0"/>
              </a:ext>
            </a:extLst>
          </a:blip>
          <a:srcRect/>
          <a:stretch>
            <a:fillRect/>
          </a:stretch>
        </p:blipFill>
        <p:spPr bwMode="auto">
          <a:xfrm>
            <a:off x="1" y="-27000"/>
            <a:ext cx="45184" cy="13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67060904"/>
      </p:ext>
    </p:extLst>
  </p:cSld>
  <p:clrMap bg1="lt1" tx1="dk1" bg2="lt2" tx2="dk2" accent1="accent1" accent2="accent2" accent3="accent3" accent4="accent4" accent5="accent5" accent6="accent6" hlink="hlink" folHlink="folHlink"/>
  <p:sldLayoutIdLst>
    <p:sldLayoutId id="2147483869" r:id="rId1"/>
    <p:sldLayoutId id="2147483870" r:id="rId2"/>
    <p:sldLayoutId id="2147483871" r:id="rId3"/>
    <p:sldLayoutId id="2147483872" r:id="rId4"/>
    <p:sldLayoutId id="2147483873" r:id="rId5"/>
    <p:sldLayoutId id="2147483874" r:id="rId6"/>
    <p:sldLayoutId id="2147483875" r:id="rId7"/>
    <p:sldLayoutId id="2147483876" r:id="rId8"/>
    <p:sldLayoutId id="2147483877" r:id="rId9"/>
    <p:sldLayoutId id="2147483878" r:id="rId10"/>
    <p:sldLayoutId id="2147483879" r:id="rId11"/>
    <p:sldLayoutId id="2147483880" r:id="rId12"/>
    <p:sldLayoutId id="2147483881" r:id="rId13"/>
    <p:sldLayoutId id="2147483882" r:id="rId14"/>
    <p:sldLayoutId id="2147483883" r:id="rId15"/>
    <p:sldLayoutId id="2147483884" r:id="rId16"/>
    <p:sldLayoutId id="2147483885" r:id="rId17"/>
    <p:sldLayoutId id="2147483886" r:id="rId18"/>
    <p:sldLayoutId id="2147483887" r:id="rId19"/>
    <p:sldLayoutId id="2147483888" r:id="rId20"/>
    <p:sldLayoutId id="2147483889" r:id="rId21"/>
    <p:sldLayoutId id="2147483890" r:id="rId22"/>
    <p:sldLayoutId id="2147483891" r:id="rId23"/>
    <p:sldLayoutId id="2147483892" r:id="rId24"/>
    <p:sldLayoutId id="2147483893" r:id="rId25"/>
    <p:sldLayoutId id="2147483894" r:id="rId26"/>
    <p:sldLayoutId id="2147483895" r:id="rId27"/>
    <p:sldLayoutId id="2147483896" r:id="rId28"/>
    <p:sldLayoutId id="2147483897" r:id="rId29"/>
    <p:sldLayoutId id="2147483898" r:id="rId30"/>
    <p:sldLayoutId id="2147483899" r:id="rId31"/>
  </p:sldLayoutIdLst>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hf hdr="0" dt="0"/>
  <p:txStyles>
    <p:titleStyle>
      <a:lvl1pPr algn="l" defTabSz="685595" rtl="0" eaLnBrk="1" latinLnBrk="0" hangingPunct="1">
        <a:lnSpc>
          <a:spcPct val="90000"/>
        </a:lnSpc>
        <a:spcBef>
          <a:spcPct val="0"/>
        </a:spcBef>
        <a:buNone/>
        <a:defRPr sz="3299" b="1" kern="1200" spc="-23" baseline="0">
          <a:solidFill>
            <a:schemeClr val="bg1"/>
          </a:solidFill>
          <a:latin typeface="+mj-lt"/>
          <a:ea typeface="+mj-ea"/>
          <a:cs typeface="+mj-cs"/>
        </a:defRPr>
      </a:lvl1pPr>
    </p:titleStyle>
    <p:bodyStyle>
      <a:lvl1pPr marL="199965" indent="-199965" algn="l" defTabSz="685595" rtl="0" eaLnBrk="1" latinLnBrk="0" hangingPunct="1">
        <a:spcBef>
          <a:spcPts val="0"/>
        </a:spcBef>
        <a:spcAft>
          <a:spcPts val="450"/>
        </a:spcAft>
        <a:buFont typeface="Arial" pitchFamily="34" charset="0"/>
        <a:buChar char="•"/>
        <a:defRPr sz="1499" kern="1200">
          <a:solidFill>
            <a:schemeClr val="tx1"/>
          </a:solidFill>
          <a:latin typeface="+mn-lt"/>
          <a:ea typeface="+mn-ea"/>
          <a:cs typeface="+mn-cs"/>
        </a:defRPr>
      </a:lvl1pPr>
      <a:lvl2pPr marL="404691" indent="-204726" algn="l" defTabSz="685595" rtl="0" eaLnBrk="1" latinLnBrk="0" hangingPunct="1">
        <a:spcBef>
          <a:spcPts val="0"/>
        </a:spcBef>
        <a:spcAft>
          <a:spcPts val="450"/>
        </a:spcAft>
        <a:buFont typeface="Arial" pitchFamily="34" charset="0"/>
        <a:buChar char="–"/>
        <a:defRPr sz="1349" kern="1200">
          <a:solidFill>
            <a:schemeClr val="tx1"/>
          </a:solidFill>
          <a:latin typeface="+mn-lt"/>
          <a:ea typeface="+mn-ea"/>
          <a:cs typeface="+mn-cs"/>
        </a:defRPr>
      </a:lvl2pPr>
      <a:lvl3pPr marL="604656" indent="-199965" algn="l" defTabSz="685595" rtl="0" eaLnBrk="1" latinLnBrk="0" hangingPunct="1">
        <a:spcBef>
          <a:spcPts val="0"/>
        </a:spcBef>
        <a:spcAft>
          <a:spcPts val="450"/>
        </a:spcAft>
        <a:buFont typeface="Arial" pitchFamily="34" charset="0"/>
        <a:buChar char="•"/>
        <a:defRPr sz="1200" kern="1200">
          <a:solidFill>
            <a:schemeClr val="tx1"/>
          </a:solidFill>
          <a:latin typeface="+mn-lt"/>
          <a:ea typeface="+mn-ea"/>
          <a:cs typeface="+mn-cs"/>
        </a:defRPr>
      </a:lvl3pPr>
      <a:lvl4pPr marL="803432" indent="-198775" algn="l" defTabSz="685595" rtl="0" eaLnBrk="1" latinLnBrk="0" hangingPunct="1">
        <a:spcBef>
          <a:spcPts val="0"/>
        </a:spcBef>
        <a:spcAft>
          <a:spcPts val="450"/>
        </a:spcAft>
        <a:buFont typeface="Arial" pitchFamily="34" charset="0"/>
        <a:buChar char="–"/>
        <a:defRPr sz="1050" kern="1200">
          <a:solidFill>
            <a:schemeClr val="tx1"/>
          </a:solidFill>
          <a:latin typeface="+mn-lt"/>
          <a:ea typeface="+mn-ea"/>
          <a:cs typeface="+mn-cs"/>
        </a:defRPr>
      </a:lvl4pPr>
      <a:lvl5pPr marL="1009347" indent="-205917" algn="l" defTabSz="685595" rtl="0" eaLnBrk="1" latinLnBrk="0" hangingPunct="1">
        <a:spcBef>
          <a:spcPts val="0"/>
        </a:spcBef>
        <a:spcAft>
          <a:spcPts val="450"/>
        </a:spcAft>
        <a:buFont typeface="Arial" pitchFamily="34" charset="0"/>
        <a:buChar char="•"/>
        <a:defRPr sz="1050" kern="1200">
          <a:solidFill>
            <a:schemeClr val="tx1"/>
          </a:solidFill>
          <a:latin typeface="+mn-lt"/>
          <a:ea typeface="+mn-ea"/>
          <a:cs typeface="+mn-cs"/>
        </a:defRPr>
      </a:lvl5pPr>
      <a:lvl6pPr marL="1209312" indent="-199965" algn="l" defTabSz="685595" rtl="0" eaLnBrk="1" latinLnBrk="0" hangingPunct="1">
        <a:spcBef>
          <a:spcPct val="20000"/>
        </a:spcBef>
        <a:buFont typeface="Arial" pitchFamily="34" charset="0"/>
        <a:buChar char="•"/>
        <a:defRPr sz="900" kern="1200">
          <a:solidFill>
            <a:schemeClr val="tx1"/>
          </a:solidFill>
          <a:latin typeface="+mn-lt"/>
          <a:ea typeface="+mn-ea"/>
          <a:cs typeface="+mn-cs"/>
        </a:defRPr>
      </a:lvl6pPr>
      <a:lvl7pPr marL="1408088" indent="-198775" algn="l" defTabSz="685595" rtl="0" eaLnBrk="1" latinLnBrk="0" hangingPunct="1">
        <a:spcBef>
          <a:spcPct val="20000"/>
        </a:spcBef>
        <a:buFont typeface="Arial" pitchFamily="34" charset="0"/>
        <a:buChar char="•"/>
        <a:defRPr sz="900" kern="1200">
          <a:solidFill>
            <a:schemeClr val="tx1"/>
          </a:solidFill>
          <a:latin typeface="+mn-lt"/>
          <a:ea typeface="+mn-ea"/>
          <a:cs typeface="+mn-cs"/>
        </a:defRPr>
      </a:lvl7pPr>
      <a:lvl8pPr marL="1614003" indent="-205917" algn="l" defTabSz="685595" rtl="0" eaLnBrk="1" latinLnBrk="0" hangingPunct="1">
        <a:spcBef>
          <a:spcPct val="20000"/>
        </a:spcBef>
        <a:buFont typeface="Arial" pitchFamily="34" charset="0"/>
        <a:buChar char="•"/>
        <a:defRPr sz="900" kern="1200">
          <a:solidFill>
            <a:schemeClr val="tx1"/>
          </a:solidFill>
          <a:latin typeface="+mn-lt"/>
          <a:ea typeface="+mn-ea"/>
          <a:cs typeface="+mn-cs"/>
        </a:defRPr>
      </a:lvl8pPr>
      <a:lvl9pPr marL="1813968" indent="-199965" algn="l" defTabSz="685595" rtl="0" eaLnBrk="1" latinLnBrk="0" hangingPunct="1">
        <a:spcBef>
          <a:spcPct val="20000"/>
        </a:spcBef>
        <a:buFont typeface="Arial" pitchFamily="34" charset="0"/>
        <a:buChar char="•"/>
        <a:defRPr sz="900" kern="1200">
          <a:solidFill>
            <a:schemeClr val="tx1"/>
          </a:solidFill>
          <a:latin typeface="+mn-lt"/>
          <a:ea typeface="+mn-ea"/>
          <a:cs typeface="+mn-cs"/>
        </a:defRPr>
      </a:lvl9pPr>
    </p:bodyStyle>
    <p:otherStyle>
      <a:defPPr>
        <a:defRPr lang="fi-FI"/>
      </a:defPPr>
      <a:lvl1pPr marL="0" algn="l" defTabSz="685595" rtl="0" eaLnBrk="1" latinLnBrk="0" hangingPunct="1">
        <a:defRPr sz="1349" kern="1200">
          <a:solidFill>
            <a:schemeClr val="tx1"/>
          </a:solidFill>
          <a:latin typeface="+mn-lt"/>
          <a:ea typeface="+mn-ea"/>
          <a:cs typeface="+mn-cs"/>
        </a:defRPr>
      </a:lvl1pPr>
      <a:lvl2pPr marL="342797" algn="l" defTabSz="685595" rtl="0" eaLnBrk="1" latinLnBrk="0" hangingPunct="1">
        <a:defRPr sz="1349" kern="1200">
          <a:solidFill>
            <a:schemeClr val="tx1"/>
          </a:solidFill>
          <a:latin typeface="+mn-lt"/>
          <a:ea typeface="+mn-ea"/>
          <a:cs typeface="+mn-cs"/>
        </a:defRPr>
      </a:lvl2pPr>
      <a:lvl3pPr marL="685595" algn="l" defTabSz="685595" rtl="0" eaLnBrk="1" latinLnBrk="0" hangingPunct="1">
        <a:defRPr sz="1349" kern="1200">
          <a:solidFill>
            <a:schemeClr val="tx1"/>
          </a:solidFill>
          <a:latin typeface="+mn-lt"/>
          <a:ea typeface="+mn-ea"/>
          <a:cs typeface="+mn-cs"/>
        </a:defRPr>
      </a:lvl3pPr>
      <a:lvl4pPr marL="1028392" algn="l" defTabSz="685595" rtl="0" eaLnBrk="1" latinLnBrk="0" hangingPunct="1">
        <a:defRPr sz="1349" kern="1200">
          <a:solidFill>
            <a:schemeClr val="tx1"/>
          </a:solidFill>
          <a:latin typeface="+mn-lt"/>
          <a:ea typeface="+mn-ea"/>
          <a:cs typeface="+mn-cs"/>
        </a:defRPr>
      </a:lvl4pPr>
      <a:lvl5pPr marL="1371188" algn="l" defTabSz="685595" rtl="0" eaLnBrk="1" latinLnBrk="0" hangingPunct="1">
        <a:defRPr sz="1349" kern="1200">
          <a:solidFill>
            <a:schemeClr val="tx1"/>
          </a:solidFill>
          <a:latin typeface="+mn-lt"/>
          <a:ea typeface="+mn-ea"/>
          <a:cs typeface="+mn-cs"/>
        </a:defRPr>
      </a:lvl5pPr>
      <a:lvl6pPr marL="1713986" algn="l" defTabSz="685595" rtl="0" eaLnBrk="1" latinLnBrk="0" hangingPunct="1">
        <a:defRPr sz="1349" kern="1200">
          <a:solidFill>
            <a:schemeClr val="tx1"/>
          </a:solidFill>
          <a:latin typeface="+mn-lt"/>
          <a:ea typeface="+mn-ea"/>
          <a:cs typeface="+mn-cs"/>
        </a:defRPr>
      </a:lvl6pPr>
      <a:lvl7pPr marL="2056783" algn="l" defTabSz="685595" rtl="0" eaLnBrk="1" latinLnBrk="0" hangingPunct="1">
        <a:defRPr sz="1349" kern="1200">
          <a:solidFill>
            <a:schemeClr val="tx1"/>
          </a:solidFill>
          <a:latin typeface="+mn-lt"/>
          <a:ea typeface="+mn-ea"/>
          <a:cs typeface="+mn-cs"/>
        </a:defRPr>
      </a:lvl7pPr>
      <a:lvl8pPr marL="2399580" algn="l" defTabSz="685595" rtl="0" eaLnBrk="1" latinLnBrk="0" hangingPunct="1">
        <a:defRPr sz="1349" kern="1200">
          <a:solidFill>
            <a:schemeClr val="tx1"/>
          </a:solidFill>
          <a:latin typeface="+mn-lt"/>
          <a:ea typeface="+mn-ea"/>
          <a:cs typeface="+mn-cs"/>
        </a:defRPr>
      </a:lvl8pPr>
      <a:lvl9pPr marL="2742377" algn="l" defTabSz="685595" rtl="0" eaLnBrk="1" latinLnBrk="0" hangingPunct="1">
        <a:defRPr sz="1349"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6"/>
            </p:custDataLst>
            <p:extLst>
              <p:ext uri="{D42A27DB-BD31-4B8C-83A1-F6EECF244321}">
                <p14:modId xmlns:p14="http://schemas.microsoft.com/office/powerpoint/2010/main" val="64102269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8" imgW="344" imgH="344" progId="TCLayout.ActiveDocument.1">
                  <p:embed/>
                </p:oleObj>
              </mc:Choice>
              <mc:Fallback>
                <p:oleObj name="think-cell Slide" r:id="rId8"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9"/>
                      <a:stretch>
                        <a:fillRect/>
                      </a:stretch>
                    </p:blipFill>
                    <p:spPr>
                      <a:xfrm>
                        <a:off x="1191" y="1191"/>
                        <a:ext cx="1191" cy="1191"/>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A767ABE-C4E1-4B07-8DB9-34D6A2E637D2}"/>
              </a:ext>
            </a:extLst>
          </p:cNvPr>
          <p:cNvSpPr/>
          <p:nvPr userDrawn="1">
            <p:custDataLst>
              <p:tags r:id="rId7"/>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5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192026" y="198883"/>
            <a:ext cx="8762287" cy="4749325"/>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35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453326" y="1118658"/>
            <a:ext cx="8237349"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385586" y="273844"/>
            <a:ext cx="8305089" cy="811283"/>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381239" y="1245726"/>
            <a:ext cx="8309436" cy="118495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6885896" y="4974536"/>
            <a:ext cx="2057400" cy="140674"/>
          </a:xfrm>
          <a:prstGeom prst="rect">
            <a:avLst/>
          </a:prstGeom>
        </p:spPr>
        <p:txBody>
          <a:bodyPr vert="horz" lIns="91440" tIns="45720" rIns="91440" bIns="45720" rtlCol="0" anchor="ctr"/>
          <a:lstStyle>
            <a:lvl1pPr algn="r">
              <a:defRPr sz="9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320929195"/>
      </p:ext>
    </p:extLst>
  </p:cSld>
  <p:clrMap bg1="lt1" tx1="dk1" bg2="lt2" tx2="dk2" accent1="accent1" accent2="accent2" accent3="accent3" accent4="accent4" accent5="accent5" accent6="accent6" hlink="hlink" folHlink="folHlink"/>
  <p:sldLayoutIdLst>
    <p:sldLayoutId id="2147483955" r:id="rId1"/>
    <p:sldLayoutId id="2147483956" r:id="rId2"/>
    <p:sldLayoutId id="2147483957" r:id="rId3"/>
    <p:sldLayoutId id="2147483958" r:id="rId4"/>
  </p:sldLayoutIdLst>
  <p:hf hdr="0" ftr="0" dt="0"/>
  <p:txStyles>
    <p:titleStyle>
      <a:lvl1pPr algn="l" defTabSz="685783" rtl="0" eaLnBrk="1" latinLnBrk="0" hangingPunct="1">
        <a:lnSpc>
          <a:spcPct val="90000"/>
        </a:lnSpc>
        <a:spcBef>
          <a:spcPct val="0"/>
        </a:spcBef>
        <a:buNone/>
        <a:defRPr sz="15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685783" rtl="0" eaLnBrk="1" latinLnBrk="0" hangingPunct="1">
        <a:lnSpc>
          <a:spcPct val="90000"/>
        </a:lnSpc>
        <a:spcBef>
          <a:spcPts val="750"/>
        </a:spcBef>
        <a:buFont typeface="Arial" panose="020B0604020202020204" pitchFamily="34" charset="0"/>
        <a:buNone/>
        <a:defRPr sz="1200" kern="1200">
          <a:solidFill>
            <a:srgbClr val="002060"/>
          </a:solidFill>
          <a:latin typeface="Arial" panose="020B0604020202020204" pitchFamily="34" charset="0"/>
          <a:ea typeface="+mn-ea"/>
          <a:cs typeface="Arial" panose="020B0604020202020204" pitchFamily="34" charset="0"/>
        </a:defRPr>
      </a:lvl1pPr>
      <a:lvl2pPr marL="300031" indent="-126203" algn="l" defTabSz="685783" rtl="0" eaLnBrk="1" latinLnBrk="0" hangingPunct="1">
        <a:lnSpc>
          <a:spcPct val="90000"/>
        </a:lnSpc>
        <a:spcBef>
          <a:spcPts val="375"/>
        </a:spcBef>
        <a:buFont typeface="Arial" panose="020B0604020202020204" pitchFamily="34" charset="0"/>
        <a:buChar char="•"/>
        <a:defRPr sz="1200" kern="1200">
          <a:solidFill>
            <a:srgbClr val="002060"/>
          </a:solidFill>
          <a:latin typeface="Arial" panose="020B0604020202020204" pitchFamily="34" charset="0"/>
          <a:ea typeface="+mn-ea"/>
          <a:cs typeface="Arial" panose="020B0604020202020204" pitchFamily="34" charset="0"/>
        </a:defRPr>
      </a:lvl2pPr>
      <a:lvl3pPr marL="685783" indent="-129776" algn="l" defTabSz="685783" rtl="0" eaLnBrk="1" latinLnBrk="0" hangingPunct="1">
        <a:lnSpc>
          <a:spcPct val="90000"/>
        </a:lnSpc>
        <a:spcBef>
          <a:spcPts val="375"/>
        </a:spcBef>
        <a:buFont typeface="Arial" panose="020B0604020202020204" pitchFamily="34" charset="0"/>
        <a:buChar char="•"/>
        <a:defRPr sz="1200" kern="1200">
          <a:solidFill>
            <a:srgbClr val="002060"/>
          </a:solidFill>
          <a:latin typeface="Arial" panose="020B0604020202020204" pitchFamily="34" charset="0"/>
          <a:ea typeface="+mn-ea"/>
          <a:cs typeface="Arial" panose="020B0604020202020204" pitchFamily="34" charset="0"/>
        </a:defRPr>
      </a:lvl3pPr>
      <a:lvl4pPr marL="1115588" indent="-128585" algn="l" defTabSz="685783" rtl="0" eaLnBrk="1" latinLnBrk="0" hangingPunct="1">
        <a:lnSpc>
          <a:spcPct val="90000"/>
        </a:lnSpc>
        <a:spcBef>
          <a:spcPts val="375"/>
        </a:spcBef>
        <a:buFont typeface="Arial" panose="020B0604020202020204" pitchFamily="34" charset="0"/>
        <a:buChar char="•"/>
        <a:defRPr sz="1200" kern="1200">
          <a:solidFill>
            <a:srgbClr val="002060"/>
          </a:solidFill>
          <a:latin typeface="Arial" panose="020B0604020202020204" pitchFamily="34" charset="0"/>
          <a:ea typeface="+mn-ea"/>
          <a:cs typeface="Arial" panose="020B0604020202020204" pitchFamily="34" charset="0"/>
        </a:defRPr>
      </a:lvl4pPr>
      <a:lvl5pPr marL="1501342" indent="-128585" algn="l" defTabSz="685783" rtl="0" eaLnBrk="1" latinLnBrk="0" hangingPunct="1">
        <a:lnSpc>
          <a:spcPct val="90000"/>
        </a:lnSpc>
        <a:spcBef>
          <a:spcPts val="375"/>
        </a:spcBef>
        <a:buFont typeface="Arial" panose="020B0604020202020204" pitchFamily="34" charset="0"/>
        <a:buChar char="•"/>
        <a:defRPr sz="1200" kern="1200">
          <a:solidFill>
            <a:srgbClr val="002060"/>
          </a:solidFill>
          <a:latin typeface="Arial" panose="020B0604020202020204" pitchFamily="34" charset="0"/>
          <a:ea typeface="+mn-ea"/>
          <a:cs typeface="Arial" panose="020B0604020202020204" pitchFamily="34" charset="0"/>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3"/>
          </p:nvPr>
        </p:nvSpPr>
        <p:spPr>
          <a:xfrm>
            <a:off x="5056956" y="4515966"/>
            <a:ext cx="3619500" cy="119063"/>
          </a:xfrm>
          <a:prstGeom prst="rect">
            <a:avLst/>
          </a:prstGeom>
        </p:spPr>
        <p:txBody>
          <a:bodyPr vert="horz" lIns="91436" tIns="45718" rIns="0" bIns="45718" rtlCol="0" anchor="ctr"/>
          <a:lstStyle>
            <a:lvl1pPr algn="r">
              <a:defRPr sz="810">
                <a:solidFill>
                  <a:schemeClr val="tx1">
                    <a:tint val="75000"/>
                  </a:schemeClr>
                </a:solidFill>
              </a:defRPr>
            </a:lvl1pPr>
          </a:lstStyle>
          <a:p>
            <a:pPr>
              <a:defRPr/>
            </a:pPr>
            <a:endParaRPr lang="fi-FI"/>
          </a:p>
        </p:txBody>
      </p:sp>
      <p:sp>
        <p:nvSpPr>
          <p:cNvPr id="8" name="Date Placeholder 7"/>
          <p:cNvSpPr>
            <a:spLocks noGrp="1"/>
          </p:cNvSpPr>
          <p:nvPr>
            <p:ph type="dt" sz="half" idx="2"/>
          </p:nvPr>
        </p:nvSpPr>
        <p:spPr>
          <a:xfrm>
            <a:off x="5056956" y="4635029"/>
            <a:ext cx="3619500" cy="139304"/>
          </a:xfrm>
          <a:prstGeom prst="rect">
            <a:avLst/>
          </a:prstGeom>
        </p:spPr>
        <p:txBody>
          <a:bodyPr vert="horz" lIns="91436" tIns="45718" rIns="0" bIns="45718" rtlCol="0" anchor="ctr"/>
          <a:lstStyle>
            <a:lvl1pPr algn="r">
              <a:defRPr sz="810">
                <a:solidFill>
                  <a:schemeClr val="tx1">
                    <a:tint val="75000"/>
                  </a:schemeClr>
                </a:solidFill>
              </a:defRPr>
            </a:lvl1pPr>
          </a:lstStyle>
          <a:p>
            <a:pPr>
              <a:defRPr/>
            </a:pPr>
            <a:fld id="{ED520173-7D7F-4FBC-A781-33E654CAA422}" type="datetime1">
              <a:rPr lang="fi-FI" smtClean="0"/>
              <a:t>5.11.2023</a:t>
            </a:fld>
            <a:endParaRPr lang="fi-FI"/>
          </a:p>
        </p:txBody>
      </p:sp>
      <p:sp>
        <p:nvSpPr>
          <p:cNvPr id="9" name="Slide Number Placeholder 8"/>
          <p:cNvSpPr>
            <a:spLocks noGrp="1"/>
          </p:cNvSpPr>
          <p:nvPr>
            <p:ph type="sldNum" sz="quarter" idx="4"/>
          </p:nvPr>
        </p:nvSpPr>
        <p:spPr>
          <a:xfrm>
            <a:off x="5056956" y="4774333"/>
            <a:ext cx="3619500" cy="121444"/>
          </a:xfrm>
          <a:prstGeom prst="rect">
            <a:avLst/>
          </a:prstGeom>
        </p:spPr>
        <p:txBody>
          <a:bodyPr vert="horz" lIns="91436" tIns="45718" rIns="0" bIns="45718" rtlCol="0" anchor="ctr"/>
          <a:lstStyle>
            <a:lvl1pPr algn="r">
              <a:defRPr sz="810">
                <a:solidFill>
                  <a:schemeClr val="tx1">
                    <a:tint val="75000"/>
                  </a:schemeClr>
                </a:solidFill>
              </a:defRPr>
            </a:lvl1pPr>
          </a:lstStyle>
          <a:p>
            <a:pPr>
              <a:defRPr/>
            </a:pPr>
            <a:fld id="{805BCDE0-955E-2A43-932A-046BF80DB991}" type="slidenum">
              <a:rPr lang="fi-FI"/>
              <a:pPr>
                <a:defRPr/>
              </a:pPr>
              <a:t>‹#›</a:t>
            </a:fld>
            <a:endParaRPr lang="fi-FI"/>
          </a:p>
        </p:txBody>
      </p:sp>
    </p:spTree>
    <p:extLst>
      <p:ext uri="{BB962C8B-B14F-4D97-AF65-F5344CB8AC3E}">
        <p14:creationId xmlns:p14="http://schemas.microsoft.com/office/powerpoint/2010/main" val="3663085057"/>
      </p:ext>
    </p:extLst>
  </p:cSld>
  <p:clrMap bg1="lt1" tx1="dk1" bg2="lt2" tx2="dk2" accent1="accent1" accent2="accent2" accent3="accent3" accent4="accent4" accent5="accent5" accent6="accent6" hlink="hlink" folHlink="folHlink"/>
  <p:sldLayoutIdLst>
    <p:sldLayoutId id="2147483985" r:id="rId1"/>
    <p:sldLayoutId id="2147483986" r:id="rId2"/>
    <p:sldLayoutId id="2147483987" r:id="rId3"/>
    <p:sldLayoutId id="2147483988" r:id="rId4"/>
    <p:sldLayoutId id="2147483989" r:id="rId5"/>
    <p:sldLayoutId id="2147483990" r:id="rId6"/>
    <p:sldLayoutId id="2147483991" r:id="rId7"/>
    <p:sldLayoutId id="2147483992" r:id="rId8"/>
    <p:sldLayoutId id="2147483993" r:id="rId9"/>
    <p:sldLayoutId id="2147483994" r:id="rId10"/>
    <p:sldLayoutId id="2147483995" r:id="rId11"/>
  </p:sldLayoutIdLst>
  <p:hf hdr="0" ftr="0"/>
  <p:txStyles>
    <p:titleStyle>
      <a:lvl1pPr algn="ctr" defTabSz="411463" rtl="0" eaLnBrk="1" fontAlgn="base" hangingPunct="1">
        <a:spcBef>
          <a:spcPct val="0"/>
        </a:spcBef>
        <a:spcAft>
          <a:spcPct val="0"/>
        </a:spcAft>
        <a:defRPr sz="3960" kern="1200">
          <a:solidFill>
            <a:schemeClr val="tx1"/>
          </a:solidFill>
          <a:latin typeface="+mj-lt"/>
          <a:ea typeface="ＭＳ Ｐゴシック" charset="0"/>
          <a:cs typeface="MS PGothic" pitchFamily="34" charset="-128"/>
        </a:defRPr>
      </a:lvl1pPr>
      <a:lvl2pPr algn="ctr" defTabSz="411463" rtl="0" eaLnBrk="1" fontAlgn="base" hangingPunct="1">
        <a:spcBef>
          <a:spcPct val="0"/>
        </a:spcBef>
        <a:spcAft>
          <a:spcPct val="0"/>
        </a:spcAft>
        <a:defRPr sz="3960">
          <a:solidFill>
            <a:schemeClr val="tx1"/>
          </a:solidFill>
          <a:latin typeface="Arial" pitchFamily="-65" charset="0"/>
          <a:ea typeface="ＭＳ Ｐゴシック" charset="0"/>
          <a:cs typeface="MS PGothic" pitchFamily="34" charset="-128"/>
        </a:defRPr>
      </a:lvl2pPr>
      <a:lvl3pPr algn="ctr" defTabSz="411463" rtl="0" eaLnBrk="1" fontAlgn="base" hangingPunct="1">
        <a:spcBef>
          <a:spcPct val="0"/>
        </a:spcBef>
        <a:spcAft>
          <a:spcPct val="0"/>
        </a:spcAft>
        <a:defRPr sz="3960">
          <a:solidFill>
            <a:schemeClr val="tx1"/>
          </a:solidFill>
          <a:latin typeface="Arial" pitchFamily="-65" charset="0"/>
          <a:ea typeface="ＭＳ Ｐゴシック" charset="0"/>
          <a:cs typeface="MS PGothic" pitchFamily="34" charset="-128"/>
        </a:defRPr>
      </a:lvl3pPr>
      <a:lvl4pPr algn="ctr" defTabSz="411463" rtl="0" eaLnBrk="1" fontAlgn="base" hangingPunct="1">
        <a:spcBef>
          <a:spcPct val="0"/>
        </a:spcBef>
        <a:spcAft>
          <a:spcPct val="0"/>
        </a:spcAft>
        <a:defRPr sz="3960">
          <a:solidFill>
            <a:schemeClr val="tx1"/>
          </a:solidFill>
          <a:latin typeface="Arial" pitchFamily="-65" charset="0"/>
          <a:ea typeface="ＭＳ Ｐゴシック" charset="0"/>
          <a:cs typeface="MS PGothic" pitchFamily="34" charset="-128"/>
        </a:defRPr>
      </a:lvl4pPr>
      <a:lvl5pPr algn="ctr" defTabSz="411463" rtl="0" eaLnBrk="1" fontAlgn="base" hangingPunct="1">
        <a:spcBef>
          <a:spcPct val="0"/>
        </a:spcBef>
        <a:spcAft>
          <a:spcPct val="0"/>
        </a:spcAft>
        <a:defRPr sz="3960">
          <a:solidFill>
            <a:schemeClr val="tx1"/>
          </a:solidFill>
          <a:latin typeface="Arial" pitchFamily="-65" charset="0"/>
          <a:ea typeface="ＭＳ Ｐゴシック" charset="0"/>
          <a:cs typeface="MS PGothic" pitchFamily="34" charset="-128"/>
        </a:defRPr>
      </a:lvl5pPr>
      <a:lvl6pPr marL="411463" algn="ctr" defTabSz="411463" rtl="0" eaLnBrk="1" fontAlgn="base" hangingPunct="1">
        <a:spcBef>
          <a:spcPct val="0"/>
        </a:spcBef>
        <a:spcAft>
          <a:spcPct val="0"/>
        </a:spcAft>
        <a:defRPr sz="3960">
          <a:solidFill>
            <a:schemeClr val="tx1"/>
          </a:solidFill>
          <a:latin typeface="Arial" pitchFamily="-65" charset="0"/>
          <a:ea typeface="ＭＳ Ｐゴシック" pitchFamily="-65" charset="-128"/>
          <a:cs typeface="ＭＳ Ｐゴシック" pitchFamily="-65" charset="-128"/>
        </a:defRPr>
      </a:lvl6pPr>
      <a:lvl7pPr marL="822928" algn="ctr" defTabSz="411463" rtl="0" eaLnBrk="1" fontAlgn="base" hangingPunct="1">
        <a:spcBef>
          <a:spcPct val="0"/>
        </a:spcBef>
        <a:spcAft>
          <a:spcPct val="0"/>
        </a:spcAft>
        <a:defRPr sz="3960">
          <a:solidFill>
            <a:schemeClr val="tx1"/>
          </a:solidFill>
          <a:latin typeface="Arial" pitchFamily="-65" charset="0"/>
          <a:ea typeface="ＭＳ Ｐゴシック" pitchFamily="-65" charset="-128"/>
          <a:cs typeface="ＭＳ Ｐゴシック" pitchFamily="-65" charset="-128"/>
        </a:defRPr>
      </a:lvl7pPr>
      <a:lvl8pPr marL="1234391" algn="ctr" defTabSz="411463" rtl="0" eaLnBrk="1" fontAlgn="base" hangingPunct="1">
        <a:spcBef>
          <a:spcPct val="0"/>
        </a:spcBef>
        <a:spcAft>
          <a:spcPct val="0"/>
        </a:spcAft>
        <a:defRPr sz="3960">
          <a:solidFill>
            <a:schemeClr val="tx1"/>
          </a:solidFill>
          <a:latin typeface="Arial" pitchFamily="-65" charset="0"/>
          <a:ea typeface="ＭＳ Ｐゴシック" pitchFamily="-65" charset="-128"/>
          <a:cs typeface="ＭＳ Ｐゴシック" pitchFamily="-65" charset="-128"/>
        </a:defRPr>
      </a:lvl8pPr>
      <a:lvl9pPr marL="1645854" algn="ctr" defTabSz="411463" rtl="0" eaLnBrk="1" fontAlgn="base" hangingPunct="1">
        <a:spcBef>
          <a:spcPct val="0"/>
        </a:spcBef>
        <a:spcAft>
          <a:spcPct val="0"/>
        </a:spcAft>
        <a:defRPr sz="3960">
          <a:solidFill>
            <a:schemeClr val="tx1"/>
          </a:solidFill>
          <a:latin typeface="Arial" pitchFamily="-65" charset="0"/>
          <a:ea typeface="ＭＳ Ｐゴシック" pitchFamily="-65" charset="-128"/>
          <a:cs typeface="ＭＳ Ｐゴシック" pitchFamily="-65" charset="-128"/>
        </a:defRPr>
      </a:lvl9pPr>
    </p:titleStyle>
    <p:bodyStyle>
      <a:lvl1pPr marL="308597" indent="-308597" algn="l" defTabSz="411463" rtl="0" eaLnBrk="1" fontAlgn="base" hangingPunct="1">
        <a:spcBef>
          <a:spcPct val="20000"/>
        </a:spcBef>
        <a:spcAft>
          <a:spcPct val="0"/>
        </a:spcAft>
        <a:buFont typeface="Arial" charset="0"/>
        <a:buChar char="•"/>
        <a:defRPr sz="2880" kern="1200">
          <a:solidFill>
            <a:schemeClr val="tx1"/>
          </a:solidFill>
          <a:latin typeface="+mn-lt"/>
          <a:ea typeface="ＭＳ Ｐゴシック" charset="0"/>
          <a:cs typeface="MS PGothic" pitchFamily="34" charset="-128"/>
        </a:defRPr>
      </a:lvl1pPr>
      <a:lvl2pPr marL="668628" indent="-257165" algn="l" defTabSz="411463" rtl="0" eaLnBrk="1" fontAlgn="base" hangingPunct="1">
        <a:spcBef>
          <a:spcPct val="20000"/>
        </a:spcBef>
        <a:spcAft>
          <a:spcPct val="0"/>
        </a:spcAft>
        <a:buFont typeface="Arial" charset="0"/>
        <a:buChar char="–"/>
        <a:defRPr sz="2520" kern="1200">
          <a:solidFill>
            <a:schemeClr val="tx1"/>
          </a:solidFill>
          <a:latin typeface="+mn-lt"/>
          <a:ea typeface="MS PGothic" pitchFamily="34" charset="-128"/>
          <a:cs typeface="MS PGothic" charset="0"/>
        </a:defRPr>
      </a:lvl2pPr>
      <a:lvl3pPr marL="1028659" indent="-205732" algn="l" defTabSz="411463" rtl="0" eaLnBrk="1" fontAlgn="base" hangingPunct="1">
        <a:spcBef>
          <a:spcPct val="20000"/>
        </a:spcBef>
        <a:spcAft>
          <a:spcPct val="0"/>
        </a:spcAft>
        <a:buFont typeface="Arial" charset="0"/>
        <a:buChar char="•"/>
        <a:defRPr sz="2160" kern="1200">
          <a:solidFill>
            <a:schemeClr val="tx1"/>
          </a:solidFill>
          <a:latin typeface="+mn-lt"/>
          <a:ea typeface="ヒラギノ角ゴ Pro W3" charset="-128"/>
          <a:cs typeface="ヒラギノ角ゴ Pro W3" charset="-128"/>
        </a:defRPr>
      </a:lvl3pPr>
      <a:lvl4pPr marL="1440122" indent="-205732" algn="l" defTabSz="411463" rtl="0" eaLnBrk="1" fontAlgn="base" hangingPunct="1">
        <a:spcBef>
          <a:spcPct val="20000"/>
        </a:spcBef>
        <a:spcAft>
          <a:spcPct val="0"/>
        </a:spcAft>
        <a:buFont typeface="Arial" charset="0"/>
        <a:buChar char="–"/>
        <a:defRPr sz="1800" kern="1200">
          <a:solidFill>
            <a:schemeClr val="tx1"/>
          </a:solidFill>
          <a:latin typeface="+mn-lt"/>
          <a:ea typeface="ヒラギノ角ゴ Pro W3" charset="-128"/>
          <a:cs typeface="ヒラギノ角ゴ Pro W3" charset="0"/>
        </a:defRPr>
      </a:lvl4pPr>
      <a:lvl5pPr marL="1851586" indent="-205732" algn="l" defTabSz="411463" rtl="0" eaLnBrk="1" fontAlgn="base" hangingPunct="1">
        <a:spcBef>
          <a:spcPct val="20000"/>
        </a:spcBef>
        <a:spcAft>
          <a:spcPct val="0"/>
        </a:spcAft>
        <a:buFont typeface="Arial" charset="0"/>
        <a:buChar char="»"/>
        <a:defRPr sz="1800" kern="1200">
          <a:solidFill>
            <a:schemeClr val="tx1"/>
          </a:solidFill>
          <a:latin typeface="+mn-lt"/>
          <a:ea typeface="ＭＳ Ｐゴシック" charset="0"/>
          <a:cs typeface="MS PGothic" pitchFamily="34" charset="-128"/>
        </a:defRPr>
      </a:lvl5pPr>
      <a:lvl6pPr marL="2263049" indent="-205732" algn="l" defTabSz="411463" rtl="0" eaLnBrk="1" latinLnBrk="0" hangingPunct="1">
        <a:spcBef>
          <a:spcPct val="20000"/>
        </a:spcBef>
        <a:buFont typeface="Arial"/>
        <a:buChar char="•"/>
        <a:defRPr sz="1800" kern="1200">
          <a:solidFill>
            <a:schemeClr val="tx1"/>
          </a:solidFill>
          <a:latin typeface="+mn-lt"/>
          <a:ea typeface="+mn-ea"/>
          <a:cs typeface="+mn-cs"/>
        </a:defRPr>
      </a:lvl6pPr>
      <a:lvl7pPr marL="2674513" indent="-205732" algn="l" defTabSz="411463" rtl="0" eaLnBrk="1" latinLnBrk="0" hangingPunct="1">
        <a:spcBef>
          <a:spcPct val="20000"/>
        </a:spcBef>
        <a:buFont typeface="Arial"/>
        <a:buChar char="•"/>
        <a:defRPr sz="1800" kern="1200">
          <a:solidFill>
            <a:schemeClr val="tx1"/>
          </a:solidFill>
          <a:latin typeface="+mn-lt"/>
          <a:ea typeface="+mn-ea"/>
          <a:cs typeface="+mn-cs"/>
        </a:defRPr>
      </a:lvl7pPr>
      <a:lvl8pPr marL="3085977" indent="-205732" algn="l" defTabSz="411463" rtl="0" eaLnBrk="1" latinLnBrk="0" hangingPunct="1">
        <a:spcBef>
          <a:spcPct val="20000"/>
        </a:spcBef>
        <a:buFont typeface="Arial"/>
        <a:buChar char="•"/>
        <a:defRPr sz="1800" kern="1200">
          <a:solidFill>
            <a:schemeClr val="tx1"/>
          </a:solidFill>
          <a:latin typeface="+mn-lt"/>
          <a:ea typeface="+mn-ea"/>
          <a:cs typeface="+mn-cs"/>
        </a:defRPr>
      </a:lvl8pPr>
      <a:lvl9pPr marL="3497440" indent="-205732" algn="l" defTabSz="411463" rtl="0" eaLnBrk="1" latinLnBrk="0" hangingPunct="1">
        <a:spcBef>
          <a:spcPct val="20000"/>
        </a:spcBef>
        <a:buFont typeface="Arial"/>
        <a:buChar char="•"/>
        <a:defRPr sz="1800" kern="1200">
          <a:solidFill>
            <a:schemeClr val="tx1"/>
          </a:solidFill>
          <a:latin typeface="+mn-lt"/>
          <a:ea typeface="+mn-ea"/>
          <a:cs typeface="+mn-cs"/>
        </a:defRPr>
      </a:lvl9pPr>
    </p:bodyStyle>
    <p:otherStyle>
      <a:defPPr>
        <a:defRPr lang="en-US"/>
      </a:defPPr>
      <a:lvl1pPr marL="0" algn="l" defTabSz="411463" rtl="0" eaLnBrk="1" latinLnBrk="0" hangingPunct="1">
        <a:defRPr sz="1620" kern="1200">
          <a:solidFill>
            <a:schemeClr val="tx1"/>
          </a:solidFill>
          <a:latin typeface="+mn-lt"/>
          <a:ea typeface="+mn-ea"/>
          <a:cs typeface="+mn-cs"/>
        </a:defRPr>
      </a:lvl1pPr>
      <a:lvl2pPr marL="411463" algn="l" defTabSz="411463" rtl="0" eaLnBrk="1" latinLnBrk="0" hangingPunct="1">
        <a:defRPr sz="1620" kern="1200">
          <a:solidFill>
            <a:schemeClr val="tx1"/>
          </a:solidFill>
          <a:latin typeface="+mn-lt"/>
          <a:ea typeface="+mn-ea"/>
          <a:cs typeface="+mn-cs"/>
        </a:defRPr>
      </a:lvl2pPr>
      <a:lvl3pPr marL="822928" algn="l" defTabSz="411463" rtl="0" eaLnBrk="1" latinLnBrk="0" hangingPunct="1">
        <a:defRPr sz="1620" kern="1200">
          <a:solidFill>
            <a:schemeClr val="tx1"/>
          </a:solidFill>
          <a:latin typeface="+mn-lt"/>
          <a:ea typeface="+mn-ea"/>
          <a:cs typeface="+mn-cs"/>
        </a:defRPr>
      </a:lvl3pPr>
      <a:lvl4pPr marL="1234391" algn="l" defTabSz="411463" rtl="0" eaLnBrk="1" latinLnBrk="0" hangingPunct="1">
        <a:defRPr sz="1620" kern="1200">
          <a:solidFill>
            <a:schemeClr val="tx1"/>
          </a:solidFill>
          <a:latin typeface="+mn-lt"/>
          <a:ea typeface="+mn-ea"/>
          <a:cs typeface="+mn-cs"/>
        </a:defRPr>
      </a:lvl4pPr>
      <a:lvl5pPr marL="1645854" algn="l" defTabSz="411463" rtl="0" eaLnBrk="1" latinLnBrk="0" hangingPunct="1">
        <a:defRPr sz="1620" kern="1200">
          <a:solidFill>
            <a:schemeClr val="tx1"/>
          </a:solidFill>
          <a:latin typeface="+mn-lt"/>
          <a:ea typeface="+mn-ea"/>
          <a:cs typeface="+mn-cs"/>
        </a:defRPr>
      </a:lvl5pPr>
      <a:lvl6pPr marL="2057318" algn="l" defTabSz="411463" rtl="0" eaLnBrk="1" latinLnBrk="0" hangingPunct="1">
        <a:defRPr sz="1620" kern="1200">
          <a:solidFill>
            <a:schemeClr val="tx1"/>
          </a:solidFill>
          <a:latin typeface="+mn-lt"/>
          <a:ea typeface="+mn-ea"/>
          <a:cs typeface="+mn-cs"/>
        </a:defRPr>
      </a:lvl6pPr>
      <a:lvl7pPr marL="2468781" algn="l" defTabSz="411463" rtl="0" eaLnBrk="1" latinLnBrk="0" hangingPunct="1">
        <a:defRPr sz="1620" kern="1200">
          <a:solidFill>
            <a:schemeClr val="tx1"/>
          </a:solidFill>
          <a:latin typeface="+mn-lt"/>
          <a:ea typeface="+mn-ea"/>
          <a:cs typeface="+mn-cs"/>
        </a:defRPr>
      </a:lvl7pPr>
      <a:lvl8pPr marL="2880245" algn="l" defTabSz="411463" rtl="0" eaLnBrk="1" latinLnBrk="0" hangingPunct="1">
        <a:defRPr sz="1620" kern="1200">
          <a:solidFill>
            <a:schemeClr val="tx1"/>
          </a:solidFill>
          <a:latin typeface="+mn-lt"/>
          <a:ea typeface="+mn-ea"/>
          <a:cs typeface="+mn-cs"/>
        </a:defRPr>
      </a:lvl8pPr>
      <a:lvl9pPr marL="3291709" algn="l" defTabSz="411463" rtl="0" eaLnBrk="1" latinLnBrk="0" hangingPunct="1">
        <a:defRPr sz="162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Otsikon paikkamerkki 1">
            <a:extLst>
              <a:ext uri="{FF2B5EF4-FFF2-40B4-BE49-F238E27FC236}">
                <a16:creationId xmlns:a16="http://schemas.microsoft.com/office/drawing/2014/main" id="{3F7DA339-656F-4343-9286-0E17E2939928}"/>
              </a:ext>
            </a:extLst>
          </p:cNvPr>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fi-FI"/>
              <a:t>Muokkaa ots. perustyyl. napsautt.</a:t>
            </a:r>
          </a:p>
        </p:txBody>
      </p:sp>
      <p:sp>
        <p:nvSpPr>
          <p:cNvPr id="3" name="Tekstin paikkamerkki 2">
            <a:extLst>
              <a:ext uri="{FF2B5EF4-FFF2-40B4-BE49-F238E27FC236}">
                <a16:creationId xmlns:a16="http://schemas.microsoft.com/office/drawing/2014/main" id="{77E66AB0-E7D8-4457-90AE-68653B6742F6}"/>
              </a:ext>
            </a:extLst>
          </p:cNvPr>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Päivämäärän paikkamerkki 3">
            <a:extLst>
              <a:ext uri="{FF2B5EF4-FFF2-40B4-BE49-F238E27FC236}">
                <a16:creationId xmlns:a16="http://schemas.microsoft.com/office/drawing/2014/main" id="{8E93D1E4-B2D0-4D1F-A67E-F2285CDE383D}"/>
              </a:ext>
            </a:extLst>
          </p:cNvPr>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8ECA3837-AF22-4662-B83E-FA12A6369B85}" type="datetimeFigureOut">
              <a:rPr lang="fi-FI" smtClean="0"/>
              <a:t>5.11.2023</a:t>
            </a:fld>
            <a:endParaRPr lang="fi-FI"/>
          </a:p>
        </p:txBody>
      </p:sp>
      <p:sp>
        <p:nvSpPr>
          <p:cNvPr id="5" name="Alatunnisteen paikkamerkki 4">
            <a:extLst>
              <a:ext uri="{FF2B5EF4-FFF2-40B4-BE49-F238E27FC236}">
                <a16:creationId xmlns:a16="http://schemas.microsoft.com/office/drawing/2014/main" id="{7C01A837-5578-4C55-9DBB-B8877FD1E200}"/>
              </a:ext>
            </a:extLst>
          </p:cNvPr>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fi-FI"/>
          </a:p>
        </p:txBody>
      </p:sp>
      <p:sp>
        <p:nvSpPr>
          <p:cNvPr id="6" name="Dian numeron paikkamerkki 5">
            <a:extLst>
              <a:ext uri="{FF2B5EF4-FFF2-40B4-BE49-F238E27FC236}">
                <a16:creationId xmlns:a16="http://schemas.microsoft.com/office/drawing/2014/main" id="{638451CB-F287-4B44-ADAD-C40BBBDA9843}"/>
              </a:ext>
            </a:extLst>
          </p:cNvPr>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A35A6EF0-D12E-44F6-820E-FBAC19C5152B}" type="slidenum">
              <a:rPr lang="fi-FI" smtClean="0"/>
              <a:t>‹#›</a:t>
            </a:fld>
            <a:endParaRPr lang="fi-FI"/>
          </a:p>
        </p:txBody>
      </p:sp>
    </p:spTree>
    <p:extLst>
      <p:ext uri="{BB962C8B-B14F-4D97-AF65-F5344CB8AC3E}">
        <p14:creationId xmlns:p14="http://schemas.microsoft.com/office/powerpoint/2010/main" val="2044814166"/>
      </p:ext>
    </p:extLst>
  </p:cSld>
  <p:clrMap bg1="lt1" tx1="dk1" bg2="lt2" tx2="dk2" accent1="accent1" accent2="accent2" accent3="accent3" accent4="accent4" accent5="accent5" accent6="accent6" hlink="hlink" folHlink="folHlink"/>
  <p:sldLayoutIdLst>
    <p:sldLayoutId id="2147483997" r:id="rId1"/>
    <p:sldLayoutId id="2147483998" r:id="rId2"/>
    <p:sldLayoutId id="2147483999" r:id="rId3"/>
    <p:sldLayoutId id="2147484000" r:id="rId4"/>
    <p:sldLayoutId id="2147484001" r:id="rId5"/>
    <p:sldLayoutId id="2147484002" r:id="rId6"/>
    <p:sldLayoutId id="2147484003" r:id="rId7"/>
    <p:sldLayoutId id="2147484004" r:id="rId8"/>
    <p:sldLayoutId id="2147484005" r:id="rId9"/>
    <p:sldLayoutId id="2147484006" r:id="rId10"/>
    <p:sldLayoutId id="2147484007"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fi-FI"/>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Otsikon paikkamerkki 1">
            <a:extLst>
              <a:ext uri="{FF2B5EF4-FFF2-40B4-BE49-F238E27FC236}">
                <a16:creationId xmlns:a16="http://schemas.microsoft.com/office/drawing/2014/main" id="{550CD5DB-C25D-4574-BA6E-7E6B038EE2A0}"/>
              </a:ext>
            </a:extLst>
          </p:cNvPr>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fi-FI"/>
              <a:t>Muokkaa ots. perustyyl. napsautt.</a:t>
            </a:r>
            <a:endParaRPr lang="en-US"/>
          </a:p>
        </p:txBody>
      </p:sp>
      <p:sp>
        <p:nvSpPr>
          <p:cNvPr id="3" name="Tekstin paikkamerkki 2">
            <a:extLst>
              <a:ext uri="{FF2B5EF4-FFF2-40B4-BE49-F238E27FC236}">
                <a16:creationId xmlns:a16="http://schemas.microsoft.com/office/drawing/2014/main" id="{1AB1BA31-64E7-4206-8370-A29E86AE39E5}"/>
              </a:ext>
            </a:extLst>
          </p:cNvPr>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US"/>
          </a:p>
        </p:txBody>
      </p:sp>
      <p:sp>
        <p:nvSpPr>
          <p:cNvPr id="4" name="Päivämäärän paikkamerkki 3">
            <a:extLst>
              <a:ext uri="{FF2B5EF4-FFF2-40B4-BE49-F238E27FC236}">
                <a16:creationId xmlns:a16="http://schemas.microsoft.com/office/drawing/2014/main" id="{5A6AB1F3-04E9-4D56-9C4E-FD44EC58BDB5}"/>
              </a:ext>
            </a:extLst>
          </p:cNvPr>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E3EABE19-BC7D-42AD-B02C-D1582605FFC8}" type="datetimeFigureOut">
              <a:rPr lang="en-US" smtClean="0"/>
              <a:t>5.11.2023</a:t>
            </a:fld>
            <a:endParaRPr lang="en-US"/>
          </a:p>
        </p:txBody>
      </p:sp>
      <p:sp>
        <p:nvSpPr>
          <p:cNvPr id="5" name="Alatunnisteen paikkamerkki 4">
            <a:extLst>
              <a:ext uri="{FF2B5EF4-FFF2-40B4-BE49-F238E27FC236}">
                <a16:creationId xmlns:a16="http://schemas.microsoft.com/office/drawing/2014/main" id="{18E43448-08F5-4CB2-865A-52987170ADE9}"/>
              </a:ext>
            </a:extLst>
          </p:cNvPr>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Dian numeron paikkamerkki 5">
            <a:extLst>
              <a:ext uri="{FF2B5EF4-FFF2-40B4-BE49-F238E27FC236}">
                <a16:creationId xmlns:a16="http://schemas.microsoft.com/office/drawing/2014/main" id="{6B77FF8F-1974-4C50-B563-54E9F5624FFB}"/>
              </a:ext>
            </a:extLst>
          </p:cNvPr>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B812DBEB-9514-473D-B57A-C2815E6341F1}" type="slidenum">
              <a:rPr lang="en-US" smtClean="0"/>
              <a:t>‹#›</a:t>
            </a:fld>
            <a:endParaRPr lang="en-US"/>
          </a:p>
        </p:txBody>
      </p:sp>
    </p:spTree>
    <p:extLst>
      <p:ext uri="{BB962C8B-B14F-4D97-AF65-F5344CB8AC3E}">
        <p14:creationId xmlns:p14="http://schemas.microsoft.com/office/powerpoint/2010/main" val="4010853733"/>
      </p:ext>
    </p:extLst>
  </p:cSld>
  <p:clrMap bg1="lt1" tx1="dk1" bg2="lt2" tx2="dk2" accent1="accent1" accent2="accent2" accent3="accent3" accent4="accent4" accent5="accent5" accent6="accent6" hlink="hlink" folHlink="folHlink"/>
  <p:sldLayoutIdLst>
    <p:sldLayoutId id="2147484009" r:id="rId1"/>
    <p:sldLayoutId id="2147484010" r:id="rId2"/>
    <p:sldLayoutId id="2147484011" r:id="rId3"/>
    <p:sldLayoutId id="2147484012" r:id="rId4"/>
    <p:sldLayoutId id="2147484013" r:id="rId5"/>
    <p:sldLayoutId id="2147484014" r:id="rId6"/>
    <p:sldLayoutId id="2147484015" r:id="rId7"/>
    <p:sldLayoutId id="2147484016" r:id="rId8"/>
    <p:sldLayoutId id="2147484017" r:id="rId9"/>
    <p:sldLayoutId id="2147484018" r:id="rId10"/>
    <p:sldLayoutId id="2147484019"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Layout" Target="../slideLayouts/slideLayout123.xml"/></Relationships>
</file>

<file path=ppt/slides/_rels/slide12.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Layout" Target="../slideLayouts/slideLayout56.xml"/><Relationship Id="rId5" Type="http://schemas.openxmlformats.org/officeDocument/2006/relationships/image" Target="../media/image35.svg"/><Relationship Id="rId4" Type="http://schemas.openxmlformats.org/officeDocument/2006/relationships/image" Target="../media/image34.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2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38.png"/><Relationship Id="rId1" Type="http://schemas.openxmlformats.org/officeDocument/2006/relationships/slideLayout" Target="../slideLayouts/slideLayout12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Layout" Target="../slideLayouts/slideLayout123.xml"/></Relationships>
</file>

<file path=ppt/slides/_rels/slide2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2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34.xml"/></Relationships>
</file>

<file path=ppt/slides/_rels/slide2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jpeg"/><Relationship Id="rId1" Type="http://schemas.openxmlformats.org/officeDocument/2006/relationships/slideLayout" Target="../slideLayouts/slideLayout13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23.xml"/></Relationships>
</file>

<file path=ppt/slides/_rels/slide27.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image" Target="../media/image43.jpeg"/><Relationship Id="rId1" Type="http://schemas.openxmlformats.org/officeDocument/2006/relationships/slideLayout" Target="../slideLayouts/slideLayout134.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23.xml"/></Relationships>
</file>

<file path=ppt/slides/_rels/slide7.xml.rels><?xml version="1.0" encoding="UTF-8" standalone="yes"?>
<Relationships xmlns="http://schemas.openxmlformats.org/package/2006/relationships"><Relationship Id="rId2" Type="http://schemas.openxmlformats.org/officeDocument/2006/relationships/hyperlink" Target="http://www.businessdictionary.com/" TargetMode="Externa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2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192131C-DD02-4BD5-B58F-D9B69E9678DB}"/>
              </a:ext>
            </a:extLst>
          </p:cNvPr>
          <p:cNvSpPr>
            <a:spLocks noGrp="1"/>
          </p:cNvSpPr>
          <p:nvPr>
            <p:ph type="body" sz="half" idx="11"/>
          </p:nvPr>
        </p:nvSpPr>
        <p:spPr>
          <a:xfrm>
            <a:off x="1010576" y="527561"/>
            <a:ext cx="7948556" cy="901982"/>
          </a:xfrm>
        </p:spPr>
        <p:txBody>
          <a:bodyPr/>
          <a:lstStyle/>
          <a:p>
            <a:r>
              <a:rPr lang="en-US" sz="2400" dirty="0">
                <a:solidFill>
                  <a:schemeClr val="tx2">
                    <a:lumMod val="20000"/>
                    <a:lumOff val="80000"/>
                  </a:schemeClr>
                </a:solidFill>
              </a:rPr>
              <a:t>CEMS</a:t>
            </a:r>
          </a:p>
          <a:p>
            <a:r>
              <a:rPr lang="en-US" sz="2400" dirty="0"/>
              <a:t>Global Strategy</a:t>
            </a:r>
            <a:endParaRPr lang="en-FI" sz="2400" dirty="0"/>
          </a:p>
        </p:txBody>
      </p:sp>
      <p:sp>
        <p:nvSpPr>
          <p:cNvPr id="3" name="Text Placeholder 2">
            <a:extLst>
              <a:ext uri="{FF2B5EF4-FFF2-40B4-BE49-F238E27FC236}">
                <a16:creationId xmlns:a16="http://schemas.microsoft.com/office/drawing/2014/main" id="{8A46F9C8-1964-44D9-B1CD-B6CEC744D5F3}"/>
              </a:ext>
            </a:extLst>
          </p:cNvPr>
          <p:cNvSpPr>
            <a:spLocks noGrp="1"/>
          </p:cNvSpPr>
          <p:nvPr>
            <p:ph type="body" sz="half" idx="2"/>
          </p:nvPr>
        </p:nvSpPr>
        <p:spPr>
          <a:xfrm>
            <a:off x="1010576" y="2112693"/>
            <a:ext cx="7998597" cy="1153021"/>
          </a:xfrm>
        </p:spPr>
        <p:txBody>
          <a:bodyPr/>
          <a:lstStyle/>
          <a:p>
            <a:r>
              <a:rPr lang="en-US" dirty="0">
                <a:solidFill>
                  <a:schemeClr val="bg2">
                    <a:lumMod val="60000"/>
                    <a:lumOff val="40000"/>
                  </a:schemeClr>
                </a:solidFill>
              </a:rPr>
              <a:t>Session 5</a:t>
            </a:r>
          </a:p>
          <a:p>
            <a:r>
              <a:rPr lang="en-US" i="1" dirty="0"/>
              <a:t>Expansion and entry strategies</a:t>
            </a:r>
            <a:endParaRPr lang="en-FI" i="1" dirty="0"/>
          </a:p>
        </p:txBody>
      </p:sp>
      <p:sp>
        <p:nvSpPr>
          <p:cNvPr id="4" name="Text Placeholder 3">
            <a:extLst>
              <a:ext uri="{FF2B5EF4-FFF2-40B4-BE49-F238E27FC236}">
                <a16:creationId xmlns:a16="http://schemas.microsoft.com/office/drawing/2014/main" id="{65F52422-E70E-4ECC-A8B5-2921A9E81C26}"/>
              </a:ext>
            </a:extLst>
          </p:cNvPr>
          <p:cNvSpPr>
            <a:spLocks noGrp="1"/>
          </p:cNvSpPr>
          <p:nvPr>
            <p:ph type="body" sz="half" idx="12"/>
          </p:nvPr>
        </p:nvSpPr>
        <p:spPr>
          <a:xfrm>
            <a:off x="6594633" y="4213339"/>
            <a:ext cx="2464025" cy="294419"/>
          </a:xfrm>
        </p:spPr>
        <p:txBody>
          <a:bodyPr/>
          <a:lstStyle/>
          <a:p>
            <a:r>
              <a:rPr lang="en-US" dirty="0"/>
              <a:t>Aleksi Niittymies	</a:t>
            </a:r>
            <a:endParaRPr lang="en-FI" dirty="0"/>
          </a:p>
        </p:txBody>
      </p:sp>
      <p:sp>
        <p:nvSpPr>
          <p:cNvPr id="5" name="Text Placeholder 4">
            <a:extLst>
              <a:ext uri="{FF2B5EF4-FFF2-40B4-BE49-F238E27FC236}">
                <a16:creationId xmlns:a16="http://schemas.microsoft.com/office/drawing/2014/main" id="{14D9E3F0-1051-411B-B4E8-74150CD2A556}"/>
              </a:ext>
            </a:extLst>
          </p:cNvPr>
          <p:cNvSpPr>
            <a:spLocks noGrp="1"/>
          </p:cNvSpPr>
          <p:nvPr>
            <p:ph type="body" sz="half" idx="13"/>
          </p:nvPr>
        </p:nvSpPr>
        <p:spPr>
          <a:xfrm>
            <a:off x="6594633" y="4495328"/>
            <a:ext cx="2464025" cy="294419"/>
          </a:xfrm>
        </p:spPr>
        <p:txBody>
          <a:bodyPr/>
          <a:lstStyle/>
          <a:p>
            <a:r>
              <a:rPr lang="en-US" dirty="0"/>
              <a:t>November 6, 2023</a:t>
            </a:r>
            <a:endParaRPr lang="en-FI" dirty="0"/>
          </a:p>
        </p:txBody>
      </p:sp>
    </p:spTree>
    <p:extLst>
      <p:ext uri="{BB962C8B-B14F-4D97-AF65-F5344CB8AC3E}">
        <p14:creationId xmlns:p14="http://schemas.microsoft.com/office/powerpoint/2010/main" val="402295294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E79B233-C263-4355-BEE2-6A4CD1ED5B59}"/>
              </a:ext>
            </a:extLst>
          </p:cNvPr>
          <p:cNvSpPr>
            <a:spLocks noGrp="1"/>
          </p:cNvSpPr>
          <p:nvPr>
            <p:ph type="body" sz="half" idx="10"/>
          </p:nvPr>
        </p:nvSpPr>
        <p:spPr>
          <a:xfrm>
            <a:off x="292329" y="294870"/>
            <a:ext cx="4909762" cy="946597"/>
          </a:xfrm>
        </p:spPr>
        <p:txBody>
          <a:bodyPr/>
          <a:lstStyle/>
          <a:p>
            <a:r>
              <a:rPr lang="fi-FI" sz="2800" dirty="0" err="1">
                <a:solidFill>
                  <a:schemeClr val="tx2"/>
                </a:solidFill>
              </a:rPr>
              <a:t>Why</a:t>
            </a:r>
            <a:r>
              <a:rPr lang="fi-FI" sz="2800" dirty="0">
                <a:solidFill>
                  <a:schemeClr val="tx2"/>
                </a:solidFill>
              </a:rPr>
              <a:t> to </a:t>
            </a:r>
            <a:r>
              <a:rPr lang="fi-FI" sz="2800" dirty="0" err="1">
                <a:solidFill>
                  <a:schemeClr val="tx2"/>
                </a:solidFill>
              </a:rPr>
              <a:t>internationalize</a:t>
            </a:r>
            <a:r>
              <a:rPr lang="fi-FI" sz="2800" dirty="0">
                <a:solidFill>
                  <a:schemeClr val="tx2"/>
                </a:solidFill>
              </a:rPr>
              <a:t>?</a:t>
            </a:r>
            <a:endParaRPr lang="en-US" sz="2800" dirty="0"/>
          </a:p>
        </p:txBody>
      </p:sp>
      <p:sp>
        <p:nvSpPr>
          <p:cNvPr id="162818" name="Slide Number Placeholder 1">
            <a:extLst>
              <a:ext uri="{FF2B5EF4-FFF2-40B4-BE49-F238E27FC236}">
                <a16:creationId xmlns:a16="http://schemas.microsoft.com/office/drawing/2014/main" id="{4AF7E206-83A6-4CF2-9358-B1234F00AF45}"/>
              </a:ext>
            </a:extLst>
          </p:cNvPr>
          <p:cNvSpPr>
            <a:spLocks noGrp="1"/>
          </p:cNvSpPr>
          <p:nvPr>
            <p:ph type="sldNum" sz="quarter" idx="14"/>
          </p:nvPr>
        </p:nvSpPr>
        <p:spPr>
          <a:noFill/>
        </p:spPr>
        <p:txBody>
          <a:bodyPr/>
          <a:lstStyle>
            <a:lvl1pPr>
              <a:spcAft>
                <a:spcPct val="20000"/>
              </a:spcAft>
              <a:buClr>
                <a:schemeClr val="accent1"/>
              </a:buClr>
              <a:buChar char="•"/>
              <a:defRPr sz="1500">
                <a:solidFill>
                  <a:schemeClr val="tx1"/>
                </a:solidFill>
                <a:latin typeface="Verdana" panose="020B0604030504040204" pitchFamily="34" charset="0"/>
              </a:defRPr>
            </a:lvl1pPr>
            <a:lvl2pPr marL="557213" indent="-214313">
              <a:spcAft>
                <a:spcPct val="20000"/>
              </a:spcAft>
              <a:buClr>
                <a:schemeClr val="accent1"/>
              </a:buClr>
              <a:buChar char="–"/>
              <a:defRPr>
                <a:solidFill>
                  <a:schemeClr val="tx1"/>
                </a:solidFill>
                <a:latin typeface="Verdana" panose="020B0604030504040204" pitchFamily="34" charset="0"/>
              </a:defRPr>
            </a:lvl2pPr>
            <a:lvl3pPr marL="857250" indent="-171450">
              <a:spcAft>
                <a:spcPct val="20000"/>
              </a:spcAft>
              <a:buClr>
                <a:schemeClr val="accent1"/>
              </a:buClr>
              <a:buChar char="•"/>
              <a:defRPr sz="1200">
                <a:solidFill>
                  <a:schemeClr val="tx1"/>
                </a:solidFill>
                <a:latin typeface="Verdana" panose="020B0604030504040204" pitchFamily="34" charset="0"/>
              </a:defRPr>
            </a:lvl3pPr>
            <a:lvl4pPr marL="1200150" indent="-171450">
              <a:spcAft>
                <a:spcPct val="20000"/>
              </a:spcAft>
              <a:buClr>
                <a:schemeClr val="accent1"/>
              </a:buClr>
              <a:buChar char="–"/>
              <a:defRPr sz="1050">
                <a:solidFill>
                  <a:schemeClr val="tx1"/>
                </a:solidFill>
                <a:latin typeface="Verdana" panose="020B0604030504040204" pitchFamily="34" charset="0"/>
              </a:defRPr>
            </a:lvl4pPr>
            <a:lvl5pPr marL="1543050" indent="-171450">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5pPr>
            <a:lvl6pPr marL="18859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6pPr>
            <a:lvl7pPr marL="22288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7pPr>
            <a:lvl8pPr marL="25717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8pPr>
            <a:lvl9pPr marL="29146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9pPr>
          </a:lstStyle>
          <a:p>
            <a:pPr fontAlgn="base">
              <a:spcBef>
                <a:spcPct val="0"/>
              </a:spcBef>
              <a:spcAft>
                <a:spcPct val="0"/>
              </a:spcAft>
              <a:buClrTx/>
              <a:buNone/>
            </a:pPr>
            <a:fld id="{C66589D7-F045-4D92-9D92-C6D8D67789BA}" type="slidenum">
              <a:rPr lang="en-GB" altLang="fi-FI" sz="750">
                <a:solidFill>
                  <a:srgbClr val="000000"/>
                </a:solidFill>
              </a:rPr>
              <a:pPr fontAlgn="base">
                <a:spcBef>
                  <a:spcPct val="0"/>
                </a:spcBef>
                <a:spcAft>
                  <a:spcPct val="0"/>
                </a:spcAft>
                <a:buClrTx/>
                <a:buNone/>
              </a:pPr>
              <a:t>10</a:t>
            </a:fld>
            <a:endParaRPr lang="en-GB" altLang="fi-FI" sz="750">
              <a:solidFill>
                <a:srgbClr val="000000"/>
              </a:solidFill>
            </a:endParaRPr>
          </a:p>
        </p:txBody>
      </p:sp>
      <p:sp>
        <p:nvSpPr>
          <p:cNvPr id="2" name="Text Placeholder 5">
            <a:extLst>
              <a:ext uri="{FF2B5EF4-FFF2-40B4-BE49-F238E27FC236}">
                <a16:creationId xmlns:a16="http://schemas.microsoft.com/office/drawing/2014/main" id="{7188B95F-4310-569A-83C9-3FA1F947D1D9}"/>
              </a:ext>
            </a:extLst>
          </p:cNvPr>
          <p:cNvSpPr>
            <a:spLocks noGrp="1"/>
          </p:cNvSpPr>
          <p:nvPr>
            <p:ph type="body" sz="half" idx="11"/>
          </p:nvPr>
        </p:nvSpPr>
        <p:spPr>
          <a:xfrm>
            <a:off x="292329" y="1392337"/>
            <a:ext cx="8443871" cy="2891564"/>
          </a:xfrm>
        </p:spPr>
        <p:txBody>
          <a:bodyPr/>
          <a:lstStyle/>
          <a:p>
            <a:r>
              <a:rPr lang="fi-FI" sz="1800" dirty="0"/>
              <a:t>New </a:t>
            </a:r>
            <a:r>
              <a:rPr lang="fi-FI" sz="1800" dirty="0" err="1"/>
              <a:t>potential</a:t>
            </a:r>
            <a:r>
              <a:rPr lang="fi-FI" sz="1800" dirty="0"/>
              <a:t> </a:t>
            </a:r>
            <a:r>
              <a:rPr lang="fi-FI" sz="1800" dirty="0" err="1"/>
              <a:t>markets</a:t>
            </a:r>
            <a:endParaRPr lang="fi-FI" sz="1800" dirty="0"/>
          </a:p>
          <a:p>
            <a:pPr lvl="1"/>
            <a:r>
              <a:rPr lang="fi-FI" sz="1800" dirty="0" err="1"/>
              <a:t>Growth</a:t>
            </a:r>
            <a:endParaRPr lang="fi-FI" sz="1800" dirty="0"/>
          </a:p>
          <a:p>
            <a:pPr lvl="1"/>
            <a:r>
              <a:rPr lang="fi-FI" sz="1800" dirty="0" err="1"/>
              <a:t>Demand</a:t>
            </a:r>
            <a:endParaRPr lang="fi-FI" sz="1800" dirty="0"/>
          </a:p>
          <a:p>
            <a:pPr lvl="1"/>
            <a:r>
              <a:rPr lang="fi-FI" sz="1800" dirty="0"/>
              <a:t>It is </a:t>
            </a:r>
            <a:r>
              <a:rPr lang="fi-FI" sz="1800" dirty="0" err="1"/>
              <a:t>easy</a:t>
            </a:r>
            <a:r>
              <a:rPr lang="fi-FI" sz="1800" dirty="0"/>
              <a:t>(?) – </a:t>
            </a:r>
            <a:r>
              <a:rPr lang="fi-FI" sz="1800" dirty="0" err="1"/>
              <a:t>accidents</a:t>
            </a:r>
            <a:r>
              <a:rPr lang="fi-FI" sz="1800" dirty="0"/>
              <a:t>, random </a:t>
            </a:r>
            <a:r>
              <a:rPr lang="fi-FI" sz="1800" dirty="0" err="1"/>
              <a:t>opportunities</a:t>
            </a:r>
            <a:endParaRPr lang="fi-FI" sz="1800" dirty="0"/>
          </a:p>
          <a:p>
            <a:r>
              <a:rPr lang="fi-FI" sz="1800" dirty="0" err="1"/>
              <a:t>Harnessing</a:t>
            </a:r>
            <a:r>
              <a:rPr lang="fi-FI" sz="1800" dirty="0"/>
              <a:t> </a:t>
            </a:r>
            <a:r>
              <a:rPr lang="fi-FI" sz="1800" dirty="0" err="1"/>
              <a:t>unique</a:t>
            </a:r>
            <a:r>
              <a:rPr lang="fi-FI" sz="1800" dirty="0"/>
              <a:t> </a:t>
            </a:r>
            <a:r>
              <a:rPr lang="fi-FI" sz="1800" dirty="0" err="1"/>
              <a:t>characteristics</a:t>
            </a:r>
            <a:r>
              <a:rPr lang="fi-FI" sz="1800" dirty="0"/>
              <a:t> of </a:t>
            </a:r>
            <a:r>
              <a:rPr lang="fi-FI" sz="1800" dirty="0" err="1"/>
              <a:t>countries</a:t>
            </a:r>
            <a:endParaRPr lang="fi-FI" sz="1800" dirty="0"/>
          </a:p>
          <a:p>
            <a:pPr lvl="1"/>
            <a:r>
              <a:rPr lang="fi-FI" sz="1800" dirty="0"/>
              <a:t>Technology, know-how, </a:t>
            </a:r>
            <a:r>
              <a:rPr lang="fi-FI" sz="1800" dirty="0" err="1"/>
              <a:t>resources</a:t>
            </a:r>
            <a:r>
              <a:rPr lang="fi-FI" sz="1800" dirty="0"/>
              <a:t>, </a:t>
            </a:r>
            <a:r>
              <a:rPr lang="fi-FI" sz="1800" dirty="0" err="1"/>
              <a:t>price</a:t>
            </a:r>
            <a:r>
              <a:rPr lang="fi-FI" sz="1800" dirty="0"/>
              <a:t> </a:t>
            </a:r>
            <a:r>
              <a:rPr lang="fi-FI" sz="1800" dirty="0" err="1"/>
              <a:t>level</a:t>
            </a:r>
            <a:r>
              <a:rPr lang="fi-FI" sz="1800" dirty="0"/>
              <a:t>, general </a:t>
            </a:r>
            <a:r>
              <a:rPr lang="fi-FI" sz="1800" dirty="0" err="1"/>
              <a:t>situation</a:t>
            </a:r>
            <a:r>
              <a:rPr lang="fi-FI" sz="1800" dirty="0"/>
              <a:t>, </a:t>
            </a:r>
            <a:r>
              <a:rPr lang="fi-FI" sz="1800" dirty="0" err="1"/>
              <a:t>stage</a:t>
            </a:r>
            <a:r>
              <a:rPr lang="fi-FI" sz="1800" dirty="0"/>
              <a:t> of life-</a:t>
            </a:r>
            <a:r>
              <a:rPr lang="fi-FI" sz="1800" dirty="0" err="1"/>
              <a:t>cycle</a:t>
            </a:r>
            <a:endParaRPr lang="fi-FI" sz="1800" dirty="0"/>
          </a:p>
          <a:p>
            <a:r>
              <a:rPr lang="fi-FI" sz="1800" dirty="0"/>
              <a:t>Building </a:t>
            </a:r>
            <a:r>
              <a:rPr lang="fi-FI" sz="1800" dirty="0" err="1"/>
              <a:t>multinational</a:t>
            </a:r>
            <a:r>
              <a:rPr lang="fi-FI" sz="1800" dirty="0"/>
              <a:t> </a:t>
            </a:r>
            <a:r>
              <a:rPr lang="fi-FI" sz="1800" dirty="0" err="1"/>
              <a:t>competitive</a:t>
            </a:r>
            <a:r>
              <a:rPr lang="fi-FI" sz="1800" dirty="0"/>
              <a:t> </a:t>
            </a:r>
            <a:r>
              <a:rPr lang="fi-FI" sz="1800" dirty="0" err="1"/>
              <a:t>advantage</a:t>
            </a:r>
            <a:endParaRPr lang="fi-FI" sz="1800" dirty="0"/>
          </a:p>
          <a:p>
            <a:pPr lvl="1"/>
            <a:r>
              <a:rPr lang="fi-FI" sz="1800" dirty="0"/>
              <a:t>Can </a:t>
            </a:r>
            <a:r>
              <a:rPr lang="fi-FI" sz="1800" dirty="0" err="1"/>
              <a:t>be</a:t>
            </a:r>
            <a:r>
              <a:rPr lang="fi-FI" sz="1800" dirty="0"/>
              <a:t> </a:t>
            </a:r>
            <a:r>
              <a:rPr lang="fi-FI" sz="1800" dirty="0" err="1"/>
              <a:t>derived</a:t>
            </a:r>
            <a:r>
              <a:rPr lang="fi-FI" sz="1800" dirty="0"/>
              <a:t> </a:t>
            </a:r>
            <a:r>
              <a:rPr lang="fi-FI" sz="1800" dirty="0" err="1"/>
              <a:t>from</a:t>
            </a:r>
            <a:r>
              <a:rPr lang="fi-FI" sz="1800" dirty="0"/>
              <a:t> </a:t>
            </a:r>
            <a:r>
              <a:rPr lang="fi-FI" sz="1800" dirty="0" err="1"/>
              <a:t>certain</a:t>
            </a:r>
            <a:r>
              <a:rPr lang="fi-FI" sz="1800" dirty="0"/>
              <a:t> </a:t>
            </a:r>
            <a:r>
              <a:rPr lang="fi-FI" sz="1800" dirty="0" err="1"/>
              <a:t>area</a:t>
            </a:r>
            <a:r>
              <a:rPr lang="fi-FI" sz="1800" dirty="0"/>
              <a:t>, </a:t>
            </a:r>
            <a:r>
              <a:rPr lang="fi-FI" sz="1800" dirty="0" err="1"/>
              <a:t>or</a:t>
            </a:r>
            <a:r>
              <a:rPr lang="fi-FI" sz="1800" dirty="0"/>
              <a:t> </a:t>
            </a:r>
            <a:r>
              <a:rPr lang="fi-FI" sz="1800" dirty="0" err="1"/>
              <a:t>various</a:t>
            </a:r>
            <a:r>
              <a:rPr lang="fi-FI" sz="1800" dirty="0"/>
              <a:t> </a:t>
            </a:r>
            <a:r>
              <a:rPr lang="fi-FI" sz="1800" dirty="0" err="1"/>
              <a:t>combinations</a:t>
            </a:r>
            <a:r>
              <a:rPr lang="fi-FI" sz="1800" dirty="0"/>
              <a:t> of </a:t>
            </a:r>
            <a:r>
              <a:rPr lang="fi-FI" sz="1800" dirty="0" err="1"/>
              <a:t>different</a:t>
            </a:r>
            <a:r>
              <a:rPr lang="fi-FI" sz="1800" dirty="0"/>
              <a:t> </a:t>
            </a:r>
            <a:r>
              <a:rPr lang="fi-FI" sz="1800" dirty="0" err="1"/>
              <a:t>areas</a:t>
            </a:r>
            <a:endParaRPr lang="fi-FI" sz="1800" dirty="0"/>
          </a:p>
          <a:p>
            <a:pPr marL="285750" indent="-285750">
              <a:spcBef>
                <a:spcPts val="600"/>
              </a:spcBef>
              <a:buFont typeface="Arial" panose="020B0604020202020204" pitchFamily="34" charset="0"/>
              <a:buChar char="•"/>
            </a:pPr>
            <a:endParaRPr lang="en-US" sz="1200" b="0" dirty="0"/>
          </a:p>
        </p:txBody>
      </p:sp>
    </p:spTree>
    <p:extLst>
      <p:ext uri="{BB962C8B-B14F-4D97-AF65-F5344CB8AC3E}">
        <p14:creationId xmlns:p14="http://schemas.microsoft.com/office/powerpoint/2010/main" val="86431260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2BC26D8-82FB-445E-AA49-62A77D7C1E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51435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sp>
        <p:nvSpPr>
          <p:cNvPr id="12" name="Rectangle 11">
            <a:extLst>
              <a:ext uri="{FF2B5EF4-FFF2-40B4-BE49-F238E27FC236}">
                <a16:creationId xmlns:a16="http://schemas.microsoft.com/office/drawing/2014/main" id="{CB44330D-EA18-4254-AA95-EB49948539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57759" y="360045"/>
            <a:ext cx="8428482" cy="442341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pic>
        <p:nvPicPr>
          <p:cNvPr id="5" name="Sisällön paikkamerkki 4">
            <a:extLst>
              <a:ext uri="{FF2B5EF4-FFF2-40B4-BE49-F238E27FC236}">
                <a16:creationId xmlns:a16="http://schemas.microsoft.com/office/drawing/2014/main" id="{7D500DFB-35BA-4D8C-BF41-31F807043C5D}"/>
              </a:ext>
            </a:extLst>
          </p:cNvPr>
          <p:cNvPicPr>
            <a:picLocks noGrp="1" noChangeAspect="1"/>
          </p:cNvPicPr>
          <p:nvPr>
            <p:ph idx="1"/>
          </p:nvPr>
        </p:nvPicPr>
        <p:blipFill>
          <a:blip r:embed="rId2"/>
          <a:stretch>
            <a:fillRect/>
          </a:stretch>
        </p:blipFill>
        <p:spPr>
          <a:xfrm>
            <a:off x="1402952" y="482600"/>
            <a:ext cx="6338097" cy="4178300"/>
          </a:xfrm>
          <a:prstGeom prst="rect">
            <a:avLst/>
          </a:prstGeom>
        </p:spPr>
      </p:pic>
    </p:spTree>
    <p:extLst>
      <p:ext uri="{BB962C8B-B14F-4D97-AF65-F5344CB8AC3E}">
        <p14:creationId xmlns:p14="http://schemas.microsoft.com/office/powerpoint/2010/main" val="255513774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AF2281E-D9A1-4D78-88F1-D5A2007BE0D9}"/>
              </a:ext>
            </a:extLst>
          </p:cNvPr>
          <p:cNvSpPr>
            <a:spLocks noGrp="1"/>
          </p:cNvSpPr>
          <p:nvPr>
            <p:ph type="body" sz="half" idx="10"/>
          </p:nvPr>
        </p:nvSpPr>
        <p:spPr>
          <a:xfrm>
            <a:off x="517411" y="635363"/>
            <a:ext cx="8492897" cy="733141"/>
          </a:xfrm>
        </p:spPr>
        <p:txBody>
          <a:bodyPr/>
          <a:lstStyle/>
          <a:p>
            <a:r>
              <a:rPr lang="en-US" dirty="0"/>
              <a:t>Rat and Cat tests for internationalization</a:t>
            </a:r>
            <a:endParaRPr lang="en-FI" dirty="0"/>
          </a:p>
        </p:txBody>
      </p:sp>
      <p:sp>
        <p:nvSpPr>
          <p:cNvPr id="3" name="Text Placeholder 2">
            <a:extLst>
              <a:ext uri="{FF2B5EF4-FFF2-40B4-BE49-F238E27FC236}">
                <a16:creationId xmlns:a16="http://schemas.microsoft.com/office/drawing/2014/main" id="{5F669965-2C37-4E46-9B17-C284E9EEEBCD}"/>
              </a:ext>
            </a:extLst>
          </p:cNvPr>
          <p:cNvSpPr>
            <a:spLocks noGrp="1"/>
          </p:cNvSpPr>
          <p:nvPr>
            <p:ph type="body" sz="half" idx="11"/>
          </p:nvPr>
        </p:nvSpPr>
        <p:spPr>
          <a:xfrm>
            <a:off x="6358139" y="1368504"/>
            <a:ext cx="2127940" cy="2810006"/>
          </a:xfrm>
        </p:spPr>
        <p:txBody>
          <a:bodyPr/>
          <a:lstStyle/>
          <a:p>
            <a:r>
              <a:rPr lang="en-US" dirty="0"/>
              <a:t>Enhancing capabilities</a:t>
            </a:r>
          </a:p>
          <a:p>
            <a:endParaRPr lang="en-US" dirty="0"/>
          </a:p>
          <a:p>
            <a:r>
              <a:rPr lang="en-US" dirty="0"/>
              <a:t>CAT</a:t>
            </a:r>
          </a:p>
          <a:p>
            <a:r>
              <a:rPr lang="en-US" dirty="0"/>
              <a:t>C</a:t>
            </a:r>
            <a:r>
              <a:rPr lang="en-US" b="0" dirty="0"/>
              <a:t>omplementary</a:t>
            </a:r>
          </a:p>
          <a:p>
            <a:r>
              <a:rPr lang="en-US" dirty="0"/>
              <a:t>A</a:t>
            </a:r>
            <a:r>
              <a:rPr lang="en-US" b="0" dirty="0"/>
              <a:t>ppropriable</a:t>
            </a:r>
          </a:p>
          <a:p>
            <a:r>
              <a:rPr lang="en-US" dirty="0"/>
              <a:t>T</a:t>
            </a:r>
            <a:r>
              <a:rPr lang="en-US" b="0" dirty="0"/>
              <a:t>ransferable</a:t>
            </a:r>
          </a:p>
          <a:p>
            <a:endParaRPr lang="en-US" b="0" dirty="0"/>
          </a:p>
        </p:txBody>
      </p:sp>
      <p:sp>
        <p:nvSpPr>
          <p:cNvPr id="4" name="Text Placeholder 2">
            <a:extLst>
              <a:ext uri="{FF2B5EF4-FFF2-40B4-BE49-F238E27FC236}">
                <a16:creationId xmlns:a16="http://schemas.microsoft.com/office/drawing/2014/main" id="{850F3264-B6C0-78D1-D4D6-A07ADC7DB9CF}"/>
              </a:ext>
            </a:extLst>
          </p:cNvPr>
          <p:cNvSpPr txBox="1">
            <a:spLocks/>
          </p:cNvSpPr>
          <p:nvPr/>
        </p:nvSpPr>
        <p:spPr>
          <a:xfrm>
            <a:off x="700016" y="1368504"/>
            <a:ext cx="2127940" cy="2810006"/>
          </a:xfrm>
          <a:prstGeom prst="rect">
            <a:avLst/>
          </a:prstGeom>
        </p:spPr>
        <p:txBody>
          <a:bodyPr lIns="0" tIns="0" rIns="0" bIns="0"/>
          <a:lstStyle>
            <a:lvl1pPr marL="0" marR="0" indent="0" algn="l" defTabSz="685800" rtl="0" eaLnBrk="1" fontAlgn="auto" latinLnBrk="0" hangingPunct="1">
              <a:lnSpc>
                <a:spcPct val="100000"/>
              </a:lnSpc>
              <a:spcBef>
                <a:spcPts val="750"/>
              </a:spcBef>
              <a:spcAft>
                <a:spcPts val="0"/>
              </a:spcAft>
              <a:buClrTx/>
              <a:buSzTx/>
              <a:buFont typeface="Arial" panose="020B0604020202020204" pitchFamily="34" charset="0"/>
              <a:buNone/>
              <a:tabLst/>
              <a:defRPr sz="2100" b="1" kern="1200" baseline="0">
                <a:solidFill>
                  <a:schemeClr val="tx1"/>
                </a:solidFill>
                <a:latin typeface="+mn-lt"/>
                <a:ea typeface="+mn-ea"/>
                <a:cs typeface="+mn-cs"/>
              </a:defRPr>
            </a:lvl1pPr>
            <a:lvl2pPr marL="628650" indent="-271463" algn="l" defTabSz="685800" rtl="0" eaLnBrk="1" latinLnBrk="0" hangingPunct="1">
              <a:lnSpc>
                <a:spcPct val="90000"/>
              </a:lnSpc>
              <a:spcBef>
                <a:spcPts val="375"/>
              </a:spcBef>
              <a:buFont typeface="Arial" panose="020B0604020202020204" pitchFamily="34" charset="0"/>
              <a:buChar char="•"/>
              <a:defRPr sz="2100" kern="1200">
                <a:solidFill>
                  <a:schemeClr val="tx1"/>
                </a:solidFill>
                <a:latin typeface="+mn-lt"/>
                <a:ea typeface="+mn-ea"/>
                <a:cs typeface="+mn-cs"/>
              </a:defRPr>
            </a:lvl2pPr>
            <a:lvl3pPr marL="804863" indent="-176213" algn="l" defTabSz="685800" rtl="0" eaLnBrk="1" latinLnBrk="0" hangingPunct="1">
              <a:lnSpc>
                <a:spcPct val="90000"/>
              </a:lnSpc>
              <a:spcBef>
                <a:spcPts val="375"/>
              </a:spcBef>
              <a:buFont typeface="Arial" panose="020B0604020202020204" pitchFamily="34" charset="0"/>
              <a:buChar char="•"/>
              <a:defRPr sz="1600" kern="1200">
                <a:solidFill>
                  <a:schemeClr val="tx1"/>
                </a:solidFill>
                <a:latin typeface="+mn-lt"/>
                <a:ea typeface="+mn-ea"/>
                <a:cs typeface="+mn-cs"/>
              </a:defRPr>
            </a:lvl3pPr>
            <a:lvl4pPr marL="1028700" indent="0" algn="l" defTabSz="685800" rtl="0" eaLnBrk="1" latinLnBrk="0" hangingPunct="1">
              <a:lnSpc>
                <a:spcPct val="90000"/>
              </a:lnSpc>
              <a:spcBef>
                <a:spcPts val="375"/>
              </a:spcBef>
              <a:buFont typeface="Arial"/>
              <a:buNone/>
              <a:defRPr sz="750" kern="1200">
                <a:solidFill>
                  <a:schemeClr val="tx1"/>
                </a:solidFill>
                <a:latin typeface="+mn-lt"/>
                <a:ea typeface="+mn-ea"/>
                <a:cs typeface="+mn-cs"/>
              </a:defRPr>
            </a:lvl4pPr>
            <a:lvl5pPr marL="1371600" indent="0" algn="l" defTabSz="685800" rtl="0" eaLnBrk="1" latinLnBrk="0" hangingPunct="1">
              <a:lnSpc>
                <a:spcPct val="90000"/>
              </a:lnSpc>
              <a:spcBef>
                <a:spcPts val="375"/>
              </a:spcBef>
              <a:buFont typeface="Arial"/>
              <a:buNone/>
              <a:defRPr sz="750" kern="1200">
                <a:solidFill>
                  <a:schemeClr val="tx1"/>
                </a:solidFill>
                <a:latin typeface="+mn-lt"/>
                <a:ea typeface="+mn-ea"/>
                <a:cs typeface="+mn-cs"/>
              </a:defRPr>
            </a:lvl5pPr>
            <a:lvl6pPr marL="1714500" indent="0" algn="l" defTabSz="685800" rtl="0" eaLnBrk="1" latinLnBrk="0" hangingPunct="1">
              <a:lnSpc>
                <a:spcPct val="90000"/>
              </a:lnSpc>
              <a:spcBef>
                <a:spcPts val="375"/>
              </a:spcBef>
              <a:buFont typeface="Arial"/>
              <a:buNone/>
              <a:defRPr sz="750" kern="1200">
                <a:solidFill>
                  <a:schemeClr val="tx1"/>
                </a:solidFill>
                <a:latin typeface="+mn-lt"/>
                <a:ea typeface="+mn-ea"/>
                <a:cs typeface="+mn-cs"/>
              </a:defRPr>
            </a:lvl6pPr>
            <a:lvl7pPr marL="2057400" indent="0" algn="l" defTabSz="685800" rtl="0" eaLnBrk="1" latinLnBrk="0" hangingPunct="1">
              <a:lnSpc>
                <a:spcPct val="90000"/>
              </a:lnSpc>
              <a:spcBef>
                <a:spcPts val="375"/>
              </a:spcBef>
              <a:buFont typeface="Arial"/>
              <a:buNone/>
              <a:defRPr sz="750" kern="1200">
                <a:solidFill>
                  <a:schemeClr val="tx1"/>
                </a:solidFill>
                <a:latin typeface="+mn-lt"/>
                <a:ea typeface="+mn-ea"/>
                <a:cs typeface="+mn-cs"/>
              </a:defRPr>
            </a:lvl7pPr>
            <a:lvl8pPr marL="2400300" indent="0" algn="l" defTabSz="685800" rtl="0" eaLnBrk="1" latinLnBrk="0" hangingPunct="1">
              <a:lnSpc>
                <a:spcPct val="90000"/>
              </a:lnSpc>
              <a:spcBef>
                <a:spcPts val="375"/>
              </a:spcBef>
              <a:buFont typeface="Arial"/>
              <a:buNone/>
              <a:defRPr sz="750" kern="1200">
                <a:solidFill>
                  <a:schemeClr val="tx1"/>
                </a:solidFill>
                <a:latin typeface="+mn-lt"/>
                <a:ea typeface="+mn-ea"/>
                <a:cs typeface="+mn-cs"/>
              </a:defRPr>
            </a:lvl8pPr>
            <a:lvl9pPr marL="2743200" indent="0" algn="l" defTabSz="685800" rtl="0" eaLnBrk="1" latinLnBrk="0" hangingPunct="1">
              <a:lnSpc>
                <a:spcPct val="90000"/>
              </a:lnSpc>
              <a:spcBef>
                <a:spcPts val="375"/>
              </a:spcBef>
              <a:buFont typeface="Arial"/>
              <a:buNone/>
              <a:defRPr sz="750" kern="1200">
                <a:solidFill>
                  <a:schemeClr val="tx1"/>
                </a:solidFill>
                <a:latin typeface="+mn-lt"/>
                <a:ea typeface="+mn-ea"/>
                <a:cs typeface="+mn-cs"/>
              </a:defRPr>
            </a:lvl9pPr>
          </a:lstStyle>
          <a:p>
            <a:r>
              <a:rPr lang="en-US" dirty="0"/>
              <a:t>Exploiting capabilities</a:t>
            </a:r>
          </a:p>
          <a:p>
            <a:endParaRPr lang="en-US" dirty="0"/>
          </a:p>
          <a:p>
            <a:r>
              <a:rPr lang="en-US" dirty="0"/>
              <a:t>RAT</a:t>
            </a:r>
          </a:p>
          <a:p>
            <a:r>
              <a:rPr lang="en-US" dirty="0"/>
              <a:t>R</a:t>
            </a:r>
            <a:r>
              <a:rPr lang="en-US" b="0" dirty="0"/>
              <a:t>elevant</a:t>
            </a:r>
          </a:p>
          <a:p>
            <a:r>
              <a:rPr lang="en-US" dirty="0"/>
              <a:t>A</a:t>
            </a:r>
            <a:r>
              <a:rPr lang="en-US" b="0" dirty="0"/>
              <a:t>ppropriable</a:t>
            </a:r>
          </a:p>
          <a:p>
            <a:r>
              <a:rPr lang="en-US" dirty="0"/>
              <a:t>T</a:t>
            </a:r>
            <a:r>
              <a:rPr lang="en-US" b="0" dirty="0"/>
              <a:t>ransferable</a:t>
            </a:r>
          </a:p>
          <a:p>
            <a:endParaRPr lang="en-US" b="0" dirty="0"/>
          </a:p>
        </p:txBody>
      </p:sp>
      <p:sp>
        <p:nvSpPr>
          <p:cNvPr id="6" name="Speech Bubble: Rectangle with Corners Rounded 5">
            <a:extLst>
              <a:ext uri="{FF2B5EF4-FFF2-40B4-BE49-F238E27FC236}">
                <a16:creationId xmlns:a16="http://schemas.microsoft.com/office/drawing/2014/main" id="{DC2C7088-4760-0ABB-A126-3F2385D5944B}"/>
              </a:ext>
            </a:extLst>
          </p:cNvPr>
          <p:cNvSpPr/>
          <p:nvPr/>
        </p:nvSpPr>
        <p:spPr>
          <a:xfrm>
            <a:off x="2192060" y="1238765"/>
            <a:ext cx="1945888" cy="767371"/>
          </a:xfrm>
          <a:prstGeom prst="wedgeRoundRect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What capabilities we have that could be exploited in foreign markets?</a:t>
            </a:r>
          </a:p>
        </p:txBody>
      </p:sp>
      <p:sp>
        <p:nvSpPr>
          <p:cNvPr id="7" name="Speech Bubble: Rectangle with Corners Rounded 6">
            <a:extLst>
              <a:ext uri="{FF2B5EF4-FFF2-40B4-BE49-F238E27FC236}">
                <a16:creationId xmlns:a16="http://schemas.microsoft.com/office/drawing/2014/main" id="{26558A34-A39A-F313-3BF7-1D364AF3CEDC}"/>
              </a:ext>
            </a:extLst>
          </p:cNvPr>
          <p:cNvSpPr/>
          <p:nvPr/>
        </p:nvSpPr>
        <p:spPr>
          <a:xfrm>
            <a:off x="4320000" y="1253018"/>
            <a:ext cx="1945888" cy="767371"/>
          </a:xfrm>
          <a:prstGeom prst="wedgeRoundRect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What capabilities could we acquire from a particular target country?</a:t>
            </a:r>
          </a:p>
        </p:txBody>
      </p:sp>
      <p:pic>
        <p:nvPicPr>
          <p:cNvPr id="9" name="Graphic 8" descr="Rat with solid fill">
            <a:extLst>
              <a:ext uri="{FF2B5EF4-FFF2-40B4-BE49-F238E27FC236}">
                <a16:creationId xmlns:a16="http://schemas.microsoft.com/office/drawing/2014/main" id="{2E48CDBF-CA1B-CC6F-9C8E-7F568971386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814167" y="1969766"/>
            <a:ext cx="914400" cy="914400"/>
          </a:xfrm>
          <a:prstGeom prst="rect">
            <a:avLst/>
          </a:prstGeom>
        </p:spPr>
      </p:pic>
      <p:pic>
        <p:nvPicPr>
          <p:cNvPr id="11" name="Graphic 10" descr="Kitten with solid fill">
            <a:extLst>
              <a:ext uri="{FF2B5EF4-FFF2-40B4-BE49-F238E27FC236}">
                <a16:creationId xmlns:a16="http://schemas.microsoft.com/office/drawing/2014/main" id="{A2A365BD-2192-8609-9BA9-86889D4F5BE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flipH="1">
            <a:off x="4806176" y="2049661"/>
            <a:ext cx="836341" cy="914400"/>
          </a:xfrm>
          <a:prstGeom prst="rect">
            <a:avLst/>
          </a:prstGeom>
        </p:spPr>
      </p:pic>
      <p:sp>
        <p:nvSpPr>
          <p:cNvPr id="12" name="TextBox 11">
            <a:extLst>
              <a:ext uri="{FF2B5EF4-FFF2-40B4-BE49-F238E27FC236}">
                <a16:creationId xmlns:a16="http://schemas.microsoft.com/office/drawing/2014/main" id="{708E218C-3DBC-09CF-2538-7B7D21AD6CD6}"/>
              </a:ext>
            </a:extLst>
          </p:cNvPr>
          <p:cNvSpPr txBox="1"/>
          <p:nvPr/>
        </p:nvSpPr>
        <p:spPr>
          <a:xfrm>
            <a:off x="6216805" y="4761610"/>
            <a:ext cx="2483372" cy="300082"/>
          </a:xfrm>
          <a:prstGeom prst="rect">
            <a:avLst/>
          </a:prstGeom>
          <a:noFill/>
        </p:spPr>
        <p:txBody>
          <a:bodyPr wrap="none" rtlCol="0">
            <a:spAutoFit/>
          </a:bodyPr>
          <a:lstStyle/>
          <a:p>
            <a:r>
              <a:rPr lang="en-US" dirty="0"/>
              <a:t>Based on Lessard et al., 2013</a:t>
            </a:r>
          </a:p>
        </p:txBody>
      </p:sp>
    </p:spTree>
    <p:extLst>
      <p:ext uri="{BB962C8B-B14F-4D97-AF65-F5344CB8AC3E}">
        <p14:creationId xmlns:p14="http://schemas.microsoft.com/office/powerpoint/2010/main" val="41903505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AF2281E-D9A1-4D78-88F1-D5A2007BE0D9}"/>
              </a:ext>
            </a:extLst>
          </p:cNvPr>
          <p:cNvSpPr>
            <a:spLocks noGrp="1"/>
          </p:cNvSpPr>
          <p:nvPr>
            <p:ph type="body" sz="half" idx="10"/>
          </p:nvPr>
        </p:nvSpPr>
        <p:spPr>
          <a:xfrm>
            <a:off x="517411" y="635363"/>
            <a:ext cx="8492897" cy="733141"/>
          </a:xfrm>
        </p:spPr>
        <p:txBody>
          <a:bodyPr/>
          <a:lstStyle/>
          <a:p>
            <a:r>
              <a:rPr lang="en-US" dirty="0"/>
              <a:t>Rat and Cat tests for internationalization</a:t>
            </a:r>
            <a:endParaRPr lang="en-FI" dirty="0"/>
          </a:p>
        </p:txBody>
      </p:sp>
      <p:grpSp>
        <p:nvGrpSpPr>
          <p:cNvPr id="20" name="Group 19">
            <a:extLst>
              <a:ext uri="{FF2B5EF4-FFF2-40B4-BE49-F238E27FC236}">
                <a16:creationId xmlns:a16="http://schemas.microsoft.com/office/drawing/2014/main" id="{40035BE6-4E89-A57A-DDCB-7EC59CDFD65F}"/>
              </a:ext>
            </a:extLst>
          </p:cNvPr>
          <p:cNvGrpSpPr/>
          <p:nvPr/>
        </p:nvGrpSpPr>
        <p:grpSpPr>
          <a:xfrm>
            <a:off x="2169802" y="1187605"/>
            <a:ext cx="4508875" cy="3320532"/>
            <a:chOff x="2085278" y="1187605"/>
            <a:chExt cx="4508875" cy="3320532"/>
          </a:xfrm>
        </p:grpSpPr>
        <p:grpSp>
          <p:nvGrpSpPr>
            <p:cNvPr id="19" name="Group 18">
              <a:extLst>
                <a:ext uri="{FF2B5EF4-FFF2-40B4-BE49-F238E27FC236}">
                  <a16:creationId xmlns:a16="http://schemas.microsoft.com/office/drawing/2014/main" id="{8FE3618A-35FC-A417-0813-C0237EA2F6C9}"/>
                </a:ext>
              </a:extLst>
            </p:cNvPr>
            <p:cNvGrpSpPr/>
            <p:nvPr/>
          </p:nvGrpSpPr>
          <p:grpSpPr>
            <a:xfrm>
              <a:off x="2085278" y="1187605"/>
              <a:ext cx="4508875" cy="3320532"/>
              <a:chOff x="2085278" y="1187605"/>
              <a:chExt cx="4508875" cy="3320532"/>
            </a:xfrm>
          </p:grpSpPr>
          <p:sp>
            <p:nvSpPr>
              <p:cNvPr id="4" name="Rectangle 3">
                <a:extLst>
                  <a:ext uri="{FF2B5EF4-FFF2-40B4-BE49-F238E27FC236}">
                    <a16:creationId xmlns:a16="http://schemas.microsoft.com/office/drawing/2014/main" id="{5EF99DC9-4B94-24C9-B4CE-20CF6F6FEF02}"/>
                  </a:ext>
                </a:extLst>
              </p:cNvPr>
              <p:cNvSpPr/>
              <p:nvPr/>
            </p:nvSpPr>
            <p:spPr>
              <a:xfrm>
                <a:off x="4341607" y="1187605"/>
                <a:ext cx="2252546" cy="3320532"/>
              </a:xfrm>
              <a:prstGeom prst="rect">
                <a:avLst/>
              </a:prstGeom>
              <a:ln>
                <a:prstDash val="dash"/>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3" name="Rectangle 2">
                <a:extLst>
                  <a:ext uri="{FF2B5EF4-FFF2-40B4-BE49-F238E27FC236}">
                    <a16:creationId xmlns:a16="http://schemas.microsoft.com/office/drawing/2014/main" id="{FCC2011B-9BDF-36BD-164E-F8A35A2C8275}"/>
                  </a:ext>
                </a:extLst>
              </p:cNvPr>
              <p:cNvSpPr/>
              <p:nvPr/>
            </p:nvSpPr>
            <p:spPr>
              <a:xfrm>
                <a:off x="2085278" y="1187605"/>
                <a:ext cx="2252546" cy="3320532"/>
              </a:xfrm>
              <a:prstGeom prst="rect">
                <a:avLst/>
              </a:prstGeom>
              <a:ln>
                <a:prstDash val="dash"/>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grpSp>
            <p:nvGrpSpPr>
              <p:cNvPr id="15" name="Group 14">
                <a:extLst>
                  <a:ext uri="{FF2B5EF4-FFF2-40B4-BE49-F238E27FC236}">
                    <a16:creationId xmlns:a16="http://schemas.microsoft.com/office/drawing/2014/main" id="{F2A05559-52C3-F152-626B-24B5FB82E86C}"/>
                  </a:ext>
                </a:extLst>
              </p:cNvPr>
              <p:cNvGrpSpPr/>
              <p:nvPr/>
            </p:nvGrpSpPr>
            <p:grpSpPr>
              <a:xfrm>
                <a:off x="2473141" y="1506235"/>
                <a:ext cx="3722654" cy="2503448"/>
                <a:chOff x="953428" y="1357826"/>
                <a:chExt cx="3152078" cy="2232866"/>
              </a:xfrm>
            </p:grpSpPr>
            <p:sp>
              <p:nvSpPr>
                <p:cNvPr id="14" name="Rectangle 13">
                  <a:extLst>
                    <a:ext uri="{FF2B5EF4-FFF2-40B4-BE49-F238E27FC236}">
                      <a16:creationId xmlns:a16="http://schemas.microsoft.com/office/drawing/2014/main" id="{4E0E114F-36B9-FD8B-E5D8-B2281F51AA35}"/>
                    </a:ext>
                  </a:extLst>
                </p:cNvPr>
                <p:cNvSpPr/>
                <p:nvPr/>
              </p:nvSpPr>
              <p:spPr>
                <a:xfrm>
                  <a:off x="2137312" y="3220757"/>
                  <a:ext cx="784307" cy="321228"/>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1200" dirty="0"/>
                    <a:t>Enhance</a:t>
                  </a:r>
                </a:p>
              </p:txBody>
            </p:sp>
            <p:sp>
              <p:nvSpPr>
                <p:cNvPr id="7" name="Rectangle 6">
                  <a:extLst>
                    <a:ext uri="{FF2B5EF4-FFF2-40B4-BE49-F238E27FC236}">
                      <a16:creationId xmlns:a16="http://schemas.microsoft.com/office/drawing/2014/main" id="{80E3BC81-5A92-4981-8E75-F0B3EC79E449}"/>
                    </a:ext>
                  </a:extLst>
                </p:cNvPr>
                <p:cNvSpPr/>
                <p:nvPr/>
              </p:nvSpPr>
              <p:spPr>
                <a:xfrm>
                  <a:off x="953428" y="2571749"/>
                  <a:ext cx="1137425" cy="1018943"/>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a:t>Augmented capabilities at home</a:t>
                  </a:r>
                </a:p>
              </p:txBody>
            </p:sp>
            <p:sp>
              <p:nvSpPr>
                <p:cNvPr id="8" name="Rectangle 7">
                  <a:extLst>
                    <a:ext uri="{FF2B5EF4-FFF2-40B4-BE49-F238E27FC236}">
                      <a16:creationId xmlns:a16="http://schemas.microsoft.com/office/drawing/2014/main" id="{88433223-A26B-3E07-95A9-28967CF67461}"/>
                    </a:ext>
                  </a:extLst>
                </p:cNvPr>
                <p:cNvSpPr/>
                <p:nvPr/>
              </p:nvSpPr>
              <p:spPr>
                <a:xfrm>
                  <a:off x="2968081" y="2571748"/>
                  <a:ext cx="1137425" cy="1018943"/>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a:t>Target country-derived capabilities</a:t>
                  </a:r>
                </a:p>
              </p:txBody>
            </p:sp>
            <p:sp>
              <p:nvSpPr>
                <p:cNvPr id="10" name="Rectangle 9">
                  <a:extLst>
                    <a:ext uri="{FF2B5EF4-FFF2-40B4-BE49-F238E27FC236}">
                      <a16:creationId xmlns:a16="http://schemas.microsoft.com/office/drawing/2014/main" id="{E3303E63-C1A6-065A-04DC-B18F4E45E831}"/>
                    </a:ext>
                  </a:extLst>
                </p:cNvPr>
                <p:cNvSpPr/>
                <p:nvPr/>
              </p:nvSpPr>
              <p:spPr>
                <a:xfrm>
                  <a:off x="953428" y="1357827"/>
                  <a:ext cx="1137425" cy="1018943"/>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a:t>Home-based capabilities</a:t>
                  </a:r>
                </a:p>
              </p:txBody>
            </p:sp>
            <p:sp>
              <p:nvSpPr>
                <p:cNvPr id="11" name="Rectangle 10">
                  <a:extLst>
                    <a:ext uri="{FF2B5EF4-FFF2-40B4-BE49-F238E27FC236}">
                      <a16:creationId xmlns:a16="http://schemas.microsoft.com/office/drawing/2014/main" id="{D115A5F2-85E8-97EE-5709-3AB7905D4C04}"/>
                    </a:ext>
                  </a:extLst>
                </p:cNvPr>
                <p:cNvSpPr/>
                <p:nvPr/>
              </p:nvSpPr>
              <p:spPr>
                <a:xfrm>
                  <a:off x="2968081" y="1357826"/>
                  <a:ext cx="1137425" cy="1018943"/>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a:t>Target country/ Customer value</a:t>
                  </a:r>
                </a:p>
              </p:txBody>
            </p:sp>
            <p:sp>
              <p:nvSpPr>
                <p:cNvPr id="12" name="Arrow: Right 11">
                  <a:extLst>
                    <a:ext uri="{FF2B5EF4-FFF2-40B4-BE49-F238E27FC236}">
                      <a16:creationId xmlns:a16="http://schemas.microsoft.com/office/drawing/2014/main" id="{BEA91B48-C695-7269-558F-324CFD4C0EC6}"/>
                    </a:ext>
                  </a:extLst>
                </p:cNvPr>
                <p:cNvSpPr/>
                <p:nvPr/>
              </p:nvSpPr>
              <p:spPr>
                <a:xfrm>
                  <a:off x="2245111" y="1708615"/>
                  <a:ext cx="568712" cy="31736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RAT</a:t>
                  </a:r>
                </a:p>
              </p:txBody>
            </p:sp>
            <p:sp>
              <p:nvSpPr>
                <p:cNvPr id="13" name="Rectangle 12">
                  <a:extLst>
                    <a:ext uri="{FF2B5EF4-FFF2-40B4-BE49-F238E27FC236}">
                      <a16:creationId xmlns:a16="http://schemas.microsoft.com/office/drawing/2014/main" id="{7633D7C6-A413-8ABA-E776-AA352F6FA433}"/>
                    </a:ext>
                  </a:extLst>
                </p:cNvPr>
                <p:cNvSpPr/>
                <p:nvPr/>
              </p:nvSpPr>
              <p:spPr>
                <a:xfrm>
                  <a:off x="2106646" y="1357827"/>
                  <a:ext cx="784306" cy="321228"/>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dirty="0"/>
                    <a:t>Exploit</a:t>
                  </a:r>
                </a:p>
              </p:txBody>
            </p:sp>
          </p:grpSp>
        </p:grpSp>
        <p:sp>
          <p:nvSpPr>
            <p:cNvPr id="5" name="Rectangle 4">
              <a:extLst>
                <a:ext uri="{FF2B5EF4-FFF2-40B4-BE49-F238E27FC236}">
                  <a16:creationId xmlns:a16="http://schemas.microsoft.com/office/drawing/2014/main" id="{01D91C4C-40ED-C1C8-F74C-CE86DAEF06F5}"/>
                </a:ext>
              </a:extLst>
            </p:cNvPr>
            <p:cNvSpPr/>
            <p:nvPr/>
          </p:nvSpPr>
          <p:spPr>
            <a:xfrm>
              <a:off x="5060997" y="1216810"/>
              <a:ext cx="926278" cy="206345"/>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b="1" dirty="0"/>
                <a:t>External</a:t>
              </a:r>
            </a:p>
          </p:txBody>
        </p:sp>
        <p:sp>
          <p:nvSpPr>
            <p:cNvPr id="6" name="Rectangle 5">
              <a:extLst>
                <a:ext uri="{FF2B5EF4-FFF2-40B4-BE49-F238E27FC236}">
                  <a16:creationId xmlns:a16="http://schemas.microsoft.com/office/drawing/2014/main" id="{66769A14-17C7-F778-2E9A-1F49D4A976A0}"/>
                </a:ext>
              </a:extLst>
            </p:cNvPr>
            <p:cNvSpPr/>
            <p:nvPr/>
          </p:nvSpPr>
          <p:spPr>
            <a:xfrm>
              <a:off x="2681660" y="1232977"/>
              <a:ext cx="926278" cy="190178"/>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b="1" dirty="0"/>
                <a:t>Internal</a:t>
              </a:r>
            </a:p>
          </p:txBody>
        </p:sp>
        <p:sp>
          <p:nvSpPr>
            <p:cNvPr id="16" name="Arrow: Left 15">
              <a:extLst>
                <a:ext uri="{FF2B5EF4-FFF2-40B4-BE49-F238E27FC236}">
                  <a16:creationId xmlns:a16="http://schemas.microsoft.com/office/drawing/2014/main" id="{F1EBD743-1B43-4302-761C-999A80BAE33D}"/>
                </a:ext>
              </a:extLst>
            </p:cNvPr>
            <p:cNvSpPr/>
            <p:nvPr/>
          </p:nvSpPr>
          <p:spPr>
            <a:xfrm>
              <a:off x="3962194" y="3313305"/>
              <a:ext cx="708103" cy="354999"/>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AT</a:t>
              </a:r>
            </a:p>
          </p:txBody>
        </p:sp>
      </p:grpSp>
      <p:sp>
        <p:nvSpPr>
          <p:cNvPr id="18" name="TextBox 17">
            <a:extLst>
              <a:ext uri="{FF2B5EF4-FFF2-40B4-BE49-F238E27FC236}">
                <a16:creationId xmlns:a16="http://schemas.microsoft.com/office/drawing/2014/main" id="{CF8A7F8F-E661-31ED-21AF-3C7927C270AC}"/>
              </a:ext>
            </a:extLst>
          </p:cNvPr>
          <p:cNvSpPr txBox="1"/>
          <p:nvPr/>
        </p:nvSpPr>
        <p:spPr>
          <a:xfrm>
            <a:off x="6216805" y="4761610"/>
            <a:ext cx="2483372" cy="300082"/>
          </a:xfrm>
          <a:prstGeom prst="rect">
            <a:avLst/>
          </a:prstGeom>
          <a:noFill/>
        </p:spPr>
        <p:txBody>
          <a:bodyPr wrap="none" rtlCol="0">
            <a:spAutoFit/>
          </a:bodyPr>
          <a:lstStyle/>
          <a:p>
            <a:r>
              <a:rPr lang="en-US" dirty="0"/>
              <a:t>Based on Lessard et al., 2013</a:t>
            </a:r>
          </a:p>
        </p:txBody>
      </p:sp>
    </p:spTree>
    <p:extLst>
      <p:ext uri="{BB962C8B-B14F-4D97-AF65-F5344CB8AC3E}">
        <p14:creationId xmlns:p14="http://schemas.microsoft.com/office/powerpoint/2010/main" val="82106772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FE1037E-A25C-2619-1294-C5071D429C6B}"/>
              </a:ext>
            </a:extLst>
          </p:cNvPr>
          <p:cNvSpPr/>
          <p:nvPr/>
        </p:nvSpPr>
        <p:spPr>
          <a:xfrm>
            <a:off x="463463" y="338203"/>
            <a:ext cx="4204942" cy="4129413"/>
          </a:xfrm>
          <a:prstGeom prst="rect">
            <a:avLst/>
          </a:prstGeom>
          <a:noFill/>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29" name="Rectangle 28">
            <a:extLst>
              <a:ext uri="{FF2B5EF4-FFF2-40B4-BE49-F238E27FC236}">
                <a16:creationId xmlns:a16="http://schemas.microsoft.com/office/drawing/2014/main" id="{F4469FBE-59FD-701A-9A8E-EC3ED0215336}"/>
              </a:ext>
            </a:extLst>
          </p:cNvPr>
          <p:cNvSpPr/>
          <p:nvPr/>
        </p:nvSpPr>
        <p:spPr>
          <a:xfrm>
            <a:off x="4672188" y="338203"/>
            <a:ext cx="4204942" cy="4129413"/>
          </a:xfrm>
          <a:prstGeom prst="rect">
            <a:avLst/>
          </a:prstGeom>
          <a:noFill/>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grpSp>
        <p:nvGrpSpPr>
          <p:cNvPr id="4" name="Group 3">
            <a:extLst>
              <a:ext uri="{FF2B5EF4-FFF2-40B4-BE49-F238E27FC236}">
                <a16:creationId xmlns:a16="http://schemas.microsoft.com/office/drawing/2014/main" id="{252F4333-777A-DFAB-9FAB-F5A0441E3AE2}"/>
              </a:ext>
            </a:extLst>
          </p:cNvPr>
          <p:cNvGrpSpPr/>
          <p:nvPr/>
        </p:nvGrpSpPr>
        <p:grpSpPr>
          <a:xfrm>
            <a:off x="2415859" y="850097"/>
            <a:ext cx="4508875" cy="3320532"/>
            <a:chOff x="2085278" y="1187605"/>
            <a:chExt cx="4508875" cy="3320532"/>
          </a:xfrm>
        </p:grpSpPr>
        <p:grpSp>
          <p:nvGrpSpPr>
            <p:cNvPr id="5" name="Group 4">
              <a:extLst>
                <a:ext uri="{FF2B5EF4-FFF2-40B4-BE49-F238E27FC236}">
                  <a16:creationId xmlns:a16="http://schemas.microsoft.com/office/drawing/2014/main" id="{6466B41B-D32E-446B-E8D4-53094E332365}"/>
                </a:ext>
              </a:extLst>
            </p:cNvPr>
            <p:cNvGrpSpPr/>
            <p:nvPr/>
          </p:nvGrpSpPr>
          <p:grpSpPr>
            <a:xfrm>
              <a:off x="2085278" y="1187605"/>
              <a:ext cx="4508875" cy="3320532"/>
              <a:chOff x="2085278" y="1187605"/>
              <a:chExt cx="4508875" cy="3320532"/>
            </a:xfrm>
          </p:grpSpPr>
          <p:sp>
            <p:nvSpPr>
              <p:cNvPr id="9" name="Rectangle 8">
                <a:extLst>
                  <a:ext uri="{FF2B5EF4-FFF2-40B4-BE49-F238E27FC236}">
                    <a16:creationId xmlns:a16="http://schemas.microsoft.com/office/drawing/2014/main" id="{C5211D56-4635-231D-AA17-53F181ADE714}"/>
                  </a:ext>
                </a:extLst>
              </p:cNvPr>
              <p:cNvSpPr/>
              <p:nvPr/>
            </p:nvSpPr>
            <p:spPr>
              <a:xfrm>
                <a:off x="4341607" y="1187605"/>
                <a:ext cx="2252546" cy="3320532"/>
              </a:xfrm>
              <a:prstGeom prst="rect">
                <a:avLst/>
              </a:prstGeom>
              <a:ln>
                <a:prstDash val="dash"/>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10" name="Rectangle 9">
                <a:extLst>
                  <a:ext uri="{FF2B5EF4-FFF2-40B4-BE49-F238E27FC236}">
                    <a16:creationId xmlns:a16="http://schemas.microsoft.com/office/drawing/2014/main" id="{243AD310-23AB-75C7-B269-6CA128DF021C}"/>
                  </a:ext>
                </a:extLst>
              </p:cNvPr>
              <p:cNvSpPr/>
              <p:nvPr/>
            </p:nvSpPr>
            <p:spPr>
              <a:xfrm>
                <a:off x="2085278" y="1187605"/>
                <a:ext cx="2252546" cy="3320532"/>
              </a:xfrm>
              <a:prstGeom prst="rect">
                <a:avLst/>
              </a:prstGeom>
              <a:ln>
                <a:prstDash val="dash"/>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grpSp>
            <p:nvGrpSpPr>
              <p:cNvPr id="11" name="Group 10">
                <a:extLst>
                  <a:ext uri="{FF2B5EF4-FFF2-40B4-BE49-F238E27FC236}">
                    <a16:creationId xmlns:a16="http://schemas.microsoft.com/office/drawing/2014/main" id="{6C656AB9-0110-C070-4360-1A873DF21863}"/>
                  </a:ext>
                </a:extLst>
              </p:cNvPr>
              <p:cNvGrpSpPr/>
              <p:nvPr/>
            </p:nvGrpSpPr>
            <p:grpSpPr>
              <a:xfrm>
                <a:off x="2473141" y="1506235"/>
                <a:ext cx="3722654" cy="2503448"/>
                <a:chOff x="953428" y="1357826"/>
                <a:chExt cx="3152078" cy="2232866"/>
              </a:xfrm>
            </p:grpSpPr>
            <p:sp>
              <p:nvSpPr>
                <p:cNvPr id="12" name="Rectangle 11">
                  <a:extLst>
                    <a:ext uri="{FF2B5EF4-FFF2-40B4-BE49-F238E27FC236}">
                      <a16:creationId xmlns:a16="http://schemas.microsoft.com/office/drawing/2014/main" id="{1BEE033E-7451-D445-6683-9486D0D07B1F}"/>
                    </a:ext>
                  </a:extLst>
                </p:cNvPr>
                <p:cNvSpPr/>
                <p:nvPr/>
              </p:nvSpPr>
              <p:spPr>
                <a:xfrm>
                  <a:off x="2137312" y="3220757"/>
                  <a:ext cx="784307" cy="321228"/>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1200" dirty="0"/>
                    <a:t>Enhance</a:t>
                  </a:r>
                </a:p>
              </p:txBody>
            </p:sp>
            <p:sp>
              <p:nvSpPr>
                <p:cNvPr id="13" name="Rectangle 12">
                  <a:extLst>
                    <a:ext uri="{FF2B5EF4-FFF2-40B4-BE49-F238E27FC236}">
                      <a16:creationId xmlns:a16="http://schemas.microsoft.com/office/drawing/2014/main" id="{725AF718-AC2F-BA05-26B1-59290D3090D3}"/>
                    </a:ext>
                  </a:extLst>
                </p:cNvPr>
                <p:cNvSpPr/>
                <p:nvPr/>
              </p:nvSpPr>
              <p:spPr>
                <a:xfrm>
                  <a:off x="953428" y="2571749"/>
                  <a:ext cx="1137425" cy="1018943"/>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a:t>Augmented capabilities at home</a:t>
                  </a:r>
                </a:p>
              </p:txBody>
            </p:sp>
            <p:sp>
              <p:nvSpPr>
                <p:cNvPr id="14" name="Rectangle 13">
                  <a:extLst>
                    <a:ext uri="{FF2B5EF4-FFF2-40B4-BE49-F238E27FC236}">
                      <a16:creationId xmlns:a16="http://schemas.microsoft.com/office/drawing/2014/main" id="{DFF41C2A-3C51-1A44-15C3-FAEB89A18E91}"/>
                    </a:ext>
                  </a:extLst>
                </p:cNvPr>
                <p:cNvSpPr/>
                <p:nvPr/>
              </p:nvSpPr>
              <p:spPr>
                <a:xfrm>
                  <a:off x="2968081" y="2571748"/>
                  <a:ext cx="1137425" cy="1018943"/>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a:t>Target country-derived capabilities</a:t>
                  </a:r>
                </a:p>
              </p:txBody>
            </p:sp>
            <p:sp>
              <p:nvSpPr>
                <p:cNvPr id="15" name="Rectangle 14">
                  <a:extLst>
                    <a:ext uri="{FF2B5EF4-FFF2-40B4-BE49-F238E27FC236}">
                      <a16:creationId xmlns:a16="http://schemas.microsoft.com/office/drawing/2014/main" id="{135DFE9D-7425-F3C9-8224-E3BBC41AB5AD}"/>
                    </a:ext>
                  </a:extLst>
                </p:cNvPr>
                <p:cNvSpPr/>
                <p:nvPr/>
              </p:nvSpPr>
              <p:spPr>
                <a:xfrm>
                  <a:off x="953428" y="1357827"/>
                  <a:ext cx="1137425" cy="1018943"/>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a:t>Home-based capabilities</a:t>
                  </a:r>
                </a:p>
              </p:txBody>
            </p:sp>
            <p:sp>
              <p:nvSpPr>
                <p:cNvPr id="16" name="Rectangle 15">
                  <a:extLst>
                    <a:ext uri="{FF2B5EF4-FFF2-40B4-BE49-F238E27FC236}">
                      <a16:creationId xmlns:a16="http://schemas.microsoft.com/office/drawing/2014/main" id="{3A8FB199-CAC9-E3E2-0FF0-B5DC7191F842}"/>
                    </a:ext>
                  </a:extLst>
                </p:cNvPr>
                <p:cNvSpPr/>
                <p:nvPr/>
              </p:nvSpPr>
              <p:spPr>
                <a:xfrm>
                  <a:off x="2968081" y="1357826"/>
                  <a:ext cx="1137425" cy="1018943"/>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a:t>Target country/ Customer value</a:t>
                  </a:r>
                </a:p>
              </p:txBody>
            </p:sp>
            <p:sp>
              <p:nvSpPr>
                <p:cNvPr id="17" name="Arrow: Right 16">
                  <a:extLst>
                    <a:ext uri="{FF2B5EF4-FFF2-40B4-BE49-F238E27FC236}">
                      <a16:creationId xmlns:a16="http://schemas.microsoft.com/office/drawing/2014/main" id="{52F1F7E4-7A63-4DE0-944C-3AD0414290E8}"/>
                    </a:ext>
                  </a:extLst>
                </p:cNvPr>
                <p:cNvSpPr/>
                <p:nvPr/>
              </p:nvSpPr>
              <p:spPr>
                <a:xfrm>
                  <a:off x="2245111" y="1708615"/>
                  <a:ext cx="568712" cy="317364"/>
                </a:xfrm>
                <a:prstGeom prst="rightArrow">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dirty="0"/>
                    <a:t>RAT</a:t>
                  </a:r>
                </a:p>
              </p:txBody>
            </p:sp>
            <p:sp>
              <p:nvSpPr>
                <p:cNvPr id="18" name="Rectangle 17">
                  <a:extLst>
                    <a:ext uri="{FF2B5EF4-FFF2-40B4-BE49-F238E27FC236}">
                      <a16:creationId xmlns:a16="http://schemas.microsoft.com/office/drawing/2014/main" id="{AB7B4772-78DB-A524-5A60-F435787DA06B}"/>
                    </a:ext>
                  </a:extLst>
                </p:cNvPr>
                <p:cNvSpPr/>
                <p:nvPr/>
              </p:nvSpPr>
              <p:spPr>
                <a:xfrm>
                  <a:off x="2106646" y="1357827"/>
                  <a:ext cx="784306" cy="321228"/>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dirty="0"/>
                    <a:t>Exploit</a:t>
                  </a:r>
                </a:p>
              </p:txBody>
            </p:sp>
          </p:grpSp>
        </p:grpSp>
        <p:sp>
          <p:nvSpPr>
            <p:cNvPr id="6" name="Rectangle 5">
              <a:extLst>
                <a:ext uri="{FF2B5EF4-FFF2-40B4-BE49-F238E27FC236}">
                  <a16:creationId xmlns:a16="http://schemas.microsoft.com/office/drawing/2014/main" id="{DB30A23C-B29E-E547-EA5B-986B9D0803F7}"/>
                </a:ext>
              </a:extLst>
            </p:cNvPr>
            <p:cNvSpPr/>
            <p:nvPr/>
          </p:nvSpPr>
          <p:spPr>
            <a:xfrm>
              <a:off x="5060997" y="1216810"/>
              <a:ext cx="926278" cy="206345"/>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b="1" dirty="0"/>
                <a:t>External</a:t>
              </a:r>
            </a:p>
          </p:txBody>
        </p:sp>
        <p:sp>
          <p:nvSpPr>
            <p:cNvPr id="7" name="Rectangle 6">
              <a:extLst>
                <a:ext uri="{FF2B5EF4-FFF2-40B4-BE49-F238E27FC236}">
                  <a16:creationId xmlns:a16="http://schemas.microsoft.com/office/drawing/2014/main" id="{4BC33DE8-23BA-9311-F8EA-2942C3F1439C}"/>
                </a:ext>
              </a:extLst>
            </p:cNvPr>
            <p:cNvSpPr/>
            <p:nvPr/>
          </p:nvSpPr>
          <p:spPr>
            <a:xfrm>
              <a:off x="2681660" y="1232977"/>
              <a:ext cx="926278" cy="190178"/>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b="1" dirty="0"/>
                <a:t>Internal</a:t>
              </a:r>
            </a:p>
          </p:txBody>
        </p:sp>
        <p:sp>
          <p:nvSpPr>
            <p:cNvPr id="8" name="Arrow: Left 7">
              <a:extLst>
                <a:ext uri="{FF2B5EF4-FFF2-40B4-BE49-F238E27FC236}">
                  <a16:creationId xmlns:a16="http://schemas.microsoft.com/office/drawing/2014/main" id="{99714653-C617-E1AC-EB52-2266665FD24F}"/>
                </a:ext>
              </a:extLst>
            </p:cNvPr>
            <p:cNvSpPr/>
            <p:nvPr/>
          </p:nvSpPr>
          <p:spPr>
            <a:xfrm>
              <a:off x="3962194" y="3313305"/>
              <a:ext cx="708103" cy="354999"/>
            </a:xfrm>
            <a:prstGeom prst="leftArrow">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dirty="0"/>
                <a:t>CAT</a:t>
              </a:r>
            </a:p>
          </p:txBody>
        </p:sp>
      </p:grpSp>
      <p:sp>
        <p:nvSpPr>
          <p:cNvPr id="21" name="Rectangle 20">
            <a:extLst>
              <a:ext uri="{FF2B5EF4-FFF2-40B4-BE49-F238E27FC236}">
                <a16:creationId xmlns:a16="http://schemas.microsoft.com/office/drawing/2014/main" id="{367D7629-36E4-6986-41C5-D16AAFC0F633}"/>
              </a:ext>
            </a:extLst>
          </p:cNvPr>
          <p:cNvSpPr/>
          <p:nvPr/>
        </p:nvSpPr>
        <p:spPr>
          <a:xfrm>
            <a:off x="7257727" y="1501205"/>
            <a:ext cx="1178671" cy="304543"/>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dirty="0"/>
              <a:t>Megatrends</a:t>
            </a:r>
          </a:p>
        </p:txBody>
      </p:sp>
      <p:sp>
        <p:nvSpPr>
          <p:cNvPr id="22" name="Rectangle 21">
            <a:extLst>
              <a:ext uri="{FF2B5EF4-FFF2-40B4-BE49-F238E27FC236}">
                <a16:creationId xmlns:a16="http://schemas.microsoft.com/office/drawing/2014/main" id="{D9A01B98-503E-1CC4-F5A2-6BE5E1A77FB2}"/>
              </a:ext>
            </a:extLst>
          </p:cNvPr>
          <p:cNvSpPr/>
          <p:nvPr/>
        </p:nvSpPr>
        <p:spPr>
          <a:xfrm>
            <a:off x="6954587" y="1934303"/>
            <a:ext cx="1619522" cy="304543"/>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dirty="0"/>
              <a:t>(De)globalization</a:t>
            </a:r>
          </a:p>
        </p:txBody>
      </p:sp>
      <p:sp>
        <p:nvSpPr>
          <p:cNvPr id="23" name="Rectangle 22">
            <a:extLst>
              <a:ext uri="{FF2B5EF4-FFF2-40B4-BE49-F238E27FC236}">
                <a16:creationId xmlns:a16="http://schemas.microsoft.com/office/drawing/2014/main" id="{8D5EF873-0A49-F800-ADFC-55145E4DBA95}"/>
              </a:ext>
            </a:extLst>
          </p:cNvPr>
          <p:cNvSpPr/>
          <p:nvPr/>
        </p:nvSpPr>
        <p:spPr>
          <a:xfrm>
            <a:off x="1218358" y="1348805"/>
            <a:ext cx="926278" cy="360155"/>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dirty="0"/>
              <a:t>Learning</a:t>
            </a:r>
          </a:p>
        </p:txBody>
      </p:sp>
      <p:sp>
        <p:nvSpPr>
          <p:cNvPr id="24" name="Rectangle 23">
            <a:extLst>
              <a:ext uri="{FF2B5EF4-FFF2-40B4-BE49-F238E27FC236}">
                <a16:creationId xmlns:a16="http://schemas.microsoft.com/office/drawing/2014/main" id="{A42B2251-BE45-9BC8-F6F4-52117292DA28}"/>
              </a:ext>
            </a:extLst>
          </p:cNvPr>
          <p:cNvSpPr/>
          <p:nvPr/>
        </p:nvSpPr>
        <p:spPr>
          <a:xfrm>
            <a:off x="841051" y="1909978"/>
            <a:ext cx="1345176" cy="534607"/>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dirty="0"/>
              <a:t>Dynamic capabilities</a:t>
            </a:r>
          </a:p>
        </p:txBody>
      </p:sp>
      <p:sp>
        <p:nvSpPr>
          <p:cNvPr id="25" name="Rectangle 24">
            <a:extLst>
              <a:ext uri="{FF2B5EF4-FFF2-40B4-BE49-F238E27FC236}">
                <a16:creationId xmlns:a16="http://schemas.microsoft.com/office/drawing/2014/main" id="{C2F677D7-402E-26BF-B11E-0A0DD0000584}"/>
              </a:ext>
            </a:extLst>
          </p:cNvPr>
          <p:cNvSpPr/>
          <p:nvPr/>
        </p:nvSpPr>
        <p:spPr>
          <a:xfrm>
            <a:off x="6954587" y="3205999"/>
            <a:ext cx="1481811" cy="304543"/>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dirty="0"/>
              <a:t>Shocks &amp; crises</a:t>
            </a:r>
          </a:p>
        </p:txBody>
      </p:sp>
      <p:sp>
        <p:nvSpPr>
          <p:cNvPr id="26" name="Rectangle 25">
            <a:extLst>
              <a:ext uri="{FF2B5EF4-FFF2-40B4-BE49-F238E27FC236}">
                <a16:creationId xmlns:a16="http://schemas.microsoft.com/office/drawing/2014/main" id="{39E4A097-03DB-BD48-CE3D-A0B28FB774A2}"/>
              </a:ext>
            </a:extLst>
          </p:cNvPr>
          <p:cNvSpPr/>
          <p:nvPr/>
        </p:nvSpPr>
        <p:spPr>
          <a:xfrm>
            <a:off x="6966387" y="2581548"/>
            <a:ext cx="1619522" cy="304543"/>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dirty="0"/>
              <a:t>Institutional framework changes</a:t>
            </a:r>
          </a:p>
        </p:txBody>
      </p:sp>
      <p:sp>
        <p:nvSpPr>
          <p:cNvPr id="27" name="Rectangle 26">
            <a:extLst>
              <a:ext uri="{FF2B5EF4-FFF2-40B4-BE49-F238E27FC236}">
                <a16:creationId xmlns:a16="http://schemas.microsoft.com/office/drawing/2014/main" id="{A695BCCD-716C-2AB6-1638-C06F5517162A}"/>
              </a:ext>
            </a:extLst>
          </p:cNvPr>
          <p:cNvSpPr/>
          <p:nvPr/>
        </p:nvSpPr>
        <p:spPr>
          <a:xfrm>
            <a:off x="921776" y="2708493"/>
            <a:ext cx="1345176" cy="534607"/>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dirty="0"/>
              <a:t>Strategic innovation</a:t>
            </a:r>
          </a:p>
        </p:txBody>
      </p:sp>
      <p:sp>
        <p:nvSpPr>
          <p:cNvPr id="28" name="Rectangle 27">
            <a:extLst>
              <a:ext uri="{FF2B5EF4-FFF2-40B4-BE49-F238E27FC236}">
                <a16:creationId xmlns:a16="http://schemas.microsoft.com/office/drawing/2014/main" id="{6CBF46FC-50B4-DDE6-3515-B00C89077B16}"/>
              </a:ext>
            </a:extLst>
          </p:cNvPr>
          <p:cNvSpPr/>
          <p:nvPr/>
        </p:nvSpPr>
        <p:spPr>
          <a:xfrm>
            <a:off x="1191162" y="3296208"/>
            <a:ext cx="1075789" cy="360155"/>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dirty="0"/>
              <a:t>Experience</a:t>
            </a:r>
          </a:p>
        </p:txBody>
      </p:sp>
      <p:sp>
        <p:nvSpPr>
          <p:cNvPr id="2" name="Rectangle: Rounded Corners 1">
            <a:extLst>
              <a:ext uri="{FF2B5EF4-FFF2-40B4-BE49-F238E27FC236}">
                <a16:creationId xmlns:a16="http://schemas.microsoft.com/office/drawing/2014/main" id="{CE18D152-A48D-4DC1-5A3D-A94C63EF8B42}"/>
              </a:ext>
            </a:extLst>
          </p:cNvPr>
          <p:cNvSpPr/>
          <p:nvPr/>
        </p:nvSpPr>
        <p:spPr>
          <a:xfrm>
            <a:off x="4141234" y="2001226"/>
            <a:ext cx="1101412" cy="88486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ifferent roles of target countries</a:t>
            </a:r>
          </a:p>
        </p:txBody>
      </p:sp>
      <p:sp>
        <p:nvSpPr>
          <p:cNvPr id="30" name="TextBox 29">
            <a:extLst>
              <a:ext uri="{FF2B5EF4-FFF2-40B4-BE49-F238E27FC236}">
                <a16:creationId xmlns:a16="http://schemas.microsoft.com/office/drawing/2014/main" id="{2D12B95E-18BF-57E9-61D9-F4839D414CD1}"/>
              </a:ext>
            </a:extLst>
          </p:cNvPr>
          <p:cNvSpPr txBox="1"/>
          <p:nvPr/>
        </p:nvSpPr>
        <p:spPr>
          <a:xfrm>
            <a:off x="580030" y="383283"/>
            <a:ext cx="2425664" cy="300082"/>
          </a:xfrm>
          <a:prstGeom prst="rect">
            <a:avLst/>
          </a:prstGeom>
          <a:noFill/>
        </p:spPr>
        <p:txBody>
          <a:bodyPr wrap="none" rtlCol="0">
            <a:spAutoFit/>
          </a:bodyPr>
          <a:lstStyle/>
          <a:p>
            <a:r>
              <a:rPr lang="en-US" b="1" dirty="0"/>
              <a:t>Antecedents of capabilities</a:t>
            </a:r>
          </a:p>
        </p:txBody>
      </p:sp>
      <p:sp>
        <p:nvSpPr>
          <p:cNvPr id="31" name="TextBox 30">
            <a:extLst>
              <a:ext uri="{FF2B5EF4-FFF2-40B4-BE49-F238E27FC236}">
                <a16:creationId xmlns:a16="http://schemas.microsoft.com/office/drawing/2014/main" id="{9203B274-95FF-5828-7F02-2357C6FF6E65}"/>
              </a:ext>
            </a:extLst>
          </p:cNvPr>
          <p:cNvSpPr txBox="1"/>
          <p:nvPr/>
        </p:nvSpPr>
        <p:spPr>
          <a:xfrm>
            <a:off x="6922889" y="378664"/>
            <a:ext cx="2040943" cy="300082"/>
          </a:xfrm>
          <a:prstGeom prst="rect">
            <a:avLst/>
          </a:prstGeom>
          <a:noFill/>
        </p:spPr>
        <p:txBody>
          <a:bodyPr wrap="none" rtlCol="0">
            <a:spAutoFit/>
          </a:bodyPr>
          <a:lstStyle/>
          <a:p>
            <a:r>
              <a:rPr lang="en-US" b="1" dirty="0"/>
              <a:t>Macro-level processes</a:t>
            </a:r>
          </a:p>
        </p:txBody>
      </p:sp>
    </p:spTree>
    <p:extLst>
      <p:ext uri="{BB962C8B-B14F-4D97-AF65-F5344CB8AC3E}">
        <p14:creationId xmlns:p14="http://schemas.microsoft.com/office/powerpoint/2010/main" val="60733441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8D1CA875-06F5-32FB-74E2-17E774A2A0DB}"/>
              </a:ext>
            </a:extLst>
          </p:cNvPr>
          <p:cNvPicPr>
            <a:picLocks noGrp="1" noChangeAspect="1"/>
          </p:cNvPicPr>
          <p:nvPr>
            <p:ph idx="1"/>
          </p:nvPr>
        </p:nvPicPr>
        <p:blipFill rotWithShape="1">
          <a:blip r:embed="rId2"/>
          <a:srcRect t="7165" b="36585"/>
          <a:stretch/>
        </p:blipFill>
        <p:spPr>
          <a:xfrm>
            <a:off x="0" y="15378"/>
            <a:ext cx="9143980" cy="5143490"/>
          </a:xfrm>
          <a:prstGeom prst="rect">
            <a:avLst/>
          </a:prstGeom>
        </p:spPr>
      </p:pic>
      <p:grpSp>
        <p:nvGrpSpPr>
          <p:cNvPr id="18" name="Group 17">
            <a:extLst>
              <a:ext uri="{FF2B5EF4-FFF2-40B4-BE49-F238E27FC236}">
                <a16:creationId xmlns:a16="http://schemas.microsoft.com/office/drawing/2014/main" id="{17F72E41-D8D7-F589-0125-D336DE2AF8BC}"/>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0949" y="16301"/>
            <a:ext cx="9154949" cy="5159809"/>
            <a:chOff x="-14598" y="21736"/>
            <a:chExt cx="12206598" cy="6879745"/>
          </a:xfrm>
        </p:grpSpPr>
        <p:sp>
          <p:nvSpPr>
            <p:cNvPr id="19" name="Rectangle 18">
              <a:extLst>
                <a:ext uri="{FF2B5EF4-FFF2-40B4-BE49-F238E27FC236}">
                  <a16:creationId xmlns:a16="http://schemas.microsoft.com/office/drawing/2014/main" id="{FC13EADE-3A56-21CF-6809-E58C7DDCBA5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6200000">
              <a:off x="4578264" y="-733992"/>
              <a:ext cx="3020876" cy="12206596"/>
            </a:xfrm>
            <a:prstGeom prst="rect">
              <a:avLst/>
            </a:prstGeom>
            <a:gradFill flip="none" rotWithShape="1">
              <a:gsLst>
                <a:gs pos="21000">
                  <a:srgbClr val="000000">
                    <a:alpha val="62000"/>
                  </a:srgbClr>
                </a:gs>
                <a:gs pos="100000">
                  <a:srgbClr val="000000">
                    <a:alpha val="0"/>
                  </a:srgb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8B1EA0F4-FEA8-8A8D-25F3-BCCDA3F4F85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0800000">
              <a:off x="0" y="3832304"/>
              <a:ext cx="12192000" cy="3055057"/>
            </a:xfrm>
            <a:prstGeom prst="rect">
              <a:avLst/>
            </a:prstGeom>
            <a:gradFill flip="none" rotWithShape="1">
              <a:gsLst>
                <a:gs pos="0">
                  <a:schemeClr val="accent5"/>
                </a:gs>
                <a:gs pos="75000">
                  <a:schemeClr val="accent5">
                    <a:lumMod val="60000"/>
                    <a:lumOff val="40000"/>
                    <a:alpha val="0"/>
                  </a:schemeClr>
                </a:gs>
              </a:gsLst>
              <a:lin ang="5580000" scaled="0"/>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p>
          </p:txBody>
        </p:sp>
        <p:sp>
          <p:nvSpPr>
            <p:cNvPr id="21" name="Rectangle 20">
              <a:extLst>
                <a:ext uri="{FF2B5EF4-FFF2-40B4-BE49-F238E27FC236}">
                  <a16:creationId xmlns:a16="http://schemas.microsoft.com/office/drawing/2014/main" id="{DD3842CE-80A1-1110-8DDA-D6F18BE0C63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0800000">
              <a:off x="7617204" y="1610686"/>
              <a:ext cx="4574794" cy="5290794"/>
            </a:xfrm>
            <a:prstGeom prst="rect">
              <a:avLst/>
            </a:prstGeom>
            <a:gradFill flip="none" rotWithShape="1">
              <a:gsLst>
                <a:gs pos="5000">
                  <a:schemeClr val="accent2"/>
                </a:gs>
                <a:gs pos="49000">
                  <a:schemeClr val="accent5">
                    <a:lumMod val="60000"/>
                    <a:lumOff val="40000"/>
                    <a:alpha val="0"/>
                  </a:schemeClr>
                </a:gs>
              </a:gsLst>
              <a:lin ang="2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31C9318B-F00C-0365-EC3A-B46DF3523B6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0800000">
              <a:off x="-14597" y="21736"/>
              <a:ext cx="3585523" cy="6879745"/>
            </a:xfrm>
            <a:prstGeom prst="rect">
              <a:avLst/>
            </a:prstGeom>
            <a:gradFill flip="none" rotWithShape="1">
              <a:gsLst>
                <a:gs pos="5000">
                  <a:schemeClr val="accent2"/>
                </a:gs>
                <a:gs pos="49000">
                  <a:schemeClr val="accent5">
                    <a:lumMod val="60000"/>
                    <a:lumOff val="40000"/>
                    <a:alpha val="0"/>
                  </a:schemeClr>
                </a:gs>
              </a:gsLst>
              <a:lin ang="9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7E92A2C8-D25D-5522-FFDD-CF5793AEFC7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5400000">
              <a:off x="806026" y="1712428"/>
              <a:ext cx="4354310" cy="5995557"/>
            </a:xfrm>
            <a:prstGeom prst="rect">
              <a:avLst/>
            </a:prstGeom>
            <a:gradFill flip="none" rotWithShape="1">
              <a:gsLst>
                <a:gs pos="0">
                  <a:schemeClr val="accent5">
                    <a:lumMod val="60000"/>
                    <a:lumOff val="40000"/>
                  </a:schemeClr>
                </a:gs>
                <a:gs pos="54000">
                  <a:schemeClr val="accent2">
                    <a:alpha val="0"/>
                  </a:scheme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5D4F6B4A-10F4-FB39-19F5-03C5A669C2B6}"/>
              </a:ext>
            </a:extLst>
          </p:cNvPr>
          <p:cNvSpPr>
            <a:spLocks noGrp="1"/>
          </p:cNvSpPr>
          <p:nvPr>
            <p:ph type="title"/>
          </p:nvPr>
        </p:nvSpPr>
        <p:spPr>
          <a:xfrm>
            <a:off x="628650" y="3520085"/>
            <a:ext cx="7605780" cy="844582"/>
          </a:xfrm>
        </p:spPr>
        <p:txBody>
          <a:bodyPr vert="horz" lIns="91440" tIns="45720" rIns="91440" bIns="45720" rtlCol="0" anchor="b">
            <a:normAutofit/>
          </a:bodyPr>
          <a:lstStyle/>
          <a:p>
            <a:pPr defTabSz="914400"/>
            <a:r>
              <a:rPr lang="en-US" sz="2700">
                <a:solidFill>
                  <a:srgbClr val="FFFFFF"/>
                </a:solidFill>
              </a:rPr>
              <a:t>Where to expand to?</a:t>
            </a:r>
          </a:p>
        </p:txBody>
      </p:sp>
    </p:spTree>
    <p:extLst>
      <p:ext uri="{BB962C8B-B14F-4D97-AF65-F5344CB8AC3E}">
        <p14:creationId xmlns:p14="http://schemas.microsoft.com/office/powerpoint/2010/main" val="344115976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E79B233-C263-4355-BEE2-6A4CD1ED5B59}"/>
              </a:ext>
            </a:extLst>
          </p:cNvPr>
          <p:cNvSpPr>
            <a:spLocks noGrp="1"/>
          </p:cNvSpPr>
          <p:nvPr>
            <p:ph type="body" sz="half" idx="10"/>
          </p:nvPr>
        </p:nvSpPr>
        <p:spPr>
          <a:xfrm>
            <a:off x="292328" y="294870"/>
            <a:ext cx="6062367" cy="946597"/>
          </a:xfrm>
        </p:spPr>
        <p:txBody>
          <a:bodyPr/>
          <a:lstStyle/>
          <a:p>
            <a:r>
              <a:rPr lang="en-US" sz="2800" dirty="0"/>
              <a:t>Market selection</a:t>
            </a:r>
          </a:p>
        </p:txBody>
      </p:sp>
      <p:sp>
        <p:nvSpPr>
          <p:cNvPr id="162818" name="Slide Number Placeholder 1">
            <a:extLst>
              <a:ext uri="{FF2B5EF4-FFF2-40B4-BE49-F238E27FC236}">
                <a16:creationId xmlns:a16="http://schemas.microsoft.com/office/drawing/2014/main" id="{4AF7E206-83A6-4CF2-9358-B1234F00AF45}"/>
              </a:ext>
            </a:extLst>
          </p:cNvPr>
          <p:cNvSpPr>
            <a:spLocks noGrp="1"/>
          </p:cNvSpPr>
          <p:nvPr>
            <p:ph type="sldNum" sz="quarter" idx="14"/>
          </p:nvPr>
        </p:nvSpPr>
        <p:spPr>
          <a:noFill/>
        </p:spPr>
        <p:txBody>
          <a:bodyPr/>
          <a:lstStyle>
            <a:lvl1pPr>
              <a:spcAft>
                <a:spcPct val="20000"/>
              </a:spcAft>
              <a:buClr>
                <a:schemeClr val="accent1"/>
              </a:buClr>
              <a:buChar char="•"/>
              <a:defRPr sz="1500">
                <a:solidFill>
                  <a:schemeClr val="tx1"/>
                </a:solidFill>
                <a:latin typeface="Verdana" panose="020B0604030504040204" pitchFamily="34" charset="0"/>
              </a:defRPr>
            </a:lvl1pPr>
            <a:lvl2pPr marL="557213" indent="-214313">
              <a:spcAft>
                <a:spcPct val="20000"/>
              </a:spcAft>
              <a:buClr>
                <a:schemeClr val="accent1"/>
              </a:buClr>
              <a:buChar char="–"/>
              <a:defRPr>
                <a:solidFill>
                  <a:schemeClr val="tx1"/>
                </a:solidFill>
                <a:latin typeface="Verdana" panose="020B0604030504040204" pitchFamily="34" charset="0"/>
              </a:defRPr>
            </a:lvl2pPr>
            <a:lvl3pPr marL="857250" indent="-171450">
              <a:spcAft>
                <a:spcPct val="20000"/>
              </a:spcAft>
              <a:buClr>
                <a:schemeClr val="accent1"/>
              </a:buClr>
              <a:buChar char="•"/>
              <a:defRPr sz="1200">
                <a:solidFill>
                  <a:schemeClr val="tx1"/>
                </a:solidFill>
                <a:latin typeface="Verdana" panose="020B0604030504040204" pitchFamily="34" charset="0"/>
              </a:defRPr>
            </a:lvl3pPr>
            <a:lvl4pPr marL="1200150" indent="-171450">
              <a:spcAft>
                <a:spcPct val="20000"/>
              </a:spcAft>
              <a:buClr>
                <a:schemeClr val="accent1"/>
              </a:buClr>
              <a:buChar char="–"/>
              <a:defRPr sz="1050">
                <a:solidFill>
                  <a:schemeClr val="tx1"/>
                </a:solidFill>
                <a:latin typeface="Verdana" panose="020B0604030504040204" pitchFamily="34" charset="0"/>
              </a:defRPr>
            </a:lvl4pPr>
            <a:lvl5pPr marL="1543050" indent="-171450">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5pPr>
            <a:lvl6pPr marL="18859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6pPr>
            <a:lvl7pPr marL="22288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7pPr>
            <a:lvl8pPr marL="25717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8pPr>
            <a:lvl9pPr marL="29146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9pPr>
          </a:lstStyle>
          <a:p>
            <a:pPr fontAlgn="base">
              <a:spcBef>
                <a:spcPct val="0"/>
              </a:spcBef>
              <a:spcAft>
                <a:spcPct val="0"/>
              </a:spcAft>
              <a:buClrTx/>
              <a:buNone/>
            </a:pPr>
            <a:fld id="{C66589D7-F045-4D92-9D92-C6D8D67789BA}" type="slidenum">
              <a:rPr lang="en-GB" altLang="fi-FI" sz="750">
                <a:solidFill>
                  <a:srgbClr val="000000"/>
                </a:solidFill>
              </a:rPr>
              <a:pPr fontAlgn="base">
                <a:spcBef>
                  <a:spcPct val="0"/>
                </a:spcBef>
                <a:spcAft>
                  <a:spcPct val="0"/>
                </a:spcAft>
                <a:buClrTx/>
                <a:buNone/>
              </a:pPr>
              <a:t>16</a:t>
            </a:fld>
            <a:endParaRPr lang="en-GB" altLang="fi-FI" sz="750">
              <a:solidFill>
                <a:srgbClr val="000000"/>
              </a:solidFill>
            </a:endParaRPr>
          </a:p>
        </p:txBody>
      </p:sp>
      <p:sp>
        <p:nvSpPr>
          <p:cNvPr id="2" name="Text Placeholder 5">
            <a:extLst>
              <a:ext uri="{FF2B5EF4-FFF2-40B4-BE49-F238E27FC236}">
                <a16:creationId xmlns:a16="http://schemas.microsoft.com/office/drawing/2014/main" id="{7188B95F-4310-569A-83C9-3FA1F947D1D9}"/>
              </a:ext>
            </a:extLst>
          </p:cNvPr>
          <p:cNvSpPr>
            <a:spLocks noGrp="1"/>
          </p:cNvSpPr>
          <p:nvPr>
            <p:ph type="body" sz="half" idx="11"/>
          </p:nvPr>
        </p:nvSpPr>
        <p:spPr>
          <a:xfrm>
            <a:off x="292328" y="992767"/>
            <a:ext cx="8443871" cy="2891564"/>
          </a:xfrm>
        </p:spPr>
        <p:txBody>
          <a:bodyPr/>
          <a:lstStyle/>
          <a:p>
            <a:r>
              <a:rPr lang="fi-FI" sz="1600" dirty="0" err="1">
                <a:solidFill>
                  <a:srgbClr val="000000"/>
                </a:solidFill>
              </a:rPr>
              <a:t>Often</a:t>
            </a:r>
            <a:r>
              <a:rPr lang="fi-FI" sz="1600" dirty="0">
                <a:solidFill>
                  <a:srgbClr val="000000"/>
                </a:solidFill>
              </a:rPr>
              <a:t> </a:t>
            </a:r>
            <a:r>
              <a:rPr lang="fi-FI" sz="1600" dirty="0" err="1">
                <a:solidFill>
                  <a:srgbClr val="000000"/>
                </a:solidFill>
              </a:rPr>
              <a:t>driven</a:t>
            </a:r>
            <a:r>
              <a:rPr lang="fi-FI" sz="1600" dirty="0">
                <a:solidFill>
                  <a:srgbClr val="000000"/>
                </a:solidFill>
              </a:rPr>
              <a:t> </a:t>
            </a:r>
            <a:r>
              <a:rPr lang="fi-FI" sz="1600" dirty="0" err="1">
                <a:solidFill>
                  <a:srgbClr val="000000"/>
                </a:solidFill>
              </a:rPr>
              <a:t>by</a:t>
            </a:r>
            <a:r>
              <a:rPr lang="fi-FI" sz="1600" dirty="0">
                <a:solidFill>
                  <a:srgbClr val="000000"/>
                </a:solidFill>
              </a:rPr>
              <a:t> </a:t>
            </a:r>
            <a:r>
              <a:rPr lang="fi-FI" sz="1600" dirty="0" err="1">
                <a:solidFill>
                  <a:srgbClr val="000000"/>
                </a:solidFill>
              </a:rPr>
              <a:t>external</a:t>
            </a:r>
            <a:r>
              <a:rPr lang="fi-FI" sz="1600" dirty="0">
                <a:solidFill>
                  <a:srgbClr val="000000"/>
                </a:solidFill>
              </a:rPr>
              <a:t> </a:t>
            </a:r>
            <a:r>
              <a:rPr lang="fi-FI" sz="1600" dirty="0" err="1">
                <a:solidFill>
                  <a:srgbClr val="000000"/>
                </a:solidFill>
              </a:rPr>
              <a:t>drivers</a:t>
            </a:r>
            <a:endParaRPr lang="fi-FI" sz="1600" dirty="0">
              <a:solidFill>
                <a:srgbClr val="000000"/>
              </a:solidFill>
            </a:endParaRPr>
          </a:p>
          <a:p>
            <a:pPr lvl="1"/>
            <a:r>
              <a:rPr lang="en-US" sz="1600" dirty="0">
                <a:solidFill>
                  <a:srgbClr val="000000"/>
                </a:solidFill>
              </a:rPr>
              <a:t>Country characteristics</a:t>
            </a:r>
          </a:p>
          <a:p>
            <a:pPr lvl="1"/>
            <a:r>
              <a:rPr lang="en-US" sz="1600" dirty="0">
                <a:solidFill>
                  <a:srgbClr val="000000"/>
                </a:solidFill>
              </a:rPr>
              <a:t>Customers, demand</a:t>
            </a:r>
          </a:p>
          <a:p>
            <a:pPr lvl="1"/>
            <a:r>
              <a:rPr lang="en-US" sz="1600" dirty="0">
                <a:solidFill>
                  <a:srgbClr val="000000"/>
                </a:solidFill>
              </a:rPr>
              <a:t>Random opportunities</a:t>
            </a:r>
          </a:p>
          <a:p>
            <a:r>
              <a:rPr lang="fi-FI" sz="1600" dirty="0" err="1">
                <a:solidFill>
                  <a:srgbClr val="000000"/>
                </a:solidFill>
              </a:rPr>
              <a:t>Or</a:t>
            </a:r>
            <a:r>
              <a:rPr lang="fi-FI" sz="1600" dirty="0">
                <a:solidFill>
                  <a:srgbClr val="000000"/>
                </a:solidFill>
              </a:rPr>
              <a:t> </a:t>
            </a:r>
            <a:r>
              <a:rPr lang="fi-FI" sz="1600" dirty="0" err="1">
                <a:solidFill>
                  <a:srgbClr val="000000"/>
                </a:solidFill>
              </a:rPr>
              <a:t>internal</a:t>
            </a:r>
            <a:r>
              <a:rPr lang="fi-FI" sz="1600" dirty="0">
                <a:solidFill>
                  <a:srgbClr val="000000"/>
                </a:solidFill>
              </a:rPr>
              <a:t> </a:t>
            </a:r>
            <a:r>
              <a:rPr lang="fi-FI" sz="1600" dirty="0" err="1">
                <a:solidFill>
                  <a:srgbClr val="000000"/>
                </a:solidFill>
              </a:rPr>
              <a:t>ones</a:t>
            </a:r>
            <a:r>
              <a:rPr lang="fi-FI" sz="1600" dirty="0">
                <a:solidFill>
                  <a:srgbClr val="000000"/>
                </a:solidFill>
              </a:rPr>
              <a:t>…</a:t>
            </a:r>
          </a:p>
          <a:p>
            <a:pPr lvl="1"/>
            <a:r>
              <a:rPr lang="fi-FI" sz="1600" dirty="0">
                <a:solidFill>
                  <a:srgbClr val="000000"/>
                </a:solidFill>
              </a:rPr>
              <a:t>Products, </a:t>
            </a:r>
            <a:r>
              <a:rPr lang="fi-FI" sz="1600" dirty="0" err="1">
                <a:solidFill>
                  <a:srgbClr val="000000"/>
                </a:solidFill>
              </a:rPr>
              <a:t>networks</a:t>
            </a:r>
            <a:r>
              <a:rPr lang="fi-FI" sz="1600" dirty="0">
                <a:solidFill>
                  <a:srgbClr val="000000"/>
                </a:solidFill>
              </a:rPr>
              <a:t>, </a:t>
            </a:r>
            <a:r>
              <a:rPr lang="fi-FI" sz="1600" dirty="0" err="1">
                <a:solidFill>
                  <a:srgbClr val="000000"/>
                </a:solidFill>
              </a:rPr>
              <a:t>partners</a:t>
            </a:r>
            <a:endParaRPr lang="fi-FI" sz="1600" dirty="0">
              <a:solidFill>
                <a:srgbClr val="000000"/>
              </a:solidFill>
            </a:endParaRPr>
          </a:p>
          <a:p>
            <a:r>
              <a:rPr lang="fi-FI" sz="1600" dirty="0" err="1">
                <a:solidFill>
                  <a:srgbClr val="000000"/>
                </a:solidFill>
              </a:rPr>
              <a:t>Too</a:t>
            </a:r>
            <a:r>
              <a:rPr lang="fi-FI" sz="1600" dirty="0">
                <a:solidFill>
                  <a:srgbClr val="000000"/>
                </a:solidFill>
              </a:rPr>
              <a:t> </a:t>
            </a:r>
            <a:r>
              <a:rPr lang="fi-FI" sz="1600" dirty="0" err="1">
                <a:solidFill>
                  <a:srgbClr val="000000"/>
                </a:solidFill>
              </a:rPr>
              <a:t>rarely</a:t>
            </a:r>
            <a:r>
              <a:rPr lang="fi-FI" sz="1600" dirty="0">
                <a:solidFill>
                  <a:srgbClr val="000000"/>
                </a:solidFill>
              </a:rPr>
              <a:t> </a:t>
            </a:r>
            <a:r>
              <a:rPr lang="fi-FI" sz="1600" dirty="0" err="1">
                <a:solidFill>
                  <a:srgbClr val="000000"/>
                </a:solidFill>
              </a:rPr>
              <a:t>by</a:t>
            </a:r>
            <a:r>
              <a:rPr lang="fi-FI" sz="1600" dirty="0">
                <a:solidFill>
                  <a:srgbClr val="000000"/>
                </a:solidFill>
              </a:rPr>
              <a:t> </a:t>
            </a:r>
            <a:r>
              <a:rPr lang="fi-FI" sz="1600" dirty="0" err="1">
                <a:solidFill>
                  <a:srgbClr val="000000"/>
                </a:solidFill>
              </a:rPr>
              <a:t>properly</a:t>
            </a:r>
            <a:r>
              <a:rPr lang="fi-FI" sz="1600" dirty="0">
                <a:solidFill>
                  <a:srgbClr val="000000"/>
                </a:solidFill>
              </a:rPr>
              <a:t> </a:t>
            </a:r>
            <a:r>
              <a:rPr lang="fi-FI" sz="1600" dirty="0" err="1">
                <a:solidFill>
                  <a:srgbClr val="000000"/>
                </a:solidFill>
              </a:rPr>
              <a:t>considered</a:t>
            </a:r>
            <a:r>
              <a:rPr lang="fi-FI" sz="1600" dirty="0">
                <a:solidFill>
                  <a:srgbClr val="000000"/>
                </a:solidFill>
              </a:rPr>
              <a:t> </a:t>
            </a:r>
            <a:r>
              <a:rPr lang="fi-FI" sz="1600" dirty="0" err="1">
                <a:solidFill>
                  <a:srgbClr val="000000"/>
                </a:solidFill>
              </a:rPr>
              <a:t>resonance</a:t>
            </a:r>
            <a:r>
              <a:rPr lang="fi-FI" sz="1600" dirty="0">
                <a:solidFill>
                  <a:srgbClr val="000000"/>
                </a:solidFill>
              </a:rPr>
              <a:t> </a:t>
            </a:r>
            <a:r>
              <a:rPr lang="fi-FI" sz="1600" dirty="0" err="1">
                <a:solidFill>
                  <a:srgbClr val="000000"/>
                </a:solidFill>
              </a:rPr>
              <a:t>between</a:t>
            </a:r>
            <a:r>
              <a:rPr lang="fi-FI" sz="1600" dirty="0">
                <a:solidFill>
                  <a:srgbClr val="000000"/>
                </a:solidFill>
              </a:rPr>
              <a:t> </a:t>
            </a:r>
            <a:r>
              <a:rPr lang="fi-FI" sz="1600" dirty="0" err="1">
                <a:solidFill>
                  <a:srgbClr val="000000"/>
                </a:solidFill>
              </a:rPr>
              <a:t>internal</a:t>
            </a:r>
            <a:r>
              <a:rPr lang="fi-FI" sz="1600" dirty="0">
                <a:solidFill>
                  <a:srgbClr val="000000"/>
                </a:solidFill>
              </a:rPr>
              <a:t> and </a:t>
            </a:r>
            <a:r>
              <a:rPr lang="fi-FI" sz="1600" dirty="0" err="1">
                <a:solidFill>
                  <a:srgbClr val="000000"/>
                </a:solidFill>
              </a:rPr>
              <a:t>external</a:t>
            </a:r>
            <a:r>
              <a:rPr lang="fi-FI" sz="1600" dirty="0">
                <a:solidFill>
                  <a:srgbClr val="000000"/>
                </a:solidFill>
              </a:rPr>
              <a:t> </a:t>
            </a:r>
            <a:r>
              <a:rPr lang="fi-FI" sz="1600" dirty="0" err="1">
                <a:solidFill>
                  <a:srgbClr val="000000"/>
                </a:solidFill>
              </a:rPr>
              <a:t>aspects</a:t>
            </a:r>
            <a:endParaRPr lang="fi-FI" sz="1600" dirty="0">
              <a:solidFill>
                <a:srgbClr val="000000"/>
              </a:solidFill>
            </a:endParaRPr>
          </a:p>
          <a:p>
            <a:pPr lvl="1"/>
            <a:endParaRPr lang="fi-FI" sz="1600" dirty="0">
              <a:solidFill>
                <a:srgbClr val="000000"/>
              </a:solidFill>
            </a:endParaRPr>
          </a:p>
        </p:txBody>
      </p:sp>
    </p:spTree>
    <p:extLst>
      <p:ext uri="{BB962C8B-B14F-4D97-AF65-F5344CB8AC3E}">
        <p14:creationId xmlns:p14="http://schemas.microsoft.com/office/powerpoint/2010/main" val="387287253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E79B233-C263-4355-BEE2-6A4CD1ED5B59}"/>
              </a:ext>
            </a:extLst>
          </p:cNvPr>
          <p:cNvSpPr>
            <a:spLocks noGrp="1"/>
          </p:cNvSpPr>
          <p:nvPr>
            <p:ph type="body" sz="half" idx="10"/>
          </p:nvPr>
        </p:nvSpPr>
        <p:spPr>
          <a:xfrm>
            <a:off x="292328" y="294870"/>
            <a:ext cx="6062367" cy="946597"/>
          </a:xfrm>
        </p:spPr>
        <p:txBody>
          <a:bodyPr/>
          <a:lstStyle/>
          <a:p>
            <a:r>
              <a:rPr lang="en-US" sz="2800" dirty="0"/>
              <a:t>Questions for market selection</a:t>
            </a:r>
          </a:p>
        </p:txBody>
      </p:sp>
      <p:sp>
        <p:nvSpPr>
          <p:cNvPr id="162818" name="Slide Number Placeholder 1">
            <a:extLst>
              <a:ext uri="{FF2B5EF4-FFF2-40B4-BE49-F238E27FC236}">
                <a16:creationId xmlns:a16="http://schemas.microsoft.com/office/drawing/2014/main" id="{4AF7E206-83A6-4CF2-9358-B1234F00AF45}"/>
              </a:ext>
            </a:extLst>
          </p:cNvPr>
          <p:cNvSpPr>
            <a:spLocks noGrp="1"/>
          </p:cNvSpPr>
          <p:nvPr>
            <p:ph type="sldNum" sz="quarter" idx="14"/>
          </p:nvPr>
        </p:nvSpPr>
        <p:spPr>
          <a:noFill/>
        </p:spPr>
        <p:txBody>
          <a:bodyPr/>
          <a:lstStyle>
            <a:lvl1pPr>
              <a:spcAft>
                <a:spcPct val="20000"/>
              </a:spcAft>
              <a:buClr>
                <a:schemeClr val="accent1"/>
              </a:buClr>
              <a:buChar char="•"/>
              <a:defRPr sz="1500">
                <a:solidFill>
                  <a:schemeClr val="tx1"/>
                </a:solidFill>
                <a:latin typeface="Verdana" panose="020B0604030504040204" pitchFamily="34" charset="0"/>
              </a:defRPr>
            </a:lvl1pPr>
            <a:lvl2pPr marL="557213" indent="-214313">
              <a:spcAft>
                <a:spcPct val="20000"/>
              </a:spcAft>
              <a:buClr>
                <a:schemeClr val="accent1"/>
              </a:buClr>
              <a:buChar char="–"/>
              <a:defRPr>
                <a:solidFill>
                  <a:schemeClr val="tx1"/>
                </a:solidFill>
                <a:latin typeface="Verdana" panose="020B0604030504040204" pitchFamily="34" charset="0"/>
              </a:defRPr>
            </a:lvl2pPr>
            <a:lvl3pPr marL="857250" indent="-171450">
              <a:spcAft>
                <a:spcPct val="20000"/>
              </a:spcAft>
              <a:buClr>
                <a:schemeClr val="accent1"/>
              </a:buClr>
              <a:buChar char="•"/>
              <a:defRPr sz="1200">
                <a:solidFill>
                  <a:schemeClr val="tx1"/>
                </a:solidFill>
                <a:latin typeface="Verdana" panose="020B0604030504040204" pitchFamily="34" charset="0"/>
              </a:defRPr>
            </a:lvl3pPr>
            <a:lvl4pPr marL="1200150" indent="-171450">
              <a:spcAft>
                <a:spcPct val="20000"/>
              </a:spcAft>
              <a:buClr>
                <a:schemeClr val="accent1"/>
              </a:buClr>
              <a:buChar char="–"/>
              <a:defRPr sz="1050">
                <a:solidFill>
                  <a:schemeClr val="tx1"/>
                </a:solidFill>
                <a:latin typeface="Verdana" panose="020B0604030504040204" pitchFamily="34" charset="0"/>
              </a:defRPr>
            </a:lvl4pPr>
            <a:lvl5pPr marL="1543050" indent="-171450">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5pPr>
            <a:lvl6pPr marL="18859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6pPr>
            <a:lvl7pPr marL="22288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7pPr>
            <a:lvl8pPr marL="25717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8pPr>
            <a:lvl9pPr marL="29146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9pPr>
          </a:lstStyle>
          <a:p>
            <a:pPr fontAlgn="base">
              <a:spcBef>
                <a:spcPct val="0"/>
              </a:spcBef>
              <a:spcAft>
                <a:spcPct val="0"/>
              </a:spcAft>
              <a:buClrTx/>
              <a:buNone/>
            </a:pPr>
            <a:fld id="{C66589D7-F045-4D92-9D92-C6D8D67789BA}" type="slidenum">
              <a:rPr lang="en-GB" altLang="fi-FI" sz="750">
                <a:solidFill>
                  <a:srgbClr val="000000"/>
                </a:solidFill>
              </a:rPr>
              <a:pPr fontAlgn="base">
                <a:spcBef>
                  <a:spcPct val="0"/>
                </a:spcBef>
                <a:spcAft>
                  <a:spcPct val="0"/>
                </a:spcAft>
                <a:buClrTx/>
                <a:buNone/>
              </a:pPr>
              <a:t>17</a:t>
            </a:fld>
            <a:endParaRPr lang="en-GB" altLang="fi-FI" sz="750">
              <a:solidFill>
                <a:srgbClr val="000000"/>
              </a:solidFill>
            </a:endParaRPr>
          </a:p>
        </p:txBody>
      </p:sp>
      <p:sp>
        <p:nvSpPr>
          <p:cNvPr id="2" name="Text Placeholder 5">
            <a:extLst>
              <a:ext uri="{FF2B5EF4-FFF2-40B4-BE49-F238E27FC236}">
                <a16:creationId xmlns:a16="http://schemas.microsoft.com/office/drawing/2014/main" id="{7188B95F-4310-569A-83C9-3FA1F947D1D9}"/>
              </a:ext>
            </a:extLst>
          </p:cNvPr>
          <p:cNvSpPr>
            <a:spLocks noGrp="1"/>
          </p:cNvSpPr>
          <p:nvPr>
            <p:ph type="body" sz="half" idx="11"/>
          </p:nvPr>
        </p:nvSpPr>
        <p:spPr>
          <a:xfrm>
            <a:off x="292328" y="795735"/>
            <a:ext cx="8443871" cy="2891564"/>
          </a:xfrm>
        </p:spPr>
        <p:txBody>
          <a:bodyPr/>
          <a:lstStyle/>
          <a:p>
            <a:r>
              <a:rPr lang="fi-FI" sz="1600" dirty="0">
                <a:solidFill>
                  <a:srgbClr val="000000"/>
                </a:solidFill>
              </a:rPr>
              <a:t>R: Is </a:t>
            </a:r>
            <a:r>
              <a:rPr lang="fi-FI" sz="1600" dirty="0" err="1">
                <a:solidFill>
                  <a:srgbClr val="000000"/>
                </a:solidFill>
              </a:rPr>
              <a:t>product</a:t>
            </a:r>
            <a:r>
              <a:rPr lang="fi-FI" sz="1600" dirty="0">
                <a:solidFill>
                  <a:srgbClr val="000000"/>
                </a:solidFill>
              </a:rPr>
              <a:t> </a:t>
            </a:r>
            <a:r>
              <a:rPr lang="fi-FI" sz="1600" dirty="0" err="1">
                <a:solidFill>
                  <a:srgbClr val="000000"/>
                </a:solidFill>
              </a:rPr>
              <a:t>relevant</a:t>
            </a:r>
            <a:r>
              <a:rPr lang="fi-FI" sz="1600" dirty="0">
                <a:solidFill>
                  <a:srgbClr val="000000"/>
                </a:solidFill>
              </a:rPr>
              <a:t> for </a:t>
            </a:r>
            <a:r>
              <a:rPr lang="fi-FI" sz="1600" dirty="0" err="1">
                <a:solidFill>
                  <a:srgbClr val="000000"/>
                </a:solidFill>
              </a:rPr>
              <a:t>the</a:t>
            </a:r>
            <a:r>
              <a:rPr lang="fi-FI" sz="1600" dirty="0">
                <a:solidFill>
                  <a:srgbClr val="000000"/>
                </a:solidFill>
              </a:rPr>
              <a:t> market?</a:t>
            </a:r>
          </a:p>
          <a:p>
            <a:pPr lvl="1"/>
            <a:r>
              <a:rPr lang="fi-FI" sz="1600" dirty="0">
                <a:solidFill>
                  <a:srgbClr val="000000"/>
                </a:solidFill>
              </a:rPr>
              <a:t>Is </a:t>
            </a:r>
            <a:r>
              <a:rPr lang="fi-FI" sz="1600" dirty="0" err="1">
                <a:solidFill>
                  <a:srgbClr val="000000"/>
                </a:solidFill>
              </a:rPr>
              <a:t>bottled</a:t>
            </a:r>
            <a:r>
              <a:rPr lang="fi-FI" sz="1600" dirty="0">
                <a:solidFill>
                  <a:srgbClr val="000000"/>
                </a:solidFill>
              </a:rPr>
              <a:t> </a:t>
            </a:r>
            <a:r>
              <a:rPr lang="fi-FI" sz="1600" dirty="0" err="1">
                <a:solidFill>
                  <a:srgbClr val="000000"/>
                </a:solidFill>
              </a:rPr>
              <a:t>water</a:t>
            </a:r>
            <a:r>
              <a:rPr lang="fi-FI" sz="1600" dirty="0">
                <a:solidFill>
                  <a:srgbClr val="000000"/>
                </a:solidFill>
              </a:rPr>
              <a:t> </a:t>
            </a:r>
            <a:r>
              <a:rPr lang="fi-FI" sz="1600" dirty="0" err="1">
                <a:solidFill>
                  <a:srgbClr val="000000"/>
                </a:solidFill>
              </a:rPr>
              <a:t>relevant</a:t>
            </a:r>
            <a:r>
              <a:rPr lang="fi-FI" sz="1600" dirty="0">
                <a:solidFill>
                  <a:srgbClr val="000000"/>
                </a:solidFill>
              </a:rPr>
              <a:t> </a:t>
            </a:r>
            <a:r>
              <a:rPr lang="fi-FI" sz="1600" dirty="0" err="1">
                <a:solidFill>
                  <a:srgbClr val="000000"/>
                </a:solidFill>
              </a:rPr>
              <a:t>product</a:t>
            </a:r>
            <a:r>
              <a:rPr lang="fi-FI" sz="1600" dirty="0">
                <a:solidFill>
                  <a:srgbClr val="000000"/>
                </a:solidFill>
              </a:rPr>
              <a:t> for </a:t>
            </a:r>
            <a:r>
              <a:rPr lang="fi-FI" sz="1600" dirty="0" err="1">
                <a:solidFill>
                  <a:srgbClr val="000000"/>
                </a:solidFill>
              </a:rPr>
              <a:t>Finnish</a:t>
            </a:r>
            <a:r>
              <a:rPr lang="fi-FI" sz="1600" dirty="0">
                <a:solidFill>
                  <a:srgbClr val="000000"/>
                </a:solidFill>
              </a:rPr>
              <a:t> </a:t>
            </a:r>
            <a:r>
              <a:rPr lang="fi-FI" sz="1600" dirty="0" err="1">
                <a:solidFill>
                  <a:srgbClr val="000000"/>
                </a:solidFill>
              </a:rPr>
              <a:t>markets</a:t>
            </a:r>
            <a:r>
              <a:rPr lang="fi-FI" sz="1600" dirty="0">
                <a:solidFill>
                  <a:srgbClr val="000000"/>
                </a:solidFill>
              </a:rPr>
              <a:t>?</a:t>
            </a:r>
          </a:p>
          <a:p>
            <a:pPr lvl="1"/>
            <a:r>
              <a:rPr lang="en-US" sz="1600" dirty="0">
                <a:solidFill>
                  <a:srgbClr val="000000"/>
                </a:solidFill>
              </a:rPr>
              <a:t>Price of product/service vs. price level in a certain country</a:t>
            </a:r>
          </a:p>
          <a:p>
            <a:pPr lvl="2"/>
            <a:r>
              <a:rPr lang="en-US" dirty="0">
                <a:solidFill>
                  <a:srgbClr val="000000"/>
                </a:solidFill>
              </a:rPr>
              <a:t>Luxury products in poor countries?</a:t>
            </a:r>
          </a:p>
          <a:p>
            <a:r>
              <a:rPr lang="fi-FI" sz="1600" dirty="0">
                <a:solidFill>
                  <a:srgbClr val="000000"/>
                </a:solidFill>
              </a:rPr>
              <a:t>A: Is it </a:t>
            </a:r>
            <a:r>
              <a:rPr lang="fi-FI" sz="1600" dirty="0" err="1">
                <a:solidFill>
                  <a:srgbClr val="000000"/>
                </a:solidFill>
              </a:rPr>
              <a:t>appropriable</a:t>
            </a:r>
            <a:r>
              <a:rPr lang="fi-FI" sz="1600" dirty="0">
                <a:solidFill>
                  <a:srgbClr val="000000"/>
                </a:solidFill>
              </a:rPr>
              <a:t>? (</a:t>
            </a:r>
            <a:r>
              <a:rPr lang="fi-FI" sz="1600" dirty="0" err="1">
                <a:solidFill>
                  <a:srgbClr val="000000"/>
                </a:solidFill>
              </a:rPr>
              <a:t>can</a:t>
            </a:r>
            <a:r>
              <a:rPr lang="fi-FI" sz="1600" dirty="0">
                <a:solidFill>
                  <a:srgbClr val="000000"/>
                </a:solidFill>
              </a:rPr>
              <a:t> </a:t>
            </a:r>
            <a:r>
              <a:rPr lang="fi-FI" sz="1600" dirty="0" err="1">
                <a:solidFill>
                  <a:srgbClr val="000000"/>
                </a:solidFill>
              </a:rPr>
              <a:t>you</a:t>
            </a:r>
            <a:r>
              <a:rPr lang="fi-FI" sz="1600" dirty="0">
                <a:solidFill>
                  <a:srgbClr val="000000"/>
                </a:solidFill>
              </a:rPr>
              <a:t> </a:t>
            </a:r>
            <a:r>
              <a:rPr lang="fi-FI" sz="1600" dirty="0" err="1">
                <a:solidFill>
                  <a:srgbClr val="000000"/>
                </a:solidFill>
              </a:rPr>
              <a:t>capture</a:t>
            </a:r>
            <a:r>
              <a:rPr lang="fi-FI" sz="1600" dirty="0">
                <a:solidFill>
                  <a:srgbClr val="000000"/>
                </a:solidFill>
              </a:rPr>
              <a:t> </a:t>
            </a:r>
            <a:r>
              <a:rPr lang="fi-FI" sz="1600" dirty="0" err="1">
                <a:solidFill>
                  <a:srgbClr val="000000"/>
                </a:solidFill>
              </a:rPr>
              <a:t>the</a:t>
            </a:r>
            <a:r>
              <a:rPr lang="fi-FI" sz="1600" dirty="0">
                <a:solidFill>
                  <a:srgbClr val="000000"/>
                </a:solidFill>
              </a:rPr>
              <a:t> </a:t>
            </a:r>
            <a:r>
              <a:rPr lang="fi-FI" sz="1600" dirty="0" err="1">
                <a:solidFill>
                  <a:srgbClr val="000000"/>
                </a:solidFill>
              </a:rPr>
              <a:t>value</a:t>
            </a:r>
            <a:r>
              <a:rPr lang="fi-FI" sz="1600" dirty="0">
                <a:solidFill>
                  <a:srgbClr val="000000"/>
                </a:solidFill>
              </a:rPr>
              <a:t>?)</a:t>
            </a:r>
          </a:p>
          <a:p>
            <a:r>
              <a:rPr lang="fi-FI" sz="1600" dirty="0">
                <a:solidFill>
                  <a:srgbClr val="000000"/>
                </a:solidFill>
              </a:rPr>
              <a:t>T: </a:t>
            </a:r>
            <a:r>
              <a:rPr lang="fi-FI" sz="1600" dirty="0" err="1">
                <a:solidFill>
                  <a:srgbClr val="000000"/>
                </a:solidFill>
              </a:rPr>
              <a:t>Transferability</a:t>
            </a:r>
            <a:r>
              <a:rPr lang="fi-FI" sz="1600" dirty="0">
                <a:solidFill>
                  <a:srgbClr val="000000"/>
                </a:solidFill>
              </a:rPr>
              <a:t> of </a:t>
            </a:r>
            <a:r>
              <a:rPr lang="fi-FI" sz="1600" dirty="0" err="1">
                <a:solidFill>
                  <a:srgbClr val="000000"/>
                </a:solidFill>
              </a:rPr>
              <a:t>the</a:t>
            </a:r>
            <a:r>
              <a:rPr lang="fi-FI" sz="1600" dirty="0">
                <a:solidFill>
                  <a:srgbClr val="000000"/>
                </a:solidFill>
              </a:rPr>
              <a:t> </a:t>
            </a:r>
            <a:r>
              <a:rPr lang="fi-FI" sz="1600" dirty="0" err="1">
                <a:solidFill>
                  <a:srgbClr val="000000"/>
                </a:solidFill>
              </a:rPr>
              <a:t>product</a:t>
            </a:r>
            <a:r>
              <a:rPr lang="fi-FI" sz="1600" dirty="0">
                <a:solidFill>
                  <a:srgbClr val="000000"/>
                </a:solidFill>
              </a:rPr>
              <a:t> to </a:t>
            </a:r>
            <a:r>
              <a:rPr lang="fi-FI" sz="1600" dirty="0" err="1">
                <a:solidFill>
                  <a:srgbClr val="000000"/>
                </a:solidFill>
              </a:rPr>
              <a:t>foreign</a:t>
            </a:r>
            <a:r>
              <a:rPr lang="fi-FI" sz="1600" dirty="0">
                <a:solidFill>
                  <a:srgbClr val="000000"/>
                </a:solidFill>
              </a:rPr>
              <a:t> market?</a:t>
            </a:r>
          </a:p>
          <a:p>
            <a:pPr lvl="1"/>
            <a:r>
              <a:rPr lang="fi-FI" sz="1600" dirty="0" err="1">
                <a:solidFill>
                  <a:srgbClr val="000000"/>
                </a:solidFill>
              </a:rPr>
              <a:t>Standardization</a:t>
            </a:r>
            <a:r>
              <a:rPr lang="fi-FI" sz="1600" dirty="0">
                <a:solidFill>
                  <a:srgbClr val="000000"/>
                </a:solidFill>
              </a:rPr>
              <a:t> vs. </a:t>
            </a:r>
            <a:r>
              <a:rPr lang="fi-FI" sz="1600" dirty="0" err="1">
                <a:solidFill>
                  <a:srgbClr val="000000"/>
                </a:solidFill>
              </a:rPr>
              <a:t>adaptation</a:t>
            </a:r>
            <a:endParaRPr lang="fi-FI" sz="1600" dirty="0">
              <a:solidFill>
                <a:srgbClr val="000000"/>
              </a:solidFill>
            </a:endParaRPr>
          </a:p>
          <a:p>
            <a:pPr lvl="2"/>
            <a:r>
              <a:rPr lang="fi-FI" dirty="0">
                <a:solidFill>
                  <a:srgbClr val="000000"/>
                </a:solidFill>
              </a:rPr>
              <a:t>Food </a:t>
            </a:r>
            <a:r>
              <a:rPr lang="fi-FI" dirty="0" err="1">
                <a:solidFill>
                  <a:srgbClr val="000000"/>
                </a:solidFill>
              </a:rPr>
              <a:t>stores</a:t>
            </a:r>
            <a:r>
              <a:rPr lang="fi-FI" dirty="0">
                <a:solidFill>
                  <a:srgbClr val="000000"/>
                </a:solidFill>
              </a:rPr>
              <a:t> in Finland</a:t>
            </a:r>
          </a:p>
          <a:p>
            <a:pPr lvl="1"/>
            <a:r>
              <a:rPr lang="fi-FI" sz="1600" dirty="0" err="1">
                <a:solidFill>
                  <a:srgbClr val="000000"/>
                </a:solidFill>
              </a:rPr>
              <a:t>Sticky</a:t>
            </a:r>
            <a:r>
              <a:rPr lang="fi-FI" sz="1600" dirty="0">
                <a:solidFill>
                  <a:srgbClr val="000000"/>
                </a:solidFill>
              </a:rPr>
              <a:t> </a:t>
            </a:r>
            <a:r>
              <a:rPr lang="fi-FI" sz="1600" dirty="0" err="1">
                <a:solidFill>
                  <a:srgbClr val="000000"/>
                </a:solidFill>
              </a:rPr>
              <a:t>knowledge</a:t>
            </a:r>
            <a:endParaRPr lang="fi-FI" sz="1600" dirty="0">
              <a:solidFill>
                <a:srgbClr val="000000"/>
              </a:solidFill>
            </a:endParaRPr>
          </a:p>
          <a:p>
            <a:pPr lvl="1"/>
            <a:r>
              <a:rPr lang="en-US" sz="1600" dirty="0">
                <a:solidFill>
                  <a:srgbClr val="000000"/>
                </a:solidFill>
              </a:rPr>
              <a:t>Acceptability of the product in foreign markets?</a:t>
            </a:r>
          </a:p>
          <a:p>
            <a:pPr lvl="2"/>
            <a:r>
              <a:rPr lang="en-US" dirty="0">
                <a:solidFill>
                  <a:srgbClr val="000000"/>
                </a:solidFill>
              </a:rPr>
              <a:t>Physical and psychological/cultural features</a:t>
            </a:r>
            <a:endParaRPr lang="fi-FI" sz="2100" dirty="0">
              <a:solidFill>
                <a:srgbClr val="000000"/>
              </a:solidFill>
            </a:endParaRPr>
          </a:p>
          <a:p>
            <a:pPr lvl="1"/>
            <a:r>
              <a:rPr lang="fi-FI" sz="1600" dirty="0" err="1">
                <a:solidFill>
                  <a:srgbClr val="000000"/>
                </a:solidFill>
              </a:rPr>
              <a:t>Organizing</a:t>
            </a:r>
            <a:r>
              <a:rPr lang="fi-FI" sz="1600" dirty="0">
                <a:solidFill>
                  <a:srgbClr val="000000"/>
                </a:solidFill>
              </a:rPr>
              <a:t> </a:t>
            </a:r>
            <a:r>
              <a:rPr lang="fi-FI" sz="1600" dirty="0" err="1">
                <a:solidFill>
                  <a:srgbClr val="000000"/>
                </a:solidFill>
              </a:rPr>
              <a:t>distrubution</a:t>
            </a:r>
            <a:r>
              <a:rPr lang="fi-FI" sz="1600" dirty="0">
                <a:solidFill>
                  <a:srgbClr val="000000"/>
                </a:solidFill>
              </a:rPr>
              <a:t> and </a:t>
            </a:r>
            <a:r>
              <a:rPr lang="fi-FI" sz="1600" dirty="0" err="1">
                <a:solidFill>
                  <a:srgbClr val="000000"/>
                </a:solidFill>
              </a:rPr>
              <a:t>customer</a:t>
            </a:r>
            <a:r>
              <a:rPr lang="fi-FI" sz="1600" dirty="0">
                <a:solidFill>
                  <a:srgbClr val="000000"/>
                </a:solidFill>
              </a:rPr>
              <a:t> </a:t>
            </a:r>
            <a:r>
              <a:rPr lang="fi-FI" sz="1600" dirty="0" err="1">
                <a:solidFill>
                  <a:srgbClr val="000000"/>
                </a:solidFill>
              </a:rPr>
              <a:t>service</a:t>
            </a:r>
            <a:endParaRPr lang="fi-FI" sz="1600" dirty="0">
              <a:solidFill>
                <a:srgbClr val="000000"/>
              </a:solidFill>
            </a:endParaRPr>
          </a:p>
          <a:p>
            <a:endParaRPr lang="fi-FI" sz="1600" dirty="0">
              <a:solidFill>
                <a:srgbClr val="000000"/>
              </a:solidFill>
            </a:endParaRPr>
          </a:p>
          <a:p>
            <a:pPr marL="285750" indent="-285750">
              <a:spcBef>
                <a:spcPts val="600"/>
              </a:spcBef>
              <a:buFont typeface="Arial" panose="020B0604020202020204" pitchFamily="34" charset="0"/>
              <a:buChar char="•"/>
            </a:pPr>
            <a:endParaRPr lang="en-US" sz="1600" b="0" dirty="0"/>
          </a:p>
        </p:txBody>
      </p:sp>
      <p:pic>
        <p:nvPicPr>
          <p:cNvPr id="3" name="Graphic 2" descr="Rat with solid fill">
            <a:extLst>
              <a:ext uri="{FF2B5EF4-FFF2-40B4-BE49-F238E27FC236}">
                <a16:creationId xmlns:a16="http://schemas.microsoft.com/office/drawing/2014/main" id="{A3CB6154-6E62-73E6-E676-BF591883DED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678800" y="294870"/>
            <a:ext cx="1743541" cy="1743541"/>
          </a:xfrm>
          <a:prstGeom prst="rect">
            <a:avLst/>
          </a:prstGeom>
        </p:spPr>
      </p:pic>
    </p:spTree>
    <p:extLst>
      <p:ext uri="{BB962C8B-B14F-4D97-AF65-F5344CB8AC3E}">
        <p14:creationId xmlns:p14="http://schemas.microsoft.com/office/powerpoint/2010/main" val="383737711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E79B233-C263-4355-BEE2-6A4CD1ED5B59}"/>
              </a:ext>
            </a:extLst>
          </p:cNvPr>
          <p:cNvSpPr>
            <a:spLocks noGrp="1"/>
          </p:cNvSpPr>
          <p:nvPr>
            <p:ph type="body" sz="half" idx="10"/>
          </p:nvPr>
        </p:nvSpPr>
        <p:spPr>
          <a:xfrm>
            <a:off x="292329" y="294870"/>
            <a:ext cx="4909762" cy="946597"/>
          </a:xfrm>
        </p:spPr>
        <p:txBody>
          <a:bodyPr/>
          <a:lstStyle/>
          <a:p>
            <a:r>
              <a:rPr lang="fi-FI" sz="2800" dirty="0" err="1">
                <a:solidFill>
                  <a:schemeClr val="tx2"/>
                </a:solidFill>
              </a:rPr>
              <a:t>Simple</a:t>
            </a:r>
            <a:r>
              <a:rPr lang="fi-FI" sz="2800" dirty="0">
                <a:solidFill>
                  <a:schemeClr val="tx2"/>
                </a:solidFill>
              </a:rPr>
              <a:t>, </a:t>
            </a:r>
            <a:r>
              <a:rPr lang="fi-FI" sz="2800" dirty="0" err="1">
                <a:solidFill>
                  <a:schemeClr val="tx2"/>
                </a:solidFill>
              </a:rPr>
              <a:t>right</a:t>
            </a:r>
            <a:r>
              <a:rPr lang="fi-FI" sz="2800" dirty="0">
                <a:solidFill>
                  <a:schemeClr val="tx2"/>
                </a:solidFill>
              </a:rPr>
              <a:t>?</a:t>
            </a:r>
            <a:endParaRPr lang="en-US" sz="2800" dirty="0"/>
          </a:p>
        </p:txBody>
      </p:sp>
      <p:sp>
        <p:nvSpPr>
          <p:cNvPr id="162818" name="Slide Number Placeholder 1">
            <a:extLst>
              <a:ext uri="{FF2B5EF4-FFF2-40B4-BE49-F238E27FC236}">
                <a16:creationId xmlns:a16="http://schemas.microsoft.com/office/drawing/2014/main" id="{4AF7E206-83A6-4CF2-9358-B1234F00AF45}"/>
              </a:ext>
            </a:extLst>
          </p:cNvPr>
          <p:cNvSpPr>
            <a:spLocks noGrp="1"/>
          </p:cNvSpPr>
          <p:nvPr>
            <p:ph type="sldNum" sz="quarter" idx="14"/>
          </p:nvPr>
        </p:nvSpPr>
        <p:spPr>
          <a:noFill/>
        </p:spPr>
        <p:txBody>
          <a:bodyPr/>
          <a:lstStyle>
            <a:lvl1pPr>
              <a:spcAft>
                <a:spcPct val="20000"/>
              </a:spcAft>
              <a:buClr>
                <a:schemeClr val="accent1"/>
              </a:buClr>
              <a:buChar char="•"/>
              <a:defRPr sz="1500">
                <a:solidFill>
                  <a:schemeClr val="tx1"/>
                </a:solidFill>
                <a:latin typeface="Verdana" panose="020B0604030504040204" pitchFamily="34" charset="0"/>
              </a:defRPr>
            </a:lvl1pPr>
            <a:lvl2pPr marL="557213" indent="-214313">
              <a:spcAft>
                <a:spcPct val="20000"/>
              </a:spcAft>
              <a:buClr>
                <a:schemeClr val="accent1"/>
              </a:buClr>
              <a:buChar char="–"/>
              <a:defRPr>
                <a:solidFill>
                  <a:schemeClr val="tx1"/>
                </a:solidFill>
                <a:latin typeface="Verdana" panose="020B0604030504040204" pitchFamily="34" charset="0"/>
              </a:defRPr>
            </a:lvl2pPr>
            <a:lvl3pPr marL="857250" indent="-171450">
              <a:spcAft>
                <a:spcPct val="20000"/>
              </a:spcAft>
              <a:buClr>
                <a:schemeClr val="accent1"/>
              </a:buClr>
              <a:buChar char="•"/>
              <a:defRPr sz="1200">
                <a:solidFill>
                  <a:schemeClr val="tx1"/>
                </a:solidFill>
                <a:latin typeface="Verdana" panose="020B0604030504040204" pitchFamily="34" charset="0"/>
              </a:defRPr>
            </a:lvl3pPr>
            <a:lvl4pPr marL="1200150" indent="-171450">
              <a:spcAft>
                <a:spcPct val="20000"/>
              </a:spcAft>
              <a:buClr>
                <a:schemeClr val="accent1"/>
              </a:buClr>
              <a:buChar char="–"/>
              <a:defRPr sz="1050">
                <a:solidFill>
                  <a:schemeClr val="tx1"/>
                </a:solidFill>
                <a:latin typeface="Verdana" panose="020B0604030504040204" pitchFamily="34" charset="0"/>
              </a:defRPr>
            </a:lvl4pPr>
            <a:lvl5pPr marL="1543050" indent="-171450">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5pPr>
            <a:lvl6pPr marL="18859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6pPr>
            <a:lvl7pPr marL="22288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7pPr>
            <a:lvl8pPr marL="25717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8pPr>
            <a:lvl9pPr marL="29146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9pPr>
          </a:lstStyle>
          <a:p>
            <a:pPr fontAlgn="base">
              <a:spcBef>
                <a:spcPct val="0"/>
              </a:spcBef>
              <a:spcAft>
                <a:spcPct val="0"/>
              </a:spcAft>
              <a:buClrTx/>
              <a:buNone/>
            </a:pPr>
            <a:fld id="{C66589D7-F045-4D92-9D92-C6D8D67789BA}" type="slidenum">
              <a:rPr lang="en-GB" altLang="fi-FI" sz="750">
                <a:solidFill>
                  <a:srgbClr val="000000"/>
                </a:solidFill>
              </a:rPr>
              <a:pPr fontAlgn="base">
                <a:spcBef>
                  <a:spcPct val="0"/>
                </a:spcBef>
                <a:spcAft>
                  <a:spcPct val="0"/>
                </a:spcAft>
                <a:buClrTx/>
                <a:buNone/>
              </a:pPr>
              <a:t>18</a:t>
            </a:fld>
            <a:endParaRPr lang="en-GB" altLang="fi-FI" sz="750">
              <a:solidFill>
                <a:srgbClr val="000000"/>
              </a:solidFill>
            </a:endParaRPr>
          </a:p>
        </p:txBody>
      </p:sp>
      <p:sp>
        <p:nvSpPr>
          <p:cNvPr id="2" name="Text Placeholder 5">
            <a:extLst>
              <a:ext uri="{FF2B5EF4-FFF2-40B4-BE49-F238E27FC236}">
                <a16:creationId xmlns:a16="http://schemas.microsoft.com/office/drawing/2014/main" id="{7188B95F-4310-569A-83C9-3FA1F947D1D9}"/>
              </a:ext>
            </a:extLst>
          </p:cNvPr>
          <p:cNvSpPr>
            <a:spLocks noGrp="1"/>
          </p:cNvSpPr>
          <p:nvPr>
            <p:ph type="body" sz="half" idx="11"/>
          </p:nvPr>
        </p:nvSpPr>
        <p:spPr>
          <a:xfrm>
            <a:off x="292329" y="1392337"/>
            <a:ext cx="4763765" cy="2891564"/>
          </a:xfrm>
        </p:spPr>
        <p:txBody>
          <a:bodyPr/>
          <a:lstStyle/>
          <a:p>
            <a:r>
              <a:rPr lang="fi-FI" sz="2000" dirty="0" err="1">
                <a:solidFill>
                  <a:srgbClr val="000000"/>
                </a:solidFill>
              </a:rPr>
              <a:t>Answering</a:t>
            </a:r>
            <a:r>
              <a:rPr lang="fi-FI" sz="2000" dirty="0">
                <a:solidFill>
                  <a:srgbClr val="000000"/>
                </a:solidFill>
              </a:rPr>
              <a:t> </a:t>
            </a:r>
            <a:r>
              <a:rPr lang="fi-FI" sz="2000" dirty="0" err="1">
                <a:solidFill>
                  <a:srgbClr val="000000"/>
                </a:solidFill>
              </a:rPr>
              <a:t>these</a:t>
            </a:r>
            <a:r>
              <a:rPr lang="fi-FI" sz="2000" dirty="0">
                <a:solidFill>
                  <a:srgbClr val="000000"/>
                </a:solidFill>
              </a:rPr>
              <a:t> </a:t>
            </a:r>
            <a:r>
              <a:rPr lang="fi-FI" sz="2000" dirty="0" err="1">
                <a:solidFill>
                  <a:srgbClr val="000000"/>
                </a:solidFill>
              </a:rPr>
              <a:t>question</a:t>
            </a:r>
            <a:r>
              <a:rPr lang="fi-FI" sz="2000" dirty="0">
                <a:solidFill>
                  <a:srgbClr val="000000"/>
                </a:solidFill>
              </a:rPr>
              <a:t> </a:t>
            </a:r>
            <a:r>
              <a:rPr lang="fi-FI" sz="2000" dirty="0" err="1">
                <a:solidFill>
                  <a:srgbClr val="000000"/>
                </a:solidFill>
              </a:rPr>
              <a:t>can</a:t>
            </a:r>
            <a:r>
              <a:rPr lang="fi-FI" sz="2000" dirty="0">
                <a:solidFill>
                  <a:srgbClr val="000000"/>
                </a:solidFill>
              </a:rPr>
              <a:t> </a:t>
            </a:r>
            <a:r>
              <a:rPr lang="fi-FI" sz="2000" dirty="0" err="1">
                <a:solidFill>
                  <a:srgbClr val="000000"/>
                </a:solidFill>
              </a:rPr>
              <a:t>be</a:t>
            </a:r>
            <a:r>
              <a:rPr lang="fi-FI" sz="2000" dirty="0">
                <a:solidFill>
                  <a:srgbClr val="000000"/>
                </a:solidFill>
              </a:rPr>
              <a:t> </a:t>
            </a:r>
            <a:r>
              <a:rPr lang="fi-FI" sz="2000" dirty="0" err="1">
                <a:solidFill>
                  <a:srgbClr val="000000"/>
                </a:solidFill>
              </a:rPr>
              <a:t>hard</a:t>
            </a:r>
            <a:endParaRPr lang="fi-FI" sz="2000" dirty="0">
              <a:solidFill>
                <a:srgbClr val="000000"/>
              </a:solidFill>
            </a:endParaRPr>
          </a:p>
          <a:p>
            <a:pPr lvl="1"/>
            <a:r>
              <a:rPr lang="fi-FI" sz="2000" dirty="0">
                <a:solidFill>
                  <a:srgbClr val="000000"/>
                </a:solidFill>
              </a:rPr>
              <a:t>Target market </a:t>
            </a:r>
            <a:r>
              <a:rPr lang="fi-FI" sz="2000" dirty="0" err="1">
                <a:solidFill>
                  <a:srgbClr val="000000"/>
                </a:solidFill>
              </a:rPr>
              <a:t>can</a:t>
            </a:r>
            <a:r>
              <a:rPr lang="fi-FI" sz="2000" dirty="0">
                <a:solidFill>
                  <a:srgbClr val="000000"/>
                </a:solidFill>
              </a:rPr>
              <a:t> </a:t>
            </a:r>
            <a:r>
              <a:rPr lang="fi-FI" sz="2000" dirty="0" err="1">
                <a:solidFill>
                  <a:srgbClr val="000000"/>
                </a:solidFill>
              </a:rPr>
              <a:t>be</a:t>
            </a:r>
            <a:r>
              <a:rPr lang="fi-FI" sz="2000" dirty="0">
                <a:solidFill>
                  <a:srgbClr val="000000"/>
                </a:solidFill>
              </a:rPr>
              <a:t> </a:t>
            </a:r>
            <a:r>
              <a:rPr lang="fi-FI" sz="2000" dirty="0" err="1">
                <a:solidFill>
                  <a:srgbClr val="000000"/>
                </a:solidFill>
              </a:rPr>
              <a:t>very</a:t>
            </a:r>
            <a:r>
              <a:rPr lang="fi-FI" sz="2000" dirty="0">
                <a:solidFill>
                  <a:srgbClr val="000000"/>
                </a:solidFill>
              </a:rPr>
              <a:t> </a:t>
            </a:r>
            <a:r>
              <a:rPr lang="fi-FI" sz="2000" dirty="0" err="1">
                <a:solidFill>
                  <a:srgbClr val="000000"/>
                </a:solidFill>
              </a:rPr>
              <a:t>different</a:t>
            </a:r>
            <a:r>
              <a:rPr lang="fi-FI" sz="2000" dirty="0">
                <a:solidFill>
                  <a:srgbClr val="000000"/>
                </a:solidFill>
              </a:rPr>
              <a:t> – </a:t>
            </a:r>
            <a:r>
              <a:rPr lang="fi-FI" sz="2000" i="1" u="sng" dirty="0" err="1">
                <a:solidFill>
                  <a:srgbClr val="000000"/>
                </a:solidFill>
              </a:rPr>
              <a:t>psychic</a:t>
            </a:r>
            <a:r>
              <a:rPr lang="fi-FI" sz="2000" i="1" u="sng" dirty="0">
                <a:solidFill>
                  <a:srgbClr val="000000"/>
                </a:solidFill>
              </a:rPr>
              <a:t> </a:t>
            </a:r>
            <a:r>
              <a:rPr lang="fi-FI" sz="2000" i="1" u="sng" dirty="0" err="1">
                <a:solidFill>
                  <a:srgbClr val="000000"/>
                </a:solidFill>
              </a:rPr>
              <a:t>distance</a:t>
            </a:r>
            <a:endParaRPr lang="fi-FI" sz="2000" i="1" u="sng" dirty="0">
              <a:solidFill>
                <a:srgbClr val="000000"/>
              </a:solidFill>
            </a:endParaRPr>
          </a:p>
          <a:p>
            <a:pPr lvl="1"/>
            <a:r>
              <a:rPr lang="fi-FI" sz="2000" dirty="0" err="1">
                <a:solidFill>
                  <a:srgbClr val="000000"/>
                </a:solidFill>
              </a:rPr>
              <a:t>Poor</a:t>
            </a:r>
            <a:r>
              <a:rPr lang="fi-FI" sz="2000" dirty="0">
                <a:solidFill>
                  <a:srgbClr val="000000"/>
                </a:solidFill>
              </a:rPr>
              <a:t> </a:t>
            </a:r>
            <a:r>
              <a:rPr lang="fi-FI" sz="2000" dirty="0" err="1">
                <a:solidFill>
                  <a:srgbClr val="000000"/>
                </a:solidFill>
              </a:rPr>
              <a:t>understanding</a:t>
            </a:r>
            <a:r>
              <a:rPr lang="fi-FI" sz="2000" dirty="0">
                <a:solidFill>
                  <a:srgbClr val="000000"/>
                </a:solidFill>
              </a:rPr>
              <a:t> of </a:t>
            </a:r>
            <a:r>
              <a:rPr lang="fi-FI" sz="2000" dirty="0" err="1">
                <a:solidFill>
                  <a:srgbClr val="000000"/>
                </a:solidFill>
              </a:rPr>
              <a:t>the</a:t>
            </a:r>
            <a:r>
              <a:rPr lang="fi-FI" sz="2000" dirty="0">
                <a:solidFill>
                  <a:srgbClr val="000000"/>
                </a:solidFill>
              </a:rPr>
              <a:t> </a:t>
            </a:r>
            <a:r>
              <a:rPr lang="fi-FI" sz="2000" dirty="0" err="1">
                <a:solidFill>
                  <a:srgbClr val="000000"/>
                </a:solidFill>
              </a:rPr>
              <a:t>target</a:t>
            </a:r>
            <a:r>
              <a:rPr lang="fi-FI" sz="2000" dirty="0">
                <a:solidFill>
                  <a:srgbClr val="000000"/>
                </a:solidFill>
              </a:rPr>
              <a:t> market and </a:t>
            </a:r>
            <a:r>
              <a:rPr lang="fi-FI" sz="2000" dirty="0" err="1">
                <a:solidFill>
                  <a:srgbClr val="000000"/>
                </a:solidFill>
              </a:rPr>
              <a:t>its</a:t>
            </a:r>
            <a:r>
              <a:rPr lang="fi-FI" sz="2000" dirty="0">
                <a:solidFill>
                  <a:srgbClr val="000000"/>
                </a:solidFill>
              </a:rPr>
              <a:t> </a:t>
            </a:r>
            <a:r>
              <a:rPr lang="fi-FI" sz="2000" dirty="0" err="1">
                <a:solidFill>
                  <a:srgbClr val="000000"/>
                </a:solidFill>
              </a:rPr>
              <a:t>distinct</a:t>
            </a:r>
            <a:r>
              <a:rPr lang="fi-FI" sz="2000" dirty="0">
                <a:solidFill>
                  <a:srgbClr val="000000"/>
                </a:solidFill>
              </a:rPr>
              <a:t> </a:t>
            </a:r>
            <a:r>
              <a:rPr lang="fi-FI" sz="2000" dirty="0" err="1">
                <a:solidFill>
                  <a:srgbClr val="000000"/>
                </a:solidFill>
              </a:rPr>
              <a:t>characteristics</a:t>
            </a:r>
            <a:endParaRPr lang="fi-FI" sz="2000" dirty="0">
              <a:solidFill>
                <a:srgbClr val="000000"/>
              </a:solidFill>
            </a:endParaRPr>
          </a:p>
          <a:p>
            <a:pPr lvl="2"/>
            <a:r>
              <a:rPr lang="fi-FI" dirty="0" err="1">
                <a:solidFill>
                  <a:srgbClr val="000000"/>
                </a:solidFill>
              </a:rPr>
              <a:t>Much</a:t>
            </a:r>
            <a:r>
              <a:rPr lang="fi-FI" dirty="0">
                <a:solidFill>
                  <a:srgbClr val="000000"/>
                </a:solidFill>
              </a:rPr>
              <a:t> of </a:t>
            </a:r>
            <a:r>
              <a:rPr lang="fi-FI" dirty="0" err="1">
                <a:solidFill>
                  <a:srgbClr val="000000"/>
                </a:solidFill>
              </a:rPr>
              <a:t>the</a:t>
            </a:r>
            <a:r>
              <a:rPr lang="fi-FI" dirty="0">
                <a:solidFill>
                  <a:srgbClr val="000000"/>
                </a:solidFill>
              </a:rPr>
              <a:t> </a:t>
            </a:r>
            <a:r>
              <a:rPr lang="fi-FI" dirty="0" err="1">
                <a:solidFill>
                  <a:srgbClr val="000000"/>
                </a:solidFill>
              </a:rPr>
              <a:t>knowledge</a:t>
            </a:r>
            <a:r>
              <a:rPr lang="fi-FI" dirty="0">
                <a:solidFill>
                  <a:srgbClr val="000000"/>
                </a:solidFill>
              </a:rPr>
              <a:t> is </a:t>
            </a:r>
            <a:r>
              <a:rPr lang="fi-FI" dirty="0" err="1">
                <a:solidFill>
                  <a:srgbClr val="000000"/>
                </a:solidFill>
              </a:rPr>
              <a:t>implicit</a:t>
            </a:r>
            <a:r>
              <a:rPr lang="fi-FI" dirty="0">
                <a:solidFill>
                  <a:srgbClr val="000000"/>
                </a:solidFill>
              </a:rPr>
              <a:t> </a:t>
            </a:r>
            <a:r>
              <a:rPr lang="fi-FI" dirty="0" err="1">
                <a:solidFill>
                  <a:srgbClr val="000000"/>
                </a:solidFill>
              </a:rPr>
              <a:t>silent</a:t>
            </a:r>
            <a:r>
              <a:rPr lang="fi-FI" dirty="0">
                <a:solidFill>
                  <a:srgbClr val="000000"/>
                </a:solidFill>
              </a:rPr>
              <a:t> </a:t>
            </a:r>
            <a:r>
              <a:rPr lang="fi-FI" dirty="0" err="1">
                <a:solidFill>
                  <a:srgbClr val="000000"/>
                </a:solidFill>
              </a:rPr>
              <a:t>knowledge</a:t>
            </a:r>
            <a:r>
              <a:rPr lang="fi-FI" dirty="0">
                <a:solidFill>
                  <a:srgbClr val="000000"/>
                </a:solidFill>
              </a:rPr>
              <a:t>: </a:t>
            </a:r>
            <a:r>
              <a:rPr lang="fi-FI" dirty="0" err="1">
                <a:solidFill>
                  <a:srgbClr val="000000"/>
                </a:solidFill>
              </a:rPr>
              <a:t>taken</a:t>
            </a:r>
            <a:r>
              <a:rPr lang="fi-FI" dirty="0">
                <a:solidFill>
                  <a:srgbClr val="000000"/>
                </a:solidFill>
              </a:rPr>
              <a:t> for </a:t>
            </a:r>
            <a:r>
              <a:rPr lang="fi-FI" dirty="0" err="1">
                <a:solidFill>
                  <a:srgbClr val="000000"/>
                </a:solidFill>
              </a:rPr>
              <a:t>granted</a:t>
            </a:r>
            <a:r>
              <a:rPr lang="fi-FI" dirty="0">
                <a:solidFill>
                  <a:srgbClr val="000000"/>
                </a:solidFill>
              </a:rPr>
              <a:t> </a:t>
            </a:r>
            <a:r>
              <a:rPr lang="fi-FI" dirty="0" err="1">
                <a:solidFill>
                  <a:srgbClr val="000000"/>
                </a:solidFill>
              </a:rPr>
              <a:t>knowledge</a:t>
            </a:r>
            <a:r>
              <a:rPr lang="fi-FI" dirty="0">
                <a:solidFill>
                  <a:srgbClr val="000000"/>
                </a:solidFill>
              </a:rPr>
              <a:t> and </a:t>
            </a:r>
            <a:r>
              <a:rPr lang="fi-FI" dirty="0" err="1">
                <a:solidFill>
                  <a:srgbClr val="000000"/>
                </a:solidFill>
              </a:rPr>
              <a:t>assumptions</a:t>
            </a:r>
            <a:r>
              <a:rPr lang="fi-FI" dirty="0">
                <a:solidFill>
                  <a:srgbClr val="000000"/>
                </a:solidFill>
              </a:rPr>
              <a:t> </a:t>
            </a:r>
            <a:r>
              <a:rPr lang="fi-FI" dirty="0" err="1">
                <a:solidFill>
                  <a:srgbClr val="000000"/>
                </a:solidFill>
              </a:rPr>
              <a:t>locals</a:t>
            </a:r>
            <a:r>
              <a:rPr lang="fi-FI" dirty="0">
                <a:solidFill>
                  <a:srgbClr val="000000"/>
                </a:solidFill>
              </a:rPr>
              <a:t> </a:t>
            </a:r>
            <a:r>
              <a:rPr lang="fi-FI" dirty="0" err="1">
                <a:solidFill>
                  <a:srgbClr val="000000"/>
                </a:solidFill>
              </a:rPr>
              <a:t>have</a:t>
            </a:r>
            <a:endParaRPr lang="fi-FI" dirty="0">
              <a:solidFill>
                <a:srgbClr val="000000"/>
              </a:solidFill>
            </a:endParaRPr>
          </a:p>
          <a:p>
            <a:pPr marL="285750" indent="-285750">
              <a:spcBef>
                <a:spcPts val="600"/>
              </a:spcBef>
              <a:buFont typeface="Arial" panose="020B0604020202020204" pitchFamily="34" charset="0"/>
              <a:buChar char="•"/>
            </a:pPr>
            <a:endParaRPr lang="en-US" sz="1200" b="0" dirty="0"/>
          </a:p>
        </p:txBody>
      </p:sp>
      <p:pic>
        <p:nvPicPr>
          <p:cNvPr id="3" name="Picture 2">
            <a:extLst>
              <a:ext uri="{FF2B5EF4-FFF2-40B4-BE49-F238E27FC236}">
                <a16:creationId xmlns:a16="http://schemas.microsoft.com/office/drawing/2014/main" id="{ADC39B82-916F-04D3-0834-495F91E1C993}"/>
              </a:ext>
            </a:extLst>
          </p:cNvPr>
          <p:cNvPicPr>
            <a:picLocks noChangeAspect="1"/>
          </p:cNvPicPr>
          <p:nvPr/>
        </p:nvPicPr>
        <p:blipFill>
          <a:blip r:embed="rId2"/>
          <a:stretch>
            <a:fillRect/>
          </a:stretch>
        </p:blipFill>
        <p:spPr>
          <a:xfrm>
            <a:off x="5273648" y="881893"/>
            <a:ext cx="3462552" cy="3462552"/>
          </a:xfrm>
          <a:prstGeom prst="rect">
            <a:avLst/>
          </a:prstGeom>
        </p:spPr>
      </p:pic>
    </p:spTree>
    <p:extLst>
      <p:ext uri="{BB962C8B-B14F-4D97-AF65-F5344CB8AC3E}">
        <p14:creationId xmlns:p14="http://schemas.microsoft.com/office/powerpoint/2010/main" val="263951058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6" name="Picture 45">
            <a:extLst>
              <a:ext uri="{FF2B5EF4-FFF2-40B4-BE49-F238E27FC236}">
                <a16:creationId xmlns:a16="http://schemas.microsoft.com/office/drawing/2014/main" id="{54DDEBDD-D8BD-41A6-8A0D-B00E3768B0F9}"/>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2">
            <a:extLst>
              <a:ext uri="{28A0092B-C50C-407E-A947-70E740481C1C}">
                <a14:useLocalDpi xmlns:a14="http://schemas.microsoft.com/office/drawing/2010/main" val="0"/>
              </a:ext>
            </a:extLst>
          </a:blip>
          <a:stretch>
            <a:fillRect/>
          </a:stretch>
        </p:blipFill>
        <p:spPr>
          <a:xfrm flipH="1" flipV="1">
            <a:off x="0" y="0"/>
            <a:ext cx="9144000" cy="5143500"/>
          </a:xfrm>
          <a:prstGeom prst="rect">
            <a:avLst/>
          </a:prstGeom>
        </p:spPr>
      </p:pic>
      <p:sp>
        <p:nvSpPr>
          <p:cNvPr id="2" name="Otsikko 1">
            <a:extLst>
              <a:ext uri="{FF2B5EF4-FFF2-40B4-BE49-F238E27FC236}">
                <a16:creationId xmlns:a16="http://schemas.microsoft.com/office/drawing/2014/main" id="{12ECB206-0A52-492A-A546-47DCCF02AE0B}"/>
              </a:ext>
            </a:extLst>
          </p:cNvPr>
          <p:cNvSpPr>
            <a:spLocks noGrp="1"/>
          </p:cNvSpPr>
          <p:nvPr>
            <p:ph type="title"/>
          </p:nvPr>
        </p:nvSpPr>
        <p:spPr>
          <a:xfrm>
            <a:off x="397773" y="598834"/>
            <a:ext cx="3602727" cy="983748"/>
          </a:xfrm>
        </p:spPr>
        <p:txBody>
          <a:bodyPr>
            <a:normAutofit/>
          </a:bodyPr>
          <a:lstStyle/>
          <a:p>
            <a:r>
              <a:rPr lang="fi-FI" sz="2775" b="1" dirty="0" err="1">
                <a:solidFill>
                  <a:srgbClr val="000000"/>
                </a:solidFill>
              </a:rPr>
              <a:t>Coping</a:t>
            </a:r>
            <a:r>
              <a:rPr lang="fi-FI" sz="2775" b="1" dirty="0">
                <a:solidFill>
                  <a:srgbClr val="000000"/>
                </a:solidFill>
              </a:rPr>
              <a:t> </a:t>
            </a:r>
            <a:r>
              <a:rPr lang="fi-FI" sz="2775" b="1" dirty="0" err="1">
                <a:solidFill>
                  <a:srgbClr val="000000"/>
                </a:solidFill>
              </a:rPr>
              <a:t>with</a:t>
            </a:r>
            <a:r>
              <a:rPr lang="fi-FI" sz="2775" b="1" dirty="0">
                <a:solidFill>
                  <a:srgbClr val="000000"/>
                </a:solidFill>
              </a:rPr>
              <a:t> </a:t>
            </a:r>
            <a:r>
              <a:rPr lang="fi-FI" sz="2775" b="1" dirty="0" err="1">
                <a:solidFill>
                  <a:srgbClr val="000000"/>
                </a:solidFill>
              </a:rPr>
              <a:t>the</a:t>
            </a:r>
            <a:r>
              <a:rPr lang="fi-FI" sz="2775" b="1" dirty="0">
                <a:solidFill>
                  <a:srgbClr val="000000"/>
                </a:solidFill>
              </a:rPr>
              <a:t> </a:t>
            </a:r>
            <a:r>
              <a:rPr lang="fi-FI" sz="2775" b="1" dirty="0" err="1">
                <a:solidFill>
                  <a:srgbClr val="000000"/>
                </a:solidFill>
              </a:rPr>
              <a:t>lack</a:t>
            </a:r>
            <a:r>
              <a:rPr lang="fi-FI" sz="2775" b="1" dirty="0">
                <a:solidFill>
                  <a:srgbClr val="000000"/>
                </a:solidFill>
              </a:rPr>
              <a:t> of </a:t>
            </a:r>
            <a:r>
              <a:rPr lang="fi-FI" sz="2775" b="1" dirty="0" err="1">
                <a:solidFill>
                  <a:srgbClr val="000000"/>
                </a:solidFill>
              </a:rPr>
              <a:t>knowledge</a:t>
            </a:r>
            <a:endParaRPr lang="fi-FI" sz="2775" b="1" dirty="0">
              <a:solidFill>
                <a:srgbClr val="000000"/>
              </a:solidFill>
            </a:endParaRPr>
          </a:p>
        </p:txBody>
      </p:sp>
      <p:graphicFrame>
        <p:nvGraphicFramePr>
          <p:cNvPr id="5" name="Sisällön paikkamerkki 2">
            <a:extLst>
              <a:ext uri="{FF2B5EF4-FFF2-40B4-BE49-F238E27FC236}">
                <a16:creationId xmlns:a16="http://schemas.microsoft.com/office/drawing/2014/main" id="{7F09E4EF-0634-47BB-8BE0-0C21E5A07A92}"/>
              </a:ext>
            </a:extLst>
          </p:cNvPr>
          <p:cNvGraphicFramePr>
            <a:graphicFrameLocks noGrp="1"/>
          </p:cNvGraphicFramePr>
          <p:nvPr>
            <p:ph idx="1"/>
            <p:extLst>
              <p:ext uri="{D42A27DB-BD31-4B8C-83A1-F6EECF244321}">
                <p14:modId xmlns:p14="http://schemas.microsoft.com/office/powerpoint/2010/main" val="4146496344"/>
              </p:ext>
            </p:extLst>
          </p:nvPr>
        </p:nvGraphicFramePr>
        <p:xfrm>
          <a:off x="238909" y="1873156"/>
          <a:ext cx="3530102" cy="284162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4" name="Picture 3">
            <a:extLst>
              <a:ext uri="{FF2B5EF4-FFF2-40B4-BE49-F238E27FC236}">
                <a16:creationId xmlns:a16="http://schemas.microsoft.com/office/drawing/2014/main" id="{243D1D09-4134-BBA8-4EB9-1B56824014C1}"/>
              </a:ext>
            </a:extLst>
          </p:cNvPr>
          <p:cNvPicPr>
            <a:picLocks noChangeAspect="1"/>
          </p:cNvPicPr>
          <p:nvPr/>
        </p:nvPicPr>
        <p:blipFill>
          <a:blip r:embed="rId8"/>
          <a:stretch>
            <a:fillRect/>
          </a:stretch>
        </p:blipFill>
        <p:spPr>
          <a:xfrm>
            <a:off x="3996667" y="0"/>
            <a:ext cx="5143500" cy="5143500"/>
          </a:xfrm>
          <a:prstGeom prst="rect">
            <a:avLst/>
          </a:prstGeom>
        </p:spPr>
      </p:pic>
    </p:spTree>
    <p:extLst>
      <p:ext uri="{BB962C8B-B14F-4D97-AF65-F5344CB8AC3E}">
        <p14:creationId xmlns:p14="http://schemas.microsoft.com/office/powerpoint/2010/main" val="12375082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F3F630B-0F73-483A-838D-6B23394D1B86}"/>
              </a:ext>
            </a:extLst>
          </p:cNvPr>
          <p:cNvSpPr>
            <a:spLocks noGrp="1"/>
          </p:cNvSpPr>
          <p:nvPr>
            <p:ph type="body" sz="half" idx="4294967295"/>
          </p:nvPr>
        </p:nvSpPr>
        <p:spPr>
          <a:xfrm>
            <a:off x="0" y="793496"/>
            <a:ext cx="4645151" cy="3049588"/>
          </a:xfrm>
          <a:prstGeom prst="rect">
            <a:avLst/>
          </a:prstGeom>
        </p:spPr>
        <p:txBody>
          <a:bodyPr/>
          <a:lstStyle/>
          <a:p>
            <a:pPr marL="457200" indent="-457200">
              <a:spcBef>
                <a:spcPts val="600"/>
              </a:spcBef>
              <a:buFont typeface="+mj-lt"/>
              <a:buAutoNum type="arabicPeriod"/>
            </a:pPr>
            <a:r>
              <a:rPr lang="en-US" b="1" dirty="0">
                <a:solidFill>
                  <a:schemeClr val="bg1"/>
                </a:solidFill>
              </a:rPr>
              <a:t>Tarun Sharma, COO @ Nokia</a:t>
            </a:r>
          </a:p>
          <a:p>
            <a:pPr marL="457200" indent="-457200">
              <a:spcBef>
                <a:spcPts val="600"/>
              </a:spcBef>
              <a:buFont typeface="+mj-lt"/>
              <a:buAutoNum type="arabicPeriod"/>
            </a:pPr>
            <a:r>
              <a:rPr lang="en-US" dirty="0">
                <a:solidFill>
                  <a:schemeClr val="bg1"/>
                </a:solidFill>
              </a:rPr>
              <a:t>Expansion and entry strategies</a:t>
            </a:r>
          </a:p>
        </p:txBody>
      </p:sp>
      <p:pic>
        <p:nvPicPr>
          <p:cNvPr id="1032" name="Picture 8" descr="Agenda &amp; Minutes Template with Action Sheet - Community Leadership">
            <a:extLst>
              <a:ext uri="{FF2B5EF4-FFF2-40B4-BE49-F238E27FC236}">
                <a16:creationId xmlns:a16="http://schemas.microsoft.com/office/drawing/2014/main" id="{71B26DDD-0BD3-FC12-83BE-65867966BF0B}"/>
              </a:ext>
            </a:extLst>
          </p:cNvPr>
          <p:cNvPicPr>
            <a:picLocks noGrp="1" noChangeAspect="1" noChangeArrowheads="1"/>
          </p:cNvPicPr>
          <p:nvPr>
            <p:ph type="pic" idx="11"/>
          </p:nvPr>
        </p:nvPicPr>
        <p:blipFill rotWithShape="1">
          <a:blip r:embed="rId2">
            <a:extLst>
              <a:ext uri="{28A0092B-C50C-407E-A947-70E740481C1C}">
                <a14:useLocalDpi xmlns:a14="http://schemas.microsoft.com/office/drawing/2010/main" val="0"/>
              </a:ext>
            </a:extLst>
          </a:blip>
          <a:srcRect l="35216" r="8106"/>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5586063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5790A6-FA70-4383-A59D-B39C6B2BC8E6}"/>
              </a:ext>
            </a:extLst>
          </p:cNvPr>
          <p:cNvSpPr>
            <a:spLocks noGrp="1"/>
          </p:cNvSpPr>
          <p:nvPr>
            <p:ph type="title"/>
          </p:nvPr>
        </p:nvSpPr>
        <p:spPr/>
        <p:txBody>
          <a:bodyPr/>
          <a:lstStyle/>
          <a:p>
            <a:endParaRPr lang="fi-FI"/>
          </a:p>
        </p:txBody>
      </p:sp>
      <p:pic>
        <p:nvPicPr>
          <p:cNvPr id="1026" name="Picture 2">
            <a:extLst>
              <a:ext uri="{FF2B5EF4-FFF2-40B4-BE49-F238E27FC236}">
                <a16:creationId xmlns:a16="http://schemas.microsoft.com/office/drawing/2014/main" id="{BA399242-BC9A-46D3-BB37-0ECC2604CE2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06041" y="0"/>
            <a:ext cx="7731919" cy="5143500"/>
          </a:xfrm>
          <a:prstGeom prst="rect">
            <a:avLst/>
          </a:prstGeom>
          <a:noFill/>
          <a:extLst>
            <a:ext uri="{909E8E84-426E-40DD-AFC4-6F175D3DCCD1}">
              <a14:hiddenFill xmlns:a14="http://schemas.microsoft.com/office/drawing/2010/main">
                <a:solidFill>
                  <a:srgbClr val="FFFFFF"/>
                </a:solidFill>
              </a14:hiddenFill>
            </a:ext>
          </a:extLst>
        </p:spPr>
      </p:pic>
      <p:sp>
        <p:nvSpPr>
          <p:cNvPr id="3" name="Content Placeholder 2">
            <a:extLst>
              <a:ext uri="{FF2B5EF4-FFF2-40B4-BE49-F238E27FC236}">
                <a16:creationId xmlns:a16="http://schemas.microsoft.com/office/drawing/2014/main" id="{8F2ED447-A6B4-4110-8E20-A66C4CF3BAA6}"/>
              </a:ext>
            </a:extLst>
          </p:cNvPr>
          <p:cNvSpPr>
            <a:spLocks noGrp="1"/>
          </p:cNvSpPr>
          <p:nvPr>
            <p:ph idx="1"/>
          </p:nvPr>
        </p:nvSpPr>
        <p:spPr>
          <a:xfrm>
            <a:off x="6646896" y="0"/>
            <a:ext cx="2497105" cy="643886"/>
          </a:xfrm>
        </p:spPr>
        <p:txBody>
          <a:bodyPr>
            <a:normAutofit fontScale="40000" lnSpcReduction="20000"/>
          </a:bodyPr>
          <a:lstStyle/>
          <a:p>
            <a:r>
              <a:rPr lang="en-US" dirty="0"/>
              <a:t>Kotler, P., </a:t>
            </a:r>
            <a:r>
              <a:rPr lang="en-US" dirty="0" err="1"/>
              <a:t>Manrai</a:t>
            </a:r>
            <a:r>
              <a:rPr lang="en-US" dirty="0"/>
              <a:t>, L. A., Lascu, D., &amp; </a:t>
            </a:r>
            <a:r>
              <a:rPr lang="en-US" dirty="0" err="1"/>
              <a:t>Manrai</a:t>
            </a:r>
            <a:r>
              <a:rPr lang="en-US" dirty="0"/>
              <a:t>, A. K. (2019). Influence of country and company characteristics on international business decisions: A review, conceptual model, and propositions. International Business Review, 28(3), 482-498.</a:t>
            </a:r>
            <a:endParaRPr lang="fi-FI" dirty="0"/>
          </a:p>
        </p:txBody>
      </p:sp>
    </p:spTree>
    <p:extLst>
      <p:ext uri="{BB962C8B-B14F-4D97-AF65-F5344CB8AC3E}">
        <p14:creationId xmlns:p14="http://schemas.microsoft.com/office/powerpoint/2010/main" val="76065584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7" name="Rectangle 16">
            <a:extLst>
              <a:ext uri="{FF2B5EF4-FFF2-40B4-BE49-F238E27FC236}">
                <a16:creationId xmlns:a16="http://schemas.microsoft.com/office/drawing/2014/main" id="{ECC07320-C2CA-4E29-8481-9D9E143C778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1713"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196502EF-C525-FD1A-F164-3C2EDA994660}"/>
              </a:ext>
            </a:extLst>
          </p:cNvPr>
          <p:cNvPicPr>
            <a:picLocks noChangeAspect="1"/>
          </p:cNvPicPr>
          <p:nvPr/>
        </p:nvPicPr>
        <p:blipFill rotWithShape="1">
          <a:blip r:embed="rId2"/>
          <a:srcRect t="26780" r="2" b="2299"/>
          <a:stretch/>
        </p:blipFill>
        <p:spPr>
          <a:xfrm>
            <a:off x="1891768" y="10"/>
            <a:ext cx="7252232" cy="5143490"/>
          </a:xfrm>
          <a:prstGeom prst="rect">
            <a:avLst/>
          </a:prstGeom>
        </p:spPr>
      </p:pic>
      <p:sp>
        <p:nvSpPr>
          <p:cNvPr id="19" name="Rectangle 18">
            <a:extLst>
              <a:ext uri="{FF2B5EF4-FFF2-40B4-BE49-F238E27FC236}">
                <a16:creationId xmlns:a16="http://schemas.microsoft.com/office/drawing/2014/main" id="{178FB36B-5BFE-42CA-BC60-1115E0D95EE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5300233" cy="5143500"/>
          </a:xfrm>
          <a:prstGeom prst="rect">
            <a:avLst/>
          </a:prstGeom>
          <a:gradFill>
            <a:gsLst>
              <a:gs pos="48000">
                <a:schemeClr val="bg1"/>
              </a:gs>
              <a:gs pos="35000">
                <a:schemeClr val="bg1">
                  <a:alpha val="77000"/>
                </a:schemeClr>
              </a:gs>
              <a:gs pos="19000">
                <a:schemeClr val="bg1">
                  <a:alpha val="38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D9BF27C3-D57E-1A97-3592-9D3E9111768F}"/>
              </a:ext>
            </a:extLst>
          </p:cNvPr>
          <p:cNvSpPr>
            <a:spLocks noGrp="1"/>
          </p:cNvSpPr>
          <p:nvPr>
            <p:ph type="title"/>
          </p:nvPr>
        </p:nvSpPr>
        <p:spPr>
          <a:xfrm>
            <a:off x="714171" y="557585"/>
            <a:ext cx="2980038" cy="2769021"/>
          </a:xfrm>
          <a:noFill/>
        </p:spPr>
        <p:txBody>
          <a:bodyPr vert="horz" lIns="91440" tIns="45720" rIns="91440" bIns="45720" rtlCol="0" anchor="b">
            <a:normAutofit/>
          </a:bodyPr>
          <a:lstStyle/>
          <a:p>
            <a:pPr defTabSz="914400"/>
            <a:r>
              <a:rPr lang="en-US" sz="3900" b="1" dirty="0"/>
              <a:t>How to enter the </a:t>
            </a:r>
            <a:r>
              <a:rPr lang="en-US" sz="3900" b="1"/>
              <a:t>chocen</a:t>
            </a:r>
            <a:r>
              <a:rPr lang="en-US" sz="3900" b="1" dirty="0"/>
              <a:t> market?</a:t>
            </a:r>
          </a:p>
        </p:txBody>
      </p:sp>
    </p:spTree>
    <p:extLst>
      <p:ext uri="{BB962C8B-B14F-4D97-AF65-F5344CB8AC3E}">
        <p14:creationId xmlns:p14="http://schemas.microsoft.com/office/powerpoint/2010/main" val="43229459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E79B233-C263-4355-BEE2-6A4CD1ED5B59}"/>
              </a:ext>
            </a:extLst>
          </p:cNvPr>
          <p:cNvSpPr>
            <a:spLocks noGrp="1"/>
          </p:cNvSpPr>
          <p:nvPr>
            <p:ph type="body" sz="half" idx="10"/>
          </p:nvPr>
        </p:nvSpPr>
        <p:spPr>
          <a:xfrm>
            <a:off x="292329" y="294870"/>
            <a:ext cx="4909762" cy="946597"/>
          </a:xfrm>
        </p:spPr>
        <p:txBody>
          <a:bodyPr/>
          <a:lstStyle/>
          <a:p>
            <a:r>
              <a:rPr lang="fi-FI" sz="2800" dirty="0" err="1">
                <a:solidFill>
                  <a:schemeClr val="tx2"/>
                </a:solidFill>
              </a:rPr>
              <a:t>Deciding</a:t>
            </a:r>
            <a:r>
              <a:rPr lang="fi-FI" sz="2800" dirty="0">
                <a:solidFill>
                  <a:schemeClr val="tx2"/>
                </a:solidFill>
              </a:rPr>
              <a:t> </a:t>
            </a:r>
            <a:r>
              <a:rPr lang="fi-FI" sz="2800" dirty="0" err="1">
                <a:solidFill>
                  <a:schemeClr val="tx2"/>
                </a:solidFill>
              </a:rPr>
              <a:t>the</a:t>
            </a:r>
            <a:r>
              <a:rPr lang="fi-FI" sz="2800" dirty="0">
                <a:solidFill>
                  <a:schemeClr val="tx2"/>
                </a:solidFill>
              </a:rPr>
              <a:t> </a:t>
            </a:r>
            <a:r>
              <a:rPr lang="fi-FI" sz="2800" dirty="0" err="1">
                <a:solidFill>
                  <a:schemeClr val="tx2"/>
                </a:solidFill>
              </a:rPr>
              <a:t>entry</a:t>
            </a:r>
            <a:r>
              <a:rPr lang="fi-FI" sz="2800" dirty="0">
                <a:solidFill>
                  <a:schemeClr val="tx2"/>
                </a:solidFill>
              </a:rPr>
              <a:t> </a:t>
            </a:r>
            <a:r>
              <a:rPr lang="fi-FI" sz="2800" dirty="0" err="1">
                <a:solidFill>
                  <a:schemeClr val="tx2"/>
                </a:solidFill>
              </a:rPr>
              <a:t>mode</a:t>
            </a:r>
            <a:endParaRPr lang="en-US" sz="2800" dirty="0"/>
          </a:p>
        </p:txBody>
      </p:sp>
      <p:sp>
        <p:nvSpPr>
          <p:cNvPr id="162818" name="Slide Number Placeholder 1">
            <a:extLst>
              <a:ext uri="{FF2B5EF4-FFF2-40B4-BE49-F238E27FC236}">
                <a16:creationId xmlns:a16="http://schemas.microsoft.com/office/drawing/2014/main" id="{4AF7E206-83A6-4CF2-9358-B1234F00AF45}"/>
              </a:ext>
            </a:extLst>
          </p:cNvPr>
          <p:cNvSpPr>
            <a:spLocks noGrp="1"/>
          </p:cNvSpPr>
          <p:nvPr>
            <p:ph type="sldNum" sz="quarter" idx="14"/>
          </p:nvPr>
        </p:nvSpPr>
        <p:spPr>
          <a:noFill/>
        </p:spPr>
        <p:txBody>
          <a:bodyPr/>
          <a:lstStyle>
            <a:lvl1pPr>
              <a:spcAft>
                <a:spcPct val="20000"/>
              </a:spcAft>
              <a:buClr>
                <a:schemeClr val="accent1"/>
              </a:buClr>
              <a:buChar char="•"/>
              <a:defRPr sz="1500">
                <a:solidFill>
                  <a:schemeClr val="tx1"/>
                </a:solidFill>
                <a:latin typeface="Verdana" panose="020B0604030504040204" pitchFamily="34" charset="0"/>
              </a:defRPr>
            </a:lvl1pPr>
            <a:lvl2pPr marL="557213" indent="-214313">
              <a:spcAft>
                <a:spcPct val="20000"/>
              </a:spcAft>
              <a:buClr>
                <a:schemeClr val="accent1"/>
              </a:buClr>
              <a:buChar char="–"/>
              <a:defRPr>
                <a:solidFill>
                  <a:schemeClr val="tx1"/>
                </a:solidFill>
                <a:latin typeface="Verdana" panose="020B0604030504040204" pitchFamily="34" charset="0"/>
              </a:defRPr>
            </a:lvl2pPr>
            <a:lvl3pPr marL="857250" indent="-171450">
              <a:spcAft>
                <a:spcPct val="20000"/>
              </a:spcAft>
              <a:buClr>
                <a:schemeClr val="accent1"/>
              </a:buClr>
              <a:buChar char="•"/>
              <a:defRPr sz="1200">
                <a:solidFill>
                  <a:schemeClr val="tx1"/>
                </a:solidFill>
                <a:latin typeface="Verdana" panose="020B0604030504040204" pitchFamily="34" charset="0"/>
              </a:defRPr>
            </a:lvl3pPr>
            <a:lvl4pPr marL="1200150" indent="-171450">
              <a:spcAft>
                <a:spcPct val="20000"/>
              </a:spcAft>
              <a:buClr>
                <a:schemeClr val="accent1"/>
              </a:buClr>
              <a:buChar char="–"/>
              <a:defRPr sz="1050">
                <a:solidFill>
                  <a:schemeClr val="tx1"/>
                </a:solidFill>
                <a:latin typeface="Verdana" panose="020B0604030504040204" pitchFamily="34" charset="0"/>
              </a:defRPr>
            </a:lvl4pPr>
            <a:lvl5pPr marL="1543050" indent="-171450">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5pPr>
            <a:lvl6pPr marL="18859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6pPr>
            <a:lvl7pPr marL="22288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7pPr>
            <a:lvl8pPr marL="25717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8pPr>
            <a:lvl9pPr marL="29146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9pPr>
          </a:lstStyle>
          <a:p>
            <a:pPr fontAlgn="base">
              <a:spcBef>
                <a:spcPct val="0"/>
              </a:spcBef>
              <a:spcAft>
                <a:spcPct val="0"/>
              </a:spcAft>
              <a:buClrTx/>
              <a:buNone/>
            </a:pPr>
            <a:fld id="{C66589D7-F045-4D92-9D92-C6D8D67789BA}" type="slidenum">
              <a:rPr lang="en-GB" altLang="fi-FI" sz="750">
                <a:solidFill>
                  <a:srgbClr val="000000"/>
                </a:solidFill>
              </a:rPr>
              <a:pPr fontAlgn="base">
                <a:spcBef>
                  <a:spcPct val="0"/>
                </a:spcBef>
                <a:spcAft>
                  <a:spcPct val="0"/>
                </a:spcAft>
                <a:buClrTx/>
                <a:buNone/>
              </a:pPr>
              <a:t>22</a:t>
            </a:fld>
            <a:endParaRPr lang="en-GB" altLang="fi-FI" sz="750">
              <a:solidFill>
                <a:srgbClr val="000000"/>
              </a:solidFill>
            </a:endParaRPr>
          </a:p>
        </p:txBody>
      </p:sp>
      <p:sp>
        <p:nvSpPr>
          <p:cNvPr id="2" name="Text Placeholder 5">
            <a:extLst>
              <a:ext uri="{FF2B5EF4-FFF2-40B4-BE49-F238E27FC236}">
                <a16:creationId xmlns:a16="http://schemas.microsoft.com/office/drawing/2014/main" id="{7188B95F-4310-569A-83C9-3FA1F947D1D9}"/>
              </a:ext>
            </a:extLst>
          </p:cNvPr>
          <p:cNvSpPr>
            <a:spLocks noGrp="1"/>
          </p:cNvSpPr>
          <p:nvPr>
            <p:ph type="body" sz="half" idx="11"/>
          </p:nvPr>
        </p:nvSpPr>
        <p:spPr>
          <a:xfrm>
            <a:off x="292329" y="1125968"/>
            <a:ext cx="8443871" cy="2891564"/>
          </a:xfrm>
        </p:spPr>
        <p:txBody>
          <a:bodyPr/>
          <a:lstStyle/>
          <a:p>
            <a:r>
              <a:rPr lang="fi-FI" sz="1800" dirty="0" err="1"/>
              <a:t>Suitable</a:t>
            </a:r>
            <a:r>
              <a:rPr lang="fi-FI" sz="1800" dirty="0"/>
              <a:t> </a:t>
            </a:r>
            <a:r>
              <a:rPr lang="fi-FI" sz="1800" dirty="0" err="1"/>
              <a:t>entry</a:t>
            </a:r>
            <a:r>
              <a:rPr lang="fi-FI" sz="1800" dirty="0"/>
              <a:t> </a:t>
            </a:r>
            <a:r>
              <a:rPr lang="fi-FI" sz="1800" dirty="0" err="1"/>
              <a:t>mode</a:t>
            </a:r>
            <a:r>
              <a:rPr lang="fi-FI" sz="1800" dirty="0"/>
              <a:t>, </a:t>
            </a:r>
            <a:r>
              <a:rPr lang="fi-FI" sz="1800" dirty="0" err="1"/>
              <a:t>but</a:t>
            </a:r>
            <a:r>
              <a:rPr lang="fi-FI" sz="1800" dirty="0"/>
              <a:t> it </a:t>
            </a:r>
            <a:r>
              <a:rPr lang="fi-FI" sz="1800" dirty="0" err="1"/>
              <a:t>depends</a:t>
            </a:r>
            <a:r>
              <a:rPr lang="fi-FI" sz="1800" dirty="0"/>
              <a:t>...</a:t>
            </a:r>
          </a:p>
          <a:p>
            <a:pPr lvl="1"/>
            <a:r>
              <a:rPr lang="fi-FI" sz="1800" dirty="0" err="1"/>
              <a:t>Internal</a:t>
            </a:r>
            <a:r>
              <a:rPr lang="fi-FI" sz="1800" dirty="0"/>
              <a:t> </a:t>
            </a:r>
            <a:r>
              <a:rPr lang="fi-FI" sz="1800" dirty="0" err="1"/>
              <a:t>capabilities</a:t>
            </a:r>
            <a:r>
              <a:rPr lang="fi-FI" sz="1800" dirty="0"/>
              <a:t> – </a:t>
            </a:r>
            <a:r>
              <a:rPr lang="fi-FI" sz="1800" dirty="0" err="1"/>
              <a:t>external</a:t>
            </a:r>
            <a:r>
              <a:rPr lang="fi-FI" sz="1800" dirty="0"/>
              <a:t> </a:t>
            </a:r>
            <a:r>
              <a:rPr lang="fi-FI" sz="1800" dirty="0" err="1"/>
              <a:t>environment</a:t>
            </a:r>
            <a:endParaRPr lang="fi-FI" sz="1800" dirty="0"/>
          </a:p>
          <a:p>
            <a:pPr lvl="2"/>
            <a:r>
              <a:rPr lang="fi-FI" sz="1800" dirty="0" err="1"/>
              <a:t>The</a:t>
            </a:r>
            <a:r>
              <a:rPr lang="fi-FI" sz="1800" dirty="0"/>
              <a:t> </a:t>
            </a:r>
            <a:r>
              <a:rPr lang="fi-FI" sz="1800" dirty="0" err="1"/>
              <a:t>dynamic</a:t>
            </a:r>
            <a:r>
              <a:rPr lang="fi-FI" sz="1800" dirty="0"/>
              <a:t> </a:t>
            </a:r>
            <a:r>
              <a:rPr lang="fi-FI" sz="1800" dirty="0" err="1"/>
              <a:t>nature</a:t>
            </a:r>
            <a:r>
              <a:rPr lang="fi-FI" sz="1800" dirty="0"/>
              <a:t> of </a:t>
            </a:r>
            <a:r>
              <a:rPr lang="fi-FI" sz="1800" dirty="0" err="1"/>
              <a:t>the</a:t>
            </a:r>
            <a:r>
              <a:rPr lang="fi-FI" sz="1800" dirty="0"/>
              <a:t> </a:t>
            </a:r>
            <a:r>
              <a:rPr lang="fi-FI" sz="1800" dirty="0" err="1"/>
              <a:t>interface</a:t>
            </a:r>
            <a:r>
              <a:rPr lang="fi-FI" sz="1800" dirty="0"/>
              <a:t>: </a:t>
            </a:r>
            <a:r>
              <a:rPr lang="fi-FI" sz="1800" dirty="0" err="1"/>
              <a:t>Temporal</a:t>
            </a:r>
            <a:r>
              <a:rPr lang="fi-FI" sz="1800" dirty="0"/>
              <a:t> </a:t>
            </a:r>
            <a:r>
              <a:rPr lang="fi-FI" sz="1800" dirty="0" err="1"/>
              <a:t>structure</a:t>
            </a:r>
            <a:r>
              <a:rPr lang="fi-FI" sz="1800" dirty="0"/>
              <a:t> of </a:t>
            </a:r>
            <a:r>
              <a:rPr lang="fi-FI" sz="1800" dirty="0" err="1"/>
              <a:t>competitive</a:t>
            </a:r>
            <a:r>
              <a:rPr lang="fi-FI" sz="1800" dirty="0"/>
              <a:t> </a:t>
            </a:r>
            <a:r>
              <a:rPr lang="fi-FI" sz="1800" dirty="0" err="1"/>
              <a:t>actions</a:t>
            </a:r>
            <a:r>
              <a:rPr lang="fi-FI" sz="1800" dirty="0"/>
              <a:t> in </a:t>
            </a:r>
            <a:r>
              <a:rPr lang="fi-FI" sz="1800" dirty="0" err="1"/>
              <a:t>the</a:t>
            </a:r>
            <a:r>
              <a:rPr lang="fi-FI" sz="1800" dirty="0"/>
              <a:t> </a:t>
            </a:r>
            <a:r>
              <a:rPr lang="fi-FI" sz="1800" dirty="0" err="1"/>
              <a:t>field</a:t>
            </a:r>
            <a:endParaRPr lang="fi-FI" sz="1800" dirty="0"/>
          </a:p>
          <a:p>
            <a:pPr lvl="1"/>
            <a:r>
              <a:rPr lang="fi-FI" sz="1800" dirty="0" err="1"/>
              <a:t>The</a:t>
            </a:r>
            <a:r>
              <a:rPr lang="fi-FI" sz="1800" dirty="0"/>
              <a:t> </a:t>
            </a:r>
            <a:r>
              <a:rPr lang="fi-FI" sz="1800" dirty="0" err="1"/>
              <a:t>role</a:t>
            </a:r>
            <a:r>
              <a:rPr lang="fi-FI" sz="1800" dirty="0"/>
              <a:t> of </a:t>
            </a:r>
            <a:r>
              <a:rPr lang="fi-FI" sz="1800" dirty="0" err="1"/>
              <a:t>the</a:t>
            </a:r>
            <a:r>
              <a:rPr lang="fi-FI" sz="1800" dirty="0"/>
              <a:t> </a:t>
            </a:r>
            <a:r>
              <a:rPr lang="fi-FI" sz="1800" dirty="0" err="1"/>
              <a:t>target</a:t>
            </a:r>
            <a:r>
              <a:rPr lang="fi-FI" sz="1800" dirty="0"/>
              <a:t> market in </a:t>
            </a:r>
            <a:r>
              <a:rPr lang="fi-FI" sz="1800" dirty="0" err="1"/>
              <a:t>building</a:t>
            </a:r>
            <a:r>
              <a:rPr lang="fi-FI" sz="1800" dirty="0"/>
              <a:t> </a:t>
            </a:r>
            <a:r>
              <a:rPr lang="fi-FI" sz="1800" dirty="0" err="1"/>
              <a:t>the</a:t>
            </a:r>
            <a:r>
              <a:rPr lang="fi-FI" sz="1800" dirty="0"/>
              <a:t> </a:t>
            </a:r>
            <a:r>
              <a:rPr lang="fi-FI" sz="1800" dirty="0" err="1"/>
              <a:t>competitive</a:t>
            </a:r>
            <a:r>
              <a:rPr lang="fi-FI" sz="1800" dirty="0"/>
              <a:t> </a:t>
            </a:r>
            <a:r>
              <a:rPr lang="fi-FI" sz="1800" dirty="0" err="1"/>
              <a:t>advantage</a:t>
            </a:r>
            <a:endParaRPr lang="fi-FI" sz="1800" dirty="0"/>
          </a:p>
          <a:p>
            <a:r>
              <a:rPr lang="fi-FI" sz="1800" dirty="0"/>
              <a:t>Level of </a:t>
            </a:r>
            <a:r>
              <a:rPr lang="fi-FI" sz="1800" dirty="0" err="1"/>
              <a:t>commitment</a:t>
            </a:r>
            <a:r>
              <a:rPr lang="fi-FI" sz="1800" dirty="0"/>
              <a:t>/</a:t>
            </a:r>
            <a:r>
              <a:rPr lang="fi-FI" sz="1800" dirty="0" err="1"/>
              <a:t>investment</a:t>
            </a:r>
            <a:endParaRPr lang="fi-FI" sz="1800" dirty="0"/>
          </a:p>
          <a:p>
            <a:pPr lvl="1"/>
            <a:r>
              <a:rPr lang="fi-FI" sz="1800" dirty="0" err="1"/>
              <a:t>Risk-control</a:t>
            </a:r>
            <a:endParaRPr lang="fi-FI" sz="1800" dirty="0"/>
          </a:p>
          <a:p>
            <a:pPr lvl="1"/>
            <a:r>
              <a:rPr lang="fi-FI" sz="1800" dirty="0" err="1"/>
              <a:t>Different</a:t>
            </a:r>
            <a:r>
              <a:rPr lang="fi-FI" sz="1800" dirty="0"/>
              <a:t> </a:t>
            </a:r>
            <a:r>
              <a:rPr lang="fi-FI" sz="1800" dirty="0" err="1"/>
              <a:t>businesses</a:t>
            </a:r>
            <a:r>
              <a:rPr lang="fi-FI" sz="1800" dirty="0"/>
              <a:t> </a:t>
            </a:r>
            <a:r>
              <a:rPr lang="fi-FI" sz="1800" dirty="0" err="1"/>
              <a:t>require</a:t>
            </a:r>
            <a:r>
              <a:rPr lang="fi-FI" sz="1800" dirty="0"/>
              <a:t> </a:t>
            </a:r>
            <a:r>
              <a:rPr lang="fi-FI" sz="1800" dirty="0" err="1"/>
              <a:t>different</a:t>
            </a:r>
            <a:r>
              <a:rPr lang="fi-FI" sz="1800" dirty="0"/>
              <a:t> </a:t>
            </a:r>
            <a:r>
              <a:rPr lang="fi-FI" sz="1800" dirty="0" err="1"/>
              <a:t>presence</a:t>
            </a:r>
            <a:endParaRPr lang="fi-FI" sz="1800" dirty="0"/>
          </a:p>
          <a:p>
            <a:pPr lvl="2"/>
            <a:r>
              <a:rPr lang="fi-FI" sz="1800" dirty="0"/>
              <a:t>For </a:t>
            </a:r>
            <a:r>
              <a:rPr lang="fi-FI" sz="1800" dirty="0" err="1"/>
              <a:t>instance</a:t>
            </a:r>
            <a:r>
              <a:rPr lang="fi-FI" sz="1800" dirty="0"/>
              <a:t>, </a:t>
            </a:r>
            <a:r>
              <a:rPr lang="fi-FI" sz="1800" dirty="0" err="1"/>
              <a:t>aeroplanes</a:t>
            </a:r>
            <a:r>
              <a:rPr lang="fi-FI" sz="1800" dirty="0"/>
              <a:t>, </a:t>
            </a:r>
            <a:r>
              <a:rPr lang="fi-FI" sz="1800" dirty="0" err="1"/>
              <a:t>accounting</a:t>
            </a:r>
            <a:r>
              <a:rPr lang="fi-FI" sz="1800" dirty="0"/>
              <a:t> </a:t>
            </a:r>
            <a:r>
              <a:rPr lang="fi-FI" sz="1800" dirty="0" err="1"/>
              <a:t>services</a:t>
            </a:r>
            <a:r>
              <a:rPr lang="fi-FI" sz="1800" dirty="0"/>
              <a:t>, </a:t>
            </a:r>
            <a:r>
              <a:rPr lang="fi-FI" sz="1800" dirty="0" err="1"/>
              <a:t>rubber</a:t>
            </a:r>
            <a:r>
              <a:rPr lang="fi-FI" sz="1800" dirty="0"/>
              <a:t> </a:t>
            </a:r>
            <a:r>
              <a:rPr lang="fi-FI" sz="1800" dirty="0" err="1"/>
              <a:t>boots</a:t>
            </a:r>
            <a:endParaRPr lang="fi-FI" sz="1800" dirty="0"/>
          </a:p>
          <a:p>
            <a:r>
              <a:rPr lang="fi-FI" sz="1800" dirty="0" err="1"/>
              <a:t>Speed</a:t>
            </a:r>
            <a:r>
              <a:rPr lang="fi-FI" sz="1800" dirty="0"/>
              <a:t> and </a:t>
            </a:r>
            <a:r>
              <a:rPr lang="fi-FI" sz="1800" dirty="0" err="1"/>
              <a:t>timing</a:t>
            </a:r>
            <a:r>
              <a:rPr lang="fi-FI" sz="1800" dirty="0"/>
              <a:t> of </a:t>
            </a:r>
            <a:r>
              <a:rPr lang="fi-FI" sz="1800" dirty="0" err="1"/>
              <a:t>entry</a:t>
            </a:r>
            <a:endParaRPr lang="fi-FI" sz="1800" dirty="0"/>
          </a:p>
          <a:p>
            <a:pPr marL="285750" indent="-285750">
              <a:spcBef>
                <a:spcPts val="600"/>
              </a:spcBef>
              <a:buFont typeface="Arial" panose="020B0604020202020204" pitchFamily="34" charset="0"/>
              <a:buChar char="•"/>
            </a:pPr>
            <a:endParaRPr lang="en-US" sz="1600" b="0" dirty="0"/>
          </a:p>
        </p:txBody>
      </p:sp>
    </p:spTree>
    <p:extLst>
      <p:ext uri="{BB962C8B-B14F-4D97-AF65-F5344CB8AC3E}">
        <p14:creationId xmlns:p14="http://schemas.microsoft.com/office/powerpoint/2010/main" val="66276402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D64356E0-40E4-410C-8CDB-F06BC6871968}"/>
              </a:ext>
            </a:extLst>
          </p:cNvPr>
          <p:cNvSpPr>
            <a:spLocks noGrp="1"/>
          </p:cNvSpPr>
          <p:nvPr>
            <p:ph type="title"/>
          </p:nvPr>
        </p:nvSpPr>
        <p:spPr/>
        <p:txBody>
          <a:bodyPr/>
          <a:lstStyle/>
          <a:p>
            <a:endParaRPr lang="en-US"/>
          </a:p>
        </p:txBody>
      </p:sp>
      <p:sp>
        <p:nvSpPr>
          <p:cNvPr id="3" name="Sisällön paikkamerkki 2">
            <a:extLst>
              <a:ext uri="{FF2B5EF4-FFF2-40B4-BE49-F238E27FC236}">
                <a16:creationId xmlns:a16="http://schemas.microsoft.com/office/drawing/2014/main" id="{0AF0BA8E-04CA-459A-8046-AA808CB66754}"/>
              </a:ext>
            </a:extLst>
          </p:cNvPr>
          <p:cNvSpPr>
            <a:spLocks noGrp="1"/>
          </p:cNvSpPr>
          <p:nvPr>
            <p:ph idx="1"/>
          </p:nvPr>
        </p:nvSpPr>
        <p:spPr/>
        <p:txBody>
          <a:bodyPr/>
          <a:lstStyle/>
          <a:p>
            <a:endParaRPr lang="en-US"/>
          </a:p>
        </p:txBody>
      </p:sp>
      <p:pic>
        <p:nvPicPr>
          <p:cNvPr id="5" name="Kuva 4">
            <a:extLst>
              <a:ext uri="{FF2B5EF4-FFF2-40B4-BE49-F238E27FC236}">
                <a16:creationId xmlns:a16="http://schemas.microsoft.com/office/drawing/2014/main" id="{A636F703-D21A-4D01-A72D-69D5497F912E}"/>
              </a:ext>
            </a:extLst>
          </p:cNvPr>
          <p:cNvPicPr>
            <a:picLocks noChangeAspect="1"/>
          </p:cNvPicPr>
          <p:nvPr/>
        </p:nvPicPr>
        <p:blipFill>
          <a:blip r:embed="rId2"/>
          <a:stretch>
            <a:fillRect/>
          </a:stretch>
        </p:blipFill>
        <p:spPr>
          <a:xfrm>
            <a:off x="0" y="173107"/>
            <a:ext cx="9144000" cy="4797287"/>
          </a:xfrm>
          <a:prstGeom prst="rect">
            <a:avLst/>
          </a:prstGeom>
        </p:spPr>
      </p:pic>
      <p:sp>
        <p:nvSpPr>
          <p:cNvPr id="4" name="TextBox 3">
            <a:extLst>
              <a:ext uri="{FF2B5EF4-FFF2-40B4-BE49-F238E27FC236}">
                <a16:creationId xmlns:a16="http://schemas.microsoft.com/office/drawing/2014/main" id="{2C0720E4-9E87-F8B2-061F-65112570ACC6}"/>
              </a:ext>
            </a:extLst>
          </p:cNvPr>
          <p:cNvSpPr txBox="1"/>
          <p:nvPr/>
        </p:nvSpPr>
        <p:spPr>
          <a:xfrm>
            <a:off x="129188" y="4828050"/>
            <a:ext cx="1559081" cy="300082"/>
          </a:xfrm>
          <a:prstGeom prst="rect">
            <a:avLst/>
          </a:prstGeom>
          <a:noFill/>
        </p:spPr>
        <p:txBody>
          <a:bodyPr wrap="none" rtlCol="0">
            <a:spAutoFit/>
          </a:bodyPr>
          <a:lstStyle/>
          <a:p>
            <a:r>
              <a:rPr lang="en-US" dirty="0"/>
              <a:t>Zachary et al., 2015</a:t>
            </a:r>
          </a:p>
        </p:txBody>
      </p:sp>
    </p:spTree>
    <p:extLst>
      <p:ext uri="{BB962C8B-B14F-4D97-AF65-F5344CB8AC3E}">
        <p14:creationId xmlns:p14="http://schemas.microsoft.com/office/powerpoint/2010/main" val="206899660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pic>
        <p:nvPicPr>
          <p:cNvPr id="3074" name="Picture 2" descr="Localization and Internationalization Services - IdeaText">
            <a:extLst>
              <a:ext uri="{FF2B5EF4-FFF2-40B4-BE49-F238E27FC236}">
                <a16:creationId xmlns:a16="http://schemas.microsoft.com/office/drawing/2014/main" id="{BB62448B-0923-4503-ABB8-F32B875F539E}"/>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20081" r="48436"/>
          <a:stretch/>
        </p:blipFill>
        <p:spPr bwMode="auto">
          <a:xfrm>
            <a:off x="4638788" y="7"/>
            <a:ext cx="4498224" cy="5143493"/>
          </a:xfrm>
          <a:custGeom>
            <a:avLst/>
            <a:gdLst/>
            <a:ahLst/>
            <a:cxnLst/>
            <a:rect l="l" t="t" r="r" b="b"/>
            <a:pathLst>
              <a:path w="5997632" h="6858000">
                <a:moveTo>
                  <a:pt x="0" y="0"/>
                </a:moveTo>
                <a:lnTo>
                  <a:pt x="5997632" y="0"/>
                </a:lnTo>
                <a:lnTo>
                  <a:pt x="5997632" y="6858000"/>
                </a:lnTo>
                <a:lnTo>
                  <a:pt x="3178693" y="6858000"/>
                </a:lnTo>
                <a:close/>
              </a:path>
            </a:pathLst>
          </a:custGeom>
          <a:noFill/>
          <a:extLst>
            <a:ext uri="{909E8E84-426E-40DD-AFC4-6F175D3DCCD1}">
              <a14:hiddenFill xmlns:a14="http://schemas.microsoft.com/office/drawing/2010/main">
                <a:solidFill>
                  <a:srgbClr val="FFFFFF"/>
                </a:solidFill>
              </a14:hiddenFill>
            </a:ext>
          </a:extLst>
        </p:spPr>
      </p:pic>
      <p:pic>
        <p:nvPicPr>
          <p:cNvPr id="4" name="Google Shape;85;p17">
            <a:extLst>
              <a:ext uri="{FF2B5EF4-FFF2-40B4-BE49-F238E27FC236}">
                <a16:creationId xmlns:a16="http://schemas.microsoft.com/office/drawing/2014/main" id="{219ED090-3E4A-50B2-BF7F-161931B71774}"/>
              </a:ext>
            </a:extLst>
          </p:cNvPr>
          <p:cNvPicPr preferRelativeResize="0"/>
          <p:nvPr/>
        </p:nvPicPr>
        <p:blipFill rotWithShape="1">
          <a:blip r:embed="rId3"/>
          <a:srcRect t="11538" r="-1" b="17194"/>
          <a:stretch/>
        </p:blipFill>
        <p:spPr>
          <a:xfrm>
            <a:off x="-1" y="7"/>
            <a:ext cx="6856308" cy="5143493"/>
          </a:xfrm>
          <a:custGeom>
            <a:avLst/>
            <a:gdLst/>
            <a:ahLst/>
            <a:cxnLst/>
            <a:rect l="l" t="t" r="r" b="b"/>
            <a:pathLst>
              <a:path w="9141744" h="6863485">
                <a:moveTo>
                  <a:pt x="0" y="0"/>
                </a:moveTo>
                <a:lnTo>
                  <a:pt x="5963051" y="0"/>
                </a:lnTo>
                <a:lnTo>
                  <a:pt x="9141744" y="6863485"/>
                </a:lnTo>
                <a:lnTo>
                  <a:pt x="0" y="6863485"/>
                </a:lnTo>
                <a:lnTo>
                  <a:pt x="0" y="0"/>
                </a:lnTo>
                <a:close/>
              </a:path>
            </a:pathLst>
          </a:custGeom>
          <a:noFill/>
        </p:spPr>
      </p:pic>
      <p:sp>
        <p:nvSpPr>
          <p:cNvPr id="3086" name="Freeform: Shape 3085">
            <a:extLst>
              <a:ext uri="{FF2B5EF4-FFF2-40B4-BE49-F238E27FC236}">
                <a16:creationId xmlns:a16="http://schemas.microsoft.com/office/drawing/2014/main" id="{37FEB674-D811-4FFE-A878-29D0C0ED18D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1330385"/>
            <a:ext cx="4826087" cy="2482730"/>
          </a:xfrm>
          <a:custGeom>
            <a:avLst/>
            <a:gdLst>
              <a:gd name="connsiteX0" fmla="*/ 0 w 6434783"/>
              <a:gd name="connsiteY0" fmla="*/ 0 h 3310306"/>
              <a:gd name="connsiteX1" fmla="*/ 3829872 w 6434783"/>
              <a:gd name="connsiteY1" fmla="*/ 0 h 3310306"/>
              <a:gd name="connsiteX2" fmla="*/ 4896100 w 6434783"/>
              <a:gd name="connsiteY2" fmla="*/ 0 h 3310306"/>
              <a:gd name="connsiteX3" fmla="*/ 4901677 w 6434783"/>
              <a:gd name="connsiteY3" fmla="*/ 0 h 3310306"/>
              <a:gd name="connsiteX4" fmla="*/ 6434783 w 6434783"/>
              <a:gd name="connsiteY4" fmla="*/ 3310306 h 3310306"/>
              <a:gd name="connsiteX5" fmla="*/ 0 w 6434783"/>
              <a:gd name="connsiteY5" fmla="*/ 3310306 h 3310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34783" h="3310306">
                <a:moveTo>
                  <a:pt x="0" y="0"/>
                </a:moveTo>
                <a:lnTo>
                  <a:pt x="3829872" y="0"/>
                </a:lnTo>
                <a:lnTo>
                  <a:pt x="4896100" y="0"/>
                </a:lnTo>
                <a:lnTo>
                  <a:pt x="4901677" y="0"/>
                </a:lnTo>
                <a:lnTo>
                  <a:pt x="6434783" y="3310306"/>
                </a:lnTo>
                <a:lnTo>
                  <a:pt x="0" y="3310306"/>
                </a:lnTo>
                <a:close/>
              </a:path>
            </a:pathLst>
          </a:custGeom>
          <a:solidFill>
            <a:schemeClr val="bg1">
              <a:lumMod val="85000"/>
              <a:lumOff val="15000"/>
              <a:alpha val="8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defRPr/>
            </a:pPr>
            <a:endParaRPr lang="en-US">
              <a:solidFill>
                <a:prstClr val="white"/>
              </a:solidFill>
              <a:latin typeface="Calibri" panose="020F0502020204030204"/>
            </a:endParaRPr>
          </a:p>
        </p:txBody>
      </p:sp>
      <p:sp>
        <p:nvSpPr>
          <p:cNvPr id="2" name="Otsikko 1">
            <a:extLst>
              <a:ext uri="{FF2B5EF4-FFF2-40B4-BE49-F238E27FC236}">
                <a16:creationId xmlns:a16="http://schemas.microsoft.com/office/drawing/2014/main" id="{988583B6-8CF7-41A8-9C4A-7CF831058912}"/>
              </a:ext>
            </a:extLst>
          </p:cNvPr>
          <p:cNvSpPr>
            <a:spLocks noGrp="1"/>
          </p:cNvSpPr>
          <p:nvPr>
            <p:ph type="title"/>
          </p:nvPr>
        </p:nvSpPr>
        <p:spPr>
          <a:xfrm>
            <a:off x="463549" y="1625041"/>
            <a:ext cx="2914649" cy="686276"/>
          </a:xfrm>
        </p:spPr>
        <p:txBody>
          <a:bodyPr>
            <a:normAutofit fontScale="90000"/>
          </a:bodyPr>
          <a:lstStyle/>
          <a:p>
            <a:r>
              <a:rPr lang="fi-FI" sz="2325"/>
              <a:t>First mover advantage?</a:t>
            </a:r>
            <a:endParaRPr lang="en-US" sz="2325"/>
          </a:p>
        </p:txBody>
      </p:sp>
      <p:sp>
        <p:nvSpPr>
          <p:cNvPr id="3" name="Sisällön paikkamerkki 2">
            <a:extLst>
              <a:ext uri="{FF2B5EF4-FFF2-40B4-BE49-F238E27FC236}">
                <a16:creationId xmlns:a16="http://schemas.microsoft.com/office/drawing/2014/main" id="{D46EC0A2-AA67-4F29-B495-5D83B5BC962B}"/>
              </a:ext>
            </a:extLst>
          </p:cNvPr>
          <p:cNvSpPr>
            <a:spLocks noGrp="1"/>
          </p:cNvSpPr>
          <p:nvPr>
            <p:ph idx="1"/>
          </p:nvPr>
        </p:nvSpPr>
        <p:spPr>
          <a:xfrm>
            <a:off x="463548" y="2311317"/>
            <a:ext cx="3465408" cy="1331996"/>
          </a:xfrm>
        </p:spPr>
        <p:txBody>
          <a:bodyPr>
            <a:normAutofit/>
          </a:bodyPr>
          <a:lstStyle/>
          <a:p>
            <a:pPr marL="0" indent="0">
              <a:spcBef>
                <a:spcPts val="0"/>
              </a:spcBef>
              <a:buNone/>
            </a:pPr>
            <a:r>
              <a:rPr lang="en-US" sz="1125">
                <a:latin typeface="Merriweather"/>
                <a:ea typeface="Merriweather"/>
                <a:cs typeface="Merriweather"/>
                <a:sym typeface="Merriweather"/>
              </a:rPr>
              <a:t>In the context of chess, white makes the first move. In general, white has the capabilities for more aggressive opening moves. It is agreed that when all other factors are equal, white wins roughly 52-56% of the time.</a:t>
            </a:r>
          </a:p>
          <a:p>
            <a:pPr marL="0" indent="0">
              <a:spcBef>
                <a:spcPts val="900"/>
              </a:spcBef>
              <a:buNone/>
            </a:pPr>
            <a:r>
              <a:rPr lang="en-US" sz="1125">
                <a:latin typeface="Merriweather"/>
                <a:ea typeface="Merriweather"/>
                <a:cs typeface="Merriweather"/>
                <a:sym typeface="Merriweather"/>
              </a:rPr>
              <a:t>In general, black strategizes to play reactively, to counter white’s opening moves. </a:t>
            </a:r>
          </a:p>
          <a:p>
            <a:pPr lvl="1"/>
            <a:endParaRPr lang="en-US" sz="1125"/>
          </a:p>
        </p:txBody>
      </p:sp>
    </p:spTree>
    <p:extLst>
      <p:ext uri="{BB962C8B-B14F-4D97-AF65-F5344CB8AC3E}">
        <p14:creationId xmlns:p14="http://schemas.microsoft.com/office/powerpoint/2010/main" val="2737998628"/>
      </p:ext>
    </p:extLst>
  </p:cSld>
  <p:clrMapOvr>
    <a:overrideClrMapping bg1="dk1" tx1="lt1" bg2="dk2" tx2="lt2" accent1="accent1" accent2="accent2" accent3="accent3" accent4="accent4" accent5="accent5" accent6="accent6" hlink="hlink" folHlink="folHlink"/>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E79B233-C263-4355-BEE2-6A4CD1ED5B59}"/>
              </a:ext>
            </a:extLst>
          </p:cNvPr>
          <p:cNvSpPr>
            <a:spLocks noGrp="1"/>
          </p:cNvSpPr>
          <p:nvPr>
            <p:ph type="body" sz="half" idx="10"/>
          </p:nvPr>
        </p:nvSpPr>
        <p:spPr>
          <a:xfrm>
            <a:off x="292329" y="294870"/>
            <a:ext cx="4909762" cy="946597"/>
          </a:xfrm>
        </p:spPr>
        <p:txBody>
          <a:bodyPr/>
          <a:lstStyle/>
          <a:p>
            <a:r>
              <a:rPr lang="fi-FI" sz="2800" dirty="0" err="1">
                <a:solidFill>
                  <a:schemeClr val="tx2"/>
                </a:solidFill>
              </a:rPr>
              <a:t>Commitment</a:t>
            </a:r>
            <a:endParaRPr lang="en-US" sz="2800" dirty="0"/>
          </a:p>
        </p:txBody>
      </p:sp>
      <p:sp>
        <p:nvSpPr>
          <p:cNvPr id="162818" name="Slide Number Placeholder 1">
            <a:extLst>
              <a:ext uri="{FF2B5EF4-FFF2-40B4-BE49-F238E27FC236}">
                <a16:creationId xmlns:a16="http://schemas.microsoft.com/office/drawing/2014/main" id="{4AF7E206-83A6-4CF2-9358-B1234F00AF45}"/>
              </a:ext>
            </a:extLst>
          </p:cNvPr>
          <p:cNvSpPr>
            <a:spLocks noGrp="1"/>
          </p:cNvSpPr>
          <p:nvPr>
            <p:ph type="sldNum" sz="quarter" idx="14"/>
          </p:nvPr>
        </p:nvSpPr>
        <p:spPr>
          <a:noFill/>
        </p:spPr>
        <p:txBody>
          <a:bodyPr/>
          <a:lstStyle>
            <a:lvl1pPr>
              <a:spcAft>
                <a:spcPct val="20000"/>
              </a:spcAft>
              <a:buClr>
                <a:schemeClr val="accent1"/>
              </a:buClr>
              <a:buChar char="•"/>
              <a:defRPr sz="1500">
                <a:solidFill>
                  <a:schemeClr val="tx1"/>
                </a:solidFill>
                <a:latin typeface="Verdana" panose="020B0604030504040204" pitchFamily="34" charset="0"/>
              </a:defRPr>
            </a:lvl1pPr>
            <a:lvl2pPr marL="557213" indent="-214313">
              <a:spcAft>
                <a:spcPct val="20000"/>
              </a:spcAft>
              <a:buClr>
                <a:schemeClr val="accent1"/>
              </a:buClr>
              <a:buChar char="–"/>
              <a:defRPr>
                <a:solidFill>
                  <a:schemeClr val="tx1"/>
                </a:solidFill>
                <a:latin typeface="Verdana" panose="020B0604030504040204" pitchFamily="34" charset="0"/>
              </a:defRPr>
            </a:lvl2pPr>
            <a:lvl3pPr marL="857250" indent="-171450">
              <a:spcAft>
                <a:spcPct val="20000"/>
              </a:spcAft>
              <a:buClr>
                <a:schemeClr val="accent1"/>
              </a:buClr>
              <a:buChar char="•"/>
              <a:defRPr sz="1200">
                <a:solidFill>
                  <a:schemeClr val="tx1"/>
                </a:solidFill>
                <a:latin typeface="Verdana" panose="020B0604030504040204" pitchFamily="34" charset="0"/>
              </a:defRPr>
            </a:lvl3pPr>
            <a:lvl4pPr marL="1200150" indent="-171450">
              <a:spcAft>
                <a:spcPct val="20000"/>
              </a:spcAft>
              <a:buClr>
                <a:schemeClr val="accent1"/>
              </a:buClr>
              <a:buChar char="–"/>
              <a:defRPr sz="1050">
                <a:solidFill>
                  <a:schemeClr val="tx1"/>
                </a:solidFill>
                <a:latin typeface="Verdana" panose="020B0604030504040204" pitchFamily="34" charset="0"/>
              </a:defRPr>
            </a:lvl4pPr>
            <a:lvl5pPr marL="1543050" indent="-171450">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5pPr>
            <a:lvl6pPr marL="18859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6pPr>
            <a:lvl7pPr marL="22288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7pPr>
            <a:lvl8pPr marL="25717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8pPr>
            <a:lvl9pPr marL="29146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9pPr>
          </a:lstStyle>
          <a:p>
            <a:pPr fontAlgn="base">
              <a:spcBef>
                <a:spcPct val="0"/>
              </a:spcBef>
              <a:spcAft>
                <a:spcPct val="0"/>
              </a:spcAft>
              <a:buClrTx/>
              <a:buNone/>
            </a:pPr>
            <a:fld id="{C66589D7-F045-4D92-9D92-C6D8D67789BA}" type="slidenum">
              <a:rPr lang="en-GB" altLang="fi-FI" sz="750">
                <a:solidFill>
                  <a:srgbClr val="000000"/>
                </a:solidFill>
              </a:rPr>
              <a:pPr fontAlgn="base">
                <a:spcBef>
                  <a:spcPct val="0"/>
                </a:spcBef>
                <a:spcAft>
                  <a:spcPct val="0"/>
                </a:spcAft>
                <a:buClrTx/>
                <a:buNone/>
              </a:pPr>
              <a:t>25</a:t>
            </a:fld>
            <a:endParaRPr lang="en-GB" altLang="fi-FI" sz="750">
              <a:solidFill>
                <a:srgbClr val="000000"/>
              </a:solidFill>
            </a:endParaRPr>
          </a:p>
        </p:txBody>
      </p:sp>
      <p:sp>
        <p:nvSpPr>
          <p:cNvPr id="2" name="Text Placeholder 5">
            <a:extLst>
              <a:ext uri="{FF2B5EF4-FFF2-40B4-BE49-F238E27FC236}">
                <a16:creationId xmlns:a16="http://schemas.microsoft.com/office/drawing/2014/main" id="{7188B95F-4310-569A-83C9-3FA1F947D1D9}"/>
              </a:ext>
            </a:extLst>
          </p:cNvPr>
          <p:cNvSpPr>
            <a:spLocks noGrp="1"/>
          </p:cNvSpPr>
          <p:nvPr>
            <p:ph type="body" sz="half" idx="11"/>
          </p:nvPr>
        </p:nvSpPr>
        <p:spPr>
          <a:xfrm>
            <a:off x="292329" y="1392337"/>
            <a:ext cx="8443871" cy="2891564"/>
          </a:xfrm>
        </p:spPr>
        <p:txBody>
          <a:bodyPr/>
          <a:lstStyle/>
          <a:p>
            <a:pPr lvl="1"/>
            <a:r>
              <a:rPr lang="en-US" sz="2000" dirty="0"/>
              <a:t>How much can be invested?</a:t>
            </a:r>
          </a:p>
          <a:p>
            <a:pPr lvl="2"/>
            <a:r>
              <a:rPr lang="en-US" sz="1600" dirty="0"/>
              <a:t>Establishing manufacturing?</a:t>
            </a:r>
          </a:p>
          <a:p>
            <a:pPr lvl="2"/>
            <a:r>
              <a:rPr lang="en-US" sz="1600" dirty="0"/>
              <a:t>Establishing sales office?</a:t>
            </a:r>
          </a:p>
          <a:p>
            <a:pPr lvl="2"/>
            <a:r>
              <a:rPr lang="en-US" sz="1600" dirty="0"/>
              <a:t>Sales and production from home-market?</a:t>
            </a:r>
          </a:p>
          <a:p>
            <a:pPr lvl="2"/>
            <a:r>
              <a:rPr lang="en-US" sz="1600" dirty="0"/>
              <a:t>Selling the concept for the business (licensing / franchising</a:t>
            </a:r>
          </a:p>
          <a:p>
            <a:pPr lvl="2"/>
            <a:endParaRPr lang="en-US" sz="1600" dirty="0"/>
          </a:p>
          <a:p>
            <a:pPr lvl="1"/>
            <a:r>
              <a:rPr lang="en-US" sz="2000" b="1" i="1" dirty="0"/>
              <a:t>With great commitment comes great… control and risk</a:t>
            </a:r>
          </a:p>
          <a:p>
            <a:pPr marL="285750" indent="-285750">
              <a:spcBef>
                <a:spcPts val="600"/>
              </a:spcBef>
              <a:buFont typeface="Arial" panose="020B0604020202020204" pitchFamily="34" charset="0"/>
              <a:buChar char="•"/>
            </a:pPr>
            <a:endParaRPr lang="en-US" sz="1600" b="0" dirty="0"/>
          </a:p>
        </p:txBody>
      </p:sp>
    </p:spTree>
    <p:extLst>
      <p:ext uri="{BB962C8B-B14F-4D97-AF65-F5344CB8AC3E}">
        <p14:creationId xmlns:p14="http://schemas.microsoft.com/office/powerpoint/2010/main" val="337724287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BEE73255-8084-4DF9-BB0B-15EAC92E2CB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5143500"/>
          </a:xfrm>
          <a:prstGeom prst="rect">
            <a:avLst/>
          </a:prstGeom>
          <a:solidFill>
            <a:srgbClr val="C8CA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sp>
        <p:nvSpPr>
          <p:cNvPr id="2" name="Title 1">
            <a:extLst>
              <a:ext uri="{FF2B5EF4-FFF2-40B4-BE49-F238E27FC236}">
                <a16:creationId xmlns:a16="http://schemas.microsoft.com/office/drawing/2014/main" id="{5812B8D9-DB83-4773-A5A5-9A4413C62225}"/>
              </a:ext>
            </a:extLst>
          </p:cNvPr>
          <p:cNvSpPr>
            <a:spLocks noGrp="1"/>
          </p:cNvSpPr>
          <p:nvPr>
            <p:ph type="title"/>
          </p:nvPr>
        </p:nvSpPr>
        <p:spPr>
          <a:xfrm>
            <a:off x="452954" y="480061"/>
            <a:ext cx="1956491" cy="3943349"/>
          </a:xfrm>
        </p:spPr>
        <p:txBody>
          <a:bodyPr vert="horz" lIns="68580" tIns="34290" rIns="68580" bIns="34290" rtlCol="0" anchor="ctr">
            <a:normAutofit/>
          </a:bodyPr>
          <a:lstStyle/>
          <a:p>
            <a:r>
              <a:rPr lang="en-US" sz="2700">
                <a:solidFill>
                  <a:srgbClr val="2C2C2C"/>
                </a:solidFill>
              </a:rPr>
              <a:t>Rothaermel, 2012.</a:t>
            </a:r>
          </a:p>
        </p:txBody>
      </p:sp>
      <p:sp>
        <p:nvSpPr>
          <p:cNvPr id="22" name="Rounded Rectangle 9">
            <a:extLst>
              <a:ext uri="{FF2B5EF4-FFF2-40B4-BE49-F238E27FC236}">
                <a16:creationId xmlns:a16="http://schemas.microsoft.com/office/drawing/2014/main" id="{67048353-8981-459A-9BC6-9711CE462E0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685050" y="363474"/>
            <a:ext cx="6096762" cy="4293108"/>
          </a:xfrm>
          <a:prstGeom prst="roundRect">
            <a:avLst>
              <a:gd name="adj" fmla="val 0"/>
            </a:avLst>
          </a:prstGeom>
          <a:solidFill>
            <a:srgbClr val="FFFFFF"/>
          </a:solidFill>
          <a:ln w="9525">
            <a:solidFill>
              <a:srgbClr val="C8CACA"/>
            </a:solidFill>
          </a:ln>
          <a:effectLst>
            <a:outerShdw blurRad="57150" dist="19050" dir="5400000" algn="t" rotWithShape="0">
              <a:prstClr val="black">
                <a:alpha val="6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latin typeface="Calibri" panose="020F0502020204030204"/>
            </a:endParaRPr>
          </a:p>
        </p:txBody>
      </p:sp>
      <p:pic>
        <p:nvPicPr>
          <p:cNvPr id="4" name="Content Placeholder 3">
            <a:extLst>
              <a:ext uri="{FF2B5EF4-FFF2-40B4-BE49-F238E27FC236}">
                <a16:creationId xmlns:a16="http://schemas.microsoft.com/office/drawing/2014/main" id="{461287FD-8D3A-41B3-8A42-AC5A3DC634D4}"/>
              </a:ext>
            </a:extLst>
          </p:cNvPr>
          <p:cNvPicPr>
            <a:picLocks noGrp="1" noChangeAspect="1"/>
          </p:cNvPicPr>
          <p:nvPr>
            <p:ph idx="1"/>
          </p:nvPr>
        </p:nvPicPr>
        <p:blipFill rotWithShape="1">
          <a:blip r:embed="rId2"/>
          <a:srcRect t="4487" b="970"/>
          <a:stretch/>
        </p:blipFill>
        <p:spPr>
          <a:xfrm>
            <a:off x="3047223" y="706904"/>
            <a:ext cx="5372417" cy="3606249"/>
          </a:xfrm>
          <a:prstGeom prst="rect">
            <a:avLst/>
          </a:prstGeom>
          <a:effectLst/>
        </p:spPr>
      </p:pic>
    </p:spTree>
    <p:extLst>
      <p:ext uri="{BB962C8B-B14F-4D97-AF65-F5344CB8AC3E}">
        <p14:creationId xmlns:p14="http://schemas.microsoft.com/office/powerpoint/2010/main" val="405874446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93401BD1-DB04-42D6-A26E-C1E70849BDA4}"/>
              </a:ext>
            </a:extLst>
          </p:cNvPr>
          <p:cNvSpPr>
            <a:spLocks noGrp="1"/>
          </p:cNvSpPr>
          <p:nvPr>
            <p:ph type="title"/>
          </p:nvPr>
        </p:nvSpPr>
        <p:spPr/>
        <p:txBody>
          <a:bodyPr/>
          <a:lstStyle/>
          <a:p>
            <a:endParaRPr lang="en-US"/>
          </a:p>
        </p:txBody>
      </p:sp>
      <p:sp>
        <p:nvSpPr>
          <p:cNvPr id="3" name="Sisällön paikkamerkki 2">
            <a:extLst>
              <a:ext uri="{FF2B5EF4-FFF2-40B4-BE49-F238E27FC236}">
                <a16:creationId xmlns:a16="http://schemas.microsoft.com/office/drawing/2014/main" id="{DEB05DF6-1382-4E87-BA8F-04FEBE329112}"/>
              </a:ext>
            </a:extLst>
          </p:cNvPr>
          <p:cNvSpPr>
            <a:spLocks noGrp="1"/>
          </p:cNvSpPr>
          <p:nvPr>
            <p:ph idx="1"/>
          </p:nvPr>
        </p:nvSpPr>
        <p:spPr/>
        <p:txBody>
          <a:bodyPr/>
          <a:lstStyle/>
          <a:p>
            <a:endParaRPr lang="en-US"/>
          </a:p>
        </p:txBody>
      </p:sp>
      <p:pic>
        <p:nvPicPr>
          <p:cNvPr id="4" name="Picture 2" descr="Localization and Internationalization Services - IdeaText">
            <a:extLst>
              <a:ext uri="{FF2B5EF4-FFF2-40B4-BE49-F238E27FC236}">
                <a16:creationId xmlns:a16="http://schemas.microsoft.com/office/drawing/2014/main" id="{1C2BD351-6476-471B-92AE-43044E984C89}"/>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5530" r="41818" b="3560"/>
          <a:stretch/>
        </p:blipFill>
        <p:spPr bwMode="auto">
          <a:xfrm>
            <a:off x="15" y="7"/>
            <a:ext cx="9143985" cy="514349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9" name="Sisällön paikkamerkki 2">
            <a:extLst>
              <a:ext uri="{FF2B5EF4-FFF2-40B4-BE49-F238E27FC236}">
                <a16:creationId xmlns:a16="http://schemas.microsoft.com/office/drawing/2014/main" id="{623F34E6-D17B-42C9-A6A5-5461B09D7E29}"/>
              </a:ext>
            </a:extLst>
          </p:cNvPr>
          <p:cNvGraphicFramePr>
            <a:graphicFrameLocks/>
          </p:cNvGraphicFramePr>
          <p:nvPr>
            <p:extLst>
              <p:ext uri="{D42A27DB-BD31-4B8C-83A1-F6EECF244321}">
                <p14:modId xmlns:p14="http://schemas.microsoft.com/office/powerpoint/2010/main" val="1288079938"/>
              </p:ext>
            </p:extLst>
          </p:nvPr>
        </p:nvGraphicFramePr>
        <p:xfrm>
          <a:off x="299711" y="582303"/>
          <a:ext cx="4952632" cy="397889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Oval 4">
            <a:extLst>
              <a:ext uri="{FF2B5EF4-FFF2-40B4-BE49-F238E27FC236}">
                <a16:creationId xmlns:a16="http://schemas.microsoft.com/office/drawing/2014/main" id="{16B5D0FE-1E5D-81CF-220F-1AFD2027155A}"/>
              </a:ext>
            </a:extLst>
          </p:cNvPr>
          <p:cNvSpPr/>
          <p:nvPr/>
        </p:nvSpPr>
        <p:spPr>
          <a:xfrm>
            <a:off x="7195608" y="239977"/>
            <a:ext cx="1634067" cy="1612319"/>
          </a:xfrm>
          <a:prstGeom prst="ellipse">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3200" b="1" dirty="0"/>
              <a:t>Why?</a:t>
            </a:r>
          </a:p>
        </p:txBody>
      </p:sp>
    </p:spTree>
    <p:extLst>
      <p:ext uri="{BB962C8B-B14F-4D97-AF65-F5344CB8AC3E}">
        <p14:creationId xmlns:p14="http://schemas.microsoft.com/office/powerpoint/2010/main" val="188663999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AF2281E-D9A1-4D78-88F1-D5A2007BE0D9}"/>
              </a:ext>
            </a:extLst>
          </p:cNvPr>
          <p:cNvSpPr>
            <a:spLocks noGrp="1"/>
          </p:cNvSpPr>
          <p:nvPr>
            <p:ph type="body" sz="half" idx="10"/>
          </p:nvPr>
        </p:nvSpPr>
        <p:spPr>
          <a:xfrm>
            <a:off x="517411" y="635363"/>
            <a:ext cx="8492897" cy="733141"/>
          </a:xfrm>
        </p:spPr>
        <p:txBody>
          <a:bodyPr/>
          <a:lstStyle/>
          <a:p>
            <a:r>
              <a:rPr lang="en-US" dirty="0"/>
              <a:t>Next time: Session 6 on November 8st   </a:t>
            </a:r>
            <a:endParaRPr lang="en-FI" dirty="0"/>
          </a:p>
        </p:txBody>
      </p:sp>
      <p:sp>
        <p:nvSpPr>
          <p:cNvPr id="3" name="Text Placeholder 2">
            <a:extLst>
              <a:ext uri="{FF2B5EF4-FFF2-40B4-BE49-F238E27FC236}">
                <a16:creationId xmlns:a16="http://schemas.microsoft.com/office/drawing/2014/main" id="{5F669965-2C37-4E46-9B17-C284E9EEEBCD}"/>
              </a:ext>
            </a:extLst>
          </p:cNvPr>
          <p:cNvSpPr>
            <a:spLocks noGrp="1"/>
          </p:cNvSpPr>
          <p:nvPr>
            <p:ph type="body" sz="half" idx="11"/>
          </p:nvPr>
        </p:nvSpPr>
        <p:spPr>
          <a:xfrm>
            <a:off x="682167" y="1368504"/>
            <a:ext cx="7779665" cy="2810006"/>
          </a:xfrm>
        </p:spPr>
        <p:txBody>
          <a:bodyPr/>
          <a:lstStyle/>
          <a:p>
            <a:r>
              <a:rPr lang="en-US" b="0" dirty="0"/>
              <a:t>CSR, Ethics, and Corruption in Global Strategy</a:t>
            </a:r>
          </a:p>
          <a:p>
            <a:endParaRPr lang="en-US" b="0" dirty="0"/>
          </a:p>
          <a:p>
            <a:pPr marL="342900" indent="-342900"/>
            <a:r>
              <a:rPr lang="en-US" b="0" dirty="0"/>
              <a:t>Read</a:t>
            </a:r>
          </a:p>
          <a:p>
            <a:pPr marL="971550" lvl="1" indent="-342900"/>
            <a:r>
              <a:rPr lang="en-US" b="0" dirty="0"/>
              <a:t>Kolk, A. 2016</a:t>
            </a:r>
          </a:p>
          <a:p>
            <a:pPr marL="971550" lvl="1" indent="-342900"/>
            <a:r>
              <a:rPr lang="en-US" b="0" dirty="0"/>
              <a:t>Ely &amp; Thomas, 2020</a:t>
            </a:r>
          </a:p>
        </p:txBody>
      </p:sp>
    </p:spTree>
    <p:extLst>
      <p:ext uri="{BB962C8B-B14F-4D97-AF65-F5344CB8AC3E}">
        <p14:creationId xmlns:p14="http://schemas.microsoft.com/office/powerpoint/2010/main" val="361828702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Oval 19">
            <a:extLst>
              <a:ext uri="{FF2B5EF4-FFF2-40B4-BE49-F238E27FC236}">
                <a16:creationId xmlns:a16="http://schemas.microsoft.com/office/drawing/2014/main" id="{1DA9A5BA-E0B6-E7A5-9EB1-D5618C09A117}"/>
              </a:ext>
            </a:extLst>
          </p:cNvPr>
          <p:cNvSpPr/>
          <p:nvPr/>
        </p:nvSpPr>
        <p:spPr>
          <a:xfrm>
            <a:off x="4534901" y="322729"/>
            <a:ext cx="4199915" cy="4243713"/>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A429CCA9-84D9-2813-1F95-1C611808DE05}"/>
              </a:ext>
            </a:extLst>
          </p:cNvPr>
          <p:cNvSpPr/>
          <p:nvPr/>
        </p:nvSpPr>
        <p:spPr>
          <a:xfrm>
            <a:off x="703764" y="322730"/>
            <a:ext cx="4199915" cy="4243713"/>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 name="Group 3">
            <a:extLst>
              <a:ext uri="{FF2B5EF4-FFF2-40B4-BE49-F238E27FC236}">
                <a16:creationId xmlns:a16="http://schemas.microsoft.com/office/drawing/2014/main" id="{252F4333-777A-DFAB-9FAB-F5A0441E3AE2}"/>
              </a:ext>
            </a:extLst>
          </p:cNvPr>
          <p:cNvGrpSpPr/>
          <p:nvPr/>
        </p:nvGrpSpPr>
        <p:grpSpPr>
          <a:xfrm>
            <a:off x="2415859" y="850097"/>
            <a:ext cx="4508875" cy="3320532"/>
            <a:chOff x="2085278" y="1187605"/>
            <a:chExt cx="4508875" cy="3320532"/>
          </a:xfrm>
        </p:grpSpPr>
        <p:grpSp>
          <p:nvGrpSpPr>
            <p:cNvPr id="5" name="Group 4">
              <a:extLst>
                <a:ext uri="{FF2B5EF4-FFF2-40B4-BE49-F238E27FC236}">
                  <a16:creationId xmlns:a16="http://schemas.microsoft.com/office/drawing/2014/main" id="{6466B41B-D32E-446B-E8D4-53094E332365}"/>
                </a:ext>
              </a:extLst>
            </p:cNvPr>
            <p:cNvGrpSpPr/>
            <p:nvPr/>
          </p:nvGrpSpPr>
          <p:grpSpPr>
            <a:xfrm>
              <a:off x="2085278" y="1187605"/>
              <a:ext cx="4508875" cy="3320532"/>
              <a:chOff x="2085278" y="1187605"/>
              <a:chExt cx="4508875" cy="3320532"/>
            </a:xfrm>
          </p:grpSpPr>
          <p:sp>
            <p:nvSpPr>
              <p:cNvPr id="9" name="Rectangle 8">
                <a:extLst>
                  <a:ext uri="{FF2B5EF4-FFF2-40B4-BE49-F238E27FC236}">
                    <a16:creationId xmlns:a16="http://schemas.microsoft.com/office/drawing/2014/main" id="{C5211D56-4635-231D-AA17-53F181ADE714}"/>
                  </a:ext>
                </a:extLst>
              </p:cNvPr>
              <p:cNvSpPr/>
              <p:nvPr/>
            </p:nvSpPr>
            <p:spPr>
              <a:xfrm>
                <a:off x="4341607" y="1187605"/>
                <a:ext cx="2252546" cy="3320532"/>
              </a:xfrm>
              <a:prstGeom prst="rect">
                <a:avLst/>
              </a:prstGeom>
              <a:ln>
                <a:prstDash val="dash"/>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10" name="Rectangle 9">
                <a:extLst>
                  <a:ext uri="{FF2B5EF4-FFF2-40B4-BE49-F238E27FC236}">
                    <a16:creationId xmlns:a16="http://schemas.microsoft.com/office/drawing/2014/main" id="{243AD310-23AB-75C7-B269-6CA128DF021C}"/>
                  </a:ext>
                </a:extLst>
              </p:cNvPr>
              <p:cNvSpPr/>
              <p:nvPr/>
            </p:nvSpPr>
            <p:spPr>
              <a:xfrm>
                <a:off x="2085278" y="1187605"/>
                <a:ext cx="2252546" cy="3320532"/>
              </a:xfrm>
              <a:prstGeom prst="rect">
                <a:avLst/>
              </a:prstGeom>
              <a:ln>
                <a:prstDash val="dash"/>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grpSp>
            <p:nvGrpSpPr>
              <p:cNvPr id="11" name="Group 10">
                <a:extLst>
                  <a:ext uri="{FF2B5EF4-FFF2-40B4-BE49-F238E27FC236}">
                    <a16:creationId xmlns:a16="http://schemas.microsoft.com/office/drawing/2014/main" id="{6C656AB9-0110-C070-4360-1A873DF21863}"/>
                  </a:ext>
                </a:extLst>
              </p:cNvPr>
              <p:cNvGrpSpPr/>
              <p:nvPr/>
            </p:nvGrpSpPr>
            <p:grpSpPr>
              <a:xfrm>
                <a:off x="2473141" y="1506235"/>
                <a:ext cx="3722654" cy="2503448"/>
                <a:chOff x="953428" y="1357826"/>
                <a:chExt cx="3152078" cy="2232866"/>
              </a:xfrm>
            </p:grpSpPr>
            <p:sp>
              <p:nvSpPr>
                <p:cNvPr id="12" name="Rectangle 11">
                  <a:extLst>
                    <a:ext uri="{FF2B5EF4-FFF2-40B4-BE49-F238E27FC236}">
                      <a16:creationId xmlns:a16="http://schemas.microsoft.com/office/drawing/2014/main" id="{1BEE033E-7451-D445-6683-9486D0D07B1F}"/>
                    </a:ext>
                  </a:extLst>
                </p:cNvPr>
                <p:cNvSpPr/>
                <p:nvPr/>
              </p:nvSpPr>
              <p:spPr>
                <a:xfrm>
                  <a:off x="2137312" y="3220757"/>
                  <a:ext cx="784307" cy="321228"/>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1200" dirty="0"/>
                    <a:t>Enhance</a:t>
                  </a:r>
                </a:p>
              </p:txBody>
            </p:sp>
            <p:sp>
              <p:nvSpPr>
                <p:cNvPr id="13" name="Rectangle 12">
                  <a:extLst>
                    <a:ext uri="{FF2B5EF4-FFF2-40B4-BE49-F238E27FC236}">
                      <a16:creationId xmlns:a16="http://schemas.microsoft.com/office/drawing/2014/main" id="{725AF718-AC2F-BA05-26B1-59290D3090D3}"/>
                    </a:ext>
                  </a:extLst>
                </p:cNvPr>
                <p:cNvSpPr/>
                <p:nvPr/>
              </p:nvSpPr>
              <p:spPr>
                <a:xfrm>
                  <a:off x="953428" y="2571749"/>
                  <a:ext cx="1137425" cy="1018943"/>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a:t>Augmented capabilities at home</a:t>
                  </a:r>
                </a:p>
              </p:txBody>
            </p:sp>
            <p:sp>
              <p:nvSpPr>
                <p:cNvPr id="14" name="Rectangle 13">
                  <a:extLst>
                    <a:ext uri="{FF2B5EF4-FFF2-40B4-BE49-F238E27FC236}">
                      <a16:creationId xmlns:a16="http://schemas.microsoft.com/office/drawing/2014/main" id="{DFF41C2A-3C51-1A44-15C3-FAEB89A18E91}"/>
                    </a:ext>
                  </a:extLst>
                </p:cNvPr>
                <p:cNvSpPr/>
                <p:nvPr/>
              </p:nvSpPr>
              <p:spPr>
                <a:xfrm>
                  <a:off x="2968081" y="2571748"/>
                  <a:ext cx="1137425" cy="1018943"/>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a:t>Target country-derived capabilities</a:t>
                  </a:r>
                </a:p>
              </p:txBody>
            </p:sp>
            <p:sp>
              <p:nvSpPr>
                <p:cNvPr id="15" name="Rectangle 14">
                  <a:extLst>
                    <a:ext uri="{FF2B5EF4-FFF2-40B4-BE49-F238E27FC236}">
                      <a16:creationId xmlns:a16="http://schemas.microsoft.com/office/drawing/2014/main" id="{135DFE9D-7425-F3C9-8224-E3BBC41AB5AD}"/>
                    </a:ext>
                  </a:extLst>
                </p:cNvPr>
                <p:cNvSpPr/>
                <p:nvPr/>
              </p:nvSpPr>
              <p:spPr>
                <a:xfrm>
                  <a:off x="953428" y="1357827"/>
                  <a:ext cx="1137425" cy="1018943"/>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a:t>Home-based capabilities</a:t>
                  </a:r>
                </a:p>
              </p:txBody>
            </p:sp>
            <p:sp>
              <p:nvSpPr>
                <p:cNvPr id="16" name="Rectangle 15">
                  <a:extLst>
                    <a:ext uri="{FF2B5EF4-FFF2-40B4-BE49-F238E27FC236}">
                      <a16:creationId xmlns:a16="http://schemas.microsoft.com/office/drawing/2014/main" id="{3A8FB199-CAC9-E3E2-0FF0-B5DC7191F842}"/>
                    </a:ext>
                  </a:extLst>
                </p:cNvPr>
                <p:cNvSpPr/>
                <p:nvPr/>
              </p:nvSpPr>
              <p:spPr>
                <a:xfrm>
                  <a:off x="2968081" y="1357826"/>
                  <a:ext cx="1137425" cy="1018943"/>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a:t>Target country/ Customer value</a:t>
                  </a:r>
                </a:p>
              </p:txBody>
            </p:sp>
            <p:sp>
              <p:nvSpPr>
                <p:cNvPr id="17" name="Arrow: Right 16">
                  <a:extLst>
                    <a:ext uri="{FF2B5EF4-FFF2-40B4-BE49-F238E27FC236}">
                      <a16:creationId xmlns:a16="http://schemas.microsoft.com/office/drawing/2014/main" id="{52F1F7E4-7A63-4DE0-944C-3AD0414290E8}"/>
                    </a:ext>
                  </a:extLst>
                </p:cNvPr>
                <p:cNvSpPr/>
                <p:nvPr/>
              </p:nvSpPr>
              <p:spPr>
                <a:xfrm>
                  <a:off x="2245111" y="1708615"/>
                  <a:ext cx="568712" cy="317364"/>
                </a:xfrm>
                <a:prstGeom prst="rightArrow">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dirty="0"/>
                    <a:t>RAT</a:t>
                  </a:r>
                </a:p>
              </p:txBody>
            </p:sp>
            <p:sp>
              <p:nvSpPr>
                <p:cNvPr id="18" name="Rectangle 17">
                  <a:extLst>
                    <a:ext uri="{FF2B5EF4-FFF2-40B4-BE49-F238E27FC236}">
                      <a16:creationId xmlns:a16="http://schemas.microsoft.com/office/drawing/2014/main" id="{AB7B4772-78DB-A524-5A60-F435787DA06B}"/>
                    </a:ext>
                  </a:extLst>
                </p:cNvPr>
                <p:cNvSpPr/>
                <p:nvPr/>
              </p:nvSpPr>
              <p:spPr>
                <a:xfrm>
                  <a:off x="2106646" y="1357827"/>
                  <a:ext cx="784306" cy="321228"/>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dirty="0"/>
                    <a:t>Exploit</a:t>
                  </a:r>
                </a:p>
              </p:txBody>
            </p:sp>
          </p:grpSp>
        </p:grpSp>
        <p:sp>
          <p:nvSpPr>
            <p:cNvPr id="6" name="Rectangle 5">
              <a:extLst>
                <a:ext uri="{FF2B5EF4-FFF2-40B4-BE49-F238E27FC236}">
                  <a16:creationId xmlns:a16="http://schemas.microsoft.com/office/drawing/2014/main" id="{DB30A23C-B29E-E547-EA5B-986B9D0803F7}"/>
                </a:ext>
              </a:extLst>
            </p:cNvPr>
            <p:cNvSpPr/>
            <p:nvPr/>
          </p:nvSpPr>
          <p:spPr>
            <a:xfrm>
              <a:off x="5060997" y="1216810"/>
              <a:ext cx="926278" cy="206345"/>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b="1" dirty="0"/>
                <a:t>External</a:t>
              </a:r>
            </a:p>
          </p:txBody>
        </p:sp>
        <p:sp>
          <p:nvSpPr>
            <p:cNvPr id="7" name="Rectangle 6">
              <a:extLst>
                <a:ext uri="{FF2B5EF4-FFF2-40B4-BE49-F238E27FC236}">
                  <a16:creationId xmlns:a16="http://schemas.microsoft.com/office/drawing/2014/main" id="{4BC33DE8-23BA-9311-F8EA-2942C3F1439C}"/>
                </a:ext>
              </a:extLst>
            </p:cNvPr>
            <p:cNvSpPr/>
            <p:nvPr/>
          </p:nvSpPr>
          <p:spPr>
            <a:xfrm>
              <a:off x="2681660" y="1232977"/>
              <a:ext cx="926278" cy="190178"/>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b="1" dirty="0"/>
                <a:t>Internal</a:t>
              </a:r>
            </a:p>
          </p:txBody>
        </p:sp>
        <p:sp>
          <p:nvSpPr>
            <p:cNvPr id="8" name="Arrow: Left 7">
              <a:extLst>
                <a:ext uri="{FF2B5EF4-FFF2-40B4-BE49-F238E27FC236}">
                  <a16:creationId xmlns:a16="http://schemas.microsoft.com/office/drawing/2014/main" id="{99714653-C617-E1AC-EB52-2266665FD24F}"/>
                </a:ext>
              </a:extLst>
            </p:cNvPr>
            <p:cNvSpPr/>
            <p:nvPr/>
          </p:nvSpPr>
          <p:spPr>
            <a:xfrm>
              <a:off x="3962194" y="3313305"/>
              <a:ext cx="708103" cy="354999"/>
            </a:xfrm>
            <a:prstGeom prst="leftArrow">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dirty="0"/>
                <a:t>CAT</a:t>
              </a:r>
            </a:p>
          </p:txBody>
        </p:sp>
      </p:grpSp>
      <p:sp>
        <p:nvSpPr>
          <p:cNvPr id="21" name="Rectangle 20">
            <a:extLst>
              <a:ext uri="{FF2B5EF4-FFF2-40B4-BE49-F238E27FC236}">
                <a16:creationId xmlns:a16="http://schemas.microsoft.com/office/drawing/2014/main" id="{367D7629-36E4-6986-41C5-D16AAFC0F633}"/>
              </a:ext>
            </a:extLst>
          </p:cNvPr>
          <p:cNvSpPr/>
          <p:nvPr/>
        </p:nvSpPr>
        <p:spPr>
          <a:xfrm>
            <a:off x="7257727" y="1501205"/>
            <a:ext cx="1178671" cy="304543"/>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dirty="0"/>
              <a:t>Megatrends</a:t>
            </a:r>
          </a:p>
        </p:txBody>
      </p:sp>
      <p:sp>
        <p:nvSpPr>
          <p:cNvPr id="22" name="Rectangle 21">
            <a:extLst>
              <a:ext uri="{FF2B5EF4-FFF2-40B4-BE49-F238E27FC236}">
                <a16:creationId xmlns:a16="http://schemas.microsoft.com/office/drawing/2014/main" id="{D9A01B98-503E-1CC4-F5A2-6BE5E1A77FB2}"/>
              </a:ext>
            </a:extLst>
          </p:cNvPr>
          <p:cNvSpPr/>
          <p:nvPr/>
        </p:nvSpPr>
        <p:spPr>
          <a:xfrm>
            <a:off x="6954587" y="1934303"/>
            <a:ext cx="1619522" cy="304543"/>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dirty="0"/>
              <a:t>(De)globalization</a:t>
            </a:r>
          </a:p>
        </p:txBody>
      </p:sp>
      <p:sp>
        <p:nvSpPr>
          <p:cNvPr id="23" name="Rectangle 22">
            <a:extLst>
              <a:ext uri="{FF2B5EF4-FFF2-40B4-BE49-F238E27FC236}">
                <a16:creationId xmlns:a16="http://schemas.microsoft.com/office/drawing/2014/main" id="{8D5EF873-0A49-F800-ADFC-55145E4DBA95}"/>
              </a:ext>
            </a:extLst>
          </p:cNvPr>
          <p:cNvSpPr/>
          <p:nvPr/>
        </p:nvSpPr>
        <p:spPr>
          <a:xfrm>
            <a:off x="1218358" y="1348805"/>
            <a:ext cx="926278" cy="360155"/>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dirty="0"/>
              <a:t>Learning</a:t>
            </a:r>
          </a:p>
        </p:txBody>
      </p:sp>
      <p:sp>
        <p:nvSpPr>
          <p:cNvPr id="24" name="Rectangle 23">
            <a:extLst>
              <a:ext uri="{FF2B5EF4-FFF2-40B4-BE49-F238E27FC236}">
                <a16:creationId xmlns:a16="http://schemas.microsoft.com/office/drawing/2014/main" id="{A42B2251-BE45-9BC8-F6F4-52117292DA28}"/>
              </a:ext>
            </a:extLst>
          </p:cNvPr>
          <p:cNvSpPr/>
          <p:nvPr/>
        </p:nvSpPr>
        <p:spPr>
          <a:xfrm>
            <a:off x="841051" y="1909978"/>
            <a:ext cx="1345176" cy="534607"/>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dirty="0"/>
              <a:t>Dynamic capabilities</a:t>
            </a:r>
          </a:p>
        </p:txBody>
      </p:sp>
      <p:sp>
        <p:nvSpPr>
          <p:cNvPr id="25" name="Rectangle 24">
            <a:extLst>
              <a:ext uri="{FF2B5EF4-FFF2-40B4-BE49-F238E27FC236}">
                <a16:creationId xmlns:a16="http://schemas.microsoft.com/office/drawing/2014/main" id="{C2F677D7-402E-26BF-B11E-0A0DD0000584}"/>
              </a:ext>
            </a:extLst>
          </p:cNvPr>
          <p:cNvSpPr/>
          <p:nvPr/>
        </p:nvSpPr>
        <p:spPr>
          <a:xfrm>
            <a:off x="6954587" y="3205999"/>
            <a:ext cx="1481811" cy="304543"/>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dirty="0"/>
              <a:t>Shocks &amp; crises</a:t>
            </a:r>
          </a:p>
        </p:txBody>
      </p:sp>
      <p:sp>
        <p:nvSpPr>
          <p:cNvPr id="26" name="Rectangle 25">
            <a:extLst>
              <a:ext uri="{FF2B5EF4-FFF2-40B4-BE49-F238E27FC236}">
                <a16:creationId xmlns:a16="http://schemas.microsoft.com/office/drawing/2014/main" id="{39E4A097-03DB-BD48-CE3D-A0B28FB774A2}"/>
              </a:ext>
            </a:extLst>
          </p:cNvPr>
          <p:cNvSpPr/>
          <p:nvPr/>
        </p:nvSpPr>
        <p:spPr>
          <a:xfrm>
            <a:off x="6966387" y="2581548"/>
            <a:ext cx="1619522" cy="304543"/>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dirty="0"/>
              <a:t>Institutional framework changes</a:t>
            </a:r>
          </a:p>
        </p:txBody>
      </p:sp>
      <p:sp>
        <p:nvSpPr>
          <p:cNvPr id="27" name="Rectangle 26">
            <a:extLst>
              <a:ext uri="{FF2B5EF4-FFF2-40B4-BE49-F238E27FC236}">
                <a16:creationId xmlns:a16="http://schemas.microsoft.com/office/drawing/2014/main" id="{A695BCCD-716C-2AB6-1638-C06F5517162A}"/>
              </a:ext>
            </a:extLst>
          </p:cNvPr>
          <p:cNvSpPr/>
          <p:nvPr/>
        </p:nvSpPr>
        <p:spPr>
          <a:xfrm>
            <a:off x="921776" y="2708493"/>
            <a:ext cx="1345176" cy="534607"/>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dirty="0"/>
              <a:t>Strategic innovation</a:t>
            </a:r>
          </a:p>
        </p:txBody>
      </p:sp>
      <p:sp>
        <p:nvSpPr>
          <p:cNvPr id="28" name="Rectangle 27">
            <a:extLst>
              <a:ext uri="{FF2B5EF4-FFF2-40B4-BE49-F238E27FC236}">
                <a16:creationId xmlns:a16="http://schemas.microsoft.com/office/drawing/2014/main" id="{6CBF46FC-50B4-DDE6-3515-B00C89077B16}"/>
              </a:ext>
            </a:extLst>
          </p:cNvPr>
          <p:cNvSpPr/>
          <p:nvPr/>
        </p:nvSpPr>
        <p:spPr>
          <a:xfrm>
            <a:off x="1191162" y="3296208"/>
            <a:ext cx="1075789" cy="360155"/>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dirty="0"/>
              <a:t>Experience</a:t>
            </a:r>
          </a:p>
        </p:txBody>
      </p:sp>
      <p:sp>
        <p:nvSpPr>
          <p:cNvPr id="2" name="Rectangle: Rounded Corners 1">
            <a:extLst>
              <a:ext uri="{FF2B5EF4-FFF2-40B4-BE49-F238E27FC236}">
                <a16:creationId xmlns:a16="http://schemas.microsoft.com/office/drawing/2014/main" id="{CE18D152-A48D-4DC1-5A3D-A94C63EF8B42}"/>
              </a:ext>
            </a:extLst>
          </p:cNvPr>
          <p:cNvSpPr/>
          <p:nvPr/>
        </p:nvSpPr>
        <p:spPr>
          <a:xfrm>
            <a:off x="4141234" y="2001226"/>
            <a:ext cx="1101412" cy="88486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ifferent roles of target countries</a:t>
            </a:r>
          </a:p>
        </p:txBody>
      </p:sp>
    </p:spTree>
    <p:extLst>
      <p:ext uri="{BB962C8B-B14F-4D97-AF65-F5344CB8AC3E}">
        <p14:creationId xmlns:p14="http://schemas.microsoft.com/office/powerpoint/2010/main" val="34990277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F3F630B-0F73-483A-838D-6B23394D1B86}"/>
              </a:ext>
            </a:extLst>
          </p:cNvPr>
          <p:cNvSpPr>
            <a:spLocks noGrp="1"/>
          </p:cNvSpPr>
          <p:nvPr>
            <p:ph type="body" sz="half" idx="4294967295"/>
          </p:nvPr>
        </p:nvSpPr>
        <p:spPr>
          <a:xfrm>
            <a:off x="0" y="793496"/>
            <a:ext cx="4645151" cy="3049588"/>
          </a:xfrm>
          <a:prstGeom prst="rect">
            <a:avLst/>
          </a:prstGeom>
        </p:spPr>
        <p:txBody>
          <a:bodyPr/>
          <a:lstStyle/>
          <a:p>
            <a:pPr marL="457200" indent="-457200">
              <a:spcBef>
                <a:spcPts val="600"/>
              </a:spcBef>
              <a:buFont typeface="+mj-lt"/>
              <a:buAutoNum type="arabicPeriod"/>
            </a:pPr>
            <a:r>
              <a:rPr lang="en-US" dirty="0">
                <a:solidFill>
                  <a:schemeClr val="bg1"/>
                </a:solidFill>
              </a:rPr>
              <a:t>Tarun Sharma, COO @ Nokia</a:t>
            </a:r>
          </a:p>
          <a:p>
            <a:pPr marL="457200" indent="-457200">
              <a:spcBef>
                <a:spcPts val="600"/>
              </a:spcBef>
              <a:buFont typeface="+mj-lt"/>
              <a:buAutoNum type="arabicPeriod"/>
            </a:pPr>
            <a:r>
              <a:rPr lang="en-US" b="1" dirty="0">
                <a:solidFill>
                  <a:schemeClr val="bg1"/>
                </a:solidFill>
              </a:rPr>
              <a:t>Expansion and entry strategies</a:t>
            </a:r>
          </a:p>
          <a:p>
            <a:pPr marL="800100" lvl="1" indent="-457200">
              <a:spcBef>
                <a:spcPts val="600"/>
              </a:spcBef>
              <a:buFont typeface="+mj-lt"/>
              <a:buAutoNum type="arabicPeriod"/>
            </a:pPr>
            <a:r>
              <a:rPr lang="en-US" b="1" dirty="0">
                <a:solidFill>
                  <a:schemeClr val="bg1"/>
                </a:solidFill>
              </a:rPr>
              <a:t>Why to expand?</a:t>
            </a:r>
          </a:p>
          <a:p>
            <a:pPr marL="800100" lvl="1" indent="-457200">
              <a:spcBef>
                <a:spcPts val="600"/>
              </a:spcBef>
              <a:buFont typeface="+mj-lt"/>
              <a:buAutoNum type="arabicPeriod"/>
            </a:pPr>
            <a:r>
              <a:rPr lang="en-US" b="1" dirty="0">
                <a:solidFill>
                  <a:schemeClr val="bg1"/>
                </a:solidFill>
              </a:rPr>
              <a:t>Where to expand?</a:t>
            </a:r>
          </a:p>
          <a:p>
            <a:pPr marL="800100" lvl="1" indent="-457200">
              <a:spcBef>
                <a:spcPts val="600"/>
              </a:spcBef>
              <a:buFont typeface="+mj-lt"/>
              <a:buAutoNum type="arabicPeriod"/>
            </a:pPr>
            <a:r>
              <a:rPr lang="en-US" b="1" dirty="0">
                <a:solidFill>
                  <a:schemeClr val="bg1"/>
                </a:solidFill>
              </a:rPr>
              <a:t>How to expand?</a:t>
            </a:r>
          </a:p>
        </p:txBody>
      </p:sp>
      <p:pic>
        <p:nvPicPr>
          <p:cNvPr id="1032" name="Picture 8" descr="Agenda &amp; Minutes Template with Action Sheet - Community Leadership">
            <a:extLst>
              <a:ext uri="{FF2B5EF4-FFF2-40B4-BE49-F238E27FC236}">
                <a16:creationId xmlns:a16="http://schemas.microsoft.com/office/drawing/2014/main" id="{71B26DDD-0BD3-FC12-83BE-65867966BF0B}"/>
              </a:ext>
            </a:extLst>
          </p:cNvPr>
          <p:cNvPicPr>
            <a:picLocks noGrp="1" noChangeAspect="1" noChangeArrowheads="1"/>
          </p:cNvPicPr>
          <p:nvPr>
            <p:ph type="pic" idx="11"/>
          </p:nvPr>
        </p:nvPicPr>
        <p:blipFill rotWithShape="1">
          <a:blip r:embed="rId2">
            <a:extLst>
              <a:ext uri="{28A0092B-C50C-407E-A947-70E740481C1C}">
                <a14:useLocalDpi xmlns:a14="http://schemas.microsoft.com/office/drawing/2010/main" val="0"/>
              </a:ext>
            </a:extLst>
          </a:blip>
          <a:srcRect l="35216" r="8106"/>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562728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C07CEBB-720D-44A0-9650-0895DF3B3DFD}"/>
              </a:ext>
            </a:extLst>
          </p:cNvPr>
          <p:cNvSpPr>
            <a:spLocks noGrp="1"/>
          </p:cNvSpPr>
          <p:nvPr>
            <p:ph type="body" sz="quarter" idx="12"/>
          </p:nvPr>
        </p:nvSpPr>
        <p:spPr>
          <a:xfrm>
            <a:off x="287338" y="519113"/>
            <a:ext cx="3505729" cy="3767587"/>
          </a:xfrm>
        </p:spPr>
        <p:txBody>
          <a:bodyPr/>
          <a:lstStyle/>
          <a:p>
            <a:r>
              <a:rPr lang="en-US" sz="2000" dirty="0"/>
              <a:t>But what you really need to remember from this is Rats, Cats, and locations’ roles in building competitive advantage</a:t>
            </a:r>
          </a:p>
        </p:txBody>
      </p:sp>
      <p:pic>
        <p:nvPicPr>
          <p:cNvPr id="6" name="Picture 5">
            <a:extLst>
              <a:ext uri="{FF2B5EF4-FFF2-40B4-BE49-F238E27FC236}">
                <a16:creationId xmlns:a16="http://schemas.microsoft.com/office/drawing/2014/main" id="{3539DA3D-6945-6364-D9F4-7CE6C4D620E5}"/>
              </a:ext>
            </a:extLst>
          </p:cNvPr>
          <p:cNvPicPr>
            <a:picLocks noChangeAspect="1"/>
          </p:cNvPicPr>
          <p:nvPr/>
        </p:nvPicPr>
        <p:blipFill>
          <a:blip r:embed="rId2"/>
          <a:stretch>
            <a:fillRect/>
          </a:stretch>
        </p:blipFill>
        <p:spPr>
          <a:xfrm>
            <a:off x="4000500" y="0"/>
            <a:ext cx="5143500" cy="5143500"/>
          </a:xfrm>
          <a:prstGeom prst="rect">
            <a:avLst/>
          </a:prstGeom>
        </p:spPr>
      </p:pic>
    </p:spTree>
    <p:extLst>
      <p:ext uri="{BB962C8B-B14F-4D97-AF65-F5344CB8AC3E}">
        <p14:creationId xmlns:p14="http://schemas.microsoft.com/office/powerpoint/2010/main" val="394803139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FE1037E-A25C-2619-1294-C5071D429C6B}"/>
              </a:ext>
            </a:extLst>
          </p:cNvPr>
          <p:cNvSpPr/>
          <p:nvPr/>
        </p:nvSpPr>
        <p:spPr>
          <a:xfrm>
            <a:off x="463463" y="338203"/>
            <a:ext cx="4204942" cy="4129413"/>
          </a:xfrm>
          <a:prstGeom prst="rect">
            <a:avLst/>
          </a:prstGeom>
          <a:noFill/>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29" name="Rectangle 28">
            <a:extLst>
              <a:ext uri="{FF2B5EF4-FFF2-40B4-BE49-F238E27FC236}">
                <a16:creationId xmlns:a16="http://schemas.microsoft.com/office/drawing/2014/main" id="{F4469FBE-59FD-701A-9A8E-EC3ED0215336}"/>
              </a:ext>
            </a:extLst>
          </p:cNvPr>
          <p:cNvSpPr/>
          <p:nvPr/>
        </p:nvSpPr>
        <p:spPr>
          <a:xfrm>
            <a:off x="4672188" y="338203"/>
            <a:ext cx="4204942" cy="4129413"/>
          </a:xfrm>
          <a:prstGeom prst="rect">
            <a:avLst/>
          </a:prstGeom>
          <a:noFill/>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grpSp>
        <p:nvGrpSpPr>
          <p:cNvPr id="4" name="Group 3">
            <a:extLst>
              <a:ext uri="{FF2B5EF4-FFF2-40B4-BE49-F238E27FC236}">
                <a16:creationId xmlns:a16="http://schemas.microsoft.com/office/drawing/2014/main" id="{252F4333-777A-DFAB-9FAB-F5A0441E3AE2}"/>
              </a:ext>
            </a:extLst>
          </p:cNvPr>
          <p:cNvGrpSpPr/>
          <p:nvPr/>
        </p:nvGrpSpPr>
        <p:grpSpPr>
          <a:xfrm>
            <a:off x="2415859" y="850097"/>
            <a:ext cx="4508875" cy="3320532"/>
            <a:chOff x="2085278" y="1187605"/>
            <a:chExt cx="4508875" cy="3320532"/>
          </a:xfrm>
        </p:grpSpPr>
        <p:grpSp>
          <p:nvGrpSpPr>
            <p:cNvPr id="5" name="Group 4">
              <a:extLst>
                <a:ext uri="{FF2B5EF4-FFF2-40B4-BE49-F238E27FC236}">
                  <a16:creationId xmlns:a16="http://schemas.microsoft.com/office/drawing/2014/main" id="{6466B41B-D32E-446B-E8D4-53094E332365}"/>
                </a:ext>
              </a:extLst>
            </p:cNvPr>
            <p:cNvGrpSpPr/>
            <p:nvPr/>
          </p:nvGrpSpPr>
          <p:grpSpPr>
            <a:xfrm>
              <a:off x="2085278" y="1187605"/>
              <a:ext cx="4508875" cy="3320532"/>
              <a:chOff x="2085278" y="1187605"/>
              <a:chExt cx="4508875" cy="3320532"/>
            </a:xfrm>
          </p:grpSpPr>
          <p:sp>
            <p:nvSpPr>
              <p:cNvPr id="9" name="Rectangle 8">
                <a:extLst>
                  <a:ext uri="{FF2B5EF4-FFF2-40B4-BE49-F238E27FC236}">
                    <a16:creationId xmlns:a16="http://schemas.microsoft.com/office/drawing/2014/main" id="{C5211D56-4635-231D-AA17-53F181ADE714}"/>
                  </a:ext>
                </a:extLst>
              </p:cNvPr>
              <p:cNvSpPr/>
              <p:nvPr/>
            </p:nvSpPr>
            <p:spPr>
              <a:xfrm>
                <a:off x="4341607" y="1187605"/>
                <a:ext cx="2252546" cy="3320532"/>
              </a:xfrm>
              <a:prstGeom prst="rect">
                <a:avLst/>
              </a:prstGeom>
              <a:ln>
                <a:prstDash val="dash"/>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10" name="Rectangle 9">
                <a:extLst>
                  <a:ext uri="{FF2B5EF4-FFF2-40B4-BE49-F238E27FC236}">
                    <a16:creationId xmlns:a16="http://schemas.microsoft.com/office/drawing/2014/main" id="{243AD310-23AB-75C7-B269-6CA128DF021C}"/>
                  </a:ext>
                </a:extLst>
              </p:cNvPr>
              <p:cNvSpPr/>
              <p:nvPr/>
            </p:nvSpPr>
            <p:spPr>
              <a:xfrm>
                <a:off x="2085278" y="1187605"/>
                <a:ext cx="2252546" cy="3320532"/>
              </a:xfrm>
              <a:prstGeom prst="rect">
                <a:avLst/>
              </a:prstGeom>
              <a:ln>
                <a:prstDash val="dash"/>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grpSp>
            <p:nvGrpSpPr>
              <p:cNvPr id="11" name="Group 10">
                <a:extLst>
                  <a:ext uri="{FF2B5EF4-FFF2-40B4-BE49-F238E27FC236}">
                    <a16:creationId xmlns:a16="http://schemas.microsoft.com/office/drawing/2014/main" id="{6C656AB9-0110-C070-4360-1A873DF21863}"/>
                  </a:ext>
                </a:extLst>
              </p:cNvPr>
              <p:cNvGrpSpPr/>
              <p:nvPr/>
            </p:nvGrpSpPr>
            <p:grpSpPr>
              <a:xfrm>
                <a:off x="2473141" y="1506235"/>
                <a:ext cx="3722654" cy="2503448"/>
                <a:chOff x="953428" y="1357826"/>
                <a:chExt cx="3152078" cy="2232866"/>
              </a:xfrm>
            </p:grpSpPr>
            <p:sp>
              <p:nvSpPr>
                <p:cNvPr id="12" name="Rectangle 11">
                  <a:extLst>
                    <a:ext uri="{FF2B5EF4-FFF2-40B4-BE49-F238E27FC236}">
                      <a16:creationId xmlns:a16="http://schemas.microsoft.com/office/drawing/2014/main" id="{1BEE033E-7451-D445-6683-9486D0D07B1F}"/>
                    </a:ext>
                  </a:extLst>
                </p:cNvPr>
                <p:cNvSpPr/>
                <p:nvPr/>
              </p:nvSpPr>
              <p:spPr>
                <a:xfrm>
                  <a:off x="2137312" y="3220757"/>
                  <a:ext cx="784307" cy="321228"/>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1200" dirty="0"/>
                    <a:t>Enhance</a:t>
                  </a:r>
                </a:p>
              </p:txBody>
            </p:sp>
            <p:sp>
              <p:nvSpPr>
                <p:cNvPr id="13" name="Rectangle 12">
                  <a:extLst>
                    <a:ext uri="{FF2B5EF4-FFF2-40B4-BE49-F238E27FC236}">
                      <a16:creationId xmlns:a16="http://schemas.microsoft.com/office/drawing/2014/main" id="{725AF718-AC2F-BA05-26B1-59290D3090D3}"/>
                    </a:ext>
                  </a:extLst>
                </p:cNvPr>
                <p:cNvSpPr/>
                <p:nvPr/>
              </p:nvSpPr>
              <p:spPr>
                <a:xfrm>
                  <a:off x="953428" y="2571749"/>
                  <a:ext cx="1137425" cy="1018943"/>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a:t>Augmented capabilities at home</a:t>
                  </a:r>
                </a:p>
              </p:txBody>
            </p:sp>
            <p:sp>
              <p:nvSpPr>
                <p:cNvPr id="14" name="Rectangle 13">
                  <a:extLst>
                    <a:ext uri="{FF2B5EF4-FFF2-40B4-BE49-F238E27FC236}">
                      <a16:creationId xmlns:a16="http://schemas.microsoft.com/office/drawing/2014/main" id="{DFF41C2A-3C51-1A44-15C3-FAEB89A18E91}"/>
                    </a:ext>
                  </a:extLst>
                </p:cNvPr>
                <p:cNvSpPr/>
                <p:nvPr/>
              </p:nvSpPr>
              <p:spPr>
                <a:xfrm>
                  <a:off x="2968081" y="2571748"/>
                  <a:ext cx="1137425" cy="1018943"/>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a:t>Target country-derived capabilities</a:t>
                  </a:r>
                </a:p>
              </p:txBody>
            </p:sp>
            <p:sp>
              <p:nvSpPr>
                <p:cNvPr id="15" name="Rectangle 14">
                  <a:extLst>
                    <a:ext uri="{FF2B5EF4-FFF2-40B4-BE49-F238E27FC236}">
                      <a16:creationId xmlns:a16="http://schemas.microsoft.com/office/drawing/2014/main" id="{135DFE9D-7425-F3C9-8224-E3BBC41AB5AD}"/>
                    </a:ext>
                  </a:extLst>
                </p:cNvPr>
                <p:cNvSpPr/>
                <p:nvPr/>
              </p:nvSpPr>
              <p:spPr>
                <a:xfrm>
                  <a:off x="953428" y="1357827"/>
                  <a:ext cx="1137425" cy="1018943"/>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a:t>Home-based capabilities</a:t>
                  </a:r>
                </a:p>
              </p:txBody>
            </p:sp>
            <p:sp>
              <p:nvSpPr>
                <p:cNvPr id="16" name="Rectangle 15">
                  <a:extLst>
                    <a:ext uri="{FF2B5EF4-FFF2-40B4-BE49-F238E27FC236}">
                      <a16:creationId xmlns:a16="http://schemas.microsoft.com/office/drawing/2014/main" id="{3A8FB199-CAC9-E3E2-0FF0-B5DC7191F842}"/>
                    </a:ext>
                  </a:extLst>
                </p:cNvPr>
                <p:cNvSpPr/>
                <p:nvPr/>
              </p:nvSpPr>
              <p:spPr>
                <a:xfrm>
                  <a:off x="2968081" y="1357826"/>
                  <a:ext cx="1137425" cy="1018943"/>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dirty="0"/>
                    <a:t>Target country/ Customer value</a:t>
                  </a:r>
                </a:p>
              </p:txBody>
            </p:sp>
            <p:sp>
              <p:nvSpPr>
                <p:cNvPr id="17" name="Arrow: Right 16">
                  <a:extLst>
                    <a:ext uri="{FF2B5EF4-FFF2-40B4-BE49-F238E27FC236}">
                      <a16:creationId xmlns:a16="http://schemas.microsoft.com/office/drawing/2014/main" id="{52F1F7E4-7A63-4DE0-944C-3AD0414290E8}"/>
                    </a:ext>
                  </a:extLst>
                </p:cNvPr>
                <p:cNvSpPr/>
                <p:nvPr/>
              </p:nvSpPr>
              <p:spPr>
                <a:xfrm>
                  <a:off x="2245111" y="1708615"/>
                  <a:ext cx="568712" cy="317364"/>
                </a:xfrm>
                <a:prstGeom prst="rightArrow">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dirty="0"/>
                    <a:t>RAT</a:t>
                  </a:r>
                </a:p>
              </p:txBody>
            </p:sp>
            <p:sp>
              <p:nvSpPr>
                <p:cNvPr id="18" name="Rectangle 17">
                  <a:extLst>
                    <a:ext uri="{FF2B5EF4-FFF2-40B4-BE49-F238E27FC236}">
                      <a16:creationId xmlns:a16="http://schemas.microsoft.com/office/drawing/2014/main" id="{AB7B4772-78DB-A524-5A60-F435787DA06B}"/>
                    </a:ext>
                  </a:extLst>
                </p:cNvPr>
                <p:cNvSpPr/>
                <p:nvPr/>
              </p:nvSpPr>
              <p:spPr>
                <a:xfrm>
                  <a:off x="2106646" y="1357827"/>
                  <a:ext cx="784306" cy="321228"/>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dirty="0"/>
                    <a:t>Exploit</a:t>
                  </a:r>
                </a:p>
              </p:txBody>
            </p:sp>
          </p:grpSp>
        </p:grpSp>
        <p:sp>
          <p:nvSpPr>
            <p:cNvPr id="6" name="Rectangle 5">
              <a:extLst>
                <a:ext uri="{FF2B5EF4-FFF2-40B4-BE49-F238E27FC236}">
                  <a16:creationId xmlns:a16="http://schemas.microsoft.com/office/drawing/2014/main" id="{DB30A23C-B29E-E547-EA5B-986B9D0803F7}"/>
                </a:ext>
              </a:extLst>
            </p:cNvPr>
            <p:cNvSpPr/>
            <p:nvPr/>
          </p:nvSpPr>
          <p:spPr>
            <a:xfrm>
              <a:off x="5060997" y="1216810"/>
              <a:ext cx="926278" cy="206345"/>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b="1" dirty="0"/>
                <a:t>External</a:t>
              </a:r>
            </a:p>
          </p:txBody>
        </p:sp>
        <p:sp>
          <p:nvSpPr>
            <p:cNvPr id="7" name="Rectangle 6">
              <a:extLst>
                <a:ext uri="{FF2B5EF4-FFF2-40B4-BE49-F238E27FC236}">
                  <a16:creationId xmlns:a16="http://schemas.microsoft.com/office/drawing/2014/main" id="{4BC33DE8-23BA-9311-F8EA-2942C3F1439C}"/>
                </a:ext>
              </a:extLst>
            </p:cNvPr>
            <p:cNvSpPr/>
            <p:nvPr/>
          </p:nvSpPr>
          <p:spPr>
            <a:xfrm>
              <a:off x="2681660" y="1232977"/>
              <a:ext cx="926278" cy="190178"/>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b="1" dirty="0"/>
                <a:t>Internal</a:t>
              </a:r>
            </a:p>
          </p:txBody>
        </p:sp>
        <p:sp>
          <p:nvSpPr>
            <p:cNvPr id="8" name="Arrow: Left 7">
              <a:extLst>
                <a:ext uri="{FF2B5EF4-FFF2-40B4-BE49-F238E27FC236}">
                  <a16:creationId xmlns:a16="http://schemas.microsoft.com/office/drawing/2014/main" id="{99714653-C617-E1AC-EB52-2266665FD24F}"/>
                </a:ext>
              </a:extLst>
            </p:cNvPr>
            <p:cNvSpPr/>
            <p:nvPr/>
          </p:nvSpPr>
          <p:spPr>
            <a:xfrm>
              <a:off x="3962194" y="3313305"/>
              <a:ext cx="708103" cy="354999"/>
            </a:xfrm>
            <a:prstGeom prst="leftArrow">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dirty="0"/>
                <a:t>CAT</a:t>
              </a:r>
            </a:p>
          </p:txBody>
        </p:sp>
      </p:grpSp>
      <p:sp>
        <p:nvSpPr>
          <p:cNvPr id="21" name="Rectangle 20">
            <a:extLst>
              <a:ext uri="{FF2B5EF4-FFF2-40B4-BE49-F238E27FC236}">
                <a16:creationId xmlns:a16="http://schemas.microsoft.com/office/drawing/2014/main" id="{367D7629-36E4-6986-41C5-D16AAFC0F633}"/>
              </a:ext>
            </a:extLst>
          </p:cNvPr>
          <p:cNvSpPr/>
          <p:nvPr/>
        </p:nvSpPr>
        <p:spPr>
          <a:xfrm>
            <a:off x="7257727" y="1501205"/>
            <a:ext cx="1178671" cy="304543"/>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dirty="0"/>
              <a:t>Megatrends</a:t>
            </a:r>
          </a:p>
        </p:txBody>
      </p:sp>
      <p:sp>
        <p:nvSpPr>
          <p:cNvPr id="22" name="Rectangle 21">
            <a:extLst>
              <a:ext uri="{FF2B5EF4-FFF2-40B4-BE49-F238E27FC236}">
                <a16:creationId xmlns:a16="http://schemas.microsoft.com/office/drawing/2014/main" id="{D9A01B98-503E-1CC4-F5A2-6BE5E1A77FB2}"/>
              </a:ext>
            </a:extLst>
          </p:cNvPr>
          <p:cNvSpPr/>
          <p:nvPr/>
        </p:nvSpPr>
        <p:spPr>
          <a:xfrm>
            <a:off x="6954587" y="1934303"/>
            <a:ext cx="1619522" cy="304543"/>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dirty="0"/>
              <a:t>(De)globalization</a:t>
            </a:r>
          </a:p>
        </p:txBody>
      </p:sp>
      <p:sp>
        <p:nvSpPr>
          <p:cNvPr id="23" name="Rectangle 22">
            <a:extLst>
              <a:ext uri="{FF2B5EF4-FFF2-40B4-BE49-F238E27FC236}">
                <a16:creationId xmlns:a16="http://schemas.microsoft.com/office/drawing/2014/main" id="{8D5EF873-0A49-F800-ADFC-55145E4DBA95}"/>
              </a:ext>
            </a:extLst>
          </p:cNvPr>
          <p:cNvSpPr/>
          <p:nvPr/>
        </p:nvSpPr>
        <p:spPr>
          <a:xfrm>
            <a:off x="1218358" y="1348805"/>
            <a:ext cx="926278" cy="360155"/>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dirty="0"/>
              <a:t>Learning</a:t>
            </a:r>
          </a:p>
        </p:txBody>
      </p:sp>
      <p:sp>
        <p:nvSpPr>
          <p:cNvPr id="24" name="Rectangle 23">
            <a:extLst>
              <a:ext uri="{FF2B5EF4-FFF2-40B4-BE49-F238E27FC236}">
                <a16:creationId xmlns:a16="http://schemas.microsoft.com/office/drawing/2014/main" id="{A42B2251-BE45-9BC8-F6F4-52117292DA28}"/>
              </a:ext>
            </a:extLst>
          </p:cNvPr>
          <p:cNvSpPr/>
          <p:nvPr/>
        </p:nvSpPr>
        <p:spPr>
          <a:xfrm>
            <a:off x="841051" y="1909978"/>
            <a:ext cx="1345176" cy="534607"/>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dirty="0"/>
              <a:t>Dynamic capabilities</a:t>
            </a:r>
          </a:p>
        </p:txBody>
      </p:sp>
      <p:sp>
        <p:nvSpPr>
          <p:cNvPr id="25" name="Rectangle 24">
            <a:extLst>
              <a:ext uri="{FF2B5EF4-FFF2-40B4-BE49-F238E27FC236}">
                <a16:creationId xmlns:a16="http://schemas.microsoft.com/office/drawing/2014/main" id="{C2F677D7-402E-26BF-B11E-0A0DD0000584}"/>
              </a:ext>
            </a:extLst>
          </p:cNvPr>
          <p:cNvSpPr/>
          <p:nvPr/>
        </p:nvSpPr>
        <p:spPr>
          <a:xfrm>
            <a:off x="6954587" y="3205999"/>
            <a:ext cx="1481811" cy="304543"/>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dirty="0"/>
              <a:t>Shocks &amp; crises</a:t>
            </a:r>
          </a:p>
        </p:txBody>
      </p:sp>
      <p:sp>
        <p:nvSpPr>
          <p:cNvPr id="26" name="Rectangle 25">
            <a:extLst>
              <a:ext uri="{FF2B5EF4-FFF2-40B4-BE49-F238E27FC236}">
                <a16:creationId xmlns:a16="http://schemas.microsoft.com/office/drawing/2014/main" id="{39E4A097-03DB-BD48-CE3D-A0B28FB774A2}"/>
              </a:ext>
            </a:extLst>
          </p:cNvPr>
          <p:cNvSpPr/>
          <p:nvPr/>
        </p:nvSpPr>
        <p:spPr>
          <a:xfrm>
            <a:off x="6966387" y="2581548"/>
            <a:ext cx="1619522" cy="304543"/>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dirty="0"/>
              <a:t>Institutional framework changes</a:t>
            </a:r>
          </a:p>
        </p:txBody>
      </p:sp>
      <p:sp>
        <p:nvSpPr>
          <p:cNvPr id="27" name="Rectangle 26">
            <a:extLst>
              <a:ext uri="{FF2B5EF4-FFF2-40B4-BE49-F238E27FC236}">
                <a16:creationId xmlns:a16="http://schemas.microsoft.com/office/drawing/2014/main" id="{A695BCCD-716C-2AB6-1638-C06F5517162A}"/>
              </a:ext>
            </a:extLst>
          </p:cNvPr>
          <p:cNvSpPr/>
          <p:nvPr/>
        </p:nvSpPr>
        <p:spPr>
          <a:xfrm>
            <a:off x="921776" y="2708493"/>
            <a:ext cx="1345176" cy="534607"/>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dirty="0"/>
              <a:t>Strategic innovation</a:t>
            </a:r>
          </a:p>
        </p:txBody>
      </p:sp>
      <p:sp>
        <p:nvSpPr>
          <p:cNvPr id="28" name="Rectangle 27">
            <a:extLst>
              <a:ext uri="{FF2B5EF4-FFF2-40B4-BE49-F238E27FC236}">
                <a16:creationId xmlns:a16="http://schemas.microsoft.com/office/drawing/2014/main" id="{6CBF46FC-50B4-DDE6-3515-B00C89077B16}"/>
              </a:ext>
            </a:extLst>
          </p:cNvPr>
          <p:cNvSpPr/>
          <p:nvPr/>
        </p:nvSpPr>
        <p:spPr>
          <a:xfrm>
            <a:off x="1191162" y="3296208"/>
            <a:ext cx="1075789" cy="360155"/>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dirty="0"/>
              <a:t>Experience</a:t>
            </a:r>
          </a:p>
        </p:txBody>
      </p:sp>
      <p:sp>
        <p:nvSpPr>
          <p:cNvPr id="2" name="Rectangle: Rounded Corners 1">
            <a:extLst>
              <a:ext uri="{FF2B5EF4-FFF2-40B4-BE49-F238E27FC236}">
                <a16:creationId xmlns:a16="http://schemas.microsoft.com/office/drawing/2014/main" id="{CE18D152-A48D-4DC1-5A3D-A94C63EF8B42}"/>
              </a:ext>
            </a:extLst>
          </p:cNvPr>
          <p:cNvSpPr/>
          <p:nvPr/>
        </p:nvSpPr>
        <p:spPr>
          <a:xfrm>
            <a:off x="4141234" y="2001226"/>
            <a:ext cx="1101412" cy="88486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ifferent roles of target countries</a:t>
            </a:r>
          </a:p>
        </p:txBody>
      </p:sp>
      <p:sp>
        <p:nvSpPr>
          <p:cNvPr id="30" name="TextBox 29">
            <a:extLst>
              <a:ext uri="{FF2B5EF4-FFF2-40B4-BE49-F238E27FC236}">
                <a16:creationId xmlns:a16="http://schemas.microsoft.com/office/drawing/2014/main" id="{2D12B95E-18BF-57E9-61D9-F4839D414CD1}"/>
              </a:ext>
            </a:extLst>
          </p:cNvPr>
          <p:cNvSpPr txBox="1"/>
          <p:nvPr/>
        </p:nvSpPr>
        <p:spPr>
          <a:xfrm>
            <a:off x="580030" y="383283"/>
            <a:ext cx="2425664" cy="300082"/>
          </a:xfrm>
          <a:prstGeom prst="rect">
            <a:avLst/>
          </a:prstGeom>
          <a:noFill/>
        </p:spPr>
        <p:txBody>
          <a:bodyPr wrap="none" rtlCol="0">
            <a:spAutoFit/>
          </a:bodyPr>
          <a:lstStyle/>
          <a:p>
            <a:r>
              <a:rPr lang="en-US" b="1" dirty="0"/>
              <a:t>Antecedents of capabilities</a:t>
            </a:r>
          </a:p>
        </p:txBody>
      </p:sp>
      <p:sp>
        <p:nvSpPr>
          <p:cNvPr id="31" name="TextBox 30">
            <a:extLst>
              <a:ext uri="{FF2B5EF4-FFF2-40B4-BE49-F238E27FC236}">
                <a16:creationId xmlns:a16="http://schemas.microsoft.com/office/drawing/2014/main" id="{9203B274-95FF-5828-7F02-2357C6FF6E65}"/>
              </a:ext>
            </a:extLst>
          </p:cNvPr>
          <p:cNvSpPr txBox="1"/>
          <p:nvPr/>
        </p:nvSpPr>
        <p:spPr>
          <a:xfrm>
            <a:off x="6922889" y="378664"/>
            <a:ext cx="2040943" cy="300082"/>
          </a:xfrm>
          <a:prstGeom prst="rect">
            <a:avLst/>
          </a:prstGeom>
          <a:noFill/>
        </p:spPr>
        <p:txBody>
          <a:bodyPr wrap="none" rtlCol="0">
            <a:spAutoFit/>
          </a:bodyPr>
          <a:lstStyle/>
          <a:p>
            <a:r>
              <a:rPr lang="en-US" b="1" dirty="0"/>
              <a:t>Macro-level processes</a:t>
            </a:r>
          </a:p>
        </p:txBody>
      </p:sp>
    </p:spTree>
    <p:extLst>
      <p:ext uri="{BB962C8B-B14F-4D97-AF65-F5344CB8AC3E}">
        <p14:creationId xmlns:p14="http://schemas.microsoft.com/office/powerpoint/2010/main" val="12343790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097DD-B7AA-FF4D-B039-0EF55629CB0C}"/>
              </a:ext>
            </a:extLst>
          </p:cNvPr>
          <p:cNvSpPr>
            <a:spLocks noGrp="1"/>
          </p:cNvSpPr>
          <p:nvPr>
            <p:ph type="title"/>
          </p:nvPr>
        </p:nvSpPr>
        <p:spPr>
          <a:xfrm>
            <a:off x="228600" y="616744"/>
            <a:ext cx="3771900" cy="3586956"/>
          </a:xfrm>
        </p:spPr>
        <p:txBody>
          <a:bodyPr/>
          <a:lstStyle/>
          <a:p>
            <a:r>
              <a:rPr lang="en-US" dirty="0"/>
              <a:t>What is internationalization?</a:t>
            </a:r>
          </a:p>
        </p:txBody>
      </p:sp>
      <p:pic>
        <p:nvPicPr>
          <p:cNvPr id="4" name="Picture 3">
            <a:extLst>
              <a:ext uri="{FF2B5EF4-FFF2-40B4-BE49-F238E27FC236}">
                <a16:creationId xmlns:a16="http://schemas.microsoft.com/office/drawing/2014/main" id="{8CF58EDC-D68F-92E3-437B-12CA6380EC2E}"/>
              </a:ext>
            </a:extLst>
          </p:cNvPr>
          <p:cNvPicPr>
            <a:picLocks noChangeAspect="1"/>
          </p:cNvPicPr>
          <p:nvPr/>
        </p:nvPicPr>
        <p:blipFill>
          <a:blip r:embed="rId2"/>
          <a:stretch>
            <a:fillRect/>
          </a:stretch>
        </p:blipFill>
        <p:spPr>
          <a:xfrm>
            <a:off x="4000500" y="0"/>
            <a:ext cx="5143500" cy="5143500"/>
          </a:xfrm>
          <a:prstGeom prst="rect">
            <a:avLst/>
          </a:prstGeom>
        </p:spPr>
      </p:pic>
    </p:spTree>
    <p:extLst>
      <p:ext uri="{BB962C8B-B14F-4D97-AF65-F5344CB8AC3E}">
        <p14:creationId xmlns:p14="http://schemas.microsoft.com/office/powerpoint/2010/main" val="32848059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E79B233-C263-4355-BEE2-6A4CD1ED5B59}"/>
              </a:ext>
            </a:extLst>
          </p:cNvPr>
          <p:cNvSpPr>
            <a:spLocks noGrp="1"/>
          </p:cNvSpPr>
          <p:nvPr>
            <p:ph type="body" sz="half" idx="10"/>
          </p:nvPr>
        </p:nvSpPr>
        <p:spPr>
          <a:xfrm>
            <a:off x="292329" y="294871"/>
            <a:ext cx="4909762" cy="657950"/>
          </a:xfrm>
        </p:spPr>
        <p:txBody>
          <a:bodyPr/>
          <a:lstStyle/>
          <a:p>
            <a:r>
              <a:rPr lang="fi-FI" sz="2800" dirty="0" err="1">
                <a:solidFill>
                  <a:schemeClr val="tx2"/>
                </a:solidFill>
              </a:rPr>
              <a:t>Internationalization</a:t>
            </a:r>
            <a:endParaRPr lang="en-US" sz="2800" dirty="0"/>
          </a:p>
        </p:txBody>
      </p:sp>
      <p:sp>
        <p:nvSpPr>
          <p:cNvPr id="162818" name="Slide Number Placeholder 1">
            <a:extLst>
              <a:ext uri="{FF2B5EF4-FFF2-40B4-BE49-F238E27FC236}">
                <a16:creationId xmlns:a16="http://schemas.microsoft.com/office/drawing/2014/main" id="{4AF7E206-83A6-4CF2-9358-B1234F00AF45}"/>
              </a:ext>
            </a:extLst>
          </p:cNvPr>
          <p:cNvSpPr>
            <a:spLocks noGrp="1"/>
          </p:cNvSpPr>
          <p:nvPr>
            <p:ph type="sldNum" sz="quarter" idx="14"/>
          </p:nvPr>
        </p:nvSpPr>
        <p:spPr>
          <a:noFill/>
        </p:spPr>
        <p:txBody>
          <a:bodyPr/>
          <a:lstStyle>
            <a:lvl1pPr>
              <a:spcAft>
                <a:spcPct val="20000"/>
              </a:spcAft>
              <a:buClr>
                <a:schemeClr val="accent1"/>
              </a:buClr>
              <a:buChar char="•"/>
              <a:defRPr sz="1500">
                <a:solidFill>
                  <a:schemeClr val="tx1"/>
                </a:solidFill>
                <a:latin typeface="Verdana" panose="020B0604030504040204" pitchFamily="34" charset="0"/>
              </a:defRPr>
            </a:lvl1pPr>
            <a:lvl2pPr marL="557213" indent="-214313">
              <a:spcAft>
                <a:spcPct val="20000"/>
              </a:spcAft>
              <a:buClr>
                <a:schemeClr val="accent1"/>
              </a:buClr>
              <a:buChar char="–"/>
              <a:defRPr>
                <a:solidFill>
                  <a:schemeClr val="tx1"/>
                </a:solidFill>
                <a:latin typeface="Verdana" panose="020B0604030504040204" pitchFamily="34" charset="0"/>
              </a:defRPr>
            </a:lvl2pPr>
            <a:lvl3pPr marL="857250" indent="-171450">
              <a:spcAft>
                <a:spcPct val="20000"/>
              </a:spcAft>
              <a:buClr>
                <a:schemeClr val="accent1"/>
              </a:buClr>
              <a:buChar char="•"/>
              <a:defRPr sz="1200">
                <a:solidFill>
                  <a:schemeClr val="tx1"/>
                </a:solidFill>
                <a:latin typeface="Verdana" panose="020B0604030504040204" pitchFamily="34" charset="0"/>
              </a:defRPr>
            </a:lvl3pPr>
            <a:lvl4pPr marL="1200150" indent="-171450">
              <a:spcAft>
                <a:spcPct val="20000"/>
              </a:spcAft>
              <a:buClr>
                <a:schemeClr val="accent1"/>
              </a:buClr>
              <a:buChar char="–"/>
              <a:defRPr sz="1050">
                <a:solidFill>
                  <a:schemeClr val="tx1"/>
                </a:solidFill>
                <a:latin typeface="Verdana" panose="020B0604030504040204" pitchFamily="34" charset="0"/>
              </a:defRPr>
            </a:lvl4pPr>
            <a:lvl5pPr marL="1543050" indent="-171450">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5pPr>
            <a:lvl6pPr marL="18859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6pPr>
            <a:lvl7pPr marL="22288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7pPr>
            <a:lvl8pPr marL="25717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8pPr>
            <a:lvl9pPr marL="29146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9pPr>
          </a:lstStyle>
          <a:p>
            <a:pPr fontAlgn="base">
              <a:spcBef>
                <a:spcPct val="0"/>
              </a:spcBef>
              <a:spcAft>
                <a:spcPct val="0"/>
              </a:spcAft>
              <a:buClrTx/>
              <a:buNone/>
            </a:pPr>
            <a:fld id="{C66589D7-F045-4D92-9D92-C6D8D67789BA}" type="slidenum">
              <a:rPr lang="en-GB" altLang="fi-FI" sz="750">
                <a:solidFill>
                  <a:srgbClr val="000000"/>
                </a:solidFill>
              </a:rPr>
              <a:pPr fontAlgn="base">
                <a:spcBef>
                  <a:spcPct val="0"/>
                </a:spcBef>
                <a:spcAft>
                  <a:spcPct val="0"/>
                </a:spcAft>
                <a:buClrTx/>
                <a:buNone/>
              </a:pPr>
              <a:t>7</a:t>
            </a:fld>
            <a:endParaRPr lang="en-GB" altLang="fi-FI" sz="750">
              <a:solidFill>
                <a:srgbClr val="000000"/>
              </a:solidFill>
            </a:endParaRPr>
          </a:p>
        </p:txBody>
      </p:sp>
      <p:sp>
        <p:nvSpPr>
          <p:cNvPr id="2" name="Text Placeholder 5">
            <a:extLst>
              <a:ext uri="{FF2B5EF4-FFF2-40B4-BE49-F238E27FC236}">
                <a16:creationId xmlns:a16="http://schemas.microsoft.com/office/drawing/2014/main" id="{7188B95F-4310-569A-83C9-3FA1F947D1D9}"/>
              </a:ext>
            </a:extLst>
          </p:cNvPr>
          <p:cNvSpPr>
            <a:spLocks noGrp="1"/>
          </p:cNvSpPr>
          <p:nvPr>
            <p:ph type="body" sz="half" idx="11"/>
          </p:nvPr>
        </p:nvSpPr>
        <p:spPr>
          <a:xfrm>
            <a:off x="292329" y="869823"/>
            <a:ext cx="8443871" cy="2891564"/>
          </a:xfrm>
        </p:spPr>
        <p:txBody>
          <a:bodyPr/>
          <a:lstStyle/>
          <a:p>
            <a:r>
              <a:rPr lang="fi-FI" sz="1600" dirty="0" err="1"/>
              <a:t>Definitions</a:t>
            </a:r>
            <a:r>
              <a:rPr lang="fi-FI" sz="1600" dirty="0"/>
              <a:t>:</a:t>
            </a:r>
          </a:p>
          <a:p>
            <a:pPr lvl="1"/>
            <a:r>
              <a:rPr lang="en-US" sz="1600" b="0" i="1" dirty="0">
                <a:effectLst/>
                <a:latin typeface="Source Sans Pro" panose="020B0503030403020204" pitchFamily="34" charset="0"/>
              </a:rPr>
              <a:t>“The growing tendency of corporations to operate across national boundaries” </a:t>
            </a:r>
            <a:r>
              <a:rPr lang="en-US" sz="1600" dirty="0"/>
              <a:t>(</a:t>
            </a:r>
            <a:r>
              <a:rPr lang="en-US" sz="1600" b="0" i="0" dirty="0">
                <a:effectLst/>
                <a:latin typeface="Source Sans Pro" panose="020B0503030403020204" pitchFamily="34" charset="0"/>
                <a:hlinkClick r:id="rId2"/>
              </a:rPr>
              <a:t>www.businessdictionary.com</a:t>
            </a:r>
            <a:r>
              <a:rPr lang="en-US" sz="1600" b="0" i="0" dirty="0">
                <a:effectLst/>
                <a:latin typeface="Source Sans Pro" panose="020B0503030403020204" pitchFamily="34" charset="0"/>
              </a:rPr>
              <a:t>)</a:t>
            </a:r>
          </a:p>
          <a:p>
            <a:pPr lvl="1"/>
            <a:r>
              <a:rPr lang="en-US" sz="1600" i="1" dirty="0">
                <a:latin typeface="SourceSansPro"/>
              </a:rPr>
              <a:t>“I</a:t>
            </a:r>
            <a:r>
              <a:rPr lang="en-US" sz="1600" b="0" i="1" dirty="0">
                <a:effectLst/>
                <a:latin typeface="SourceSansPro"/>
              </a:rPr>
              <a:t>nternationalization can refer to a company that takes steps to increase its footprint or capture greater market share outside of its country of domicile by branching out into international markets”</a:t>
            </a:r>
            <a:r>
              <a:rPr lang="en-US" sz="1600" b="0" i="0" dirty="0">
                <a:effectLst/>
                <a:latin typeface="SourceSansPro"/>
              </a:rPr>
              <a:t> (www.Investopedia.com)</a:t>
            </a:r>
            <a:endParaRPr lang="fi-FI" sz="1600" dirty="0"/>
          </a:p>
          <a:p>
            <a:r>
              <a:rPr lang="fi-FI" sz="1600" dirty="0"/>
              <a:t>As a </a:t>
            </a:r>
            <a:r>
              <a:rPr lang="fi-FI" sz="1600" dirty="0" err="1"/>
              <a:t>field</a:t>
            </a:r>
            <a:r>
              <a:rPr lang="fi-FI" sz="1600" dirty="0"/>
              <a:t> of </a:t>
            </a:r>
            <a:r>
              <a:rPr lang="fi-FI" sz="1600" dirty="0" err="1"/>
              <a:t>research</a:t>
            </a:r>
            <a:r>
              <a:rPr lang="fi-FI" sz="1600" dirty="0"/>
              <a:t>:</a:t>
            </a:r>
          </a:p>
          <a:p>
            <a:pPr lvl="1"/>
            <a:r>
              <a:rPr lang="fi-FI" sz="1600" dirty="0" err="1"/>
              <a:t>Exploring</a:t>
            </a:r>
            <a:r>
              <a:rPr lang="fi-FI" sz="1600" dirty="0"/>
              <a:t> </a:t>
            </a:r>
            <a:r>
              <a:rPr lang="fi-FI" sz="1600" dirty="0" err="1"/>
              <a:t>how</a:t>
            </a:r>
            <a:r>
              <a:rPr lang="fi-FI" sz="1600" dirty="0"/>
              <a:t> and </a:t>
            </a:r>
            <a:r>
              <a:rPr lang="fi-FI" sz="1600" dirty="0" err="1"/>
              <a:t>why</a:t>
            </a:r>
            <a:r>
              <a:rPr lang="fi-FI" sz="1600" dirty="0"/>
              <a:t> </a:t>
            </a:r>
            <a:r>
              <a:rPr lang="fi-FI" sz="1600" dirty="0" err="1"/>
              <a:t>firms</a:t>
            </a:r>
            <a:r>
              <a:rPr lang="fi-FI" sz="1600" dirty="0"/>
              <a:t> </a:t>
            </a:r>
            <a:r>
              <a:rPr lang="fi-FI" sz="1600" dirty="0" err="1"/>
              <a:t>expand</a:t>
            </a:r>
            <a:r>
              <a:rPr lang="fi-FI" sz="1600" dirty="0"/>
              <a:t> to </a:t>
            </a:r>
            <a:r>
              <a:rPr lang="fi-FI" sz="1600" dirty="0" err="1"/>
              <a:t>different</a:t>
            </a:r>
            <a:r>
              <a:rPr lang="fi-FI" sz="1600" dirty="0"/>
              <a:t> </a:t>
            </a:r>
            <a:r>
              <a:rPr lang="fi-FI" sz="1600" dirty="0" err="1"/>
              <a:t>markets</a:t>
            </a:r>
            <a:r>
              <a:rPr lang="fi-FI" sz="1600" dirty="0"/>
              <a:t>/</a:t>
            </a:r>
            <a:r>
              <a:rPr lang="fi-FI" sz="1600" dirty="0" err="1"/>
              <a:t>countries</a:t>
            </a:r>
            <a:endParaRPr lang="fi-FI" sz="1600" dirty="0"/>
          </a:p>
          <a:p>
            <a:pPr lvl="1"/>
            <a:r>
              <a:rPr lang="fi-FI" sz="1600" dirty="0" err="1"/>
              <a:t>This</a:t>
            </a:r>
            <a:r>
              <a:rPr lang="fi-FI" sz="1600" dirty="0"/>
              <a:t> is </a:t>
            </a:r>
            <a:r>
              <a:rPr lang="fi-FI" sz="1600" dirty="0" err="1"/>
              <a:t>studied</a:t>
            </a:r>
            <a:r>
              <a:rPr lang="fi-FI" sz="1600" dirty="0"/>
              <a:t> </a:t>
            </a:r>
            <a:r>
              <a:rPr lang="fi-FI" sz="1600" dirty="0" err="1"/>
              <a:t>by</a:t>
            </a:r>
            <a:r>
              <a:rPr lang="fi-FI" sz="1600" dirty="0"/>
              <a:t> </a:t>
            </a:r>
            <a:r>
              <a:rPr lang="fi-FI" sz="1600" dirty="0" err="1"/>
              <a:t>utilizing</a:t>
            </a:r>
            <a:r>
              <a:rPr lang="fi-FI" sz="1600" dirty="0"/>
              <a:t> </a:t>
            </a:r>
            <a:r>
              <a:rPr lang="fi-FI" sz="1600" dirty="0" err="1"/>
              <a:t>focal</a:t>
            </a:r>
            <a:r>
              <a:rPr lang="fi-FI" sz="1600" dirty="0"/>
              <a:t> </a:t>
            </a:r>
            <a:r>
              <a:rPr lang="fi-FI" sz="1600" dirty="0" err="1"/>
              <a:t>themes</a:t>
            </a:r>
            <a:r>
              <a:rPr lang="fi-FI" sz="1600" dirty="0"/>
              <a:t>/</a:t>
            </a:r>
            <a:r>
              <a:rPr lang="fi-FI" sz="1600" dirty="0" err="1"/>
              <a:t>constructs</a:t>
            </a:r>
            <a:endParaRPr lang="fi-FI" sz="1600" dirty="0"/>
          </a:p>
          <a:p>
            <a:pPr lvl="2"/>
            <a:r>
              <a:rPr lang="fi-FI" sz="1600" dirty="0" err="1"/>
              <a:t>Uncertainty</a:t>
            </a:r>
            <a:endParaRPr lang="fi-FI" sz="1600" dirty="0"/>
          </a:p>
          <a:p>
            <a:pPr lvl="2"/>
            <a:r>
              <a:rPr lang="fi-FI" sz="1600" dirty="0" err="1"/>
              <a:t>Psychic</a:t>
            </a:r>
            <a:r>
              <a:rPr lang="fi-FI" sz="1600" dirty="0"/>
              <a:t> </a:t>
            </a:r>
            <a:r>
              <a:rPr lang="fi-FI" sz="1600" dirty="0" err="1"/>
              <a:t>distance</a:t>
            </a:r>
            <a:endParaRPr lang="fi-FI" sz="1600" dirty="0"/>
          </a:p>
          <a:p>
            <a:pPr lvl="2"/>
            <a:r>
              <a:rPr lang="fi-FI" sz="1600" dirty="0"/>
              <a:t>Resources and </a:t>
            </a:r>
            <a:r>
              <a:rPr lang="fi-FI" sz="1600" dirty="0" err="1"/>
              <a:t>networks</a:t>
            </a:r>
            <a:endParaRPr lang="fi-FI" sz="1600" dirty="0"/>
          </a:p>
          <a:p>
            <a:pPr lvl="2"/>
            <a:r>
              <a:rPr lang="fi-FI" sz="1600" dirty="0" err="1"/>
              <a:t>Opportunities</a:t>
            </a:r>
            <a:r>
              <a:rPr lang="fi-FI" sz="1600" dirty="0"/>
              <a:t> (in IE, </a:t>
            </a:r>
            <a:r>
              <a:rPr lang="fi-FI" sz="1600" dirty="0" err="1"/>
              <a:t>not</a:t>
            </a:r>
            <a:r>
              <a:rPr lang="fi-FI" sz="1600" dirty="0"/>
              <a:t> </a:t>
            </a:r>
            <a:r>
              <a:rPr lang="fi-FI" sz="1600" dirty="0" err="1"/>
              <a:t>so</a:t>
            </a:r>
            <a:r>
              <a:rPr lang="fi-FI" sz="1600" dirty="0"/>
              <a:t> </a:t>
            </a:r>
            <a:r>
              <a:rPr lang="fi-FI" sz="1600" dirty="0" err="1"/>
              <a:t>much</a:t>
            </a:r>
            <a:r>
              <a:rPr lang="fi-FI" sz="1600" dirty="0"/>
              <a:t> in IB)</a:t>
            </a:r>
          </a:p>
          <a:p>
            <a:pPr marL="285750" indent="-285750">
              <a:spcBef>
                <a:spcPts val="600"/>
              </a:spcBef>
              <a:buFont typeface="Arial" panose="020B0604020202020204" pitchFamily="34" charset="0"/>
              <a:buChar char="•"/>
            </a:pPr>
            <a:endParaRPr lang="en-US" sz="1600" b="0" dirty="0"/>
          </a:p>
          <a:p>
            <a:pPr marL="285750" indent="-285750">
              <a:spcBef>
                <a:spcPts val="600"/>
              </a:spcBef>
              <a:buFont typeface="Arial" panose="020B0604020202020204" pitchFamily="34" charset="0"/>
              <a:buChar char="•"/>
            </a:pPr>
            <a:endParaRPr lang="en-US" sz="1600" b="0" dirty="0"/>
          </a:p>
        </p:txBody>
      </p:sp>
    </p:spTree>
    <p:extLst>
      <p:ext uri="{BB962C8B-B14F-4D97-AF65-F5344CB8AC3E}">
        <p14:creationId xmlns:p14="http://schemas.microsoft.com/office/powerpoint/2010/main" val="326230805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E79B233-C263-4355-BEE2-6A4CD1ED5B59}"/>
              </a:ext>
            </a:extLst>
          </p:cNvPr>
          <p:cNvSpPr>
            <a:spLocks noGrp="1"/>
          </p:cNvSpPr>
          <p:nvPr>
            <p:ph type="body" sz="half" idx="10"/>
          </p:nvPr>
        </p:nvSpPr>
        <p:spPr>
          <a:xfrm>
            <a:off x="292329" y="294870"/>
            <a:ext cx="4909762" cy="946597"/>
          </a:xfrm>
        </p:spPr>
        <p:txBody>
          <a:bodyPr/>
          <a:lstStyle/>
          <a:p>
            <a:r>
              <a:rPr lang="en-US" sz="2800" dirty="0"/>
              <a:t>But in practice, it is strategic planning</a:t>
            </a:r>
          </a:p>
        </p:txBody>
      </p:sp>
      <p:sp>
        <p:nvSpPr>
          <p:cNvPr id="162818" name="Slide Number Placeholder 1">
            <a:extLst>
              <a:ext uri="{FF2B5EF4-FFF2-40B4-BE49-F238E27FC236}">
                <a16:creationId xmlns:a16="http://schemas.microsoft.com/office/drawing/2014/main" id="{4AF7E206-83A6-4CF2-9358-B1234F00AF45}"/>
              </a:ext>
            </a:extLst>
          </p:cNvPr>
          <p:cNvSpPr>
            <a:spLocks noGrp="1"/>
          </p:cNvSpPr>
          <p:nvPr>
            <p:ph type="sldNum" sz="quarter" idx="14"/>
          </p:nvPr>
        </p:nvSpPr>
        <p:spPr>
          <a:noFill/>
        </p:spPr>
        <p:txBody>
          <a:bodyPr/>
          <a:lstStyle>
            <a:lvl1pPr>
              <a:spcAft>
                <a:spcPct val="20000"/>
              </a:spcAft>
              <a:buClr>
                <a:schemeClr val="accent1"/>
              </a:buClr>
              <a:buChar char="•"/>
              <a:defRPr sz="1500">
                <a:solidFill>
                  <a:schemeClr val="tx1"/>
                </a:solidFill>
                <a:latin typeface="Verdana" panose="020B0604030504040204" pitchFamily="34" charset="0"/>
              </a:defRPr>
            </a:lvl1pPr>
            <a:lvl2pPr marL="557213" indent="-214313">
              <a:spcAft>
                <a:spcPct val="20000"/>
              </a:spcAft>
              <a:buClr>
                <a:schemeClr val="accent1"/>
              </a:buClr>
              <a:buChar char="–"/>
              <a:defRPr>
                <a:solidFill>
                  <a:schemeClr val="tx1"/>
                </a:solidFill>
                <a:latin typeface="Verdana" panose="020B0604030504040204" pitchFamily="34" charset="0"/>
              </a:defRPr>
            </a:lvl2pPr>
            <a:lvl3pPr marL="857250" indent="-171450">
              <a:spcAft>
                <a:spcPct val="20000"/>
              </a:spcAft>
              <a:buClr>
                <a:schemeClr val="accent1"/>
              </a:buClr>
              <a:buChar char="•"/>
              <a:defRPr sz="1200">
                <a:solidFill>
                  <a:schemeClr val="tx1"/>
                </a:solidFill>
                <a:latin typeface="Verdana" panose="020B0604030504040204" pitchFamily="34" charset="0"/>
              </a:defRPr>
            </a:lvl3pPr>
            <a:lvl4pPr marL="1200150" indent="-171450">
              <a:spcAft>
                <a:spcPct val="20000"/>
              </a:spcAft>
              <a:buClr>
                <a:schemeClr val="accent1"/>
              </a:buClr>
              <a:buChar char="–"/>
              <a:defRPr sz="1050">
                <a:solidFill>
                  <a:schemeClr val="tx1"/>
                </a:solidFill>
                <a:latin typeface="Verdana" panose="020B0604030504040204" pitchFamily="34" charset="0"/>
              </a:defRPr>
            </a:lvl4pPr>
            <a:lvl5pPr marL="1543050" indent="-171450">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5pPr>
            <a:lvl6pPr marL="18859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6pPr>
            <a:lvl7pPr marL="22288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7pPr>
            <a:lvl8pPr marL="25717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8pPr>
            <a:lvl9pPr marL="2914650" indent="-171450" eaLnBrk="0" fontAlgn="base" hangingPunct="0">
              <a:spcBef>
                <a:spcPct val="0"/>
              </a:spcBef>
              <a:spcAft>
                <a:spcPct val="20000"/>
              </a:spcAft>
              <a:buClr>
                <a:schemeClr val="accent1"/>
              </a:buClr>
              <a:buFont typeface="Wingdings" panose="05000000000000000000" pitchFamily="2" charset="2"/>
              <a:buChar char="à"/>
              <a:defRPr sz="1050">
                <a:solidFill>
                  <a:schemeClr val="tx1"/>
                </a:solidFill>
                <a:latin typeface="Verdana" panose="020B0604030504040204" pitchFamily="34" charset="0"/>
              </a:defRPr>
            </a:lvl9pPr>
          </a:lstStyle>
          <a:p>
            <a:pPr fontAlgn="base">
              <a:spcBef>
                <a:spcPct val="0"/>
              </a:spcBef>
              <a:spcAft>
                <a:spcPct val="0"/>
              </a:spcAft>
              <a:buClrTx/>
              <a:buNone/>
            </a:pPr>
            <a:fld id="{C66589D7-F045-4D92-9D92-C6D8D67789BA}" type="slidenum">
              <a:rPr lang="en-GB" altLang="fi-FI" sz="750">
                <a:solidFill>
                  <a:srgbClr val="000000"/>
                </a:solidFill>
              </a:rPr>
              <a:pPr fontAlgn="base">
                <a:spcBef>
                  <a:spcPct val="0"/>
                </a:spcBef>
                <a:spcAft>
                  <a:spcPct val="0"/>
                </a:spcAft>
                <a:buClrTx/>
                <a:buNone/>
              </a:pPr>
              <a:t>8</a:t>
            </a:fld>
            <a:endParaRPr lang="en-GB" altLang="fi-FI" sz="750">
              <a:solidFill>
                <a:srgbClr val="000000"/>
              </a:solidFill>
            </a:endParaRPr>
          </a:p>
        </p:txBody>
      </p:sp>
      <p:sp>
        <p:nvSpPr>
          <p:cNvPr id="2" name="Text Placeholder 5">
            <a:extLst>
              <a:ext uri="{FF2B5EF4-FFF2-40B4-BE49-F238E27FC236}">
                <a16:creationId xmlns:a16="http://schemas.microsoft.com/office/drawing/2014/main" id="{7188B95F-4310-569A-83C9-3FA1F947D1D9}"/>
              </a:ext>
            </a:extLst>
          </p:cNvPr>
          <p:cNvSpPr>
            <a:spLocks noGrp="1"/>
          </p:cNvSpPr>
          <p:nvPr>
            <p:ph type="body" sz="half" idx="11"/>
          </p:nvPr>
        </p:nvSpPr>
        <p:spPr>
          <a:xfrm>
            <a:off x="292329" y="1392337"/>
            <a:ext cx="5346471" cy="2891564"/>
          </a:xfrm>
        </p:spPr>
        <p:txBody>
          <a:bodyPr/>
          <a:lstStyle/>
          <a:p>
            <a:r>
              <a:rPr lang="fi-FI" sz="2400" dirty="0" err="1"/>
              <a:t>What</a:t>
            </a:r>
            <a:r>
              <a:rPr lang="fi-FI" sz="2400" dirty="0"/>
              <a:t> </a:t>
            </a:r>
            <a:r>
              <a:rPr lang="fi-FI" sz="2400" dirty="0" err="1"/>
              <a:t>we</a:t>
            </a:r>
            <a:r>
              <a:rPr lang="fi-FI" sz="2400" dirty="0"/>
              <a:t> </a:t>
            </a:r>
            <a:r>
              <a:rPr lang="fi-FI" sz="2400" dirty="0" err="1"/>
              <a:t>need</a:t>
            </a:r>
            <a:r>
              <a:rPr lang="fi-FI" sz="2400" dirty="0"/>
              <a:t> to </a:t>
            </a:r>
            <a:r>
              <a:rPr lang="fi-FI" sz="2400" dirty="0" err="1"/>
              <a:t>decide</a:t>
            </a:r>
            <a:r>
              <a:rPr lang="fi-FI" sz="2400" dirty="0"/>
              <a:t>? </a:t>
            </a:r>
          </a:p>
          <a:p>
            <a:pPr lvl="1"/>
            <a:r>
              <a:rPr lang="fi-FI" sz="1800" dirty="0" err="1"/>
              <a:t>Purpose</a:t>
            </a:r>
            <a:endParaRPr lang="fi-FI" sz="1800" dirty="0"/>
          </a:p>
          <a:p>
            <a:pPr lvl="2"/>
            <a:r>
              <a:rPr lang="fi-FI" sz="1800" dirty="0" err="1"/>
              <a:t>Conquering</a:t>
            </a:r>
            <a:r>
              <a:rPr lang="fi-FI" sz="1800" dirty="0"/>
              <a:t> </a:t>
            </a:r>
            <a:r>
              <a:rPr lang="fi-FI" sz="1800" dirty="0" err="1"/>
              <a:t>the</a:t>
            </a:r>
            <a:r>
              <a:rPr lang="fi-FI" sz="1800" dirty="0"/>
              <a:t> </a:t>
            </a:r>
            <a:r>
              <a:rPr lang="fi-FI" sz="1800" dirty="0" err="1"/>
              <a:t>world</a:t>
            </a:r>
            <a:r>
              <a:rPr lang="fi-FI" sz="1800" dirty="0"/>
              <a:t>?</a:t>
            </a:r>
          </a:p>
          <a:p>
            <a:pPr lvl="2"/>
            <a:r>
              <a:rPr lang="fi-FI" sz="1800" dirty="0"/>
              <a:t>Building </a:t>
            </a:r>
            <a:r>
              <a:rPr lang="fi-FI" sz="1800" dirty="0" err="1"/>
              <a:t>competitive</a:t>
            </a:r>
            <a:r>
              <a:rPr lang="fi-FI" sz="1800" dirty="0"/>
              <a:t> </a:t>
            </a:r>
            <a:r>
              <a:rPr lang="fi-FI" sz="1800" dirty="0" err="1"/>
              <a:t>advantage</a:t>
            </a:r>
            <a:r>
              <a:rPr lang="fi-FI" sz="1800" dirty="0"/>
              <a:t>?</a:t>
            </a:r>
          </a:p>
          <a:p>
            <a:pPr lvl="1"/>
            <a:r>
              <a:rPr lang="fi-FI" sz="1800" dirty="0"/>
              <a:t>Target</a:t>
            </a:r>
          </a:p>
          <a:p>
            <a:pPr lvl="2"/>
            <a:r>
              <a:rPr lang="en-US" sz="1800" dirty="0"/>
              <a:t>What is the target market’s role in building the competitive advantage or value chain?</a:t>
            </a:r>
            <a:endParaRPr lang="fi-FI" sz="1800" dirty="0"/>
          </a:p>
          <a:p>
            <a:pPr lvl="1"/>
            <a:r>
              <a:rPr lang="fi-FI" sz="1800" dirty="0" err="1"/>
              <a:t>Commitment</a:t>
            </a:r>
            <a:r>
              <a:rPr lang="fi-FI" sz="1800" dirty="0"/>
              <a:t>/</a:t>
            </a:r>
            <a:r>
              <a:rPr lang="fi-FI" sz="1800" dirty="0" err="1"/>
              <a:t>level</a:t>
            </a:r>
            <a:r>
              <a:rPr lang="fi-FI" sz="1800" dirty="0"/>
              <a:t> of </a:t>
            </a:r>
            <a:r>
              <a:rPr lang="fi-FI" sz="1800" dirty="0" err="1"/>
              <a:t>investments</a:t>
            </a:r>
            <a:endParaRPr lang="fi-FI" sz="1800" dirty="0"/>
          </a:p>
          <a:p>
            <a:pPr lvl="2"/>
            <a:r>
              <a:rPr lang="fi-FI" sz="1800" dirty="0" err="1"/>
              <a:t>Entry</a:t>
            </a:r>
            <a:r>
              <a:rPr lang="fi-FI" sz="1800" dirty="0"/>
              <a:t> </a:t>
            </a:r>
            <a:r>
              <a:rPr lang="fi-FI" sz="1800" dirty="0" err="1"/>
              <a:t>mode</a:t>
            </a:r>
            <a:endParaRPr lang="fi-FI" sz="1800" dirty="0"/>
          </a:p>
          <a:p>
            <a:pPr lvl="1"/>
            <a:r>
              <a:rPr lang="fi-FI" sz="1800" dirty="0" err="1"/>
              <a:t>Timing</a:t>
            </a:r>
            <a:endParaRPr lang="en-US" sz="1800" dirty="0"/>
          </a:p>
          <a:p>
            <a:pPr marL="285750" indent="-285750">
              <a:spcBef>
                <a:spcPts val="600"/>
              </a:spcBef>
              <a:buFont typeface="Arial" panose="020B0604020202020204" pitchFamily="34" charset="0"/>
              <a:buChar char="•"/>
            </a:pPr>
            <a:endParaRPr lang="en-US" sz="1600" b="0" dirty="0"/>
          </a:p>
        </p:txBody>
      </p:sp>
    </p:spTree>
    <p:extLst>
      <p:ext uri="{BB962C8B-B14F-4D97-AF65-F5344CB8AC3E}">
        <p14:creationId xmlns:p14="http://schemas.microsoft.com/office/powerpoint/2010/main" val="97483738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C1DD1A8A-57D5-4A81-AD04-532B043C56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1713"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5F6367C5-9F91-9A99-48BC-2A64687B60E2}"/>
              </a:ext>
            </a:extLst>
          </p:cNvPr>
          <p:cNvPicPr>
            <a:picLocks noChangeAspect="1"/>
          </p:cNvPicPr>
          <p:nvPr/>
        </p:nvPicPr>
        <p:blipFill rotWithShape="1">
          <a:blip r:embed="rId2"/>
          <a:srcRect t="26104" b="17646"/>
          <a:stretch/>
        </p:blipFill>
        <p:spPr>
          <a:xfrm>
            <a:off x="-2285" y="10"/>
            <a:ext cx="9143999" cy="5143490"/>
          </a:xfrm>
          <a:prstGeom prst="rect">
            <a:avLst/>
          </a:prstGeom>
        </p:spPr>
      </p:pic>
      <p:sp>
        <p:nvSpPr>
          <p:cNvPr id="11" name="Rectangle 10">
            <a:extLst>
              <a:ext uri="{FF2B5EF4-FFF2-40B4-BE49-F238E27FC236}">
                <a16:creationId xmlns:a16="http://schemas.microsoft.com/office/drawing/2014/main" id="{007891EC-4501-44ED-A8C8-B11B6DB767A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655701"/>
            <a:ext cx="9143999" cy="2371610"/>
          </a:xfrm>
          <a:prstGeom prst="rect">
            <a:avLst/>
          </a:prstGeom>
          <a:gradFill flip="none" rotWithShape="1">
            <a:gsLst>
              <a:gs pos="0">
                <a:srgbClr val="000000">
                  <a:alpha val="0"/>
                </a:srgbClr>
              </a:gs>
              <a:gs pos="25000">
                <a:srgbClr val="000000">
                  <a:alpha val="15000"/>
                </a:srgbClr>
              </a:gs>
              <a:gs pos="75000">
                <a:srgbClr val="000000">
                  <a:alpha val="15000"/>
                </a:srgbClr>
              </a:gs>
              <a:gs pos="50000">
                <a:srgbClr val="000000">
                  <a:alpha val="30000"/>
                </a:srgbClr>
              </a:gs>
              <a:gs pos="100000">
                <a:srgbClr val="000000">
                  <a:alpha val="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F1B453D-C787-F812-F2E2-831393BCD34C}"/>
              </a:ext>
            </a:extLst>
          </p:cNvPr>
          <p:cNvSpPr>
            <a:spLocks noGrp="1"/>
          </p:cNvSpPr>
          <p:nvPr>
            <p:ph type="title"/>
          </p:nvPr>
        </p:nvSpPr>
        <p:spPr>
          <a:xfrm>
            <a:off x="822960" y="-301405"/>
            <a:ext cx="7543800" cy="1523166"/>
          </a:xfrm>
          <a:effectLst>
            <a:outerShdw blurRad="50800" dist="38100" dir="2700000" algn="tl" rotWithShape="0">
              <a:prstClr val="black">
                <a:alpha val="40000"/>
              </a:prstClr>
            </a:outerShdw>
          </a:effectLst>
        </p:spPr>
        <p:txBody>
          <a:bodyPr vert="horz" lIns="91440" tIns="45720" rIns="91440" bIns="45720" rtlCol="0" anchor="b">
            <a:normAutofit/>
          </a:bodyPr>
          <a:lstStyle/>
          <a:p>
            <a:pPr algn="ctr" defTabSz="914400"/>
            <a:r>
              <a:rPr lang="en-US" sz="4400" b="1" dirty="0">
                <a:solidFill>
                  <a:srgbClr val="FFFFFF"/>
                </a:solidFill>
              </a:rPr>
              <a:t>Why to expand?</a:t>
            </a:r>
          </a:p>
        </p:txBody>
      </p:sp>
    </p:spTree>
    <p:extLst>
      <p:ext uri="{BB962C8B-B14F-4D97-AF65-F5344CB8AC3E}">
        <p14:creationId xmlns:p14="http://schemas.microsoft.com/office/powerpoint/2010/main" val="16172557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2pVEWO7WWN9QWB4K3IhIZ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sIJhBuMYoa_dtSDYHoSM8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5P_SPypkSEHWCdIYyiD1Z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clu4gUWU8MlMuyVogI3md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dlrBXLfPuxm3QOk.BDCfR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teema">
  <a:themeElements>
    <a:clrScheme name="Mukautettu 4">
      <a:dk1>
        <a:sysClr val="windowText" lastClr="000000"/>
      </a:dk1>
      <a:lt1>
        <a:sysClr val="window" lastClr="FFFFFF"/>
      </a:lt1>
      <a:dk2>
        <a:srgbClr val="78BE20"/>
      </a:dk2>
      <a:lt2>
        <a:srgbClr val="AED879"/>
      </a:lt2>
      <a:accent1>
        <a:srgbClr val="0C0C0C"/>
      </a:accent1>
      <a:accent2>
        <a:srgbClr val="595959"/>
      </a:accent2>
      <a:accent3>
        <a:srgbClr val="A5A5A5"/>
      </a:accent3>
      <a:accent4>
        <a:srgbClr val="D8D8D8"/>
      </a:accent4>
      <a:accent5>
        <a:srgbClr val="F2F2F2"/>
      </a:accent5>
      <a:accent6>
        <a:srgbClr val="FFFFFF"/>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alto_BIZ_169_EN.potx" id="{69F26776-FB86-42CC-B9C7-5788F312165E}" vid="{BF5F540A-8380-403A-957D-586CCE703F1D}"/>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ALTO EE wide">
  <a:themeElements>
    <a:clrScheme name="Aalto EE">
      <a:dk1>
        <a:sysClr val="windowText" lastClr="000000"/>
      </a:dk1>
      <a:lt1>
        <a:sysClr val="window" lastClr="FFFFFF"/>
      </a:lt1>
      <a:dk2>
        <a:srgbClr val="D5D2CA"/>
      </a:dk2>
      <a:lt2>
        <a:srgbClr val="928B81"/>
      </a:lt2>
      <a:accent1>
        <a:srgbClr val="00B0CA"/>
      </a:accent1>
      <a:accent2>
        <a:srgbClr val="B1059D"/>
      </a:accent2>
      <a:accent3>
        <a:srgbClr val="FF7900"/>
      </a:accent3>
      <a:accent4>
        <a:srgbClr val="69BE28"/>
      </a:accent4>
      <a:accent5>
        <a:srgbClr val="006778"/>
      </a:accent5>
      <a:accent6>
        <a:srgbClr val="522398"/>
      </a:accent6>
      <a:hlink>
        <a:srgbClr val="B1059D"/>
      </a:hlink>
      <a:folHlink>
        <a:srgbClr val="FF7900"/>
      </a:folHlink>
    </a:clrScheme>
    <a:fontScheme name="aalt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esentation1" id="{D83E13C0-C7EE-4704-A123-7CBDFC2F2A51}" vid="{36C7E0A7-0EB2-4114-ABC6-5900EEE829B3}"/>
    </a:ext>
  </a:extLst>
</a:theme>
</file>

<file path=ppt/theme/theme3.xml><?xml version="1.0" encoding="utf-8"?>
<a:theme xmlns:a="http://schemas.openxmlformats.org/drawingml/2006/main" name="1_Office-teema">
  <a:themeElements>
    <a:clrScheme name="Mukautettu 4">
      <a:dk1>
        <a:sysClr val="windowText" lastClr="000000"/>
      </a:dk1>
      <a:lt1>
        <a:sysClr val="window" lastClr="FFFFFF"/>
      </a:lt1>
      <a:dk2>
        <a:srgbClr val="78BE20"/>
      </a:dk2>
      <a:lt2>
        <a:srgbClr val="AED879"/>
      </a:lt2>
      <a:accent1>
        <a:srgbClr val="0C0C0C"/>
      </a:accent1>
      <a:accent2>
        <a:srgbClr val="595959"/>
      </a:accent2>
      <a:accent3>
        <a:srgbClr val="A5A5A5"/>
      </a:accent3>
      <a:accent4>
        <a:srgbClr val="D8D8D8"/>
      </a:accent4>
      <a:accent5>
        <a:srgbClr val="F2F2F2"/>
      </a:accent5>
      <a:accent6>
        <a:srgbClr val="FFFFFF"/>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alto_BIZ_169_EN.potx" id="{69F26776-FB86-42CC-B9C7-5788F312165E}" vid="{BF5F540A-8380-403A-957D-586CCE703F1D}"/>
    </a:ext>
  </a:extLst>
</a:theme>
</file>

<file path=ppt/theme/theme4.xml><?xml version="1.0" encoding="utf-8"?>
<a:theme xmlns:a="http://schemas.openxmlformats.org/drawingml/2006/main" name="1_AALTO EE wide">
  <a:themeElements>
    <a:clrScheme name="Aalto EE">
      <a:dk1>
        <a:sysClr val="windowText" lastClr="000000"/>
      </a:dk1>
      <a:lt1>
        <a:sysClr val="window" lastClr="FFFFFF"/>
      </a:lt1>
      <a:dk2>
        <a:srgbClr val="D5D2CA"/>
      </a:dk2>
      <a:lt2>
        <a:srgbClr val="928B81"/>
      </a:lt2>
      <a:accent1>
        <a:srgbClr val="00B0CA"/>
      </a:accent1>
      <a:accent2>
        <a:srgbClr val="B1059D"/>
      </a:accent2>
      <a:accent3>
        <a:srgbClr val="FF7900"/>
      </a:accent3>
      <a:accent4>
        <a:srgbClr val="69BE28"/>
      </a:accent4>
      <a:accent5>
        <a:srgbClr val="006778"/>
      </a:accent5>
      <a:accent6>
        <a:srgbClr val="522398"/>
      </a:accent6>
      <a:hlink>
        <a:srgbClr val="B1059D"/>
      </a:hlink>
      <a:folHlink>
        <a:srgbClr val="FF7900"/>
      </a:folHlink>
    </a:clrScheme>
    <a:fontScheme name="aalt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esentation1" id="{D83E13C0-C7EE-4704-A123-7CBDFC2F2A51}" vid="{36C7E0A7-0EB2-4114-ABC6-5900EEE829B3}"/>
    </a:ext>
  </a:extLst>
</a:theme>
</file>

<file path=ppt/theme/theme5.xml><?xml version="1.0" encoding="utf-8"?>
<a:theme xmlns:a="http://schemas.openxmlformats.org/drawingml/2006/main" name="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_Aalto University">
  <a:themeElements>
    <a:clrScheme name="Aalto-kauppa">
      <a:dk1>
        <a:sysClr val="windowText" lastClr="000000"/>
      </a:dk1>
      <a:lt1>
        <a:sysClr val="window" lastClr="FFFFFF"/>
      </a:lt1>
      <a:dk2>
        <a:srgbClr val="78BE20"/>
      </a:dk2>
      <a:lt2>
        <a:srgbClr val="8C857B"/>
      </a:lt2>
      <a:accent1>
        <a:srgbClr val="78BE20"/>
      </a:accent1>
      <a:accent2>
        <a:srgbClr val="FFCD00"/>
      </a:accent2>
      <a:accent3>
        <a:srgbClr val="EF3340"/>
      </a:accent3>
      <a:accent4>
        <a:srgbClr val="005EB8"/>
      </a:accent4>
      <a:accent5>
        <a:srgbClr val="8C857B"/>
      </a:accent5>
      <a:accent6>
        <a:srgbClr val="00965E"/>
      </a:accent6>
      <a:hlink>
        <a:srgbClr val="000000"/>
      </a:hlink>
      <a:folHlink>
        <a:srgbClr val="928B81"/>
      </a:folHlink>
    </a:clrScheme>
    <a:fontScheme name="Aalto-yliopist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2000" b="1"/>
        </a:defPPr>
      </a:lstStyle>
    </a:txDef>
  </a:objectDefaults>
  <a:extraClrSchemeLst/>
</a:theme>
</file>

<file path=ppt/theme/theme7.xml><?xml version="1.0" encoding="utf-8"?>
<a:theme xmlns:a="http://schemas.openxmlformats.org/drawingml/2006/main" name="2_Office-te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3_Office-te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Aalto_BIZ_169_EN</Template>
  <TotalTime>17626</TotalTime>
  <Words>998</Words>
  <Application>Microsoft Office PowerPoint</Application>
  <PresentationFormat>On-screen Show (16:9)</PresentationFormat>
  <Paragraphs>211</Paragraphs>
  <Slides>29</Slides>
  <Notes>0</Notes>
  <HiddenSlides>1</HiddenSlides>
  <MMClips>0</MMClips>
  <ScaleCrop>false</ScaleCrop>
  <HeadingPairs>
    <vt:vector size="8" baseType="variant">
      <vt:variant>
        <vt:lpstr>Fonts Used</vt:lpstr>
      </vt:variant>
      <vt:variant>
        <vt:i4>11</vt:i4>
      </vt:variant>
      <vt:variant>
        <vt:lpstr>Theme</vt:lpstr>
      </vt:variant>
      <vt:variant>
        <vt:i4>8</vt:i4>
      </vt:variant>
      <vt:variant>
        <vt:lpstr>Embedded OLE Servers</vt:lpstr>
      </vt:variant>
      <vt:variant>
        <vt:i4>1</vt:i4>
      </vt:variant>
      <vt:variant>
        <vt:lpstr>Slide Titles</vt:lpstr>
      </vt:variant>
      <vt:variant>
        <vt:i4>29</vt:i4>
      </vt:variant>
    </vt:vector>
  </HeadingPairs>
  <TitlesOfParts>
    <vt:vector size="49" baseType="lpstr">
      <vt:lpstr>Arial</vt:lpstr>
      <vt:lpstr>Arial</vt:lpstr>
      <vt:lpstr>Calibri</vt:lpstr>
      <vt:lpstr>Calibri Light</vt:lpstr>
      <vt:lpstr>Courier New</vt:lpstr>
      <vt:lpstr>Georgia</vt:lpstr>
      <vt:lpstr>Lucida Grande</vt:lpstr>
      <vt:lpstr>Merriweather</vt:lpstr>
      <vt:lpstr>Source Sans Pro</vt:lpstr>
      <vt:lpstr>SourceSansPro</vt:lpstr>
      <vt:lpstr>Verdana</vt:lpstr>
      <vt:lpstr>Office-teema</vt:lpstr>
      <vt:lpstr>AALTO EE wide</vt:lpstr>
      <vt:lpstr>1_Office-teema</vt:lpstr>
      <vt:lpstr>1_AALTO EE wide</vt:lpstr>
      <vt:lpstr>Custom Design</vt:lpstr>
      <vt:lpstr>1_Aalto University</vt:lpstr>
      <vt:lpstr>2_Office-teema</vt:lpstr>
      <vt:lpstr>3_Office-teema</vt:lpstr>
      <vt:lpstr>think-cell Slide</vt:lpstr>
      <vt:lpstr>PowerPoint Presentation</vt:lpstr>
      <vt:lpstr>PowerPoint Presentation</vt:lpstr>
      <vt:lpstr>PowerPoint Presentation</vt:lpstr>
      <vt:lpstr>PowerPoint Presentation</vt:lpstr>
      <vt:lpstr>PowerPoint Presentation</vt:lpstr>
      <vt:lpstr>What is internationalization?</vt:lpstr>
      <vt:lpstr>PowerPoint Presentation</vt:lpstr>
      <vt:lpstr>PowerPoint Presentation</vt:lpstr>
      <vt:lpstr>Why to expand?</vt:lpstr>
      <vt:lpstr>PowerPoint Presentation</vt:lpstr>
      <vt:lpstr>PowerPoint Presentation</vt:lpstr>
      <vt:lpstr>PowerPoint Presentation</vt:lpstr>
      <vt:lpstr>PowerPoint Presentation</vt:lpstr>
      <vt:lpstr>PowerPoint Presentation</vt:lpstr>
      <vt:lpstr>Where to expand to?</vt:lpstr>
      <vt:lpstr>PowerPoint Presentation</vt:lpstr>
      <vt:lpstr>PowerPoint Presentation</vt:lpstr>
      <vt:lpstr>PowerPoint Presentation</vt:lpstr>
      <vt:lpstr>Coping with the lack of knowledge</vt:lpstr>
      <vt:lpstr>PowerPoint Presentation</vt:lpstr>
      <vt:lpstr>How to enter the chocen market?</vt:lpstr>
      <vt:lpstr>PowerPoint Presentation</vt:lpstr>
      <vt:lpstr>PowerPoint Presentation</vt:lpstr>
      <vt:lpstr>First mover advantage?</vt:lpstr>
      <vt:lpstr>PowerPoint Presentation</vt:lpstr>
      <vt:lpstr>Rothaermel, 2012.</vt:lpstr>
      <vt:lpstr>PowerPoint Presentation</vt:lpstr>
      <vt:lpstr>PowerPoint Presentation</vt:lpstr>
      <vt:lpstr>PowerPoint Presentation</vt:lpstr>
    </vt:vector>
  </TitlesOfParts>
  <Company>Unigrafi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iikkinen Rilana</dc:creator>
  <cp:lastModifiedBy>Niittymies Aleksi</cp:lastModifiedBy>
  <cp:revision>112</cp:revision>
  <dcterms:created xsi:type="dcterms:W3CDTF">2020-01-02T07:43:02Z</dcterms:created>
  <dcterms:modified xsi:type="dcterms:W3CDTF">2023-11-06T10:14:29Z</dcterms:modified>
</cp:coreProperties>
</file>